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1.xml" ContentType="application/vnd.openxmlformats-officedocument.presentationml.notesSlide+xml"/>
  <Override PartName="/ppt/media/image80.jpg" ContentType="image/jp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5" r:id="rId1"/>
    <p:sldMasterId id="2147483833" r:id="rId2"/>
    <p:sldMasterId id="2147483841" r:id="rId3"/>
    <p:sldMasterId id="2147483849" r:id="rId4"/>
    <p:sldMasterId id="2147483857" r:id="rId5"/>
    <p:sldMasterId id="2147483865" r:id="rId6"/>
    <p:sldMasterId id="2147483873" r:id="rId7"/>
    <p:sldMasterId id="2147483890" r:id="rId8"/>
    <p:sldMasterId id="2147483898" r:id="rId9"/>
  </p:sldMasterIdLst>
  <p:notesMasterIdLst>
    <p:notesMasterId r:id="rId82"/>
  </p:notesMasterIdLst>
  <p:sldIdLst>
    <p:sldId id="361" r:id="rId10"/>
    <p:sldId id="360" r:id="rId11"/>
    <p:sldId id="258" r:id="rId12"/>
    <p:sldId id="259" r:id="rId13"/>
    <p:sldId id="262" r:id="rId14"/>
    <p:sldId id="292" r:id="rId15"/>
    <p:sldId id="277" r:id="rId16"/>
    <p:sldId id="278" r:id="rId17"/>
    <p:sldId id="265" r:id="rId18"/>
    <p:sldId id="279" r:id="rId19"/>
    <p:sldId id="280" r:id="rId20"/>
    <p:sldId id="281" r:id="rId21"/>
    <p:sldId id="282" r:id="rId22"/>
    <p:sldId id="283" r:id="rId23"/>
    <p:sldId id="288" r:id="rId24"/>
    <p:sldId id="289" r:id="rId25"/>
    <p:sldId id="290" r:id="rId26"/>
    <p:sldId id="291" r:id="rId27"/>
    <p:sldId id="275" r:id="rId28"/>
    <p:sldId id="364" r:id="rId29"/>
    <p:sldId id="268" r:id="rId30"/>
    <p:sldId id="363" r:id="rId31"/>
    <p:sldId id="331" r:id="rId32"/>
    <p:sldId id="332" r:id="rId33"/>
    <p:sldId id="333" r:id="rId34"/>
    <p:sldId id="334" r:id="rId35"/>
    <p:sldId id="335" r:id="rId36"/>
    <p:sldId id="324" r:id="rId37"/>
    <p:sldId id="336" r:id="rId38"/>
    <p:sldId id="337" r:id="rId39"/>
    <p:sldId id="338" r:id="rId40"/>
    <p:sldId id="339" r:id="rId41"/>
    <p:sldId id="340" r:id="rId42"/>
    <p:sldId id="341" r:id="rId43"/>
    <p:sldId id="342" r:id="rId44"/>
    <p:sldId id="343" r:id="rId45"/>
    <p:sldId id="344" r:id="rId46"/>
    <p:sldId id="345" r:id="rId47"/>
    <p:sldId id="346" r:id="rId48"/>
    <p:sldId id="347" r:id="rId49"/>
    <p:sldId id="348" r:id="rId50"/>
    <p:sldId id="349" r:id="rId51"/>
    <p:sldId id="351" r:id="rId52"/>
    <p:sldId id="350" r:id="rId53"/>
    <p:sldId id="301" r:id="rId54"/>
    <p:sldId id="366" r:id="rId55"/>
    <p:sldId id="256" r:id="rId56"/>
    <p:sldId id="317" r:id="rId57"/>
    <p:sldId id="318" r:id="rId58"/>
    <p:sldId id="321" r:id="rId59"/>
    <p:sldId id="319" r:id="rId60"/>
    <p:sldId id="320" r:id="rId61"/>
    <p:sldId id="322" r:id="rId62"/>
    <p:sldId id="264" r:id="rId63"/>
    <p:sldId id="257" r:id="rId64"/>
    <p:sldId id="314" r:id="rId65"/>
    <p:sldId id="272" r:id="rId66"/>
    <p:sldId id="273" r:id="rId67"/>
    <p:sldId id="274" r:id="rId68"/>
    <p:sldId id="315" r:id="rId69"/>
    <p:sldId id="260" r:id="rId70"/>
    <p:sldId id="353" r:id="rId71"/>
    <p:sldId id="365" r:id="rId72"/>
    <p:sldId id="355" r:id="rId73"/>
    <p:sldId id="356" r:id="rId74"/>
    <p:sldId id="330" r:id="rId75"/>
    <p:sldId id="357" r:id="rId76"/>
    <p:sldId id="261" r:id="rId77"/>
    <p:sldId id="358" r:id="rId78"/>
    <p:sldId id="267" r:id="rId79"/>
    <p:sldId id="362" r:id="rId80"/>
    <p:sldId id="359"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0" id="{85C531E2-388B-49A2-9BA4-3B98FD50A192}">
          <p14:sldIdLst>
            <p14:sldId id="361"/>
            <p14:sldId id="360"/>
          </p14:sldIdLst>
        </p14:section>
        <p14:section name="SECTION 1" id="{19CE7E56-5B55-493C-9384-D4581003FBEE}">
          <p14:sldIdLst>
            <p14:sldId id="258"/>
            <p14:sldId id="259"/>
            <p14:sldId id="262"/>
            <p14:sldId id="292"/>
            <p14:sldId id="277"/>
            <p14:sldId id="278"/>
            <p14:sldId id="265"/>
            <p14:sldId id="279"/>
            <p14:sldId id="280"/>
            <p14:sldId id="281"/>
            <p14:sldId id="282"/>
            <p14:sldId id="283"/>
            <p14:sldId id="288"/>
            <p14:sldId id="289"/>
            <p14:sldId id="290"/>
            <p14:sldId id="291"/>
            <p14:sldId id="275"/>
          </p14:sldIdLst>
        </p14:section>
        <p14:section name="SECTION 2" id="{E349C76C-020F-4FA7-B8DC-8B3A743E1A32}">
          <p14:sldIdLst>
            <p14:sldId id="364"/>
            <p14:sldId id="268"/>
            <p14:sldId id="363"/>
            <p14:sldId id="331"/>
            <p14:sldId id="332"/>
            <p14:sldId id="333"/>
            <p14:sldId id="334"/>
            <p14:sldId id="335"/>
            <p14:sldId id="324"/>
            <p14:sldId id="336"/>
            <p14:sldId id="337"/>
            <p14:sldId id="338"/>
            <p14:sldId id="339"/>
            <p14:sldId id="340"/>
            <p14:sldId id="341"/>
            <p14:sldId id="342"/>
            <p14:sldId id="343"/>
            <p14:sldId id="344"/>
            <p14:sldId id="345"/>
            <p14:sldId id="346"/>
            <p14:sldId id="347"/>
            <p14:sldId id="348"/>
            <p14:sldId id="349"/>
            <p14:sldId id="351"/>
            <p14:sldId id="350"/>
            <p14:sldId id="301"/>
            <p14:sldId id="366"/>
          </p14:sldIdLst>
        </p14:section>
        <p14:section name="SECTION 3" id="{D9577E53-9BCA-43B7-A476-45F029D73A76}">
          <p14:sldIdLst>
            <p14:sldId id="256"/>
            <p14:sldId id="317"/>
            <p14:sldId id="318"/>
            <p14:sldId id="321"/>
            <p14:sldId id="319"/>
            <p14:sldId id="320"/>
            <p14:sldId id="322"/>
            <p14:sldId id="264"/>
          </p14:sldIdLst>
        </p14:section>
        <p14:section name="SECTION 4" id="{93A0901C-D3D7-457B-B60F-2FF3C8C8CA32}">
          <p14:sldIdLst>
            <p14:sldId id="257"/>
            <p14:sldId id="314"/>
            <p14:sldId id="272"/>
            <p14:sldId id="273"/>
            <p14:sldId id="274"/>
            <p14:sldId id="315"/>
            <p14:sldId id="260"/>
          </p14:sldIdLst>
        </p14:section>
        <p14:section name="SECTION 5" id="{90BED619-649A-484C-83F2-9F7878E83001}">
          <p14:sldIdLst>
            <p14:sldId id="353"/>
            <p14:sldId id="365"/>
            <p14:sldId id="355"/>
            <p14:sldId id="356"/>
            <p14:sldId id="330"/>
            <p14:sldId id="357"/>
            <p14:sldId id="261"/>
            <p14:sldId id="358"/>
            <p14:sldId id="267"/>
            <p14:sldId id="362"/>
            <p14:sldId id="35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48A6C"/>
    <a:srgbClr val="5F3F1F"/>
    <a:srgbClr val="D3AD8F"/>
    <a:srgbClr val="E3EDDF"/>
    <a:srgbClr val="1A1D24"/>
    <a:srgbClr val="FF66FF"/>
    <a:srgbClr val="252525"/>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28" autoAdjust="0"/>
    <p:restoredTop sz="93657" autoAdjust="0"/>
  </p:normalViewPr>
  <p:slideViewPr>
    <p:cSldViewPr snapToGrid="0">
      <p:cViewPr varScale="1">
        <p:scale>
          <a:sx n="79" d="100"/>
          <a:sy n="79" d="100"/>
        </p:scale>
        <p:origin x="1109"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viewProps" Target="viewProps.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5.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61" Type="http://schemas.openxmlformats.org/officeDocument/2006/relationships/slide" Target="slides/slide52.xml"/><Relationship Id="rId8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US" sz="3600" b="1" dirty="0">
                <a:effectLst>
                  <a:outerShdw blurRad="38100" dist="19050" dir="2700000" algn="tl" rotWithShape="0">
                    <a:schemeClr val="dk1">
                      <a:alpha val="40000"/>
                    </a:schemeClr>
                  </a:outerShdw>
                </a:effectLst>
              </a:rPr>
              <a:t>Composition of Indian C&amp;D Waste</a:t>
            </a:r>
            <a:endParaRPr lang="en-US" sz="4000" b="1" dirty="0">
              <a:effectLst/>
            </a:endParaRP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3.2909993830511845E-2"/>
          <c:y val="0.22426509310516574"/>
          <c:w val="0.6133237754244123"/>
          <c:h val="0.71079425463205115"/>
        </c:manualLayout>
      </c:layout>
      <c:pie3DChart>
        <c:varyColors val="1"/>
        <c:ser>
          <c:idx val="0"/>
          <c:order val="0"/>
          <c:tx>
            <c:strRef>
              <c:f>Sheet1!$B$1</c:f>
              <c:strCache>
                <c:ptCount val="1"/>
                <c:pt idx="0">
                  <c:v>Sales</c:v>
                </c:pt>
              </c:strCache>
            </c:strRef>
          </c:tx>
          <c:dPt>
            <c:idx val="0"/>
            <c:bubble3D val="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3F7D-49A9-8B21-FF7B2F1D5493}"/>
              </c:ext>
            </c:extLst>
          </c:dPt>
          <c:dPt>
            <c:idx val="1"/>
            <c:bubble3D val="0"/>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3-3F7D-49A9-8B21-FF7B2F1D5493}"/>
              </c:ext>
            </c:extLst>
          </c:dPt>
          <c:dPt>
            <c:idx val="2"/>
            <c:bubble3D val="0"/>
            <c:spPr>
              <a:gradFill rotWithShape="1">
                <a:gsLst>
                  <a:gs pos="0">
                    <a:schemeClr val="accent3">
                      <a:tint val="98000"/>
                      <a:lumMod val="114000"/>
                    </a:schemeClr>
                  </a:gs>
                  <a:gs pos="100000">
                    <a:schemeClr val="accent3">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1-8661-48FE-A963-FD36592B44C5}"/>
              </c:ext>
            </c:extLst>
          </c:dPt>
          <c:dPt>
            <c:idx val="3"/>
            <c:bubble3D val="0"/>
            <c:spPr>
              <a:gradFill rotWithShape="1">
                <a:gsLst>
                  <a:gs pos="0">
                    <a:schemeClr val="accent4">
                      <a:tint val="98000"/>
                      <a:lumMod val="114000"/>
                    </a:schemeClr>
                  </a:gs>
                  <a:gs pos="100000">
                    <a:schemeClr val="accent4">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7-3F7D-49A9-8B21-FF7B2F1D5493}"/>
              </c:ext>
            </c:extLst>
          </c:dPt>
          <c:dPt>
            <c:idx val="4"/>
            <c:bubble3D val="0"/>
            <c:spPr>
              <a:gradFill rotWithShape="1">
                <a:gsLst>
                  <a:gs pos="0">
                    <a:schemeClr val="accent5">
                      <a:tint val="98000"/>
                      <a:lumMod val="114000"/>
                    </a:schemeClr>
                  </a:gs>
                  <a:gs pos="100000">
                    <a:schemeClr val="accent5">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9-3F7D-49A9-8B21-FF7B2F1D5493}"/>
              </c:ext>
            </c:extLst>
          </c:dPt>
          <c:dPt>
            <c:idx val="5"/>
            <c:bubble3D val="0"/>
            <c:spPr>
              <a:gradFill rotWithShape="1">
                <a:gsLst>
                  <a:gs pos="0">
                    <a:schemeClr val="accent6">
                      <a:tint val="98000"/>
                      <a:lumMod val="114000"/>
                    </a:schemeClr>
                  </a:gs>
                  <a:gs pos="100000">
                    <a:schemeClr val="accent6">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extLst>
              <c:ext xmlns:c16="http://schemas.microsoft.com/office/drawing/2014/chart" uri="{C3380CC4-5D6E-409C-BE32-E72D297353CC}">
                <c16:uniqueId val="{0000000B-3F7D-49A9-8B21-FF7B2F1D5493}"/>
              </c:ext>
            </c:extLst>
          </c:dPt>
          <c:dLbls>
            <c:dLbl>
              <c:idx val="2"/>
              <c:tx>
                <c:rich>
                  <a:bodyPr/>
                  <a:lstStyle/>
                  <a:p>
                    <a:fld id="{7C3219DC-ACBD-4AE0-BD05-4DB48D5161C1}" type="PERCENTAGE">
                      <a:rPr lang="en-US" b="1"/>
                      <a:pPr/>
                      <a:t>[PERCENTAGE]</a:t>
                    </a:fld>
                    <a:endParaRPr lang="en-IN"/>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661-48FE-A963-FD36592B44C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Soil, sand, and gravel</c:v>
                </c:pt>
                <c:pt idx="1">
                  <c:v>Masonry</c:v>
                </c:pt>
                <c:pt idx="2">
                  <c:v>Concrete</c:v>
                </c:pt>
                <c:pt idx="3">
                  <c:v>Metals</c:v>
                </c:pt>
                <c:pt idx="4">
                  <c:v>Wood</c:v>
                </c:pt>
                <c:pt idx="5">
                  <c:v>others</c:v>
                </c:pt>
              </c:strCache>
            </c:strRef>
          </c:cat>
          <c:val>
            <c:numRef>
              <c:f>Sheet1!$B$2:$B$7</c:f>
              <c:numCache>
                <c:formatCode>0%</c:formatCode>
                <c:ptCount val="6"/>
                <c:pt idx="0">
                  <c:v>0.28000000000000003</c:v>
                </c:pt>
                <c:pt idx="1">
                  <c:v>0.32</c:v>
                </c:pt>
                <c:pt idx="2">
                  <c:v>0.28000000000000003</c:v>
                </c:pt>
                <c:pt idx="3">
                  <c:v>0.06</c:v>
                </c:pt>
                <c:pt idx="4">
                  <c:v>0.03</c:v>
                </c:pt>
                <c:pt idx="5">
                  <c:v>0.05</c:v>
                </c:pt>
              </c:numCache>
            </c:numRef>
          </c:val>
          <c:extLst>
            <c:ext xmlns:c16="http://schemas.microsoft.com/office/drawing/2014/chart" uri="{C3380CC4-5D6E-409C-BE32-E72D297353CC}">
              <c16:uniqueId val="{00000000-8661-48FE-A963-FD36592B44C5}"/>
            </c:ext>
          </c:extLst>
        </c:ser>
        <c:dLbls>
          <c:showLegendKey val="0"/>
          <c:showVal val="0"/>
          <c:showCatName val="0"/>
          <c:showSerName val="0"/>
          <c:showPercent val="1"/>
          <c:showBubbleSize val="0"/>
          <c:showLeaderLines val="1"/>
        </c:dLbls>
      </c:pie3DChart>
      <c:spPr>
        <a:noFill/>
        <a:ln>
          <a:noFill/>
        </a:ln>
        <a:effectLst/>
      </c:spPr>
    </c:plotArea>
    <c:legend>
      <c:legendPos val="r"/>
      <c:layout>
        <c:manualLayout>
          <c:xMode val="edge"/>
          <c:yMode val="edge"/>
          <c:x val="0.66377481723960929"/>
          <c:y val="0.32299694320623568"/>
          <c:w val="0.33622520411830775"/>
          <c:h val="0.45854078412680843"/>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576B98-EA4C-47E1-82A2-3538F896902C}" type="datetimeFigureOut">
              <a:rPr lang="en-US" smtClean="0"/>
              <a:t>11/1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4FEC9B-BE4C-400B-A5CE-FB039A959F86}" type="slidenum">
              <a:rPr lang="en-US" smtClean="0"/>
              <a:t>‹#›</a:t>
            </a:fld>
            <a:endParaRPr lang="en-US"/>
          </a:p>
        </p:txBody>
      </p:sp>
    </p:spTree>
    <p:extLst>
      <p:ext uri="{BB962C8B-B14F-4D97-AF65-F5344CB8AC3E}">
        <p14:creationId xmlns:p14="http://schemas.microsoft.com/office/powerpoint/2010/main" val="8409996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6</a:t>
            </a:fld>
            <a:endParaRPr lang="de-DE" altLang="de-DE" dirty="0"/>
          </a:p>
        </p:txBody>
      </p:sp>
    </p:spTree>
    <p:extLst>
      <p:ext uri="{BB962C8B-B14F-4D97-AF65-F5344CB8AC3E}">
        <p14:creationId xmlns:p14="http://schemas.microsoft.com/office/powerpoint/2010/main" val="36826571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65</a:t>
            </a:fld>
            <a:endParaRPr lang="de-DE" altLang="de-DE" dirty="0"/>
          </a:p>
        </p:txBody>
      </p:sp>
    </p:spTree>
    <p:extLst>
      <p:ext uri="{BB962C8B-B14F-4D97-AF65-F5344CB8AC3E}">
        <p14:creationId xmlns:p14="http://schemas.microsoft.com/office/powerpoint/2010/main" val="4072697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66</a:t>
            </a:fld>
            <a:endParaRPr lang="de-DE" altLang="de-DE" dirty="0"/>
          </a:p>
        </p:txBody>
      </p:sp>
    </p:spTree>
    <p:extLst>
      <p:ext uri="{BB962C8B-B14F-4D97-AF65-F5344CB8AC3E}">
        <p14:creationId xmlns:p14="http://schemas.microsoft.com/office/powerpoint/2010/main" val="1397354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7</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8</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9</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0</a:t>
            </a:fld>
            <a:endParaRPr lang="de-DE" altLang="de-DE" dirty="0"/>
          </a:p>
        </p:txBody>
      </p:sp>
    </p:spTree>
    <p:extLst>
      <p:ext uri="{BB962C8B-B14F-4D97-AF65-F5344CB8AC3E}">
        <p14:creationId xmlns:p14="http://schemas.microsoft.com/office/powerpoint/2010/main" val="150745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1</a:t>
            </a:fld>
            <a:endParaRPr lang="de-DE" altLang="de-DE" dirty="0"/>
          </a:p>
        </p:txBody>
      </p:sp>
    </p:spTree>
    <p:extLst>
      <p:ext uri="{BB962C8B-B14F-4D97-AF65-F5344CB8AC3E}">
        <p14:creationId xmlns:p14="http://schemas.microsoft.com/office/powerpoint/2010/main" val="535663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2</a:t>
            </a:fld>
            <a:endParaRPr lang="de-DE" altLang="de-DE" dirty="0"/>
          </a:p>
        </p:txBody>
      </p:sp>
    </p:spTree>
    <p:extLst>
      <p:ext uri="{BB962C8B-B14F-4D97-AF65-F5344CB8AC3E}">
        <p14:creationId xmlns:p14="http://schemas.microsoft.com/office/powerpoint/2010/main" val="3603295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3</a:t>
            </a:fld>
            <a:endParaRPr lang="de-DE" altLang="de-DE" dirty="0"/>
          </a:p>
        </p:txBody>
      </p:sp>
    </p:spTree>
    <p:extLst>
      <p:ext uri="{BB962C8B-B14F-4D97-AF65-F5344CB8AC3E}">
        <p14:creationId xmlns:p14="http://schemas.microsoft.com/office/powerpoint/2010/main" val="1538728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64</a:t>
            </a:fld>
            <a:endParaRPr lang="de-DE" altLang="de-DE" dirty="0"/>
          </a:p>
        </p:txBody>
      </p:sp>
    </p:spTree>
    <p:extLst>
      <p:ext uri="{BB962C8B-B14F-4D97-AF65-F5344CB8AC3E}">
        <p14:creationId xmlns:p14="http://schemas.microsoft.com/office/powerpoint/2010/main" val="37208086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7897A-61A1-4BB0-8D52-60D6B39D9E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16168B-C9EE-42A8-B46A-023A3F0450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36E255-45B8-45F8-BDAE-6DB6E9E8346A}"/>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a:extLst>
              <a:ext uri="{FF2B5EF4-FFF2-40B4-BE49-F238E27FC236}">
                <a16:creationId xmlns:a16="http://schemas.microsoft.com/office/drawing/2014/main" id="{30D11031-2113-4810-B1BE-8B57112332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457BA4-35F2-497E-BD8C-4DB5C53B0237}"/>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379533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CED3E-CBB0-4B9C-8393-7B1CC53B2D4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A423C44-C2F6-4FFC-A9A6-6134535386A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EF8CE2-9D3E-4A17-8ECF-11E95E2B6F2C}"/>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a:extLst>
              <a:ext uri="{FF2B5EF4-FFF2-40B4-BE49-F238E27FC236}">
                <a16:creationId xmlns:a16="http://schemas.microsoft.com/office/drawing/2014/main" id="{2180AE96-68A8-4CDA-948D-460192404A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FB586C-BEB7-4A08-A8F4-E915369D88F0}"/>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6554665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8EA623-5373-4A99-A45C-98312764C72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7FC7E1-8CCA-4FBF-AFDB-22F7F917669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46857A-A9BB-4EF5-B736-5F9C452984F9}"/>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a:extLst>
              <a:ext uri="{FF2B5EF4-FFF2-40B4-BE49-F238E27FC236}">
                <a16:creationId xmlns:a16="http://schemas.microsoft.com/office/drawing/2014/main" id="{2F7B1E59-952B-410F-8E6C-308B753BF8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F1A6B9-24F1-487F-9901-355BA12D7E01}"/>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747876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17684918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0804287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457751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72418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0719333"/>
      </p:ext>
    </p:extLst>
  </p:cSld>
  <p:clrMapOvr>
    <a:masterClrMapping/>
  </p:clrMapOvr>
  <p:extLst>
    <p:ext uri="{DCECCB84-F9BA-43D5-87BE-67443E8EF086}">
      <p15:sldGuideLst xmlns:p15="http://schemas.microsoft.com/office/powerpoint/2012/main">
        <p15:guide id="2" pos="2592">
          <p15:clr>
            <a:srgbClr val="547EBF"/>
          </p15:clr>
        </p15:guide>
        <p15:guide id="4" pos="2736">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11882440"/>
      </p:ext>
    </p:extLst>
  </p:cSld>
  <p:clrMapOvr>
    <a:masterClrMapping/>
  </p:clrMapOvr>
  <p:extLst>
    <p:ext uri="{DCECCB84-F9BA-43D5-87BE-67443E8EF086}">
      <p15:sldGuideLst xmlns:p15="http://schemas.microsoft.com/office/powerpoint/2012/main">
        <p15:guide id="1" pos="3715">
          <p15:clr>
            <a:srgbClr val="547EBF"/>
          </p15:clr>
        </p15:guide>
        <p15:guide id="2" pos="414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8631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223804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5997D-9EAC-4085-99F1-AAE92B3AFC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984CCB-7C15-45C5-AA57-2D54E6B453F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01CFEF-E28D-4135-83F9-686CFF0D9828}"/>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a:extLst>
              <a:ext uri="{FF2B5EF4-FFF2-40B4-BE49-F238E27FC236}">
                <a16:creationId xmlns:a16="http://schemas.microsoft.com/office/drawing/2014/main" id="{D7C5B9DF-6BA0-4093-8CB2-3ED88334F0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044516-D8F2-4A5A-973A-50DD52FAB461}"/>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2346301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6891547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056118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682705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625000"/>
      </p:ext>
    </p:extLst>
  </p:cSld>
  <p:clrMapOvr>
    <a:masterClrMapping/>
  </p:clrMapOvr>
  <p:extLst>
    <p:ext uri="{DCECCB84-F9BA-43D5-87BE-67443E8EF086}">
      <p15:sldGuideLst xmlns:p15="http://schemas.microsoft.com/office/powerpoint/2012/main">
        <p15:guide id="2" pos="2592">
          <p15:clr>
            <a:srgbClr val="547EBF"/>
          </p15:clr>
        </p15:guide>
        <p15:guide id="4" pos="2736">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10156220"/>
      </p:ext>
    </p:extLst>
  </p:cSld>
  <p:clrMapOvr>
    <a:masterClrMapping/>
  </p:clrMapOvr>
  <p:extLst>
    <p:ext uri="{DCECCB84-F9BA-43D5-87BE-67443E8EF086}">
      <p15:sldGuideLst xmlns:p15="http://schemas.microsoft.com/office/powerpoint/2012/main">
        <p15:guide id="1" pos="3715">
          <p15:clr>
            <a:srgbClr val="547EBF"/>
          </p15:clr>
        </p15:guide>
        <p15:guide id="2" pos="4147">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7344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9034417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133389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973528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88525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16B96-695C-44C4-A1DE-02BAAEB118A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16F3644-CBE3-4339-92F4-1D40F105D06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E8DD093-88EA-41F0-A275-B40C45C24EB4}"/>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a:extLst>
              <a:ext uri="{FF2B5EF4-FFF2-40B4-BE49-F238E27FC236}">
                <a16:creationId xmlns:a16="http://schemas.microsoft.com/office/drawing/2014/main" id="{F4605B64-DF6B-4992-AF25-8979F06AB5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6B3C87-FAF7-498B-AEBC-6D91C427ECF2}"/>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7086213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9984519"/>
      </p:ext>
    </p:extLst>
  </p:cSld>
  <p:clrMapOvr>
    <a:masterClrMapping/>
  </p:clrMapOvr>
  <p:extLst>
    <p:ext uri="{DCECCB84-F9BA-43D5-87BE-67443E8EF086}">
      <p15:sldGuideLst xmlns:p15="http://schemas.microsoft.com/office/powerpoint/2012/main">
        <p15:guide id="2" pos="2592">
          <p15:clr>
            <a:srgbClr val="547EBF"/>
          </p15:clr>
        </p15:guide>
        <p15:guide id="4" pos="2736">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53064326"/>
      </p:ext>
    </p:extLst>
  </p:cSld>
  <p:clrMapOvr>
    <a:masterClrMapping/>
  </p:clrMapOvr>
  <p:extLst>
    <p:ext uri="{DCECCB84-F9BA-43D5-87BE-67443E8EF086}">
      <p15:sldGuideLst xmlns:p15="http://schemas.microsoft.com/office/powerpoint/2012/main">
        <p15:guide id="1" pos="3715">
          <p15:clr>
            <a:srgbClr val="547EBF"/>
          </p15:clr>
        </p15:guide>
        <p15:guide id="2" pos="4147">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5587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35367729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1367401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059440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072437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4640358"/>
      </p:ext>
    </p:extLst>
  </p:cSld>
  <p:clrMapOvr>
    <a:masterClrMapping/>
  </p:clrMapOvr>
  <p:extLst>
    <p:ext uri="{DCECCB84-F9BA-43D5-87BE-67443E8EF086}">
      <p15:sldGuideLst xmlns:p15="http://schemas.microsoft.com/office/powerpoint/2012/main">
        <p15:guide id="2" pos="2592">
          <p15:clr>
            <a:srgbClr val="547EBF"/>
          </p15:clr>
        </p15:guide>
        <p15:guide id="4" pos="2736">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73313816"/>
      </p:ext>
    </p:extLst>
  </p:cSld>
  <p:clrMapOvr>
    <a:masterClrMapping/>
  </p:clrMapOvr>
  <p:extLst>
    <p:ext uri="{DCECCB84-F9BA-43D5-87BE-67443E8EF086}">
      <p15:sldGuideLst xmlns:p15="http://schemas.microsoft.com/office/powerpoint/2012/main">
        <p15:guide id="1" pos="3715">
          <p15:clr>
            <a:srgbClr val="547EBF"/>
          </p15:clr>
        </p15:guide>
        <p15:guide id="2" pos="414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51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E4D52-B13A-41CB-B379-C49DF2CE7C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266645-EF28-4351-8059-1E112B385F5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0B1A58D-DBA7-4E43-BF36-67CBF8E8062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566DD1-8C5B-4638-BDF6-8801ACEC5127}"/>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6" name="Footer Placeholder 5">
            <a:extLst>
              <a:ext uri="{FF2B5EF4-FFF2-40B4-BE49-F238E27FC236}">
                <a16:creationId xmlns:a16="http://schemas.microsoft.com/office/drawing/2014/main" id="{EC1A7266-5177-4523-B7A1-E449E90D8B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DF8E7C-8E4F-4129-BC89-C62D0F5C0E4E}"/>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7200972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23900116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9432052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313324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737469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1958666"/>
      </p:ext>
    </p:extLst>
  </p:cSld>
  <p:clrMapOvr>
    <a:masterClrMapping/>
  </p:clrMapOvr>
  <p:extLst>
    <p:ext uri="{DCECCB84-F9BA-43D5-87BE-67443E8EF086}">
      <p15:sldGuideLst xmlns:p15="http://schemas.microsoft.com/office/powerpoint/2012/main">
        <p15:guide id="2" pos="2592">
          <p15:clr>
            <a:srgbClr val="547EBF"/>
          </p15:clr>
        </p15:guide>
        <p15:guide id="4" pos="2736">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80911549"/>
      </p:ext>
    </p:extLst>
  </p:cSld>
  <p:clrMapOvr>
    <a:masterClrMapping/>
  </p:clrMapOvr>
  <p:extLst>
    <p:ext uri="{DCECCB84-F9BA-43D5-87BE-67443E8EF086}">
      <p15:sldGuideLst xmlns:p15="http://schemas.microsoft.com/office/powerpoint/2012/main">
        <p15:guide id="1" pos="3715">
          <p15:clr>
            <a:srgbClr val="547EBF"/>
          </p15:clr>
        </p15:guide>
        <p15:guide id="2" pos="4147">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21853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37537871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5052638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58569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2AF01-67D4-4FB2-B5B8-731AC6688C1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B4D983-6B5E-4B04-8010-B09653617D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65C54B2-E55E-44D4-9E2A-D07833660B3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95F4CEA-FEB0-4139-BEED-79E772CB65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1B0BACB-3E9D-4F33-8454-6FC62C6851C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7A87751-F10E-4096-8B37-D104A0B1BDB8}"/>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8" name="Footer Placeholder 7">
            <a:extLst>
              <a:ext uri="{FF2B5EF4-FFF2-40B4-BE49-F238E27FC236}">
                <a16:creationId xmlns:a16="http://schemas.microsoft.com/office/drawing/2014/main" id="{61C9D72E-019B-435B-8503-C5478A1349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F83A00D-1B78-43ED-BAEA-9D025B24D2CC}"/>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4332443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010183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737524"/>
      </p:ext>
    </p:extLst>
  </p:cSld>
  <p:clrMapOvr>
    <a:masterClrMapping/>
  </p:clrMapOvr>
  <p:extLst>
    <p:ext uri="{DCECCB84-F9BA-43D5-87BE-67443E8EF086}">
      <p15:sldGuideLst xmlns:p15="http://schemas.microsoft.com/office/powerpoint/2012/main">
        <p15:guide id="2" pos="2592">
          <p15:clr>
            <a:srgbClr val="547EBF"/>
          </p15:clr>
        </p15:guide>
        <p15:guide id="4" pos="2736">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38057999"/>
      </p:ext>
    </p:extLst>
  </p:cSld>
  <p:clrMapOvr>
    <a:masterClrMapping/>
  </p:clrMapOvr>
  <p:extLst>
    <p:ext uri="{DCECCB84-F9BA-43D5-87BE-67443E8EF086}">
      <p15:sldGuideLst xmlns:p15="http://schemas.microsoft.com/office/powerpoint/2012/main">
        <p15:guide id="1" pos="3715">
          <p15:clr>
            <a:srgbClr val="547EBF"/>
          </p15:clr>
        </p15:guide>
        <p15:guide id="2" pos="4147">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269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11239781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8815810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475323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901899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008546"/>
      </p:ext>
    </p:extLst>
  </p:cSld>
  <p:clrMapOvr>
    <a:masterClrMapping/>
  </p:clrMapOvr>
  <p:extLst>
    <p:ext uri="{DCECCB84-F9BA-43D5-87BE-67443E8EF086}">
      <p15:sldGuideLst xmlns:p15="http://schemas.microsoft.com/office/powerpoint/2012/main">
        <p15:guide id="2" pos="2592">
          <p15:clr>
            <a:srgbClr val="547EBF"/>
          </p15:clr>
        </p15:guide>
        <p15:guide id="4" pos="2736">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91922370"/>
      </p:ext>
    </p:extLst>
  </p:cSld>
  <p:clrMapOvr>
    <a:masterClrMapping/>
  </p:clrMapOvr>
  <p:extLst>
    <p:ext uri="{DCECCB84-F9BA-43D5-87BE-67443E8EF086}">
      <p15:sldGuideLst xmlns:p15="http://schemas.microsoft.com/office/powerpoint/2012/main">
        <p15:guide id="1" pos="3715">
          <p15:clr>
            <a:srgbClr val="547EBF"/>
          </p15:clr>
        </p15:guide>
        <p15:guide id="2" pos="414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D1E41-860F-4392-B7F1-3B7E03C18FF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F5EDE0B-00F2-4CA1-BE15-478A26FA9118}"/>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4" name="Footer Placeholder 3">
            <a:extLst>
              <a:ext uri="{FF2B5EF4-FFF2-40B4-BE49-F238E27FC236}">
                <a16:creationId xmlns:a16="http://schemas.microsoft.com/office/drawing/2014/main" id="{C16477A4-6733-4ADD-BA4A-30AFAC12571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9EA020-CA4D-4C8F-B575-E8426D1F3DE9}"/>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593111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2061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0F863-7E80-4FAF-B4DD-EE865E1420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7FF2FF9-53D2-4649-BD4E-413BA5BB9E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DD7BF45-38F0-4BAC-A1B4-8FB122D0C694}"/>
              </a:ext>
            </a:extLst>
          </p:cNvPr>
          <p:cNvSpPr>
            <a:spLocks noGrp="1"/>
          </p:cNvSpPr>
          <p:nvPr>
            <p:ph type="dt" sz="half" idx="10"/>
          </p:nvPr>
        </p:nvSpPr>
        <p:spPr/>
        <p:txBody>
          <a:bodyPr/>
          <a:lstStyle/>
          <a:p>
            <a:fld id="{EC1B0FA0-B69D-4429-A383-3F6DE177F404}" type="datetimeFigureOut">
              <a:rPr lang="en-US" smtClean="0"/>
              <a:t>11/10/2021</a:t>
            </a:fld>
            <a:endParaRPr lang="en-US"/>
          </a:p>
        </p:txBody>
      </p:sp>
      <p:sp>
        <p:nvSpPr>
          <p:cNvPr id="5" name="Footer Placeholder 4">
            <a:extLst>
              <a:ext uri="{FF2B5EF4-FFF2-40B4-BE49-F238E27FC236}">
                <a16:creationId xmlns:a16="http://schemas.microsoft.com/office/drawing/2014/main" id="{D89EA407-9951-4436-BA1F-7C64B61866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B76F89-7163-46A8-9C51-38549BF6CFA1}"/>
              </a:ext>
            </a:extLst>
          </p:cNvPr>
          <p:cNvSpPr>
            <a:spLocks noGrp="1"/>
          </p:cNvSpPr>
          <p:nvPr>
            <p:ph type="sldNum" sz="quarter" idx="12"/>
          </p:nvPr>
        </p:nvSpPr>
        <p:spPr/>
        <p:txBody>
          <a:bodyPr/>
          <a:lstStyle/>
          <a:p>
            <a:fld id="{25539780-2744-4946-9CA8-C2BFE8243CCC}" type="slidenum">
              <a:rPr lang="en-US" smtClean="0"/>
              <a:t>‹#›</a:t>
            </a:fld>
            <a:endParaRPr lang="en-US"/>
          </a:p>
        </p:txBody>
      </p:sp>
    </p:spTree>
    <p:extLst>
      <p:ext uri="{BB962C8B-B14F-4D97-AF65-F5344CB8AC3E}">
        <p14:creationId xmlns:p14="http://schemas.microsoft.com/office/powerpoint/2010/main" val="1890812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accent1">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175262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5311751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319672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3A1C593-65D0-4073-BCC9-577B9352EA97}" type="datetimeFigureOut">
              <a:rPr lang="en-US" smtClean="0"/>
              <a:t>11/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788625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3A1C593-65D0-4073-BCC9-577B9352EA97}" type="datetimeFigureOut">
              <a:rPr lang="en-US" smtClean="0"/>
              <a:t>11/1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0966454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Date Placeholder 2"/>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3"/>
          <p:cNvSpPr>
            <a:spLocks noGrp="1"/>
          </p:cNvSpPr>
          <p:nvPr>
            <p:ph type="ftr" sz="quarter" idx="11"/>
          </p:nvPr>
        </p:nvSpPr>
        <p:spPr/>
        <p:txBody>
          <a:bodyPr/>
          <a:lstStyle/>
          <a:p>
            <a:endParaRPr lang="en-US"/>
          </a:p>
        </p:txBody>
      </p:sp>
      <p:sp>
        <p:nvSpPr>
          <p:cNvPr id="6" name="Slide Number Placeholder 4"/>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7848098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40B9DC32-897F-432E-96C8-FA5D106DCB31}" type="datetimeFigureOut">
              <a:rPr lang="en-US" smtClean="0"/>
              <a:t>11/10/2021</a:t>
            </a:fld>
            <a:endParaRPr lang="en-US"/>
          </a:p>
        </p:txBody>
      </p:sp>
      <p:sp>
        <p:nvSpPr>
          <p:cNvPr id="5" name="Footer Placeholder 2"/>
          <p:cNvSpPr>
            <a:spLocks noGrp="1"/>
          </p:cNvSpPr>
          <p:nvPr>
            <p:ph type="ftr" sz="quarter" idx="11"/>
          </p:nvPr>
        </p:nvSpPr>
        <p:spPr/>
        <p:txBody>
          <a:bodyPr/>
          <a:lstStyle/>
          <a:p>
            <a:endParaRPr lang="en-US"/>
          </a:p>
        </p:txBody>
      </p:sp>
      <p:sp>
        <p:nvSpPr>
          <p:cNvPr id="6" name="Slide Number Placeholder 3"/>
          <p:cNvSpPr>
            <a:spLocks noGrp="1"/>
          </p:cNvSpPr>
          <p:nvPr>
            <p:ph type="sldNum" sz="quarter" idx="12"/>
          </p:nvPr>
        </p:nvSpPr>
        <p:spPr/>
        <p:txBody>
          <a:bodyPr/>
          <a:lstStyle/>
          <a:p>
            <a:fld id="{F5269054-D9B4-4C30-BFE2-958DFFF4738F}" type="slidenum">
              <a:rPr lang="en-US" smtClean="0"/>
              <a:t>‹#›</a:t>
            </a:fld>
            <a:endParaRPr lang="en-US"/>
          </a:p>
        </p:txBody>
      </p:sp>
    </p:spTree>
    <p:extLst>
      <p:ext uri="{BB962C8B-B14F-4D97-AF65-F5344CB8AC3E}">
        <p14:creationId xmlns:p14="http://schemas.microsoft.com/office/powerpoint/2010/main" val="34614484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3401063" cy="14478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54955" y="3129280"/>
            <a:ext cx="3401062"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7" name="Date Placeholder 4"/>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5"/>
          <p:cNvSpPr>
            <a:spLocks noGrp="1"/>
          </p:cNvSpPr>
          <p:nvPr>
            <p:ph type="ftr" sz="quarter" idx="11"/>
          </p:nvPr>
        </p:nvSpPr>
        <p:spPr/>
        <p:txBody>
          <a:bodyPr/>
          <a:lstStyle/>
          <a:p>
            <a:endParaRPr lang="en-US"/>
          </a:p>
        </p:txBody>
      </p:sp>
      <p:sp>
        <p:nvSpPr>
          <p:cNvPr id="6"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1940003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23A8D8-5691-42D9-8B89-DE96DB329C3D}"/>
              </a:ext>
            </a:extLst>
          </p:cNvPr>
          <p:cNvSpPr>
            <a:spLocks noGrp="1"/>
          </p:cNvSpPr>
          <p:nvPr>
            <p:ph type="dt" sz="half" idx="10"/>
          </p:nvPr>
        </p:nvSpPr>
        <p:spPr/>
        <p:txBody>
          <a:bodyPr/>
          <a:lstStyle/>
          <a:p>
            <a:fld id="{40B9DC32-897F-432E-96C8-FA5D106DCB31}" type="datetimeFigureOut">
              <a:rPr lang="en-US" smtClean="0"/>
              <a:t>11/10/2021</a:t>
            </a:fld>
            <a:endParaRPr lang="en-US"/>
          </a:p>
        </p:txBody>
      </p:sp>
      <p:sp>
        <p:nvSpPr>
          <p:cNvPr id="3" name="Footer Placeholder 2">
            <a:extLst>
              <a:ext uri="{FF2B5EF4-FFF2-40B4-BE49-F238E27FC236}">
                <a16:creationId xmlns:a16="http://schemas.microsoft.com/office/drawing/2014/main" id="{26285419-441B-4681-9A40-2166E224B66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C1CC960-0B89-4A33-A9D2-50D9A58891F3}"/>
              </a:ext>
            </a:extLst>
          </p:cNvPr>
          <p:cNvSpPr>
            <a:spLocks noGrp="1"/>
          </p:cNvSpPr>
          <p:nvPr>
            <p:ph type="sldNum" sz="quarter" idx="12"/>
          </p:nvPr>
        </p:nvSpPr>
        <p:spPr/>
        <p:txBody>
          <a:bodyPr/>
          <a:lstStyle/>
          <a:p>
            <a:fld id="{F5269054-D9B4-4C30-BFE2-958DFFF4738F}" type="slidenum">
              <a:rPr lang="en-US" smtClean="0"/>
              <a:t>‹#›</a:t>
            </a:fld>
            <a:endParaRPr lang="en-US"/>
          </a:p>
        </p:txBody>
      </p:sp>
    </p:spTree>
    <p:extLst>
      <p:ext uri="{BB962C8B-B14F-4D97-AF65-F5344CB8AC3E}">
        <p14:creationId xmlns:p14="http://schemas.microsoft.com/office/powerpoint/2010/main" val="14273002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63A1C593-65D0-4073-BCC9-577B9352EA97}" type="datetimeFigureOut">
              <a:rPr lang="en-US" smtClean="0"/>
              <a:t>11/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6910730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5" y="685799"/>
            <a:ext cx="8825658" cy="3640667"/>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63A1C593-65D0-4073-BCC9-577B9352EA97}" type="datetimeFigureOut">
              <a:rPr lang="en-US" smtClean="0"/>
              <a:t>11/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1103799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en-US"/>
              <a:t>Click to edit Master title style</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5881775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74800" y="1447800"/>
            <a:ext cx="7999315" cy="2323374"/>
          </a:xfrm>
        </p:spPr>
        <p:txBody>
          <a:bodyPr/>
          <a:lstStyle>
            <a:lvl1pPr>
              <a:defRPr sz="4800"/>
            </a:lvl1pPr>
          </a:lstStyle>
          <a:p>
            <a:r>
              <a:rPr lang="en-US"/>
              <a:t>Click to edit Master title style</a:t>
            </a:r>
            <a:endParaRPr lang="en-US" dirty="0"/>
          </a:p>
        </p:txBody>
      </p:sp>
      <p:sp>
        <p:nvSpPr>
          <p:cNvPr id="14" name="Text Placeholder 3"/>
          <p:cNvSpPr>
            <a:spLocks noGrp="1"/>
          </p:cNvSpPr>
          <p:nvPr>
            <p:ph type="body" sz="half" idx="13"/>
          </p:nvPr>
        </p:nvSpPr>
        <p:spPr>
          <a:xfrm>
            <a:off x="1930400" y="3771174"/>
            <a:ext cx="7279649" cy="342174"/>
          </a:xfrm>
        </p:spPr>
        <p:txBody>
          <a:bodyPr anchor="t">
            <a:normAutofit/>
          </a:bodyPr>
          <a:lstStyle>
            <a:lvl1pPr marL="0" indent="0">
              <a:buNone/>
              <a:defRPr lang="en-US" sz="1400" b="0" i="0" kern="1200" cap="small" dirty="0">
                <a:solidFill>
                  <a:schemeClr val="accent1">
                    <a:lumMod val="60000"/>
                    <a:lumOff val="4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
        <p:nvSpPr>
          <p:cNvPr id="12" name="TextBox 11"/>
          <p:cNvSpPr txBox="1"/>
          <p:nvPr/>
        </p:nvSpPr>
        <p:spPr>
          <a:xfrm>
            <a:off x="898295" y="971253"/>
            <a:ext cx="801912" cy="1969770"/>
          </a:xfrm>
          <a:prstGeom prst="rect">
            <a:avLst/>
          </a:prstGeom>
          <a:noFill/>
        </p:spPr>
        <p:txBody>
          <a:bodyPr wrap="square" rtlCol="0">
            <a:spAutoFit/>
          </a:bodyPr>
          <a:lstStyle/>
          <a:p>
            <a:pPr algn="r"/>
            <a:r>
              <a:rPr lang="en-US" sz="12200" b="0" i="0" dirty="0">
                <a:solidFill>
                  <a:schemeClr val="accent1">
                    <a:lumMod val="60000"/>
                    <a:lumOff val="40000"/>
                  </a:schemeClr>
                </a:solidFill>
                <a:latin typeface="Arial"/>
                <a:ea typeface="+mj-ea"/>
                <a:cs typeface="+mj-cs"/>
              </a:rPr>
              <a:t>“</a:t>
            </a:r>
          </a:p>
        </p:txBody>
      </p:sp>
      <p:sp>
        <p:nvSpPr>
          <p:cNvPr id="11" name="TextBox 10"/>
          <p:cNvSpPr txBox="1"/>
          <p:nvPr/>
        </p:nvSpPr>
        <p:spPr>
          <a:xfrm>
            <a:off x="9330490" y="2613787"/>
            <a:ext cx="801912" cy="1969770"/>
          </a:xfrm>
          <a:prstGeom prst="rect">
            <a:avLst/>
          </a:prstGeom>
          <a:noFill/>
        </p:spPr>
        <p:txBody>
          <a:bodyPr wrap="square" rtlCol="0">
            <a:spAutoFit/>
          </a:bodyPr>
          <a:lstStyle/>
          <a:p>
            <a:pPr algn="r"/>
            <a:r>
              <a:rPr lang="en-US" sz="12200" b="0" i="0" dirty="0">
                <a:solidFill>
                  <a:schemeClr val="accent1">
                    <a:lumMod val="60000"/>
                    <a:lumOff val="40000"/>
                  </a:schemeClr>
                </a:solidFill>
                <a:latin typeface="Arial"/>
                <a:ea typeface="+mj-ea"/>
                <a:cs typeface="+mj-cs"/>
              </a:rPr>
              <a:t>”</a:t>
            </a:r>
          </a:p>
        </p:txBody>
      </p:sp>
    </p:spTree>
    <p:extLst>
      <p:ext uri="{BB962C8B-B14F-4D97-AF65-F5344CB8AC3E}">
        <p14:creationId xmlns:p14="http://schemas.microsoft.com/office/powerpoint/2010/main" val="3052948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59" cy="165318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none">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2503121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7" name="Straight Connector 16"/>
          <p:cNvCxnSpPr/>
          <p:nvPr/>
        </p:nvCxnSpPr>
        <p:spPr>
          <a:xfrm>
            <a:off x="3726142" y="2133600"/>
            <a:ext cx="0" cy="39624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370116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7" name="Straight Connector 16"/>
          <p:cNvCxnSpPr/>
          <p:nvPr/>
        </p:nvCxnSpPr>
        <p:spPr>
          <a:xfrm>
            <a:off x="3726142" y="2133600"/>
            <a:ext cx="0" cy="39624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8836614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5778306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3A1C593-65D0-4073-BCC9-577B9352EA97}" type="datetimeFigureOut">
              <a:rPr lang="en-US" smtClean="0"/>
              <a:t>11/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9925605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BD7C2-5CA9-49F5-A0EC-BE717E8D77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722C4EF-F6EE-4E5D-923D-C54C7B5FCB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E5F65D7-CD95-4FD5-BE30-DFC35F2AC7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212615E-960E-4F7A-B746-AB20D3641BE1}"/>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6" name="Footer Placeholder 5">
            <a:extLst>
              <a:ext uri="{FF2B5EF4-FFF2-40B4-BE49-F238E27FC236}">
                <a16:creationId xmlns:a16="http://schemas.microsoft.com/office/drawing/2014/main" id="{9C177715-81CF-4F08-80E0-AAC6151556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632A03-8A0B-4C87-A58E-7B2A49F13DFE}"/>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1956396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C5EB0-FCAA-4271-A4E7-FA57D51092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B105AEA-C5EA-4348-9315-9EA4934899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341FAC1-E5DF-4329-A882-E1FEDB4352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6EBBF86-B986-4024-8B7A-01E6873C5ED2}"/>
              </a:ext>
            </a:extLst>
          </p:cNvPr>
          <p:cNvSpPr>
            <a:spLocks noGrp="1"/>
          </p:cNvSpPr>
          <p:nvPr>
            <p:ph type="dt" sz="half" idx="10"/>
          </p:nvPr>
        </p:nvSpPr>
        <p:spPr/>
        <p:txBody>
          <a:bodyPr/>
          <a:lstStyle/>
          <a:p>
            <a:fld id="{63A1C593-65D0-4073-BCC9-577B9352EA97}" type="datetimeFigureOut">
              <a:rPr lang="en-US" smtClean="0"/>
              <a:t>11/10/2021</a:t>
            </a:fld>
            <a:endParaRPr lang="en-US"/>
          </a:p>
        </p:txBody>
      </p:sp>
      <p:sp>
        <p:nvSpPr>
          <p:cNvPr id="6" name="Footer Placeholder 5">
            <a:extLst>
              <a:ext uri="{FF2B5EF4-FFF2-40B4-BE49-F238E27FC236}">
                <a16:creationId xmlns:a16="http://schemas.microsoft.com/office/drawing/2014/main" id="{D9AAABC7-728D-4152-9A9B-4ADD9DFE93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75956D-E94C-4BDB-939E-3BA3A4282FED}"/>
              </a:ext>
            </a:extLst>
          </p:cNvPr>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38370514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2.xml"/><Relationship Id="rId5" Type="http://schemas.openxmlformats.org/officeDocument/2006/relationships/slideLayout" Target="../slideLayouts/slideLayout16.xml"/><Relationship Id="rId10" Type="http://schemas.openxmlformats.org/officeDocument/2006/relationships/tags" Target="../tags/tag1.xml"/><Relationship Id="rId4" Type="http://schemas.openxmlformats.org/officeDocument/2006/relationships/slideLayout" Target="../slideLayouts/slideLayout15.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oleObject" Target="../embeddings/oleObject2.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ags" Target="../tags/tag4.xml"/><Relationship Id="rId5" Type="http://schemas.openxmlformats.org/officeDocument/2006/relationships/slideLayout" Target="../slideLayouts/slideLayout23.xml"/><Relationship Id="rId10" Type="http://schemas.openxmlformats.org/officeDocument/2006/relationships/tags" Target="../tags/tag3.xml"/><Relationship Id="rId4" Type="http://schemas.openxmlformats.org/officeDocument/2006/relationships/slideLayout" Target="../slideLayouts/slideLayout22.xml"/><Relationship Id="rId9" Type="http://schemas.openxmlformats.org/officeDocument/2006/relationships/vmlDrawing" Target="../drawings/vmlDrawing2.v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oleObject" Target="../embeddings/oleObject3.bin"/><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ags" Target="../tags/tag6.xml"/><Relationship Id="rId5" Type="http://schemas.openxmlformats.org/officeDocument/2006/relationships/slideLayout" Target="../slideLayouts/slideLayout30.xml"/><Relationship Id="rId10" Type="http://schemas.openxmlformats.org/officeDocument/2006/relationships/tags" Target="../tags/tag5.xml"/><Relationship Id="rId4" Type="http://schemas.openxmlformats.org/officeDocument/2006/relationships/slideLayout" Target="../slideLayouts/slideLayout29.xml"/><Relationship Id="rId9" Type="http://schemas.openxmlformats.org/officeDocument/2006/relationships/vmlDrawing" Target="../drawings/vmlDrawing3.v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4.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8.xml"/><Relationship Id="rId5" Type="http://schemas.openxmlformats.org/officeDocument/2006/relationships/slideLayout" Target="../slideLayouts/slideLayout37.xml"/><Relationship Id="rId10" Type="http://schemas.openxmlformats.org/officeDocument/2006/relationships/tags" Target="../tags/tag7.xml"/><Relationship Id="rId4" Type="http://schemas.openxmlformats.org/officeDocument/2006/relationships/slideLayout" Target="../slideLayouts/slideLayout36.xml"/><Relationship Id="rId9"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10.xml"/><Relationship Id="rId5" Type="http://schemas.openxmlformats.org/officeDocument/2006/relationships/slideLayout" Target="../slideLayouts/slideLayout44.xml"/><Relationship Id="rId10" Type="http://schemas.openxmlformats.org/officeDocument/2006/relationships/tags" Target="../tags/tag9.xml"/><Relationship Id="rId4" Type="http://schemas.openxmlformats.org/officeDocument/2006/relationships/slideLayout" Target="../slideLayouts/slideLayout43.xml"/><Relationship Id="rId9" Type="http://schemas.openxmlformats.org/officeDocument/2006/relationships/vmlDrawing" Target="../drawings/vmlDrawing5.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6.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12.xml"/><Relationship Id="rId5" Type="http://schemas.openxmlformats.org/officeDocument/2006/relationships/slideLayout" Target="../slideLayouts/slideLayout51.xml"/><Relationship Id="rId10" Type="http://schemas.openxmlformats.org/officeDocument/2006/relationships/tags" Target="../tags/tag11.xml"/><Relationship Id="rId4" Type="http://schemas.openxmlformats.org/officeDocument/2006/relationships/slideLayout" Target="../slideLayouts/slideLayout50.xml"/><Relationship Id="rId9" Type="http://schemas.openxmlformats.org/officeDocument/2006/relationships/vmlDrawing" Target="../drawings/vmlDrawing6.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oleObject" Target="../embeddings/oleObject7.bin"/><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ags" Target="../tags/tag14.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13.xml"/><Relationship Id="rId5" Type="http://schemas.openxmlformats.org/officeDocument/2006/relationships/slideLayout" Target="../slideLayouts/slideLayout58.xml"/><Relationship Id="rId10" Type="http://schemas.openxmlformats.org/officeDocument/2006/relationships/vmlDrawing" Target="../drawings/vmlDrawing7.vml"/><Relationship Id="rId4" Type="http://schemas.openxmlformats.org/officeDocument/2006/relationships/slideLayout" Target="../slideLayouts/slideLayout57.xml"/><Relationship Id="rId9" Type="http://schemas.openxmlformats.org/officeDocument/2006/relationships/theme" Target="../theme/theme8.xml"/><Relationship Id="rId14"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theme" Target="../theme/theme9.xml"/><Relationship Id="rId3" Type="http://schemas.openxmlformats.org/officeDocument/2006/relationships/slideLayout" Target="../slideLayouts/slideLayout64.xml"/><Relationship Id="rId21" Type="http://schemas.openxmlformats.org/officeDocument/2006/relationships/image" Target="../media/image5.png"/><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image" Target="../media/image4.png"/><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image" Target="../media/image3.pn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D6E771-F79F-4FAA-9687-01336495DD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0DD3EE-A369-485A-98E5-32FC818D2BE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ECFF6F-0E02-4AF0-81BC-88D9C8CCC81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A1C593-65D0-4073-BCC9-577B9352EA97}" type="datetimeFigureOut">
              <a:rPr lang="en-US" smtClean="0"/>
              <a:t>11/10/2021</a:t>
            </a:fld>
            <a:endParaRPr lang="en-US"/>
          </a:p>
        </p:txBody>
      </p:sp>
      <p:sp>
        <p:nvSpPr>
          <p:cNvPr id="5" name="Footer Placeholder 4">
            <a:extLst>
              <a:ext uri="{FF2B5EF4-FFF2-40B4-BE49-F238E27FC236}">
                <a16:creationId xmlns:a16="http://schemas.microsoft.com/office/drawing/2014/main" id="{7B79A13D-2728-4212-A0A6-4444BD121A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F0FF8E-E5B0-42D2-92FE-7CF349C23E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3303998498"/>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BED9D67-6A1B-47F6-9A78-70228FCF05EC}"/>
              </a:ext>
            </a:extLst>
          </p:cNvPr>
          <p:cNvGraphicFramePr>
            <a:graphicFrameLocks noChangeAspect="1"/>
          </p:cNvGraphicFramePr>
          <p:nvPr>
            <p:custDataLst>
              <p:tags r:id="rId10"/>
            </p:custDataLst>
            <p:extLst>
              <p:ext uri="{D42A27DB-BD31-4B8C-83A1-F6EECF244321}">
                <p14:modId xmlns:p14="http://schemas.microsoft.com/office/powerpoint/2010/main" val="331404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2" imgW="360" imgH="360" progId="TCLayout.ActiveDocument.1">
                  <p:embed/>
                </p:oleObj>
              </mc:Choice>
              <mc:Fallback>
                <p:oleObj name="think-cell Slide" r:id="rId12" imgW="360" imgH="360" progId="TCLayout.ActiveDocument.1">
                  <p:embed/>
                  <p:pic>
                    <p:nvPicPr>
                      <p:cNvPr id="9" name="Object 8" hidden="1">
                        <a:extLst>
                          <a:ext uri="{FF2B5EF4-FFF2-40B4-BE49-F238E27FC236}">
                            <a16:creationId xmlns:a16="http://schemas.microsoft.com/office/drawing/2014/main" id="{7BED9D67-6A1B-47F6-9A78-70228FCF0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B6F8EE-726C-4FC7-8283-2869321F7941}"/>
              </a:ext>
            </a:extLst>
          </p:cNvPr>
          <p:cNvSpPr/>
          <p:nvPr>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US"/>
              <a:t>Click to edit Master title style</a:t>
            </a:r>
            <a:endParaRPr lang="en-US"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63A1C593-65D0-4073-BCC9-577B9352EA97}" type="datetimeFigureOut">
              <a:rPr lang="en-US" smtClean="0"/>
              <a:t>11/10/2021</a:t>
            </a:fld>
            <a:endParaRPr lang="en-US"/>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US"/>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421226755"/>
      </p:ext>
    </p:extLst>
  </p:cSld>
  <p:clrMap bg1="dk1" tx1="lt1" bg2="dk2" tx2="lt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BED9D67-6A1B-47F6-9A78-70228FCF05EC}"/>
              </a:ext>
            </a:extLst>
          </p:cNvPr>
          <p:cNvGraphicFramePr>
            <a:graphicFrameLocks noChangeAspect="1"/>
          </p:cNvGraphicFramePr>
          <p:nvPr>
            <p:custDataLst>
              <p:tags r:id="rId10"/>
            </p:custDataLst>
            <p:extLst>
              <p:ext uri="{D42A27DB-BD31-4B8C-83A1-F6EECF244321}">
                <p14:modId xmlns:p14="http://schemas.microsoft.com/office/powerpoint/2010/main" val="2107781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12" imgW="360" imgH="360" progId="TCLayout.ActiveDocument.1">
                  <p:embed/>
                </p:oleObj>
              </mc:Choice>
              <mc:Fallback>
                <p:oleObj name="think-cell Slide" r:id="rId12" imgW="360" imgH="360" progId="TCLayout.ActiveDocument.1">
                  <p:embed/>
                  <p:pic>
                    <p:nvPicPr>
                      <p:cNvPr id="9" name="Object 8" hidden="1">
                        <a:extLst>
                          <a:ext uri="{FF2B5EF4-FFF2-40B4-BE49-F238E27FC236}">
                            <a16:creationId xmlns:a16="http://schemas.microsoft.com/office/drawing/2014/main" id="{7BED9D67-6A1B-47F6-9A78-70228FCF0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B6F8EE-726C-4FC7-8283-2869321F7941}"/>
              </a:ext>
            </a:extLst>
          </p:cNvPr>
          <p:cNvSpPr/>
          <p:nvPr>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US"/>
              <a:t>Click to edit Master title style</a:t>
            </a:r>
            <a:endParaRPr lang="en-US"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63A1C593-65D0-4073-BCC9-577B9352EA97}" type="datetimeFigureOut">
              <a:rPr lang="en-US" smtClean="0"/>
              <a:t>11/10/2021</a:t>
            </a:fld>
            <a:endParaRPr lang="en-US"/>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US"/>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1780604953"/>
      </p:ext>
    </p:extLst>
  </p:cSld>
  <p:clrMap bg1="dk1" tx1="lt1" bg2="dk2" tx2="lt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BED9D67-6A1B-47F6-9A78-70228FCF05EC}"/>
              </a:ext>
            </a:extLst>
          </p:cNvPr>
          <p:cNvGraphicFramePr>
            <a:graphicFrameLocks noChangeAspect="1"/>
          </p:cNvGraphicFramePr>
          <p:nvPr>
            <p:custDataLst>
              <p:tags r:id="rId10"/>
            </p:custDataLst>
            <p:extLst>
              <p:ext uri="{D42A27DB-BD31-4B8C-83A1-F6EECF244321}">
                <p14:modId xmlns:p14="http://schemas.microsoft.com/office/powerpoint/2010/main" val="1056283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12" imgW="360" imgH="360" progId="TCLayout.ActiveDocument.1">
                  <p:embed/>
                </p:oleObj>
              </mc:Choice>
              <mc:Fallback>
                <p:oleObj name="think-cell Slide" r:id="rId12" imgW="360" imgH="360" progId="TCLayout.ActiveDocument.1">
                  <p:embed/>
                  <p:pic>
                    <p:nvPicPr>
                      <p:cNvPr id="9" name="Object 8" hidden="1">
                        <a:extLst>
                          <a:ext uri="{FF2B5EF4-FFF2-40B4-BE49-F238E27FC236}">
                            <a16:creationId xmlns:a16="http://schemas.microsoft.com/office/drawing/2014/main" id="{7BED9D67-6A1B-47F6-9A78-70228FCF0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B6F8EE-726C-4FC7-8283-2869321F7941}"/>
              </a:ext>
            </a:extLst>
          </p:cNvPr>
          <p:cNvSpPr/>
          <p:nvPr>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US"/>
              <a:t>Click to edit Master title style</a:t>
            </a:r>
            <a:endParaRPr lang="en-US"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63A1C593-65D0-4073-BCC9-577B9352EA97}" type="datetimeFigureOut">
              <a:rPr lang="en-US" smtClean="0"/>
              <a:t>11/10/2021</a:t>
            </a:fld>
            <a:endParaRPr lang="en-US"/>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US"/>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3403745831"/>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BED9D67-6A1B-47F6-9A78-70228FCF05EC}"/>
              </a:ext>
            </a:extLst>
          </p:cNvPr>
          <p:cNvGraphicFramePr>
            <a:graphicFrameLocks noChangeAspect="1"/>
          </p:cNvGraphicFramePr>
          <p:nvPr>
            <p:custDataLst>
              <p:tags r:id="rId10"/>
            </p:custDataLst>
            <p:extLst>
              <p:ext uri="{D42A27DB-BD31-4B8C-83A1-F6EECF244321}">
                <p14:modId xmlns:p14="http://schemas.microsoft.com/office/powerpoint/2010/main" val="115228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12" imgW="360" imgH="360" progId="TCLayout.ActiveDocument.1">
                  <p:embed/>
                </p:oleObj>
              </mc:Choice>
              <mc:Fallback>
                <p:oleObj name="think-cell Slide" r:id="rId12" imgW="360" imgH="360" progId="TCLayout.ActiveDocument.1">
                  <p:embed/>
                  <p:pic>
                    <p:nvPicPr>
                      <p:cNvPr id="9" name="Object 8" hidden="1">
                        <a:extLst>
                          <a:ext uri="{FF2B5EF4-FFF2-40B4-BE49-F238E27FC236}">
                            <a16:creationId xmlns:a16="http://schemas.microsoft.com/office/drawing/2014/main" id="{7BED9D67-6A1B-47F6-9A78-70228FCF0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B6F8EE-726C-4FC7-8283-2869321F7941}"/>
              </a:ext>
            </a:extLst>
          </p:cNvPr>
          <p:cNvSpPr/>
          <p:nvPr>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US"/>
              <a:t>Click to edit Master title style</a:t>
            </a:r>
            <a:endParaRPr lang="en-US"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63A1C593-65D0-4073-BCC9-577B9352EA97}" type="datetimeFigureOut">
              <a:rPr lang="en-US" smtClean="0"/>
              <a:t>11/10/2021</a:t>
            </a:fld>
            <a:endParaRPr lang="en-US"/>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US"/>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3012963388"/>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BED9D67-6A1B-47F6-9A78-70228FCF05EC}"/>
              </a:ext>
            </a:extLst>
          </p:cNvPr>
          <p:cNvGraphicFramePr>
            <a:graphicFrameLocks noChangeAspect="1"/>
          </p:cNvGraphicFramePr>
          <p:nvPr>
            <p:custDataLst>
              <p:tags r:id="rId10"/>
            </p:custDataLst>
            <p:extLst>
              <p:ext uri="{D42A27DB-BD31-4B8C-83A1-F6EECF244321}">
                <p14:modId xmlns:p14="http://schemas.microsoft.com/office/powerpoint/2010/main" val="178267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12" imgW="360" imgH="360" progId="TCLayout.ActiveDocument.1">
                  <p:embed/>
                </p:oleObj>
              </mc:Choice>
              <mc:Fallback>
                <p:oleObj name="think-cell Slide" r:id="rId12" imgW="360" imgH="360" progId="TCLayout.ActiveDocument.1">
                  <p:embed/>
                  <p:pic>
                    <p:nvPicPr>
                      <p:cNvPr id="9" name="Object 8" hidden="1">
                        <a:extLst>
                          <a:ext uri="{FF2B5EF4-FFF2-40B4-BE49-F238E27FC236}">
                            <a16:creationId xmlns:a16="http://schemas.microsoft.com/office/drawing/2014/main" id="{7BED9D67-6A1B-47F6-9A78-70228FCF0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B6F8EE-726C-4FC7-8283-2869321F7941}"/>
              </a:ext>
            </a:extLst>
          </p:cNvPr>
          <p:cNvSpPr/>
          <p:nvPr>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US"/>
              <a:t>Click to edit Master title style</a:t>
            </a:r>
            <a:endParaRPr lang="en-US"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63A1C593-65D0-4073-BCC9-577B9352EA97}" type="datetimeFigureOut">
              <a:rPr lang="en-US" smtClean="0"/>
              <a:t>11/10/2021</a:t>
            </a:fld>
            <a:endParaRPr lang="en-US"/>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US"/>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2556614083"/>
      </p:ext>
    </p:extLst>
  </p:cSld>
  <p:clrMap bg1="dk1" tx1="lt1" bg2="dk2" tx2="lt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BED9D67-6A1B-47F6-9A78-70228FCF05EC}"/>
              </a:ext>
            </a:extLst>
          </p:cNvPr>
          <p:cNvGraphicFramePr>
            <a:graphicFrameLocks noChangeAspect="1"/>
          </p:cNvGraphicFramePr>
          <p:nvPr>
            <p:custDataLst>
              <p:tags r:id="rId10"/>
            </p:custDataLst>
            <p:extLst>
              <p:ext uri="{D42A27DB-BD31-4B8C-83A1-F6EECF244321}">
                <p14:modId xmlns:p14="http://schemas.microsoft.com/office/powerpoint/2010/main" val="827214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12" imgW="360" imgH="360" progId="TCLayout.ActiveDocument.1">
                  <p:embed/>
                </p:oleObj>
              </mc:Choice>
              <mc:Fallback>
                <p:oleObj name="think-cell Slide" r:id="rId12" imgW="360" imgH="360" progId="TCLayout.ActiveDocument.1">
                  <p:embed/>
                  <p:pic>
                    <p:nvPicPr>
                      <p:cNvPr id="9" name="Object 8" hidden="1">
                        <a:extLst>
                          <a:ext uri="{FF2B5EF4-FFF2-40B4-BE49-F238E27FC236}">
                            <a16:creationId xmlns:a16="http://schemas.microsoft.com/office/drawing/2014/main" id="{7BED9D67-6A1B-47F6-9A78-70228FCF0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B6F8EE-726C-4FC7-8283-2869321F7941}"/>
              </a:ext>
            </a:extLst>
          </p:cNvPr>
          <p:cNvSpPr/>
          <p:nvPr>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US"/>
              <a:t>Click to edit Master title style</a:t>
            </a:r>
            <a:endParaRPr lang="en-US"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63A1C593-65D0-4073-BCC9-577B9352EA97}" type="datetimeFigureOut">
              <a:rPr lang="en-US" smtClean="0"/>
              <a:t>11/10/2021</a:t>
            </a:fld>
            <a:endParaRPr lang="en-US"/>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US"/>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2489371830"/>
      </p:ext>
    </p:extLst>
  </p:cSld>
  <p:clrMap bg1="dk1" tx1="lt1" bg2="dk2" tx2="lt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BED9D67-6A1B-47F6-9A78-70228FCF05EC}"/>
              </a:ext>
            </a:extLst>
          </p:cNvPr>
          <p:cNvGraphicFramePr>
            <a:graphicFrameLocks noChangeAspect="1"/>
          </p:cNvGraphicFramePr>
          <p:nvPr>
            <p:custDataLst>
              <p:tags r:id="rId11"/>
            </p:custDataLst>
            <p:extLst>
              <p:ext uri="{D42A27DB-BD31-4B8C-83A1-F6EECF244321}">
                <p14:modId xmlns:p14="http://schemas.microsoft.com/office/powerpoint/2010/main" val="2482105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13" imgW="360" imgH="360" progId="TCLayout.ActiveDocument.1">
                  <p:embed/>
                </p:oleObj>
              </mc:Choice>
              <mc:Fallback>
                <p:oleObj name="think-cell Slide" r:id="rId13" imgW="360" imgH="360" progId="TCLayout.ActiveDocument.1">
                  <p:embed/>
                  <p:pic>
                    <p:nvPicPr>
                      <p:cNvPr id="9" name="Object 8" hidden="1">
                        <a:extLst>
                          <a:ext uri="{FF2B5EF4-FFF2-40B4-BE49-F238E27FC236}">
                            <a16:creationId xmlns:a16="http://schemas.microsoft.com/office/drawing/2014/main" id="{7BED9D67-6A1B-47F6-9A78-70228FCF05E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B6F8EE-726C-4FC7-8283-2869321F7941}"/>
              </a:ext>
            </a:extLst>
          </p:cNvPr>
          <p:cNvSpPr/>
          <p:nvPr>
            <p:custDataLst>
              <p:tags r:id="rId12"/>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US"/>
              <a:t>Click to edit Master title style</a:t>
            </a:r>
            <a:endParaRPr lang="en-US"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63A1C593-65D0-4073-BCC9-577B9352EA97}" type="datetimeFigureOut">
              <a:rPr lang="en-US" smtClean="0"/>
              <a:t>11/10/2021</a:t>
            </a:fld>
            <a:endParaRPr lang="en-US"/>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US"/>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1890746889"/>
      </p:ext>
    </p:extLst>
  </p:cSld>
  <p:clrMap bg1="dk1" tx1="lt1" bg2="dk2" tx2="lt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916" r:id="rId8"/>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9">
            <a:extLst>
              <a:ext uri="{28A0092B-C50C-407E-A947-70E740481C1C}">
                <a14:useLocalDpi xmlns:a14="http://schemas.microsoft.com/office/drawing/2010/main" val="0"/>
              </a:ext>
            </a:extLst>
          </a:blip>
          <a:srcRect l="3644"/>
          <a:stretch/>
        </p:blipFill>
        <p:spPr>
          <a:xfrm>
            <a:off x="0" y="2669685"/>
            <a:ext cx="4035669" cy="4188315"/>
          </a:xfrm>
          <a:prstGeom prst="rect">
            <a:avLst/>
          </a:prstGeom>
        </p:spPr>
      </p:pic>
      <p:pic>
        <p:nvPicPr>
          <p:cNvPr id="7" name="Picture 6"/>
          <p:cNvPicPr>
            <a:picLocks noChangeAspect="1"/>
          </p:cNvPicPr>
          <p:nvPr/>
        </p:nvPicPr>
        <p:blipFill rotWithShape="1">
          <a:blip r:embed="rId20">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1">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2">
            <a:extLst>
              <a:ext uri="{28A0092B-C50C-407E-A947-70E740481C1C}">
                <a14:useLocalDpi xmlns:a14="http://schemas.microsoft.com/office/drawing/2010/main" val="0"/>
              </a:ext>
            </a:extLst>
          </a:blip>
          <a:srcRect b="23320"/>
          <a:stretch/>
        </p:blipFill>
        <p:spPr>
          <a:xfrm>
            <a:off x="8609012"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63A1C593-65D0-4073-BCC9-577B9352EA97}" type="datetimeFigureOut">
              <a:rPr lang="en-US" smtClean="0"/>
              <a:t>11/10/2021</a:t>
            </a:fld>
            <a:endParaRPr lang="en-US"/>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9B618960-8005-486C-9A75-10CB2AAC16F9}" type="slidenum">
              <a:rPr lang="en-US" smtClean="0"/>
              <a:t>‹#›</a:t>
            </a:fld>
            <a:endParaRPr lang="en-US"/>
          </a:p>
        </p:txBody>
      </p:sp>
    </p:spTree>
    <p:extLst>
      <p:ext uri="{BB962C8B-B14F-4D97-AF65-F5344CB8AC3E}">
        <p14:creationId xmlns:p14="http://schemas.microsoft.com/office/powerpoint/2010/main" val="2543501057"/>
      </p:ext>
    </p:extLst>
  </p:cSld>
  <p:clrMap bg1="dk1" tx1="lt1" bg2="dk2" tx2="lt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Lst>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lumMod val="60000"/>
            <a:lumOff val="4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lumMod val="60000"/>
            <a:lumOff val="4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lumMod val="60000"/>
            <a:lumOff val="4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lumMod val="60000"/>
            <a:lumOff val="4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lumMod val="60000"/>
            <a:lumOff val="40000"/>
          </a:schemeClr>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lumMod val="60000"/>
            <a:lumOff val="4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lumMod val="60000"/>
            <a:lumOff val="4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lumMod val="60000"/>
            <a:lumOff val="4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lumMod val="60000"/>
            <a:lumOff val="4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tags" Target="../tags/tag28.xml"/><Relationship Id="rId7" Type="http://schemas.openxmlformats.org/officeDocument/2006/relationships/image" Target="../media/image14.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2.bin"/><Relationship Id="rId5" Type="http://schemas.openxmlformats.org/officeDocument/2006/relationships/notesSlide" Target="../notesSlides/notesSlide5.xml"/><Relationship Id="rId10" Type="http://schemas.openxmlformats.org/officeDocument/2006/relationships/image" Target="../media/image21.jpeg"/><Relationship Id="rId4" Type="http://schemas.openxmlformats.org/officeDocument/2006/relationships/slideLayout" Target="../slideLayouts/slideLayout39.xml"/><Relationship Id="rId9" Type="http://schemas.openxmlformats.org/officeDocument/2006/relationships/image" Target="../media/image20.jpg"/></Relationships>
</file>

<file path=ppt/slides/_rels/slide1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30.xml"/><Relationship Id="rId7" Type="http://schemas.openxmlformats.org/officeDocument/2006/relationships/image" Target="../media/image14.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0.bin"/><Relationship Id="rId5" Type="http://schemas.openxmlformats.org/officeDocument/2006/relationships/notesSlide" Target="../notesSlides/notesSlide6.xml"/><Relationship Id="rId4" Type="http://schemas.openxmlformats.org/officeDocument/2006/relationships/slideLayout" Target="../slideLayouts/slideLayout39.xml"/><Relationship Id="rId9" Type="http://schemas.openxmlformats.org/officeDocument/2006/relationships/image" Target="../media/image22.jpg"/></Relationships>
</file>

<file path=ppt/slides/_rels/slide12.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tags" Target="../tags/tag32.xml"/><Relationship Id="rId7" Type="http://schemas.openxmlformats.org/officeDocument/2006/relationships/image" Target="../media/image14.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2.bin"/><Relationship Id="rId5" Type="http://schemas.openxmlformats.org/officeDocument/2006/relationships/notesSlide" Target="../notesSlides/notesSlide7.xml"/><Relationship Id="rId10" Type="http://schemas.openxmlformats.org/officeDocument/2006/relationships/image" Target="../media/image22.jpg"/><Relationship Id="rId4" Type="http://schemas.openxmlformats.org/officeDocument/2006/relationships/slideLayout" Target="../slideLayouts/slideLayout39.xml"/><Relationship Id="rId9" Type="http://schemas.openxmlformats.org/officeDocument/2006/relationships/image" Target="../media/image23.jpg"/></Relationships>
</file>

<file path=ppt/slides/_rels/slide13.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34.xml"/><Relationship Id="rId7" Type="http://schemas.openxmlformats.org/officeDocument/2006/relationships/image" Target="../media/image14.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0.bin"/><Relationship Id="rId5" Type="http://schemas.openxmlformats.org/officeDocument/2006/relationships/notesSlide" Target="../notesSlides/notesSlide8.xml"/><Relationship Id="rId4" Type="http://schemas.openxmlformats.org/officeDocument/2006/relationships/slideLayout" Target="../slideLayouts/slideLayout39.xml"/><Relationship Id="rId9" Type="http://schemas.openxmlformats.org/officeDocument/2006/relationships/image" Target="../media/image22.jp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220.png"/><Relationship Id="rId3" Type="http://schemas.openxmlformats.org/officeDocument/2006/relationships/slide" Target="slide16.xml"/><Relationship Id="rId7" Type="http://schemas.openxmlformats.org/officeDocument/2006/relationships/image" Target="../media/image200.png"/><Relationship Id="rId12" Type="http://schemas.openxmlformats.org/officeDocument/2006/relationships/slide" Target="slide18.xml"/><Relationship Id="rId2" Type="http://schemas.openxmlformats.org/officeDocument/2006/relationships/image" Target="../media/image24.png"/><Relationship Id="rId1" Type="http://schemas.openxmlformats.org/officeDocument/2006/relationships/slideLayout" Target="../slideLayouts/slideLayout39.xml"/><Relationship Id="rId6" Type="http://schemas.openxmlformats.org/officeDocument/2006/relationships/slide" Target="slide15.xml"/><Relationship Id="rId11" Type="http://schemas.openxmlformats.org/officeDocument/2006/relationships/image" Target="../media/image27.png"/><Relationship Id="rId5" Type="http://schemas.openxmlformats.org/officeDocument/2006/relationships/image" Target="../media/image25.png"/><Relationship Id="rId10" Type="http://schemas.openxmlformats.org/officeDocument/2006/relationships/image" Target="../media/image210.png"/><Relationship Id="rId4" Type="http://schemas.openxmlformats.org/officeDocument/2006/relationships/image" Target="../media/image190.png"/><Relationship Id="rId9" Type="http://schemas.openxmlformats.org/officeDocument/2006/relationships/slide" Target="slide17.xml"/></Relationships>
</file>

<file path=ppt/slides/_rels/slide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20.png"/><Relationship Id="rId3" Type="http://schemas.openxmlformats.org/officeDocument/2006/relationships/slide" Target="slide3.xml"/><Relationship Id="rId7" Type="http://schemas.openxmlformats.org/officeDocument/2006/relationships/image" Target="../media/image100.png"/><Relationship Id="rId12" Type="http://schemas.openxmlformats.org/officeDocument/2006/relationships/slide" Target="slide62.xml"/><Relationship Id="rId2" Type="http://schemas.openxmlformats.org/officeDocument/2006/relationships/image" Target="../media/image9.png"/><Relationship Id="rId16" Type="http://schemas.openxmlformats.org/officeDocument/2006/relationships/image" Target="../media/image130.png"/><Relationship Id="rId1" Type="http://schemas.openxmlformats.org/officeDocument/2006/relationships/slideLayout" Target="../slideLayouts/slideLayout60.xml"/><Relationship Id="rId6" Type="http://schemas.openxmlformats.org/officeDocument/2006/relationships/slide" Target="slide20.xml"/><Relationship Id="rId11" Type="http://schemas.openxmlformats.org/officeDocument/2006/relationships/image" Target="../media/image12.png"/><Relationship Id="rId5" Type="http://schemas.openxmlformats.org/officeDocument/2006/relationships/image" Target="../media/image10.png"/><Relationship Id="rId15" Type="http://schemas.openxmlformats.org/officeDocument/2006/relationships/slide" Target="slide55.xml"/><Relationship Id="rId10" Type="http://schemas.openxmlformats.org/officeDocument/2006/relationships/image" Target="../media/image110.png"/><Relationship Id="rId4" Type="http://schemas.openxmlformats.org/officeDocument/2006/relationships/image" Target="../media/image90.png"/><Relationship Id="rId9" Type="http://schemas.openxmlformats.org/officeDocument/2006/relationships/slide" Target="slide47.xml"/><Relationship Id="rId14" Type="http://schemas.openxmlformats.org/officeDocument/2006/relationships/image" Target="../media/image13.png"/></Relationships>
</file>

<file path=ppt/slides/_rels/slide2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 Id="rId5" Type="http://schemas.openxmlformats.org/officeDocument/2006/relationships/image" Target="../media/image36.jpeg"/><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40.png"/><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0.png"/><Relationship Id="rId2" Type="http://schemas.openxmlformats.org/officeDocument/2006/relationships/image" Target="../media/image37.png"/><Relationship Id="rId1" Type="http://schemas.openxmlformats.org/officeDocument/2006/relationships/slideLayout" Target="../slideLayouts/slideLayout1.xml"/><Relationship Id="rId6" Type="http://schemas.openxmlformats.org/officeDocument/2006/relationships/slide" Target="slide29.xml"/><Relationship Id="rId5" Type="http://schemas.openxmlformats.org/officeDocument/2006/relationships/image" Target="../media/image41.png"/><Relationship Id="rId4" Type="http://schemas.openxmlformats.org/officeDocument/2006/relationships/image" Target="../media/image39.png"/><Relationship Id="rId9" Type="http://schemas.openxmlformats.org/officeDocument/2006/relationships/image" Target="../media/image35.png"/></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 Id="rId5" Type="http://schemas.openxmlformats.org/officeDocument/2006/relationships/image" Target="../media/image440.png"/><Relationship Id="rId4" Type="http://schemas.openxmlformats.org/officeDocument/2006/relationships/slide" Target="slide30.xml"/></Relationships>
</file>

<file path=ppt/slides/_rels/slide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5.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4.emf"/><Relationship Id="rId5" Type="http://schemas.openxmlformats.org/officeDocument/2006/relationships/oleObject" Target="../embeddings/oleObject8.bin"/><Relationship Id="rId4"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xml"/><Relationship Id="rId4" Type="http://schemas.openxmlformats.org/officeDocument/2006/relationships/image" Target="../media/image45.png"/></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 Id="rId4" Type="http://schemas.openxmlformats.org/officeDocument/2006/relationships/image" Target="../media/image45.png"/></Relationships>
</file>

<file path=ppt/slides/_rels/slide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4.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16.jpeg"/><Relationship Id="rId4"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xml"/><Relationship Id="rId5" Type="http://schemas.openxmlformats.org/officeDocument/2006/relationships/image" Target="../media/image49.png"/><Relationship Id="rId4" Type="http://schemas.openxmlformats.org/officeDocument/2006/relationships/image" Target="../media/image48.jpeg"/></Relationships>
</file>

<file path=ppt/slides/_rels/slide4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1.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4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5.jpeg"/><Relationship Id="rId1" Type="http://schemas.openxmlformats.org/officeDocument/2006/relationships/slideLayout" Target="../slideLayouts/slideLayout1.xml"/><Relationship Id="rId6" Type="http://schemas.openxmlformats.org/officeDocument/2006/relationships/image" Target="../media/image58.jpeg"/><Relationship Id="rId5" Type="http://schemas.openxmlformats.org/officeDocument/2006/relationships/image" Target="../media/image61.jpeg"/><Relationship Id="rId4" Type="http://schemas.openxmlformats.org/officeDocument/2006/relationships/image" Target="../media/image59.jpeg"/></Relationships>
</file>

<file path=ppt/slides/_rels/slide4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62.jpeg"/><Relationship Id="rId1" Type="http://schemas.openxmlformats.org/officeDocument/2006/relationships/slideLayout" Target="../slideLayouts/slideLayout1.xml"/><Relationship Id="rId6" Type="http://schemas.openxmlformats.org/officeDocument/2006/relationships/image" Target="../media/image61.jpeg"/><Relationship Id="rId5" Type="http://schemas.openxmlformats.org/officeDocument/2006/relationships/image" Target="../media/image63.jpeg"/><Relationship Id="rId4" Type="http://schemas.openxmlformats.org/officeDocument/2006/relationships/image" Target="../media/image60.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4.jpeg"/><Relationship Id="rId1" Type="http://schemas.openxmlformats.org/officeDocument/2006/relationships/slideLayout" Target="../slideLayouts/slideLayout2.xml"/><Relationship Id="rId6" Type="http://schemas.openxmlformats.org/officeDocument/2006/relationships/image" Target="../media/image63.jpeg"/><Relationship Id="rId5" Type="http://schemas.openxmlformats.org/officeDocument/2006/relationships/image" Target="../media/image56.png"/><Relationship Id="rId4" Type="http://schemas.openxmlformats.org/officeDocument/2006/relationships/image" Target="../media/image62.jpeg"/></Relationships>
</file>

<file path=ppt/slides/_rels/slide5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4.jpeg"/><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63.jpeg"/><Relationship Id="rId4" Type="http://schemas.openxmlformats.org/officeDocument/2006/relationships/image" Target="../media/image57.jpeg"/></Relationships>
</file>

<file path=ppt/slides/_rels/slide52.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1.xml"/><Relationship Id="rId4" Type="http://schemas.openxmlformats.org/officeDocument/2006/relationships/image" Target="../media/image67.jpeg"/></Relationships>
</file>

<file path=ppt/slides/_rels/slide5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8.jpeg"/><Relationship Id="rId1" Type="http://schemas.openxmlformats.org/officeDocument/2006/relationships/slideLayout" Target="../slideLayouts/slideLayout1.xml"/><Relationship Id="rId4" Type="http://schemas.openxmlformats.org/officeDocument/2006/relationships/image" Target="../media/image66.jpeg"/></Relationships>
</file>

<file path=ppt/slides/_rels/slide5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8.jpeg"/><Relationship Id="rId1" Type="http://schemas.openxmlformats.org/officeDocument/2006/relationships/slideLayout" Target="../slideLayouts/slideLayout1.xml"/><Relationship Id="rId4" Type="http://schemas.openxmlformats.org/officeDocument/2006/relationships/image" Target="../media/image69.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tags" Target="../tags/tag20.xml"/><Relationship Id="rId7" Type="http://schemas.openxmlformats.org/officeDocument/2006/relationships/image" Target="../media/image14.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39.xml"/></Relationships>
</file>

<file path=ppt/slides/_rels/slide6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72.sv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72.sv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6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tags" Target="../tags/tag38.xml"/><Relationship Id="rId7" Type="http://schemas.openxmlformats.org/officeDocument/2006/relationships/image" Target="../media/image14.emf"/><Relationship Id="rId12" Type="http://schemas.openxmlformats.org/officeDocument/2006/relationships/image" Target="../media/image72.svg"/><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oleObject" Target="../embeddings/oleObject14.bin"/><Relationship Id="rId11" Type="http://schemas.openxmlformats.org/officeDocument/2006/relationships/image" Target="../media/image71.png"/><Relationship Id="rId5" Type="http://schemas.openxmlformats.org/officeDocument/2006/relationships/notesSlide" Target="../notesSlides/notesSlide9.xml"/><Relationship Id="rId10" Type="http://schemas.openxmlformats.org/officeDocument/2006/relationships/image" Target="../media/image730.png"/><Relationship Id="rId4" Type="http://schemas.openxmlformats.org/officeDocument/2006/relationships/slideLayout" Target="../slideLayouts/slideLayout46.xml"/><Relationship Id="rId9" Type="http://schemas.openxmlformats.org/officeDocument/2006/relationships/slide" Target="slide65.xml"/></Relationships>
</file>

<file path=ppt/slides/_rels/slide65.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tags" Target="../tags/tag40.xml"/><Relationship Id="rId7" Type="http://schemas.openxmlformats.org/officeDocument/2006/relationships/image" Target="../media/image14.emf"/><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14.bin"/><Relationship Id="rId5" Type="http://schemas.openxmlformats.org/officeDocument/2006/relationships/notesSlide" Target="../notesSlides/notesSlide10.xml"/><Relationship Id="rId4" Type="http://schemas.openxmlformats.org/officeDocument/2006/relationships/slideLayout" Target="../slideLayouts/slideLayout46.xml"/></Relationships>
</file>

<file path=ppt/slides/_rels/slide66.xml.rels><?xml version="1.0" encoding="UTF-8" standalone="yes"?>
<Relationships xmlns="http://schemas.openxmlformats.org/package/2006/relationships"><Relationship Id="rId8" Type="http://schemas.openxmlformats.org/officeDocument/2006/relationships/image" Target="../media/image75.jpg"/><Relationship Id="rId3" Type="http://schemas.openxmlformats.org/officeDocument/2006/relationships/tags" Target="../tags/tag42.xml"/><Relationship Id="rId7" Type="http://schemas.openxmlformats.org/officeDocument/2006/relationships/image" Target="../media/image14.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14.bin"/><Relationship Id="rId5" Type="http://schemas.openxmlformats.org/officeDocument/2006/relationships/notesSlide" Target="../notesSlides/notesSlide11.xml"/><Relationship Id="rId4" Type="http://schemas.openxmlformats.org/officeDocument/2006/relationships/slideLayout" Target="../slideLayouts/slideLayout53.xml"/></Relationships>
</file>

<file path=ppt/slides/_rels/slide67.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61.xml"/></Relationships>
</file>

<file path=ppt/slides/_rels/slide68.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61.xml"/></Relationships>
</file>

<file path=ppt/slides/_rels/slide69.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image" Target="../media/image77.jpg"/><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tags" Target="../tags/tag22.xml"/><Relationship Id="rId7" Type="http://schemas.openxmlformats.org/officeDocument/2006/relationships/image" Target="../media/image14.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xml"/><Relationship Id="rId4" Type="http://schemas.openxmlformats.org/officeDocument/2006/relationships/slideLayout" Target="../slideLayouts/slideLayout39.xml"/><Relationship Id="rId9" Type="http://schemas.openxmlformats.org/officeDocument/2006/relationships/image" Target="../media/image18.jpeg"/></Relationships>
</file>

<file path=ppt/slides/_rels/slide70.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image" Target="../media/image77.jpg"/><Relationship Id="rId1" Type="http://schemas.openxmlformats.org/officeDocument/2006/relationships/slideLayout" Target="../slideLayouts/slideLayout61.xml"/></Relationships>
</file>

<file path=ppt/slides/_rels/slide71.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image" Target="../media/image77.jpg"/><Relationship Id="rId1" Type="http://schemas.openxmlformats.org/officeDocument/2006/relationships/slideLayout" Target="../slideLayouts/slideLayout61.xml"/></Relationships>
</file>

<file path=ppt/slides/_rels/slide72.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tags" Target="../tags/tag24.xml"/><Relationship Id="rId7" Type="http://schemas.openxmlformats.org/officeDocument/2006/relationships/image" Target="../media/image14.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10" Type="http://schemas.openxmlformats.org/officeDocument/2006/relationships/image" Target="../media/image18.jpeg"/><Relationship Id="rId4" Type="http://schemas.openxmlformats.org/officeDocument/2006/relationships/slideLayout" Target="../slideLayouts/slideLayout39.xml"/><Relationship Id="rId9" Type="http://schemas.openxmlformats.org/officeDocument/2006/relationships/image" Target="../media/image19.jfif"/></Relationships>
</file>

<file path=ppt/slides/_rels/slide9.xml.rels><?xml version="1.0" encoding="UTF-8" standalone="yes"?>
<Relationships xmlns="http://schemas.openxmlformats.org/package/2006/relationships"><Relationship Id="rId8" Type="http://schemas.openxmlformats.org/officeDocument/2006/relationships/image" Target="../media/image19.jfif"/><Relationship Id="rId3" Type="http://schemas.openxmlformats.org/officeDocument/2006/relationships/tags" Target="../tags/tag26.xml"/><Relationship Id="rId7" Type="http://schemas.openxmlformats.org/officeDocument/2006/relationships/image" Target="../media/image14.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0.bin"/><Relationship Id="rId5" Type="http://schemas.openxmlformats.org/officeDocument/2006/relationships/notesSlide" Target="../notesSlides/notesSlide4.xml"/><Relationship Id="rId4" Type="http://schemas.openxmlformats.org/officeDocument/2006/relationships/slideLayout" Target="../slideLayouts/slideLayout39.xml"/><Relationship Id="rId9" Type="http://schemas.openxmlformats.org/officeDocument/2006/relationships/image" Target="../media/image2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253EF24-1CCD-4B5C-B7BB-803EE89CD27A}"/>
              </a:ext>
            </a:extLst>
          </p:cNvPr>
          <p:cNvSpPr/>
          <p:nvPr/>
        </p:nvSpPr>
        <p:spPr>
          <a:xfrm>
            <a:off x="0" y="0"/>
            <a:ext cx="12191999" cy="6858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F10B2DE9-888B-4E3B-BBA0-DA4480766BDF}"/>
              </a:ext>
            </a:extLst>
          </p:cNvPr>
          <p:cNvGrpSpPr/>
          <p:nvPr/>
        </p:nvGrpSpPr>
        <p:grpSpPr>
          <a:xfrm>
            <a:off x="0" y="2018530"/>
            <a:ext cx="12192000" cy="4864969"/>
            <a:chOff x="0" y="2030105"/>
            <a:chExt cx="12192000" cy="4864969"/>
          </a:xfrm>
        </p:grpSpPr>
        <p:sp>
          <p:nvSpPr>
            <p:cNvPr id="6" name="Right Triangle 5">
              <a:extLst>
                <a:ext uri="{FF2B5EF4-FFF2-40B4-BE49-F238E27FC236}">
                  <a16:creationId xmlns:a16="http://schemas.microsoft.com/office/drawing/2014/main" id="{363394EF-64E5-477C-A7EF-068B06751432}"/>
                </a:ext>
              </a:extLst>
            </p:cNvPr>
            <p:cNvSpPr/>
            <p:nvPr/>
          </p:nvSpPr>
          <p:spPr>
            <a:xfrm>
              <a:off x="0" y="2989943"/>
              <a:ext cx="4441371" cy="2380343"/>
            </a:xfrm>
            <a:custGeom>
              <a:avLst/>
              <a:gdLst>
                <a:gd name="connsiteX0" fmla="*/ 0 w 4339771"/>
                <a:gd name="connsiteY0" fmla="*/ 2380343 h 2380343"/>
                <a:gd name="connsiteX1" fmla="*/ 0 w 4339771"/>
                <a:gd name="connsiteY1" fmla="*/ 0 h 2380343"/>
                <a:gd name="connsiteX2" fmla="*/ 4339771 w 4339771"/>
                <a:gd name="connsiteY2" fmla="*/ 2380343 h 2380343"/>
                <a:gd name="connsiteX3" fmla="*/ 0 w 4339771"/>
                <a:gd name="connsiteY3" fmla="*/ 2380343 h 2380343"/>
                <a:gd name="connsiteX0" fmla="*/ 0 w 4339771"/>
                <a:gd name="connsiteY0" fmla="*/ 2380343 h 2380343"/>
                <a:gd name="connsiteX1" fmla="*/ 0 w 4339771"/>
                <a:gd name="connsiteY1" fmla="*/ 0 h 2380343"/>
                <a:gd name="connsiteX2" fmla="*/ 4339771 w 4339771"/>
                <a:gd name="connsiteY2" fmla="*/ 2380343 h 2380343"/>
                <a:gd name="connsiteX3" fmla="*/ 0 w 4339771"/>
                <a:gd name="connsiteY3" fmla="*/ 2380343 h 2380343"/>
                <a:gd name="connsiteX0" fmla="*/ 0 w 4339771"/>
                <a:gd name="connsiteY0" fmla="*/ 2380343 h 2380343"/>
                <a:gd name="connsiteX1" fmla="*/ 0 w 4339771"/>
                <a:gd name="connsiteY1" fmla="*/ 0 h 2380343"/>
                <a:gd name="connsiteX2" fmla="*/ 4339771 w 4339771"/>
                <a:gd name="connsiteY2" fmla="*/ 2380343 h 2380343"/>
                <a:gd name="connsiteX3" fmla="*/ 0 w 4339771"/>
                <a:gd name="connsiteY3" fmla="*/ 2380343 h 2380343"/>
                <a:gd name="connsiteX0" fmla="*/ 0 w 4441371"/>
                <a:gd name="connsiteY0" fmla="*/ 2380343 h 2380343"/>
                <a:gd name="connsiteX1" fmla="*/ 0 w 4441371"/>
                <a:gd name="connsiteY1" fmla="*/ 0 h 2380343"/>
                <a:gd name="connsiteX2" fmla="*/ 4441371 w 4441371"/>
                <a:gd name="connsiteY2" fmla="*/ 2148114 h 2380343"/>
                <a:gd name="connsiteX3" fmla="*/ 0 w 4441371"/>
                <a:gd name="connsiteY3" fmla="*/ 2380343 h 2380343"/>
                <a:gd name="connsiteX0" fmla="*/ 0 w 4441371"/>
                <a:gd name="connsiteY0" fmla="*/ 2380343 h 2380343"/>
                <a:gd name="connsiteX1" fmla="*/ 0 w 4441371"/>
                <a:gd name="connsiteY1" fmla="*/ 0 h 2380343"/>
                <a:gd name="connsiteX2" fmla="*/ 4441371 w 4441371"/>
                <a:gd name="connsiteY2" fmla="*/ 2148114 h 2380343"/>
                <a:gd name="connsiteX3" fmla="*/ 0 w 4441371"/>
                <a:gd name="connsiteY3" fmla="*/ 2380343 h 2380343"/>
                <a:gd name="connsiteX0" fmla="*/ 0 w 4441371"/>
                <a:gd name="connsiteY0" fmla="*/ 2380343 h 2380343"/>
                <a:gd name="connsiteX1" fmla="*/ 0 w 4441371"/>
                <a:gd name="connsiteY1" fmla="*/ 0 h 2380343"/>
                <a:gd name="connsiteX2" fmla="*/ 4441371 w 4441371"/>
                <a:gd name="connsiteY2" fmla="*/ 2148114 h 2380343"/>
                <a:gd name="connsiteX3" fmla="*/ 0 w 4441371"/>
                <a:gd name="connsiteY3" fmla="*/ 2380343 h 2380343"/>
              </a:gdLst>
              <a:ahLst/>
              <a:cxnLst>
                <a:cxn ang="0">
                  <a:pos x="connsiteX0" y="connsiteY0"/>
                </a:cxn>
                <a:cxn ang="0">
                  <a:pos x="connsiteX1" y="connsiteY1"/>
                </a:cxn>
                <a:cxn ang="0">
                  <a:pos x="connsiteX2" y="connsiteY2"/>
                </a:cxn>
                <a:cxn ang="0">
                  <a:pos x="connsiteX3" y="connsiteY3"/>
                </a:cxn>
              </a:cxnLst>
              <a:rect l="l" t="t" r="r" b="b"/>
              <a:pathLst>
                <a:path w="4441371" h="2380343">
                  <a:moveTo>
                    <a:pt x="0" y="2380343"/>
                  </a:moveTo>
                  <a:lnTo>
                    <a:pt x="0" y="0"/>
                  </a:lnTo>
                  <a:cubicBezTo>
                    <a:pt x="633790" y="1301448"/>
                    <a:pt x="1964267" y="2123923"/>
                    <a:pt x="4441371" y="2148114"/>
                  </a:cubicBezTo>
                  <a:cubicBezTo>
                    <a:pt x="2960914" y="2399696"/>
                    <a:pt x="1480457" y="2302933"/>
                    <a:pt x="0" y="2380343"/>
                  </a:cubicBezTo>
                  <a:close/>
                </a:path>
              </a:pathLst>
            </a:custGeom>
            <a:solidFill>
              <a:srgbClr val="00A5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5">
              <a:extLst>
                <a:ext uri="{FF2B5EF4-FFF2-40B4-BE49-F238E27FC236}">
                  <a16:creationId xmlns:a16="http://schemas.microsoft.com/office/drawing/2014/main" id="{B88700E7-6442-48CE-978C-A147E181BE59}"/>
                </a:ext>
              </a:extLst>
            </p:cNvPr>
            <p:cNvSpPr/>
            <p:nvPr/>
          </p:nvSpPr>
          <p:spPr>
            <a:xfrm>
              <a:off x="1" y="3688877"/>
              <a:ext cx="3309256" cy="1832966"/>
            </a:xfrm>
            <a:custGeom>
              <a:avLst/>
              <a:gdLst>
                <a:gd name="connsiteX0" fmla="*/ 0 w 4339771"/>
                <a:gd name="connsiteY0" fmla="*/ 2380343 h 2380343"/>
                <a:gd name="connsiteX1" fmla="*/ 0 w 4339771"/>
                <a:gd name="connsiteY1" fmla="*/ 0 h 2380343"/>
                <a:gd name="connsiteX2" fmla="*/ 4339771 w 4339771"/>
                <a:gd name="connsiteY2" fmla="*/ 2380343 h 2380343"/>
                <a:gd name="connsiteX3" fmla="*/ 0 w 4339771"/>
                <a:gd name="connsiteY3" fmla="*/ 2380343 h 2380343"/>
                <a:gd name="connsiteX0" fmla="*/ 0 w 4339771"/>
                <a:gd name="connsiteY0" fmla="*/ 2380343 h 2380343"/>
                <a:gd name="connsiteX1" fmla="*/ 0 w 4339771"/>
                <a:gd name="connsiteY1" fmla="*/ 0 h 2380343"/>
                <a:gd name="connsiteX2" fmla="*/ 4339771 w 4339771"/>
                <a:gd name="connsiteY2" fmla="*/ 2380343 h 2380343"/>
                <a:gd name="connsiteX3" fmla="*/ 0 w 4339771"/>
                <a:gd name="connsiteY3" fmla="*/ 2380343 h 2380343"/>
                <a:gd name="connsiteX0" fmla="*/ 0 w 4339771"/>
                <a:gd name="connsiteY0" fmla="*/ 2380343 h 2380343"/>
                <a:gd name="connsiteX1" fmla="*/ 0 w 4339771"/>
                <a:gd name="connsiteY1" fmla="*/ 0 h 2380343"/>
                <a:gd name="connsiteX2" fmla="*/ 4339771 w 4339771"/>
                <a:gd name="connsiteY2" fmla="*/ 2380343 h 2380343"/>
                <a:gd name="connsiteX3" fmla="*/ 0 w 4339771"/>
                <a:gd name="connsiteY3" fmla="*/ 2380343 h 2380343"/>
                <a:gd name="connsiteX0" fmla="*/ 0 w 4441371"/>
                <a:gd name="connsiteY0" fmla="*/ 2380343 h 2380343"/>
                <a:gd name="connsiteX1" fmla="*/ 0 w 4441371"/>
                <a:gd name="connsiteY1" fmla="*/ 0 h 2380343"/>
                <a:gd name="connsiteX2" fmla="*/ 4441371 w 4441371"/>
                <a:gd name="connsiteY2" fmla="*/ 2148114 h 2380343"/>
                <a:gd name="connsiteX3" fmla="*/ 0 w 4441371"/>
                <a:gd name="connsiteY3" fmla="*/ 2380343 h 2380343"/>
                <a:gd name="connsiteX0" fmla="*/ 0 w 4441371"/>
                <a:gd name="connsiteY0" fmla="*/ 2380343 h 2380343"/>
                <a:gd name="connsiteX1" fmla="*/ 0 w 4441371"/>
                <a:gd name="connsiteY1" fmla="*/ 0 h 2380343"/>
                <a:gd name="connsiteX2" fmla="*/ 4441371 w 4441371"/>
                <a:gd name="connsiteY2" fmla="*/ 2148114 h 2380343"/>
                <a:gd name="connsiteX3" fmla="*/ 0 w 4441371"/>
                <a:gd name="connsiteY3" fmla="*/ 2380343 h 2380343"/>
                <a:gd name="connsiteX0" fmla="*/ 0 w 4441371"/>
                <a:gd name="connsiteY0" fmla="*/ 2380343 h 2380343"/>
                <a:gd name="connsiteX1" fmla="*/ 0 w 4441371"/>
                <a:gd name="connsiteY1" fmla="*/ 0 h 2380343"/>
                <a:gd name="connsiteX2" fmla="*/ 4441371 w 4441371"/>
                <a:gd name="connsiteY2" fmla="*/ 2148114 h 2380343"/>
                <a:gd name="connsiteX3" fmla="*/ 0 w 4441371"/>
                <a:gd name="connsiteY3" fmla="*/ 2380343 h 2380343"/>
              </a:gdLst>
              <a:ahLst/>
              <a:cxnLst>
                <a:cxn ang="0">
                  <a:pos x="connsiteX0" y="connsiteY0"/>
                </a:cxn>
                <a:cxn ang="0">
                  <a:pos x="connsiteX1" y="connsiteY1"/>
                </a:cxn>
                <a:cxn ang="0">
                  <a:pos x="connsiteX2" y="connsiteY2"/>
                </a:cxn>
                <a:cxn ang="0">
                  <a:pos x="connsiteX3" y="connsiteY3"/>
                </a:cxn>
              </a:cxnLst>
              <a:rect l="l" t="t" r="r" b="b"/>
              <a:pathLst>
                <a:path w="4441371" h="2380343">
                  <a:moveTo>
                    <a:pt x="0" y="2380343"/>
                  </a:moveTo>
                  <a:lnTo>
                    <a:pt x="0" y="0"/>
                  </a:lnTo>
                  <a:cubicBezTo>
                    <a:pt x="633790" y="1301448"/>
                    <a:pt x="1964267" y="2123923"/>
                    <a:pt x="4441371" y="2148114"/>
                  </a:cubicBezTo>
                  <a:cubicBezTo>
                    <a:pt x="2960914" y="2399696"/>
                    <a:pt x="1480457" y="2302933"/>
                    <a:pt x="0" y="2380343"/>
                  </a:cubicBezTo>
                  <a:close/>
                </a:path>
              </a:pathLst>
            </a:custGeom>
            <a:solidFill>
              <a:srgbClr val="01C8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632CC93E-8D9B-4D2F-AFCE-6935F73F0EF0}"/>
                </a:ext>
              </a:extLst>
            </p:cNvPr>
            <p:cNvSpPr/>
            <p:nvPr/>
          </p:nvSpPr>
          <p:spPr>
            <a:xfrm flipH="1" flipV="1">
              <a:off x="10072914" y="2030105"/>
              <a:ext cx="2119086" cy="1787150"/>
            </a:xfrm>
            <a:custGeom>
              <a:avLst/>
              <a:gdLst>
                <a:gd name="connsiteX0" fmla="*/ 0 w 2119086"/>
                <a:gd name="connsiteY0" fmla="*/ 1378857 h 1378857"/>
                <a:gd name="connsiteX1" fmla="*/ 0 w 2119086"/>
                <a:gd name="connsiteY1" fmla="*/ 0 h 1378857"/>
                <a:gd name="connsiteX2" fmla="*/ 2119086 w 2119086"/>
                <a:gd name="connsiteY2" fmla="*/ 1378857 h 1378857"/>
                <a:gd name="connsiteX3" fmla="*/ 0 w 2119086"/>
                <a:gd name="connsiteY3" fmla="*/ 1378857 h 1378857"/>
                <a:gd name="connsiteX0" fmla="*/ 0 w 2119086"/>
                <a:gd name="connsiteY0" fmla="*/ 1683657 h 1683657"/>
                <a:gd name="connsiteX1" fmla="*/ 0 w 2119086"/>
                <a:gd name="connsiteY1" fmla="*/ 0 h 1683657"/>
                <a:gd name="connsiteX2" fmla="*/ 2119086 w 2119086"/>
                <a:gd name="connsiteY2" fmla="*/ 1378857 h 1683657"/>
                <a:gd name="connsiteX3" fmla="*/ 0 w 2119086"/>
                <a:gd name="connsiteY3" fmla="*/ 1683657 h 1683657"/>
                <a:gd name="connsiteX0" fmla="*/ 0 w 2119086"/>
                <a:gd name="connsiteY0" fmla="*/ 1683657 h 1779841"/>
                <a:gd name="connsiteX1" fmla="*/ 0 w 2119086"/>
                <a:gd name="connsiteY1" fmla="*/ 0 h 1779841"/>
                <a:gd name="connsiteX2" fmla="*/ 2119086 w 2119086"/>
                <a:gd name="connsiteY2" fmla="*/ 1378857 h 1779841"/>
                <a:gd name="connsiteX3" fmla="*/ 0 w 2119086"/>
                <a:gd name="connsiteY3" fmla="*/ 1683657 h 1779841"/>
                <a:gd name="connsiteX0" fmla="*/ 0 w 2119086"/>
                <a:gd name="connsiteY0" fmla="*/ 1683657 h 1787150"/>
                <a:gd name="connsiteX1" fmla="*/ 0 w 2119086"/>
                <a:gd name="connsiteY1" fmla="*/ 0 h 1787150"/>
                <a:gd name="connsiteX2" fmla="*/ 2119086 w 2119086"/>
                <a:gd name="connsiteY2" fmla="*/ 1378857 h 1787150"/>
                <a:gd name="connsiteX3" fmla="*/ 0 w 2119086"/>
                <a:gd name="connsiteY3" fmla="*/ 1683657 h 1787150"/>
              </a:gdLst>
              <a:ahLst/>
              <a:cxnLst>
                <a:cxn ang="0">
                  <a:pos x="connsiteX0" y="connsiteY0"/>
                </a:cxn>
                <a:cxn ang="0">
                  <a:pos x="connsiteX1" y="connsiteY1"/>
                </a:cxn>
                <a:cxn ang="0">
                  <a:pos x="connsiteX2" y="connsiteY2"/>
                </a:cxn>
                <a:cxn ang="0">
                  <a:pos x="connsiteX3" y="connsiteY3"/>
                </a:cxn>
              </a:cxnLst>
              <a:rect l="l" t="t" r="r" b="b"/>
              <a:pathLst>
                <a:path w="2119086" h="1787150">
                  <a:moveTo>
                    <a:pt x="0" y="1683657"/>
                  </a:moveTo>
                  <a:lnTo>
                    <a:pt x="0" y="0"/>
                  </a:lnTo>
                  <a:lnTo>
                    <a:pt x="2119086" y="1378857"/>
                  </a:lnTo>
                  <a:cubicBezTo>
                    <a:pt x="1543353" y="1538514"/>
                    <a:pt x="706362" y="1988457"/>
                    <a:pt x="0" y="1683657"/>
                  </a:cubicBezTo>
                  <a:close/>
                </a:path>
              </a:pathLst>
            </a:custGeom>
            <a:solidFill>
              <a:srgbClr val="01C8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22C24C6-812B-4F91-A38E-2CE234E8DEA7}"/>
                </a:ext>
              </a:extLst>
            </p:cNvPr>
            <p:cNvSpPr/>
            <p:nvPr/>
          </p:nvSpPr>
          <p:spPr>
            <a:xfrm>
              <a:off x="0" y="2328083"/>
              <a:ext cx="12192000" cy="4566991"/>
            </a:xfrm>
            <a:custGeom>
              <a:avLst/>
              <a:gdLst>
                <a:gd name="connsiteX0" fmla="*/ 0 w 12192000"/>
                <a:gd name="connsiteY0" fmla="*/ 0 h 4368018"/>
                <a:gd name="connsiteX1" fmla="*/ 12192000 w 12192000"/>
                <a:gd name="connsiteY1" fmla="*/ 0 h 4368018"/>
                <a:gd name="connsiteX2" fmla="*/ 12192000 w 12192000"/>
                <a:gd name="connsiteY2" fmla="*/ 4368018 h 4368018"/>
                <a:gd name="connsiteX3" fmla="*/ 0 w 12192000"/>
                <a:gd name="connsiteY3" fmla="*/ 4368018 h 4368018"/>
                <a:gd name="connsiteX4" fmla="*/ 0 w 12192000"/>
                <a:gd name="connsiteY4" fmla="*/ 0 h 4368018"/>
                <a:gd name="connsiteX0" fmla="*/ 0 w 12192000"/>
                <a:gd name="connsiteY0" fmla="*/ 2322285 h 4368018"/>
                <a:gd name="connsiteX1" fmla="*/ 12192000 w 12192000"/>
                <a:gd name="connsiteY1" fmla="*/ 0 h 4368018"/>
                <a:gd name="connsiteX2" fmla="*/ 12192000 w 12192000"/>
                <a:gd name="connsiteY2" fmla="*/ 4368018 h 4368018"/>
                <a:gd name="connsiteX3" fmla="*/ 0 w 12192000"/>
                <a:gd name="connsiteY3" fmla="*/ 4368018 h 4368018"/>
                <a:gd name="connsiteX4" fmla="*/ 0 w 12192000"/>
                <a:gd name="connsiteY4" fmla="*/ 2322285 h 4368018"/>
                <a:gd name="connsiteX0" fmla="*/ 0 w 12192000"/>
                <a:gd name="connsiteY0" fmla="*/ 2322285 h 4368018"/>
                <a:gd name="connsiteX1" fmla="*/ 12192000 w 12192000"/>
                <a:gd name="connsiteY1" fmla="*/ 0 h 4368018"/>
                <a:gd name="connsiteX2" fmla="*/ 12192000 w 12192000"/>
                <a:gd name="connsiteY2" fmla="*/ 4368018 h 4368018"/>
                <a:gd name="connsiteX3" fmla="*/ 0 w 12192000"/>
                <a:gd name="connsiteY3" fmla="*/ 4368018 h 4368018"/>
                <a:gd name="connsiteX4" fmla="*/ 0 w 12192000"/>
                <a:gd name="connsiteY4" fmla="*/ 2322285 h 4368018"/>
                <a:gd name="connsiteX0" fmla="*/ 0 w 12192000"/>
                <a:gd name="connsiteY0" fmla="*/ 2697702 h 4743435"/>
                <a:gd name="connsiteX1" fmla="*/ 12192000 w 12192000"/>
                <a:gd name="connsiteY1" fmla="*/ 375417 h 4743435"/>
                <a:gd name="connsiteX2" fmla="*/ 12192000 w 12192000"/>
                <a:gd name="connsiteY2" fmla="*/ 4743435 h 4743435"/>
                <a:gd name="connsiteX3" fmla="*/ 0 w 12192000"/>
                <a:gd name="connsiteY3" fmla="*/ 4743435 h 4743435"/>
                <a:gd name="connsiteX4" fmla="*/ 0 w 12192000"/>
                <a:gd name="connsiteY4" fmla="*/ 2697702 h 4743435"/>
                <a:gd name="connsiteX0" fmla="*/ 0 w 12192000"/>
                <a:gd name="connsiteY0" fmla="*/ 2663741 h 4709474"/>
                <a:gd name="connsiteX1" fmla="*/ 12192000 w 12192000"/>
                <a:gd name="connsiteY1" fmla="*/ 341456 h 4709474"/>
                <a:gd name="connsiteX2" fmla="*/ 12192000 w 12192000"/>
                <a:gd name="connsiteY2" fmla="*/ 4709474 h 4709474"/>
                <a:gd name="connsiteX3" fmla="*/ 0 w 12192000"/>
                <a:gd name="connsiteY3" fmla="*/ 4709474 h 4709474"/>
                <a:gd name="connsiteX4" fmla="*/ 0 w 12192000"/>
                <a:gd name="connsiteY4" fmla="*/ 2663741 h 4709474"/>
                <a:gd name="connsiteX0" fmla="*/ 0 w 12192000"/>
                <a:gd name="connsiteY0" fmla="*/ 2521258 h 4566991"/>
                <a:gd name="connsiteX1" fmla="*/ 12192000 w 12192000"/>
                <a:gd name="connsiteY1" fmla="*/ 198973 h 4566991"/>
                <a:gd name="connsiteX2" fmla="*/ 12192000 w 12192000"/>
                <a:gd name="connsiteY2" fmla="*/ 4566991 h 4566991"/>
                <a:gd name="connsiteX3" fmla="*/ 0 w 12192000"/>
                <a:gd name="connsiteY3" fmla="*/ 4566991 h 4566991"/>
                <a:gd name="connsiteX4" fmla="*/ 0 w 12192000"/>
                <a:gd name="connsiteY4" fmla="*/ 2521258 h 456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4566991">
                  <a:moveTo>
                    <a:pt x="0" y="2521258"/>
                  </a:moveTo>
                  <a:cubicBezTo>
                    <a:pt x="6313714" y="4359734"/>
                    <a:pt x="8679543" y="-1087960"/>
                    <a:pt x="12192000" y="198973"/>
                  </a:cubicBezTo>
                  <a:lnTo>
                    <a:pt x="12192000" y="4566991"/>
                  </a:lnTo>
                  <a:lnTo>
                    <a:pt x="0" y="4566991"/>
                  </a:lnTo>
                  <a:lnTo>
                    <a:pt x="0" y="2521258"/>
                  </a:lnTo>
                  <a:close/>
                </a:path>
              </a:pathLst>
            </a:custGeom>
            <a:solidFill>
              <a:srgbClr val="353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 name="Group 27">
            <a:extLst>
              <a:ext uri="{FF2B5EF4-FFF2-40B4-BE49-F238E27FC236}">
                <a16:creationId xmlns:a16="http://schemas.microsoft.com/office/drawing/2014/main" id="{E296FEB1-FD6D-4D31-A49A-6C64F4275BFD}"/>
              </a:ext>
            </a:extLst>
          </p:cNvPr>
          <p:cNvGrpSpPr/>
          <p:nvPr/>
        </p:nvGrpSpPr>
        <p:grpSpPr>
          <a:xfrm>
            <a:off x="12248034" y="3274363"/>
            <a:ext cx="2703940" cy="963808"/>
            <a:chOff x="10491639" y="3274363"/>
            <a:chExt cx="2703940" cy="963808"/>
          </a:xfrm>
        </p:grpSpPr>
        <p:sp>
          <p:nvSpPr>
            <p:cNvPr id="2" name="Rectangle: Top Corners Rounded 1">
              <a:extLst>
                <a:ext uri="{FF2B5EF4-FFF2-40B4-BE49-F238E27FC236}">
                  <a16:creationId xmlns:a16="http://schemas.microsoft.com/office/drawing/2014/main" id="{B94728D4-7FF0-43BA-8D0F-46CCD702FAAE}"/>
                </a:ext>
              </a:extLst>
            </p:cNvPr>
            <p:cNvSpPr/>
            <p:nvPr/>
          </p:nvSpPr>
          <p:spPr>
            <a:xfrm rot="16200000">
              <a:off x="11421906" y="2464498"/>
              <a:ext cx="963808" cy="2583538"/>
            </a:xfrm>
            <a:prstGeom prst="round2SameRect">
              <a:avLst>
                <a:gd name="adj1" fmla="val 50000"/>
                <a:gd name="adj2" fmla="val 0"/>
              </a:avLst>
            </a:prstGeom>
            <a:solidFill>
              <a:srgbClr val="01C8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0E4FB166-E8C3-4D42-80E1-D45D7E1B3E18}"/>
                </a:ext>
              </a:extLst>
            </p:cNvPr>
            <p:cNvSpPr txBox="1"/>
            <p:nvPr/>
          </p:nvSpPr>
          <p:spPr>
            <a:xfrm>
              <a:off x="10491639" y="3431464"/>
              <a:ext cx="2643479" cy="523220"/>
            </a:xfrm>
            <a:prstGeom prst="rect">
              <a:avLst/>
            </a:prstGeom>
            <a:noFill/>
          </p:spPr>
          <p:txBody>
            <a:bodyPr wrap="square" rtlCol="0">
              <a:spAutoFit/>
            </a:bodyPr>
            <a:lstStyle/>
            <a:p>
              <a:pPr algn="ctr"/>
              <a:r>
                <a:rPr lang="en-US" sz="2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roup 9</a:t>
              </a:r>
            </a:p>
          </p:txBody>
        </p:sp>
      </p:grpSp>
      <p:sp>
        <p:nvSpPr>
          <p:cNvPr id="11" name="TextBox 10">
            <a:extLst>
              <a:ext uri="{FF2B5EF4-FFF2-40B4-BE49-F238E27FC236}">
                <a16:creationId xmlns:a16="http://schemas.microsoft.com/office/drawing/2014/main" id="{F92B5CF2-CA90-4392-868E-BC07A69B9C24}"/>
              </a:ext>
            </a:extLst>
          </p:cNvPr>
          <p:cNvSpPr txBox="1"/>
          <p:nvPr/>
        </p:nvSpPr>
        <p:spPr>
          <a:xfrm>
            <a:off x="652941" y="2453626"/>
            <a:ext cx="8783509" cy="1446550"/>
          </a:xfrm>
          <a:prstGeom prst="rect">
            <a:avLst/>
          </a:prstGeom>
          <a:noFill/>
        </p:spPr>
        <p:txBody>
          <a:bodyPr wrap="square" rtlCol="0">
            <a:spAutoFit/>
          </a:bodyPr>
          <a:lstStyle/>
          <a:p>
            <a:r>
              <a:rPr lang="en-US" sz="4400" b="1"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Construction And Demolition Waste Recycling</a:t>
            </a:r>
          </a:p>
        </p:txBody>
      </p:sp>
      <p:sp>
        <p:nvSpPr>
          <p:cNvPr id="12" name="TextBox 11">
            <a:extLst>
              <a:ext uri="{FF2B5EF4-FFF2-40B4-BE49-F238E27FC236}">
                <a16:creationId xmlns:a16="http://schemas.microsoft.com/office/drawing/2014/main" id="{3383A855-85A7-49FF-9D6B-955B8532E7D2}"/>
              </a:ext>
            </a:extLst>
          </p:cNvPr>
          <p:cNvSpPr txBox="1"/>
          <p:nvPr/>
        </p:nvSpPr>
        <p:spPr>
          <a:xfrm>
            <a:off x="1270118" y="6069269"/>
            <a:ext cx="1037770" cy="646331"/>
          </a:xfrm>
          <a:prstGeom prst="rect">
            <a:avLst/>
          </a:prstGeom>
          <a:noFill/>
        </p:spPr>
        <p:txBody>
          <a:bodyPr wrap="square" rtlCol="0">
            <a:spAutoFit/>
          </a:bodyPr>
          <a:lstStyle/>
          <a:p>
            <a:pPr algn="ctr"/>
            <a:r>
              <a:rPr lang="en-US" sz="3600" b="1" dirty="0">
                <a:solidFill>
                  <a:srgbClr val="01C8CB"/>
                </a:solidFill>
                <a:latin typeface="Open Sans" panose="020B0606030504020204" pitchFamily="34" charset="0"/>
                <a:ea typeface="Open Sans" panose="020B0606030504020204" pitchFamily="34" charset="0"/>
                <a:cs typeface="Open Sans" panose="020B0606030504020204" pitchFamily="34" charset="0"/>
              </a:rPr>
              <a:t>01</a:t>
            </a:r>
          </a:p>
        </p:txBody>
      </p:sp>
      <p:sp>
        <p:nvSpPr>
          <p:cNvPr id="13" name="TextBox 12">
            <a:extLst>
              <a:ext uri="{FF2B5EF4-FFF2-40B4-BE49-F238E27FC236}">
                <a16:creationId xmlns:a16="http://schemas.microsoft.com/office/drawing/2014/main" id="{40FE2135-C589-4A80-ADE5-F43288A9E739}"/>
              </a:ext>
            </a:extLst>
          </p:cNvPr>
          <p:cNvSpPr txBox="1"/>
          <p:nvPr/>
        </p:nvSpPr>
        <p:spPr>
          <a:xfrm>
            <a:off x="-18103" y="5646381"/>
            <a:ext cx="2080707" cy="369332"/>
          </a:xfrm>
          <a:prstGeom prst="rect">
            <a:avLst/>
          </a:prstGeom>
          <a:noFill/>
        </p:spPr>
        <p:txBody>
          <a:bodyPr wrap="square" rtlCol="0">
            <a:spAutoFit/>
          </a:bodyPr>
          <a:lstStyle/>
          <a:p>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Kalash </a:t>
            </a:r>
            <a:r>
              <a:rPr lang="en-US"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harmik</a:t>
            </a:r>
            <a:endPar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15">
            <a:extLst>
              <a:ext uri="{FF2B5EF4-FFF2-40B4-BE49-F238E27FC236}">
                <a16:creationId xmlns:a16="http://schemas.microsoft.com/office/drawing/2014/main" id="{B57C5897-FB54-46C1-8559-D2F9347D494D}"/>
              </a:ext>
            </a:extLst>
          </p:cNvPr>
          <p:cNvCxnSpPr/>
          <p:nvPr/>
        </p:nvCxnSpPr>
        <p:spPr>
          <a:xfrm>
            <a:off x="2341130" y="5385124"/>
            <a:ext cx="0" cy="1294100"/>
          </a:xfrm>
          <a:prstGeom prst="line">
            <a:avLst/>
          </a:prstGeom>
          <a:ln>
            <a:solidFill>
              <a:srgbClr val="00A5B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6F23478-5F35-4D84-B112-7C81DDD2A8BA}"/>
              </a:ext>
            </a:extLst>
          </p:cNvPr>
          <p:cNvSpPr txBox="1"/>
          <p:nvPr/>
        </p:nvSpPr>
        <p:spPr>
          <a:xfrm>
            <a:off x="3574244" y="6064292"/>
            <a:ext cx="1037770" cy="646331"/>
          </a:xfrm>
          <a:prstGeom prst="rect">
            <a:avLst/>
          </a:prstGeom>
          <a:noFill/>
        </p:spPr>
        <p:txBody>
          <a:bodyPr wrap="square" rtlCol="0">
            <a:spAutoFit/>
          </a:bodyPr>
          <a:lstStyle/>
          <a:p>
            <a:pPr algn="ctr"/>
            <a:r>
              <a:rPr lang="en-US" sz="3600" b="1" dirty="0">
                <a:solidFill>
                  <a:srgbClr val="01C8CB"/>
                </a:solidFill>
                <a:latin typeface="Open Sans" panose="020B0606030504020204" pitchFamily="34" charset="0"/>
                <a:ea typeface="Open Sans" panose="020B0606030504020204" pitchFamily="34" charset="0"/>
                <a:cs typeface="Open Sans" panose="020B0606030504020204" pitchFamily="34" charset="0"/>
              </a:rPr>
              <a:t>02</a:t>
            </a:r>
          </a:p>
        </p:txBody>
      </p:sp>
      <p:sp>
        <p:nvSpPr>
          <p:cNvPr id="18" name="TextBox 17">
            <a:extLst>
              <a:ext uri="{FF2B5EF4-FFF2-40B4-BE49-F238E27FC236}">
                <a16:creationId xmlns:a16="http://schemas.microsoft.com/office/drawing/2014/main" id="{43A5051A-3402-4C4D-AE5D-77FFF6AF7CA0}"/>
              </a:ext>
            </a:extLst>
          </p:cNvPr>
          <p:cNvSpPr txBox="1"/>
          <p:nvPr/>
        </p:nvSpPr>
        <p:spPr>
          <a:xfrm>
            <a:off x="2319584" y="5635155"/>
            <a:ext cx="2353344" cy="369332"/>
          </a:xfrm>
          <a:prstGeom prst="rect">
            <a:avLst/>
          </a:prstGeom>
          <a:noFill/>
        </p:spPr>
        <p:txBody>
          <a:bodyPr wrap="square" rtlCol="0">
            <a:spAutoFit/>
          </a:bodyPr>
          <a:lstStyle/>
          <a:p>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Himanshu Devtale</a:t>
            </a:r>
          </a:p>
        </p:txBody>
      </p:sp>
      <p:cxnSp>
        <p:nvCxnSpPr>
          <p:cNvPr id="20" name="Straight Connector 19">
            <a:extLst>
              <a:ext uri="{FF2B5EF4-FFF2-40B4-BE49-F238E27FC236}">
                <a16:creationId xmlns:a16="http://schemas.microsoft.com/office/drawing/2014/main" id="{8BD26841-B28B-4286-84A0-271B4DF4A372}"/>
              </a:ext>
            </a:extLst>
          </p:cNvPr>
          <p:cNvCxnSpPr/>
          <p:nvPr/>
        </p:nvCxnSpPr>
        <p:spPr>
          <a:xfrm>
            <a:off x="4807531" y="5345147"/>
            <a:ext cx="0" cy="1294100"/>
          </a:xfrm>
          <a:prstGeom prst="line">
            <a:avLst/>
          </a:prstGeom>
          <a:ln>
            <a:solidFill>
              <a:srgbClr val="00A5B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F96955F-8317-4BC3-BABC-586D9FCB7E1D}"/>
              </a:ext>
            </a:extLst>
          </p:cNvPr>
          <p:cNvSpPr txBox="1"/>
          <p:nvPr/>
        </p:nvSpPr>
        <p:spPr>
          <a:xfrm>
            <a:off x="5932038" y="6074088"/>
            <a:ext cx="1037770" cy="646331"/>
          </a:xfrm>
          <a:prstGeom prst="rect">
            <a:avLst/>
          </a:prstGeom>
          <a:noFill/>
        </p:spPr>
        <p:txBody>
          <a:bodyPr wrap="square" rtlCol="0">
            <a:spAutoFit/>
          </a:bodyPr>
          <a:lstStyle/>
          <a:p>
            <a:pPr algn="ctr"/>
            <a:r>
              <a:rPr lang="en-US" sz="3600" b="1" dirty="0">
                <a:solidFill>
                  <a:srgbClr val="01C8CB"/>
                </a:solidFill>
                <a:latin typeface="Open Sans" panose="020B0606030504020204" pitchFamily="34" charset="0"/>
                <a:ea typeface="Open Sans" panose="020B0606030504020204" pitchFamily="34" charset="0"/>
                <a:cs typeface="Open Sans" panose="020B0606030504020204" pitchFamily="34" charset="0"/>
              </a:rPr>
              <a:t>03</a:t>
            </a:r>
          </a:p>
        </p:txBody>
      </p:sp>
      <p:sp>
        <p:nvSpPr>
          <p:cNvPr id="22" name="TextBox 21">
            <a:extLst>
              <a:ext uri="{FF2B5EF4-FFF2-40B4-BE49-F238E27FC236}">
                <a16:creationId xmlns:a16="http://schemas.microsoft.com/office/drawing/2014/main" id="{DC5EFEE8-67B0-4AC9-A980-9DB9C22A53B2}"/>
              </a:ext>
            </a:extLst>
          </p:cNvPr>
          <p:cNvSpPr txBox="1"/>
          <p:nvPr/>
        </p:nvSpPr>
        <p:spPr>
          <a:xfrm>
            <a:off x="4776005" y="5639844"/>
            <a:ext cx="2265223" cy="369332"/>
          </a:xfrm>
          <a:prstGeom prst="rect">
            <a:avLst/>
          </a:prstGeom>
          <a:noFill/>
        </p:spPr>
        <p:txBody>
          <a:bodyPr wrap="square" rtlCol="0">
            <a:spAutoFit/>
          </a:bodyPr>
          <a:lstStyle/>
          <a:p>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Jay </a:t>
            </a:r>
            <a:r>
              <a:rPr lang="en-US"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hakre</a:t>
            </a:r>
            <a:endPar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4" name="Straight Connector 23">
            <a:extLst>
              <a:ext uri="{FF2B5EF4-FFF2-40B4-BE49-F238E27FC236}">
                <a16:creationId xmlns:a16="http://schemas.microsoft.com/office/drawing/2014/main" id="{60B73899-6EA0-4A99-BC19-C9B7CA86C93D}"/>
              </a:ext>
            </a:extLst>
          </p:cNvPr>
          <p:cNvCxnSpPr/>
          <p:nvPr/>
        </p:nvCxnSpPr>
        <p:spPr>
          <a:xfrm>
            <a:off x="7066520" y="5426319"/>
            <a:ext cx="0" cy="1294100"/>
          </a:xfrm>
          <a:prstGeom prst="line">
            <a:avLst/>
          </a:prstGeom>
          <a:ln>
            <a:solidFill>
              <a:srgbClr val="00A5B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D25F1E3-EC54-4A89-B863-9474944C77F1}"/>
              </a:ext>
            </a:extLst>
          </p:cNvPr>
          <p:cNvSpPr txBox="1"/>
          <p:nvPr/>
        </p:nvSpPr>
        <p:spPr>
          <a:xfrm>
            <a:off x="7027565" y="5640565"/>
            <a:ext cx="2488093" cy="369332"/>
          </a:xfrm>
          <a:prstGeom prst="rect">
            <a:avLst/>
          </a:prstGeom>
          <a:noFill/>
        </p:spPr>
        <p:txBody>
          <a:bodyPr wrap="square" rtlCol="0">
            <a:spAutoFit/>
          </a:bodyPr>
          <a:lstStyle/>
          <a:p>
            <a:r>
              <a:rPr lang="en-US"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Hitul</a:t>
            </a:r>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 Vaidya</a:t>
            </a:r>
          </a:p>
        </p:txBody>
      </p:sp>
      <p:grpSp>
        <p:nvGrpSpPr>
          <p:cNvPr id="38" name="Group 37">
            <a:extLst>
              <a:ext uri="{FF2B5EF4-FFF2-40B4-BE49-F238E27FC236}">
                <a16:creationId xmlns:a16="http://schemas.microsoft.com/office/drawing/2014/main" id="{AC4932BB-1B0A-41A1-99CD-03CAF5996E3E}"/>
              </a:ext>
            </a:extLst>
          </p:cNvPr>
          <p:cNvGrpSpPr/>
          <p:nvPr/>
        </p:nvGrpSpPr>
        <p:grpSpPr>
          <a:xfrm>
            <a:off x="10114640" y="160837"/>
            <a:ext cx="1761383" cy="1621631"/>
            <a:chOff x="10114640" y="160837"/>
            <a:chExt cx="1761383" cy="1621631"/>
          </a:xfrm>
        </p:grpSpPr>
        <p:sp>
          <p:nvSpPr>
            <p:cNvPr id="25" name="Oval 24">
              <a:extLst>
                <a:ext uri="{FF2B5EF4-FFF2-40B4-BE49-F238E27FC236}">
                  <a16:creationId xmlns:a16="http://schemas.microsoft.com/office/drawing/2014/main" id="{DC43373A-32D0-4902-9CF7-217D9244C3BF}"/>
                </a:ext>
              </a:extLst>
            </p:cNvPr>
            <p:cNvSpPr/>
            <p:nvPr/>
          </p:nvSpPr>
          <p:spPr>
            <a:xfrm>
              <a:off x="10539065" y="160837"/>
              <a:ext cx="912533" cy="91253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85734311-DA5A-49B4-A62D-949D34AA300D}"/>
                </a:ext>
              </a:extLst>
            </p:cNvPr>
            <p:cNvSpPr txBox="1"/>
            <p:nvPr/>
          </p:nvSpPr>
          <p:spPr>
            <a:xfrm>
              <a:off x="10114640" y="1136137"/>
              <a:ext cx="1761383" cy="646331"/>
            </a:xfrm>
            <a:prstGeom prst="rect">
              <a:avLst/>
            </a:prstGeom>
            <a:noFill/>
          </p:spPr>
          <p:txBody>
            <a:bodyPr wrap="square" rtlCol="0">
              <a:spAutoFit/>
            </a:bodyPr>
            <a:lstStyle/>
            <a:p>
              <a:pPr algn="ctr"/>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mental Warriors</a:t>
              </a:r>
            </a:p>
          </p:txBody>
        </p:sp>
        <p:pic>
          <p:nvPicPr>
            <p:cNvPr id="27" name="Picture 26">
              <a:extLst>
                <a:ext uri="{FF2B5EF4-FFF2-40B4-BE49-F238E27FC236}">
                  <a16:creationId xmlns:a16="http://schemas.microsoft.com/office/drawing/2014/main" id="{A9F2EE8F-29D6-4244-A08D-36345774F657}"/>
                </a:ext>
              </a:extLst>
            </p:cNvPr>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10577738" y="183973"/>
              <a:ext cx="835186" cy="835186"/>
            </a:xfrm>
            <a:prstGeom prst="rect">
              <a:avLst/>
            </a:prstGeom>
          </p:spPr>
        </p:pic>
      </p:grpSp>
      <p:sp>
        <p:nvSpPr>
          <p:cNvPr id="39" name="TextBox 38">
            <a:extLst>
              <a:ext uri="{FF2B5EF4-FFF2-40B4-BE49-F238E27FC236}">
                <a16:creationId xmlns:a16="http://schemas.microsoft.com/office/drawing/2014/main" id="{2ED7AD0C-BD3A-4973-85DC-9BBC75FC27C7}"/>
              </a:ext>
            </a:extLst>
          </p:cNvPr>
          <p:cNvSpPr txBox="1"/>
          <p:nvPr/>
        </p:nvSpPr>
        <p:spPr>
          <a:xfrm>
            <a:off x="8368121" y="6054248"/>
            <a:ext cx="1054917" cy="646331"/>
          </a:xfrm>
          <a:prstGeom prst="rect">
            <a:avLst/>
          </a:prstGeom>
          <a:noFill/>
        </p:spPr>
        <p:txBody>
          <a:bodyPr wrap="square" rtlCol="0">
            <a:spAutoFit/>
          </a:bodyPr>
          <a:lstStyle/>
          <a:p>
            <a:pPr algn="ctr"/>
            <a:r>
              <a:rPr lang="en-US" sz="3600" b="1" dirty="0">
                <a:solidFill>
                  <a:srgbClr val="01C8CB"/>
                </a:solidFill>
                <a:latin typeface="Open Sans" panose="020B0606030504020204" pitchFamily="34" charset="0"/>
                <a:ea typeface="Open Sans" panose="020B0606030504020204" pitchFamily="34" charset="0"/>
                <a:cs typeface="Open Sans" panose="020B0606030504020204" pitchFamily="34" charset="0"/>
              </a:rPr>
              <a:t>04</a:t>
            </a:r>
          </a:p>
        </p:txBody>
      </p:sp>
      <p:cxnSp>
        <p:nvCxnSpPr>
          <p:cNvPr id="40" name="Straight Connector 39">
            <a:extLst>
              <a:ext uri="{FF2B5EF4-FFF2-40B4-BE49-F238E27FC236}">
                <a16:creationId xmlns:a16="http://schemas.microsoft.com/office/drawing/2014/main" id="{B3ADF531-15CF-4FFD-B545-18A14CB7D22E}"/>
              </a:ext>
            </a:extLst>
          </p:cNvPr>
          <p:cNvCxnSpPr/>
          <p:nvPr/>
        </p:nvCxnSpPr>
        <p:spPr>
          <a:xfrm>
            <a:off x="9360239" y="5462972"/>
            <a:ext cx="0" cy="1294100"/>
          </a:xfrm>
          <a:prstGeom prst="line">
            <a:avLst/>
          </a:prstGeom>
          <a:ln>
            <a:solidFill>
              <a:srgbClr val="00A5B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67D926F-6542-49C2-891D-2D21DB0E8E5A}"/>
              </a:ext>
            </a:extLst>
          </p:cNvPr>
          <p:cNvSpPr txBox="1"/>
          <p:nvPr/>
        </p:nvSpPr>
        <p:spPr>
          <a:xfrm>
            <a:off x="9328712" y="5641286"/>
            <a:ext cx="2488093" cy="369332"/>
          </a:xfrm>
          <a:prstGeom prst="rect">
            <a:avLst/>
          </a:prstGeom>
          <a:noFill/>
        </p:spPr>
        <p:txBody>
          <a:bodyPr wrap="square" rtlCol="0">
            <a:spAutoFit/>
          </a:bodyPr>
          <a:lstStyle/>
          <a:p>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Himanshu </a:t>
            </a:r>
            <a:r>
              <a:rPr lang="en-US"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Khodke</a:t>
            </a:r>
            <a:endPar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TextBox 41">
            <a:extLst>
              <a:ext uri="{FF2B5EF4-FFF2-40B4-BE49-F238E27FC236}">
                <a16:creationId xmlns:a16="http://schemas.microsoft.com/office/drawing/2014/main" id="{67C1293C-76B3-454E-B73F-1BA32AC2570B}"/>
              </a:ext>
            </a:extLst>
          </p:cNvPr>
          <p:cNvSpPr txBox="1"/>
          <p:nvPr/>
        </p:nvSpPr>
        <p:spPr>
          <a:xfrm>
            <a:off x="10747740" y="6075107"/>
            <a:ext cx="1037770" cy="646331"/>
          </a:xfrm>
          <a:prstGeom prst="rect">
            <a:avLst/>
          </a:prstGeom>
          <a:noFill/>
        </p:spPr>
        <p:txBody>
          <a:bodyPr wrap="square" rtlCol="0">
            <a:spAutoFit/>
          </a:bodyPr>
          <a:lstStyle/>
          <a:p>
            <a:pPr algn="ctr"/>
            <a:r>
              <a:rPr lang="en-US" sz="3600" b="1" dirty="0">
                <a:solidFill>
                  <a:srgbClr val="01C8CB"/>
                </a:solidFill>
                <a:latin typeface="Open Sans" panose="020B0606030504020204" pitchFamily="34" charset="0"/>
                <a:ea typeface="Open Sans" panose="020B0606030504020204" pitchFamily="34" charset="0"/>
                <a:cs typeface="Open Sans" panose="020B0606030504020204" pitchFamily="34" charset="0"/>
              </a:rPr>
              <a:t>05</a:t>
            </a:r>
          </a:p>
        </p:txBody>
      </p:sp>
      <p:sp>
        <p:nvSpPr>
          <p:cNvPr id="46" name="TextBox 45">
            <a:extLst>
              <a:ext uri="{FF2B5EF4-FFF2-40B4-BE49-F238E27FC236}">
                <a16:creationId xmlns:a16="http://schemas.microsoft.com/office/drawing/2014/main" id="{C3E875F7-5209-4FCA-9FE0-65BFA6B126B8}"/>
              </a:ext>
            </a:extLst>
          </p:cNvPr>
          <p:cNvSpPr txBox="1"/>
          <p:nvPr/>
        </p:nvSpPr>
        <p:spPr>
          <a:xfrm>
            <a:off x="0" y="5987343"/>
            <a:ext cx="1886858" cy="307777"/>
          </a:xfrm>
          <a:prstGeom prst="rect">
            <a:avLst/>
          </a:prstGeom>
          <a:noFill/>
        </p:spPr>
        <p:txBody>
          <a:bodyPr wrap="square" rtlCol="0">
            <a:spAutoFit/>
          </a:bodyPr>
          <a:lstStyle/>
          <a:p>
            <a:r>
              <a:rPr lang="en-US" sz="1400" dirty="0">
                <a:solidFill>
                  <a:schemeClr val="bg1">
                    <a:lumMod val="95000"/>
                  </a:schemeClr>
                </a:solidFill>
              </a:rPr>
              <a:t>Roll No.48 </a:t>
            </a:r>
          </a:p>
        </p:txBody>
      </p:sp>
      <p:sp>
        <p:nvSpPr>
          <p:cNvPr id="47" name="TextBox 46">
            <a:extLst>
              <a:ext uri="{FF2B5EF4-FFF2-40B4-BE49-F238E27FC236}">
                <a16:creationId xmlns:a16="http://schemas.microsoft.com/office/drawing/2014/main" id="{46ACAD2E-26D9-43A4-AABC-202ECF7CB965}"/>
              </a:ext>
            </a:extLst>
          </p:cNvPr>
          <p:cNvSpPr txBox="1"/>
          <p:nvPr/>
        </p:nvSpPr>
        <p:spPr>
          <a:xfrm>
            <a:off x="9389001" y="5989273"/>
            <a:ext cx="1886858" cy="307777"/>
          </a:xfrm>
          <a:prstGeom prst="rect">
            <a:avLst/>
          </a:prstGeom>
          <a:noFill/>
        </p:spPr>
        <p:txBody>
          <a:bodyPr wrap="square" rtlCol="0">
            <a:spAutoFit/>
          </a:bodyPr>
          <a:lstStyle/>
          <a:p>
            <a:r>
              <a:rPr lang="en-US" sz="1400" dirty="0">
                <a:solidFill>
                  <a:schemeClr val="bg1">
                    <a:lumMod val="95000"/>
                  </a:schemeClr>
                </a:solidFill>
              </a:rPr>
              <a:t>Roll No.45 </a:t>
            </a:r>
          </a:p>
        </p:txBody>
      </p:sp>
      <p:sp>
        <p:nvSpPr>
          <p:cNvPr id="48" name="TextBox 47">
            <a:extLst>
              <a:ext uri="{FF2B5EF4-FFF2-40B4-BE49-F238E27FC236}">
                <a16:creationId xmlns:a16="http://schemas.microsoft.com/office/drawing/2014/main" id="{57BC6FB1-C080-45A5-A767-13B5D2A71C89}"/>
              </a:ext>
            </a:extLst>
          </p:cNvPr>
          <p:cNvSpPr txBox="1"/>
          <p:nvPr/>
        </p:nvSpPr>
        <p:spPr>
          <a:xfrm>
            <a:off x="7074067" y="5989273"/>
            <a:ext cx="1886858" cy="307777"/>
          </a:xfrm>
          <a:prstGeom prst="rect">
            <a:avLst/>
          </a:prstGeom>
          <a:noFill/>
        </p:spPr>
        <p:txBody>
          <a:bodyPr wrap="square" rtlCol="0">
            <a:spAutoFit/>
          </a:bodyPr>
          <a:lstStyle/>
          <a:p>
            <a:r>
              <a:rPr lang="en-US" sz="1400" dirty="0">
                <a:solidFill>
                  <a:schemeClr val="bg1">
                    <a:lumMod val="95000"/>
                  </a:schemeClr>
                </a:solidFill>
              </a:rPr>
              <a:t>Roll No.46 </a:t>
            </a:r>
          </a:p>
        </p:txBody>
      </p:sp>
      <p:sp>
        <p:nvSpPr>
          <p:cNvPr id="49" name="TextBox 48">
            <a:extLst>
              <a:ext uri="{FF2B5EF4-FFF2-40B4-BE49-F238E27FC236}">
                <a16:creationId xmlns:a16="http://schemas.microsoft.com/office/drawing/2014/main" id="{21E0BD1C-2F89-40EE-B27A-2A3E870317EF}"/>
              </a:ext>
            </a:extLst>
          </p:cNvPr>
          <p:cNvSpPr txBox="1"/>
          <p:nvPr/>
        </p:nvSpPr>
        <p:spPr>
          <a:xfrm>
            <a:off x="4828573" y="5989270"/>
            <a:ext cx="1886858" cy="307777"/>
          </a:xfrm>
          <a:prstGeom prst="rect">
            <a:avLst/>
          </a:prstGeom>
          <a:noFill/>
        </p:spPr>
        <p:txBody>
          <a:bodyPr wrap="square" rtlCol="0">
            <a:spAutoFit/>
          </a:bodyPr>
          <a:lstStyle/>
          <a:p>
            <a:r>
              <a:rPr lang="en-US" sz="1400" dirty="0">
                <a:solidFill>
                  <a:schemeClr val="bg1">
                    <a:lumMod val="95000"/>
                  </a:schemeClr>
                </a:solidFill>
              </a:rPr>
              <a:t>Roll No.47 </a:t>
            </a:r>
          </a:p>
        </p:txBody>
      </p:sp>
      <p:sp>
        <p:nvSpPr>
          <p:cNvPr id="50" name="TextBox 49">
            <a:extLst>
              <a:ext uri="{FF2B5EF4-FFF2-40B4-BE49-F238E27FC236}">
                <a16:creationId xmlns:a16="http://schemas.microsoft.com/office/drawing/2014/main" id="{9DAC6E01-6E89-479E-BB04-C9F7E8AA6333}"/>
              </a:ext>
            </a:extLst>
          </p:cNvPr>
          <p:cNvSpPr txBox="1"/>
          <p:nvPr/>
        </p:nvSpPr>
        <p:spPr>
          <a:xfrm>
            <a:off x="2374741" y="5989272"/>
            <a:ext cx="1886858" cy="307777"/>
          </a:xfrm>
          <a:prstGeom prst="rect">
            <a:avLst/>
          </a:prstGeom>
          <a:noFill/>
        </p:spPr>
        <p:txBody>
          <a:bodyPr wrap="square" rtlCol="0">
            <a:spAutoFit/>
          </a:bodyPr>
          <a:lstStyle/>
          <a:p>
            <a:r>
              <a:rPr lang="en-US" sz="1400" dirty="0">
                <a:solidFill>
                  <a:schemeClr val="bg1">
                    <a:lumMod val="95000"/>
                  </a:schemeClr>
                </a:solidFill>
              </a:rPr>
              <a:t>Roll No.44 </a:t>
            </a:r>
          </a:p>
        </p:txBody>
      </p:sp>
    </p:spTree>
    <p:extLst>
      <p:ext uri="{BB962C8B-B14F-4D97-AF65-F5344CB8AC3E}">
        <p14:creationId xmlns:p14="http://schemas.microsoft.com/office/powerpoint/2010/main" val="2511544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left)">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41" presetClass="entr" presetSubtype="0" fill="hold" grpId="0" nodeType="clickEffect">
                                  <p:stCondLst>
                                    <p:cond delay="0"/>
                                  </p:stCondLst>
                                  <p:iterate type="lt">
                                    <p:tmPct val="10000"/>
                                  </p:iterate>
                                  <p:childTnLst>
                                    <p:set>
                                      <p:cBhvr>
                                        <p:cTn id="11" dur="1" fill="hold">
                                          <p:stCondLst>
                                            <p:cond delay="0"/>
                                          </p:stCondLst>
                                        </p:cTn>
                                        <p:tgtEl>
                                          <p:spTgt spid="11">
                                            <p:txEl>
                                              <p:pRg st="0" end="0"/>
                                            </p:txEl>
                                          </p:spTgt>
                                        </p:tgtEl>
                                        <p:attrNameLst>
                                          <p:attrName>style.visibility</p:attrName>
                                        </p:attrNameLst>
                                      </p:cBhvr>
                                      <p:to>
                                        <p:strVal val="visible"/>
                                      </p:to>
                                    </p:set>
                                    <p:anim calcmode="lin" valueType="num">
                                      <p:cBhvr>
                                        <p:cTn id="12" dur="750" fill="hold"/>
                                        <p:tgtEl>
                                          <p:spTgt spid="11">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13" dur="750" fill="hold"/>
                                        <p:tgtEl>
                                          <p:spTgt spid="11">
                                            <p:txEl>
                                              <p:pRg st="0" end="0"/>
                                            </p:txEl>
                                          </p:spTgt>
                                        </p:tgtEl>
                                        <p:attrNameLst>
                                          <p:attrName>ppt_y</p:attrName>
                                        </p:attrNameLst>
                                      </p:cBhvr>
                                      <p:tavLst>
                                        <p:tav tm="0">
                                          <p:val>
                                            <p:strVal val="#ppt_y"/>
                                          </p:val>
                                        </p:tav>
                                        <p:tav tm="100000">
                                          <p:val>
                                            <p:strVal val="#ppt_y"/>
                                          </p:val>
                                        </p:tav>
                                      </p:tavLst>
                                    </p:anim>
                                    <p:anim calcmode="lin" valueType="num">
                                      <p:cBhvr>
                                        <p:cTn id="14" dur="750" fill="hold"/>
                                        <p:tgtEl>
                                          <p:spTgt spid="11">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15" dur="750" fill="hold"/>
                                        <p:tgtEl>
                                          <p:spTgt spid="11">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16" dur="750" tmFilter="0,0; .5, 1; 1, 1"/>
                                        <p:tgtEl>
                                          <p:spTgt spid="11">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path" presetSubtype="0" accel="50000" decel="50000" fill="hold" nodeType="clickEffect">
                                  <p:stCondLst>
                                    <p:cond delay="0"/>
                                  </p:stCondLst>
                                  <p:childTnLst>
                                    <p:animMotion origin="layout" path="M 1.25E-6 -2.96296E-6 L -0.22669 -0.00625 " pathEditMode="relative" rAng="0" ptsTypes="AA">
                                      <p:cBhvr>
                                        <p:cTn id="20" dur="2000" fill="hold"/>
                                        <p:tgtEl>
                                          <p:spTgt spid="28"/>
                                        </p:tgtEl>
                                        <p:attrNameLst>
                                          <p:attrName>ppt_x</p:attrName>
                                          <p:attrName>ppt_y</p:attrName>
                                        </p:attrNameLst>
                                      </p:cBhvr>
                                      <p:rCtr x="-11341" y="-324"/>
                                    </p:animMotion>
                                  </p:childTnLst>
                                </p:cTn>
                              </p:par>
                              <p:par>
                                <p:cTn id="21" presetID="19" presetClass="entr" presetSubtype="10" repeatCount="indefinite"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anim calcmode="lin" valueType="num">
                                      <p:cBhvr>
                                        <p:cTn id="23" dur="2000" fill="hold"/>
                                        <p:tgtEl>
                                          <p:spTgt spid="38"/>
                                        </p:tgtEl>
                                        <p:attrNameLst>
                                          <p:attrName>ppt_w</p:attrName>
                                        </p:attrNameLst>
                                      </p:cBhvr>
                                      <p:tavLst>
                                        <p:tav tm="0" fmla="#ppt_w*sin(2.5*pi*$)">
                                          <p:val>
                                            <p:fltVal val="0"/>
                                          </p:val>
                                        </p:tav>
                                        <p:tav tm="100000">
                                          <p:val>
                                            <p:fltVal val="1"/>
                                          </p:val>
                                        </p:tav>
                                      </p:tavLst>
                                    </p:anim>
                                    <p:anim calcmode="lin" valueType="num">
                                      <p:cBhvr>
                                        <p:cTn id="24" dur="2000" fill="hold"/>
                                        <p:tgtEl>
                                          <p:spTgt spid="38"/>
                                        </p:tgtEl>
                                        <p:attrNameLst>
                                          <p:attrName>ppt_h</p:attrName>
                                        </p:attrNameLst>
                                      </p:cBhvr>
                                      <p:tavLst>
                                        <p:tav tm="0">
                                          <p:val>
                                            <p:strVal val="#ppt_h"/>
                                          </p:val>
                                        </p:tav>
                                        <p:tav tm="100000">
                                          <p:val>
                                            <p:strVal val="#ppt_h"/>
                                          </p:val>
                                        </p:tav>
                                      </p:tavLst>
                                    </p:anim>
                                  </p:childTnLst>
                                </p:cTn>
                              </p:par>
                            </p:childTnLst>
                          </p:cTn>
                        </p:par>
                      </p:childTnLst>
                    </p:cTn>
                  </p:par>
                  <p:par>
                    <p:cTn id="25" fill="hold">
                      <p:stCondLst>
                        <p:cond delay="indefinite"/>
                      </p:stCondLst>
                      <p:childTnLst>
                        <p:par>
                          <p:cTn id="26" fill="hold">
                            <p:stCondLst>
                              <p:cond delay="0"/>
                            </p:stCondLst>
                            <p:childTnLst>
                              <p:par>
                                <p:cTn id="27" presetID="6" presetClass="emph" presetSubtype="0" fill="hold" grpId="0" nodeType="clickEffect">
                                  <p:stCondLst>
                                    <p:cond delay="0"/>
                                  </p:stCondLst>
                                  <p:childTnLst>
                                    <p:animScale>
                                      <p:cBhvr>
                                        <p:cTn id="28" dur="20000" fill="hold"/>
                                        <p:tgtEl>
                                          <p:spTgt spid="9"/>
                                        </p:tgtEl>
                                      </p:cBhvr>
                                      <p:by x="150000" y="150000"/>
                                    </p:animScale>
                                  </p:childTnLst>
                                </p:cTn>
                              </p:par>
                              <p:par>
                                <p:cTn id="29" presetID="41" presetClass="entr" presetSubtype="0" fill="hold" grpId="0" nodeType="withEffect">
                                  <p:stCondLst>
                                    <p:cond delay="0"/>
                                  </p:stCondLst>
                                  <p:iterate type="lt">
                                    <p:tmPct val="10000"/>
                                  </p:iterate>
                                  <p:childTnLst>
                                    <p:set>
                                      <p:cBhvr>
                                        <p:cTn id="30" dur="1" fill="hold">
                                          <p:stCondLst>
                                            <p:cond delay="0"/>
                                          </p:stCondLst>
                                        </p:cTn>
                                        <p:tgtEl>
                                          <p:spTgt spid="13">
                                            <p:txEl>
                                              <p:pRg st="0" end="0"/>
                                            </p:txEl>
                                          </p:spTgt>
                                        </p:tgtEl>
                                        <p:attrNameLst>
                                          <p:attrName>style.visibility</p:attrName>
                                        </p:attrNameLst>
                                      </p:cBhvr>
                                      <p:to>
                                        <p:strVal val="visible"/>
                                      </p:to>
                                    </p:set>
                                    <p:anim calcmode="lin" valueType="num">
                                      <p:cBhvr>
                                        <p:cTn id="31" dur="500" fill="hold"/>
                                        <p:tgtEl>
                                          <p:spTgt spid="13">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13">
                                            <p:txEl>
                                              <p:pRg st="0" end="0"/>
                                            </p:txEl>
                                          </p:spTgt>
                                        </p:tgtEl>
                                        <p:attrNameLst>
                                          <p:attrName>ppt_y</p:attrName>
                                        </p:attrNameLst>
                                      </p:cBhvr>
                                      <p:tavLst>
                                        <p:tav tm="0">
                                          <p:val>
                                            <p:strVal val="#ppt_y"/>
                                          </p:val>
                                        </p:tav>
                                        <p:tav tm="100000">
                                          <p:val>
                                            <p:strVal val="#ppt_y"/>
                                          </p:val>
                                        </p:tav>
                                      </p:tavLst>
                                    </p:anim>
                                    <p:anim calcmode="lin" valueType="num">
                                      <p:cBhvr>
                                        <p:cTn id="33" dur="500" fill="hold"/>
                                        <p:tgtEl>
                                          <p:spTgt spid="13">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13">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13">
                                            <p:txEl>
                                              <p:pRg st="0" end="0"/>
                                            </p:txEl>
                                          </p:spTgt>
                                        </p:tgtEl>
                                      </p:cBhvr>
                                    </p:animEffect>
                                  </p:childTnLst>
                                </p:cTn>
                              </p:par>
                              <p:par>
                                <p:cTn id="36" presetID="41" presetClass="entr" presetSubtype="0" fill="hold" grpId="0" nodeType="withEffect">
                                  <p:stCondLst>
                                    <p:cond delay="0"/>
                                  </p:stCondLst>
                                  <p:iterate type="lt">
                                    <p:tmPct val="10000"/>
                                  </p:iterate>
                                  <p:childTnLst>
                                    <p:set>
                                      <p:cBhvr>
                                        <p:cTn id="37" dur="1" fill="hold">
                                          <p:stCondLst>
                                            <p:cond delay="0"/>
                                          </p:stCondLst>
                                        </p:cTn>
                                        <p:tgtEl>
                                          <p:spTgt spid="18">
                                            <p:txEl>
                                              <p:pRg st="0" end="0"/>
                                            </p:txEl>
                                          </p:spTgt>
                                        </p:tgtEl>
                                        <p:attrNameLst>
                                          <p:attrName>style.visibility</p:attrName>
                                        </p:attrNameLst>
                                      </p:cBhvr>
                                      <p:to>
                                        <p:strVal val="visible"/>
                                      </p:to>
                                    </p:set>
                                    <p:anim calcmode="lin" valueType="num">
                                      <p:cBhvr>
                                        <p:cTn id="38" dur="500" fill="hold"/>
                                        <p:tgtEl>
                                          <p:spTgt spid="18">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39" dur="500" fill="hold"/>
                                        <p:tgtEl>
                                          <p:spTgt spid="18">
                                            <p:txEl>
                                              <p:pRg st="0" end="0"/>
                                            </p:txEl>
                                          </p:spTgt>
                                        </p:tgtEl>
                                        <p:attrNameLst>
                                          <p:attrName>ppt_y</p:attrName>
                                        </p:attrNameLst>
                                      </p:cBhvr>
                                      <p:tavLst>
                                        <p:tav tm="0">
                                          <p:val>
                                            <p:strVal val="#ppt_y"/>
                                          </p:val>
                                        </p:tav>
                                        <p:tav tm="100000">
                                          <p:val>
                                            <p:strVal val="#ppt_y"/>
                                          </p:val>
                                        </p:tav>
                                      </p:tavLst>
                                    </p:anim>
                                    <p:anim calcmode="lin" valueType="num">
                                      <p:cBhvr>
                                        <p:cTn id="40" dur="500" fill="hold"/>
                                        <p:tgtEl>
                                          <p:spTgt spid="18">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41" dur="500" fill="hold"/>
                                        <p:tgtEl>
                                          <p:spTgt spid="18">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42" dur="500" tmFilter="0,0; .5, 1; 1, 1"/>
                                        <p:tgtEl>
                                          <p:spTgt spid="18">
                                            <p:txEl>
                                              <p:pRg st="0" end="0"/>
                                            </p:txEl>
                                          </p:spTgt>
                                        </p:tgtEl>
                                      </p:cBhvr>
                                    </p:animEffect>
                                  </p:childTnLst>
                                </p:cTn>
                              </p:par>
                              <p:par>
                                <p:cTn id="43" presetID="41" presetClass="entr" presetSubtype="0" fill="hold" grpId="0" nodeType="withEffect">
                                  <p:stCondLst>
                                    <p:cond delay="0"/>
                                  </p:stCondLst>
                                  <p:iterate type="lt">
                                    <p:tmPct val="10000"/>
                                  </p:iterate>
                                  <p:childTnLst>
                                    <p:set>
                                      <p:cBhvr>
                                        <p:cTn id="44" dur="1" fill="hold">
                                          <p:stCondLst>
                                            <p:cond delay="0"/>
                                          </p:stCondLst>
                                        </p:cTn>
                                        <p:tgtEl>
                                          <p:spTgt spid="22">
                                            <p:txEl>
                                              <p:pRg st="0" end="0"/>
                                            </p:txEl>
                                          </p:spTgt>
                                        </p:tgtEl>
                                        <p:attrNameLst>
                                          <p:attrName>style.visibility</p:attrName>
                                        </p:attrNameLst>
                                      </p:cBhvr>
                                      <p:to>
                                        <p:strVal val="visible"/>
                                      </p:to>
                                    </p:set>
                                    <p:anim calcmode="lin" valueType="num">
                                      <p:cBhvr>
                                        <p:cTn id="45" dur="500" fill="hold"/>
                                        <p:tgtEl>
                                          <p:spTgt spid="22">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22">
                                            <p:txEl>
                                              <p:pRg st="0" end="0"/>
                                            </p:txEl>
                                          </p:spTgt>
                                        </p:tgtEl>
                                        <p:attrNameLst>
                                          <p:attrName>ppt_y</p:attrName>
                                        </p:attrNameLst>
                                      </p:cBhvr>
                                      <p:tavLst>
                                        <p:tav tm="0">
                                          <p:val>
                                            <p:strVal val="#ppt_y"/>
                                          </p:val>
                                        </p:tav>
                                        <p:tav tm="100000">
                                          <p:val>
                                            <p:strVal val="#ppt_y"/>
                                          </p:val>
                                        </p:tav>
                                      </p:tavLst>
                                    </p:anim>
                                    <p:anim calcmode="lin" valueType="num">
                                      <p:cBhvr>
                                        <p:cTn id="47" dur="500" fill="hold"/>
                                        <p:tgtEl>
                                          <p:spTgt spid="22">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22">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22">
                                            <p:txEl>
                                              <p:pRg st="0" end="0"/>
                                            </p:txEl>
                                          </p:spTgt>
                                        </p:tgtEl>
                                      </p:cBhvr>
                                    </p:animEffect>
                                  </p:childTnLst>
                                </p:cTn>
                              </p:par>
                              <p:par>
                                <p:cTn id="50" presetID="41" presetClass="entr" presetSubtype="0" fill="hold" grpId="0" nodeType="withEffect">
                                  <p:stCondLst>
                                    <p:cond delay="0"/>
                                  </p:stCondLst>
                                  <p:iterate type="lt">
                                    <p:tmPct val="10000"/>
                                  </p:iterate>
                                  <p:childTnLst>
                                    <p:set>
                                      <p:cBhvr>
                                        <p:cTn id="51" dur="1" fill="hold">
                                          <p:stCondLst>
                                            <p:cond delay="0"/>
                                          </p:stCondLst>
                                        </p:cTn>
                                        <p:tgtEl>
                                          <p:spTgt spid="30">
                                            <p:txEl>
                                              <p:pRg st="0" end="0"/>
                                            </p:txEl>
                                          </p:spTgt>
                                        </p:tgtEl>
                                        <p:attrNameLst>
                                          <p:attrName>style.visibility</p:attrName>
                                        </p:attrNameLst>
                                      </p:cBhvr>
                                      <p:to>
                                        <p:strVal val="visible"/>
                                      </p:to>
                                    </p:set>
                                    <p:anim calcmode="lin" valueType="num">
                                      <p:cBhvr>
                                        <p:cTn id="52" dur="500" fill="hold"/>
                                        <p:tgtEl>
                                          <p:spTgt spid="30">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53" dur="500" fill="hold"/>
                                        <p:tgtEl>
                                          <p:spTgt spid="30">
                                            <p:txEl>
                                              <p:pRg st="0" end="0"/>
                                            </p:txEl>
                                          </p:spTgt>
                                        </p:tgtEl>
                                        <p:attrNameLst>
                                          <p:attrName>ppt_y</p:attrName>
                                        </p:attrNameLst>
                                      </p:cBhvr>
                                      <p:tavLst>
                                        <p:tav tm="0">
                                          <p:val>
                                            <p:strVal val="#ppt_y"/>
                                          </p:val>
                                        </p:tav>
                                        <p:tav tm="100000">
                                          <p:val>
                                            <p:strVal val="#ppt_y"/>
                                          </p:val>
                                        </p:tav>
                                      </p:tavLst>
                                    </p:anim>
                                    <p:anim calcmode="lin" valueType="num">
                                      <p:cBhvr>
                                        <p:cTn id="54" dur="500" fill="hold"/>
                                        <p:tgtEl>
                                          <p:spTgt spid="30">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55" dur="500" fill="hold"/>
                                        <p:tgtEl>
                                          <p:spTgt spid="30">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56" dur="500" tmFilter="0,0; .5, 1; 1, 1"/>
                                        <p:tgtEl>
                                          <p:spTgt spid="30">
                                            <p:txEl>
                                              <p:pRg st="0" end="0"/>
                                            </p:txEl>
                                          </p:spTgt>
                                        </p:tgtEl>
                                      </p:cBhvr>
                                    </p:animEffect>
                                  </p:childTnLst>
                                </p:cTn>
                              </p:par>
                              <p:par>
                                <p:cTn id="57" presetID="41" presetClass="entr" presetSubtype="0" fill="hold" grpId="0" nodeType="withEffect">
                                  <p:stCondLst>
                                    <p:cond delay="0"/>
                                  </p:stCondLst>
                                  <p:iterate type="lt">
                                    <p:tmPct val="10000"/>
                                  </p:iterate>
                                  <p:childTnLst>
                                    <p:set>
                                      <p:cBhvr>
                                        <p:cTn id="58" dur="1" fill="hold">
                                          <p:stCondLst>
                                            <p:cond delay="0"/>
                                          </p:stCondLst>
                                        </p:cTn>
                                        <p:tgtEl>
                                          <p:spTgt spid="41">
                                            <p:txEl>
                                              <p:pRg st="0" end="0"/>
                                            </p:txEl>
                                          </p:spTgt>
                                        </p:tgtEl>
                                        <p:attrNameLst>
                                          <p:attrName>style.visibility</p:attrName>
                                        </p:attrNameLst>
                                      </p:cBhvr>
                                      <p:to>
                                        <p:strVal val="visible"/>
                                      </p:to>
                                    </p:set>
                                    <p:anim calcmode="lin" valueType="num">
                                      <p:cBhvr>
                                        <p:cTn id="59" dur="500" fill="hold"/>
                                        <p:tgtEl>
                                          <p:spTgt spid="41">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60" dur="500" fill="hold"/>
                                        <p:tgtEl>
                                          <p:spTgt spid="41">
                                            <p:txEl>
                                              <p:pRg st="0" end="0"/>
                                            </p:txEl>
                                          </p:spTgt>
                                        </p:tgtEl>
                                        <p:attrNameLst>
                                          <p:attrName>ppt_y</p:attrName>
                                        </p:attrNameLst>
                                      </p:cBhvr>
                                      <p:tavLst>
                                        <p:tav tm="0">
                                          <p:val>
                                            <p:strVal val="#ppt_y"/>
                                          </p:val>
                                        </p:tav>
                                        <p:tav tm="100000">
                                          <p:val>
                                            <p:strVal val="#ppt_y"/>
                                          </p:val>
                                        </p:tav>
                                      </p:tavLst>
                                    </p:anim>
                                    <p:anim calcmode="lin" valueType="num">
                                      <p:cBhvr>
                                        <p:cTn id="61" dur="500" fill="hold"/>
                                        <p:tgtEl>
                                          <p:spTgt spid="41">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62" dur="500" fill="hold"/>
                                        <p:tgtEl>
                                          <p:spTgt spid="41">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63" dur="500" tmFilter="0,0; .5, 1; 1, 1"/>
                                        <p:tgtEl>
                                          <p:spTgt spid="41">
                                            <p:txEl>
                                              <p:pRg st="0" end="0"/>
                                            </p:txEl>
                                          </p:spTgt>
                                        </p:tgtEl>
                                      </p:cBhvr>
                                    </p:animEffect>
                                  </p:childTnLst>
                                </p:cTn>
                              </p:par>
                              <p:par>
                                <p:cTn id="64" presetID="41" presetClass="entr" presetSubtype="0" fill="hold" grpId="0" nodeType="withEffect">
                                  <p:stCondLst>
                                    <p:cond delay="0"/>
                                  </p:stCondLst>
                                  <p:iterate type="lt">
                                    <p:tmPct val="10000"/>
                                  </p:iterate>
                                  <p:childTnLst>
                                    <p:set>
                                      <p:cBhvr>
                                        <p:cTn id="65" dur="1" fill="hold">
                                          <p:stCondLst>
                                            <p:cond delay="0"/>
                                          </p:stCondLst>
                                        </p:cTn>
                                        <p:tgtEl>
                                          <p:spTgt spid="12">
                                            <p:txEl>
                                              <p:pRg st="0" end="0"/>
                                            </p:txEl>
                                          </p:spTgt>
                                        </p:tgtEl>
                                        <p:attrNameLst>
                                          <p:attrName>style.visibility</p:attrName>
                                        </p:attrNameLst>
                                      </p:cBhvr>
                                      <p:to>
                                        <p:strVal val="visible"/>
                                      </p:to>
                                    </p:set>
                                    <p:anim calcmode="lin" valueType="num">
                                      <p:cBhvr>
                                        <p:cTn id="66" dur="500" fill="hold"/>
                                        <p:tgtEl>
                                          <p:spTgt spid="12">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67" dur="500" fill="hold"/>
                                        <p:tgtEl>
                                          <p:spTgt spid="12">
                                            <p:txEl>
                                              <p:pRg st="0" end="0"/>
                                            </p:txEl>
                                          </p:spTgt>
                                        </p:tgtEl>
                                        <p:attrNameLst>
                                          <p:attrName>ppt_y</p:attrName>
                                        </p:attrNameLst>
                                      </p:cBhvr>
                                      <p:tavLst>
                                        <p:tav tm="0">
                                          <p:val>
                                            <p:strVal val="#ppt_y"/>
                                          </p:val>
                                        </p:tav>
                                        <p:tav tm="100000">
                                          <p:val>
                                            <p:strVal val="#ppt_y"/>
                                          </p:val>
                                        </p:tav>
                                      </p:tavLst>
                                    </p:anim>
                                    <p:anim calcmode="lin" valueType="num">
                                      <p:cBhvr>
                                        <p:cTn id="68" dur="500" fill="hold"/>
                                        <p:tgtEl>
                                          <p:spTgt spid="12">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69" dur="500" fill="hold"/>
                                        <p:tgtEl>
                                          <p:spTgt spid="12">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70" dur="500" tmFilter="0,0; .5, 1; 1, 1"/>
                                        <p:tgtEl>
                                          <p:spTgt spid="12">
                                            <p:txEl>
                                              <p:pRg st="0" end="0"/>
                                            </p:txEl>
                                          </p:spTgt>
                                        </p:tgtEl>
                                      </p:cBhvr>
                                    </p:animEffect>
                                  </p:childTnLst>
                                </p:cTn>
                              </p:par>
                              <p:par>
                                <p:cTn id="71" presetID="41" presetClass="entr" presetSubtype="0" fill="hold" grpId="0" nodeType="withEffect">
                                  <p:stCondLst>
                                    <p:cond delay="0"/>
                                  </p:stCondLst>
                                  <p:iterate type="lt">
                                    <p:tmPct val="10000"/>
                                  </p:iterate>
                                  <p:childTnLst>
                                    <p:set>
                                      <p:cBhvr>
                                        <p:cTn id="72" dur="1" fill="hold">
                                          <p:stCondLst>
                                            <p:cond delay="0"/>
                                          </p:stCondLst>
                                        </p:cTn>
                                        <p:tgtEl>
                                          <p:spTgt spid="17">
                                            <p:txEl>
                                              <p:pRg st="0" end="0"/>
                                            </p:txEl>
                                          </p:spTgt>
                                        </p:tgtEl>
                                        <p:attrNameLst>
                                          <p:attrName>style.visibility</p:attrName>
                                        </p:attrNameLst>
                                      </p:cBhvr>
                                      <p:to>
                                        <p:strVal val="visible"/>
                                      </p:to>
                                    </p:set>
                                    <p:anim calcmode="lin" valueType="num">
                                      <p:cBhvr>
                                        <p:cTn id="73" dur="500" fill="hold"/>
                                        <p:tgtEl>
                                          <p:spTgt spid="17">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74" dur="500" fill="hold"/>
                                        <p:tgtEl>
                                          <p:spTgt spid="17">
                                            <p:txEl>
                                              <p:pRg st="0" end="0"/>
                                            </p:txEl>
                                          </p:spTgt>
                                        </p:tgtEl>
                                        <p:attrNameLst>
                                          <p:attrName>ppt_y</p:attrName>
                                        </p:attrNameLst>
                                      </p:cBhvr>
                                      <p:tavLst>
                                        <p:tav tm="0">
                                          <p:val>
                                            <p:strVal val="#ppt_y"/>
                                          </p:val>
                                        </p:tav>
                                        <p:tav tm="100000">
                                          <p:val>
                                            <p:strVal val="#ppt_y"/>
                                          </p:val>
                                        </p:tav>
                                      </p:tavLst>
                                    </p:anim>
                                    <p:anim calcmode="lin" valueType="num">
                                      <p:cBhvr>
                                        <p:cTn id="75" dur="500" fill="hold"/>
                                        <p:tgtEl>
                                          <p:spTgt spid="17">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76" dur="500" fill="hold"/>
                                        <p:tgtEl>
                                          <p:spTgt spid="17">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77" dur="500" tmFilter="0,0; .5, 1; 1, 1"/>
                                        <p:tgtEl>
                                          <p:spTgt spid="17">
                                            <p:txEl>
                                              <p:pRg st="0" end="0"/>
                                            </p:txEl>
                                          </p:spTgt>
                                        </p:tgtEl>
                                      </p:cBhvr>
                                    </p:animEffect>
                                  </p:childTnLst>
                                </p:cTn>
                              </p:par>
                              <p:par>
                                <p:cTn id="78" presetID="41" presetClass="entr" presetSubtype="0" fill="hold" grpId="0" nodeType="withEffect">
                                  <p:stCondLst>
                                    <p:cond delay="0"/>
                                  </p:stCondLst>
                                  <p:iterate type="lt">
                                    <p:tmPct val="10000"/>
                                  </p:iterate>
                                  <p:childTnLst>
                                    <p:set>
                                      <p:cBhvr>
                                        <p:cTn id="79" dur="1" fill="hold">
                                          <p:stCondLst>
                                            <p:cond delay="0"/>
                                          </p:stCondLst>
                                        </p:cTn>
                                        <p:tgtEl>
                                          <p:spTgt spid="21">
                                            <p:txEl>
                                              <p:pRg st="0" end="0"/>
                                            </p:txEl>
                                          </p:spTgt>
                                        </p:tgtEl>
                                        <p:attrNameLst>
                                          <p:attrName>style.visibility</p:attrName>
                                        </p:attrNameLst>
                                      </p:cBhvr>
                                      <p:to>
                                        <p:strVal val="visible"/>
                                      </p:to>
                                    </p:set>
                                    <p:anim calcmode="lin" valueType="num">
                                      <p:cBhvr>
                                        <p:cTn id="80" dur="500" fill="hold"/>
                                        <p:tgtEl>
                                          <p:spTgt spid="21">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81" dur="500" fill="hold"/>
                                        <p:tgtEl>
                                          <p:spTgt spid="21">
                                            <p:txEl>
                                              <p:pRg st="0" end="0"/>
                                            </p:txEl>
                                          </p:spTgt>
                                        </p:tgtEl>
                                        <p:attrNameLst>
                                          <p:attrName>ppt_y</p:attrName>
                                        </p:attrNameLst>
                                      </p:cBhvr>
                                      <p:tavLst>
                                        <p:tav tm="0">
                                          <p:val>
                                            <p:strVal val="#ppt_y"/>
                                          </p:val>
                                        </p:tav>
                                        <p:tav tm="100000">
                                          <p:val>
                                            <p:strVal val="#ppt_y"/>
                                          </p:val>
                                        </p:tav>
                                      </p:tavLst>
                                    </p:anim>
                                    <p:anim calcmode="lin" valueType="num">
                                      <p:cBhvr>
                                        <p:cTn id="82" dur="500" fill="hold"/>
                                        <p:tgtEl>
                                          <p:spTgt spid="21">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83" dur="500" fill="hold"/>
                                        <p:tgtEl>
                                          <p:spTgt spid="21">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84" dur="500" tmFilter="0,0; .5, 1; 1, 1"/>
                                        <p:tgtEl>
                                          <p:spTgt spid="21">
                                            <p:txEl>
                                              <p:pRg st="0" end="0"/>
                                            </p:txEl>
                                          </p:spTgt>
                                        </p:tgtEl>
                                      </p:cBhvr>
                                    </p:animEffect>
                                  </p:childTnLst>
                                </p:cTn>
                              </p:par>
                              <p:par>
                                <p:cTn id="85" presetID="41" presetClass="entr" presetSubtype="0" fill="hold" grpId="0" nodeType="withEffect">
                                  <p:stCondLst>
                                    <p:cond delay="0"/>
                                  </p:stCondLst>
                                  <p:iterate type="lt">
                                    <p:tmPct val="10000"/>
                                  </p:iterate>
                                  <p:childTnLst>
                                    <p:set>
                                      <p:cBhvr>
                                        <p:cTn id="86" dur="1" fill="hold">
                                          <p:stCondLst>
                                            <p:cond delay="0"/>
                                          </p:stCondLst>
                                        </p:cTn>
                                        <p:tgtEl>
                                          <p:spTgt spid="39">
                                            <p:txEl>
                                              <p:pRg st="0" end="0"/>
                                            </p:txEl>
                                          </p:spTgt>
                                        </p:tgtEl>
                                        <p:attrNameLst>
                                          <p:attrName>style.visibility</p:attrName>
                                        </p:attrNameLst>
                                      </p:cBhvr>
                                      <p:to>
                                        <p:strVal val="visible"/>
                                      </p:to>
                                    </p:set>
                                    <p:anim calcmode="lin" valueType="num">
                                      <p:cBhvr>
                                        <p:cTn id="87" dur="500" fill="hold"/>
                                        <p:tgtEl>
                                          <p:spTgt spid="39">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88" dur="500" fill="hold"/>
                                        <p:tgtEl>
                                          <p:spTgt spid="39">
                                            <p:txEl>
                                              <p:pRg st="0" end="0"/>
                                            </p:txEl>
                                          </p:spTgt>
                                        </p:tgtEl>
                                        <p:attrNameLst>
                                          <p:attrName>ppt_y</p:attrName>
                                        </p:attrNameLst>
                                      </p:cBhvr>
                                      <p:tavLst>
                                        <p:tav tm="0">
                                          <p:val>
                                            <p:strVal val="#ppt_y"/>
                                          </p:val>
                                        </p:tav>
                                        <p:tav tm="100000">
                                          <p:val>
                                            <p:strVal val="#ppt_y"/>
                                          </p:val>
                                        </p:tav>
                                      </p:tavLst>
                                    </p:anim>
                                    <p:anim calcmode="lin" valueType="num">
                                      <p:cBhvr>
                                        <p:cTn id="89" dur="500" fill="hold"/>
                                        <p:tgtEl>
                                          <p:spTgt spid="39">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90" dur="500" fill="hold"/>
                                        <p:tgtEl>
                                          <p:spTgt spid="39">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91" dur="500" tmFilter="0,0; .5, 1; 1, 1"/>
                                        <p:tgtEl>
                                          <p:spTgt spid="39">
                                            <p:txEl>
                                              <p:pRg st="0" end="0"/>
                                            </p:txEl>
                                          </p:spTgt>
                                        </p:tgtEl>
                                      </p:cBhvr>
                                    </p:animEffect>
                                  </p:childTnLst>
                                </p:cTn>
                              </p:par>
                              <p:par>
                                <p:cTn id="92" presetID="41" presetClass="entr" presetSubtype="0" fill="hold" grpId="0" nodeType="withEffect">
                                  <p:stCondLst>
                                    <p:cond delay="0"/>
                                  </p:stCondLst>
                                  <p:iterate type="lt">
                                    <p:tmPct val="10000"/>
                                  </p:iterate>
                                  <p:childTnLst>
                                    <p:set>
                                      <p:cBhvr>
                                        <p:cTn id="93" dur="1" fill="hold">
                                          <p:stCondLst>
                                            <p:cond delay="0"/>
                                          </p:stCondLst>
                                        </p:cTn>
                                        <p:tgtEl>
                                          <p:spTgt spid="42">
                                            <p:txEl>
                                              <p:pRg st="0" end="0"/>
                                            </p:txEl>
                                          </p:spTgt>
                                        </p:tgtEl>
                                        <p:attrNameLst>
                                          <p:attrName>style.visibility</p:attrName>
                                        </p:attrNameLst>
                                      </p:cBhvr>
                                      <p:to>
                                        <p:strVal val="visible"/>
                                      </p:to>
                                    </p:set>
                                    <p:anim calcmode="lin" valueType="num">
                                      <p:cBhvr>
                                        <p:cTn id="94" dur="500" fill="hold"/>
                                        <p:tgtEl>
                                          <p:spTgt spid="42">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95" dur="500" fill="hold"/>
                                        <p:tgtEl>
                                          <p:spTgt spid="42">
                                            <p:txEl>
                                              <p:pRg st="0" end="0"/>
                                            </p:txEl>
                                          </p:spTgt>
                                        </p:tgtEl>
                                        <p:attrNameLst>
                                          <p:attrName>ppt_y</p:attrName>
                                        </p:attrNameLst>
                                      </p:cBhvr>
                                      <p:tavLst>
                                        <p:tav tm="0">
                                          <p:val>
                                            <p:strVal val="#ppt_y"/>
                                          </p:val>
                                        </p:tav>
                                        <p:tav tm="100000">
                                          <p:val>
                                            <p:strVal val="#ppt_y"/>
                                          </p:val>
                                        </p:tav>
                                      </p:tavLst>
                                    </p:anim>
                                    <p:anim calcmode="lin" valueType="num">
                                      <p:cBhvr>
                                        <p:cTn id="96" dur="500" fill="hold"/>
                                        <p:tgtEl>
                                          <p:spTgt spid="42">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97" dur="500" fill="hold"/>
                                        <p:tgtEl>
                                          <p:spTgt spid="42">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98" dur="500" tmFilter="0,0; .5, 1; 1, 1"/>
                                        <p:tgtEl>
                                          <p:spTgt spid="42">
                                            <p:txEl>
                                              <p:pRg st="0" end="0"/>
                                            </p:txEl>
                                          </p:spTgt>
                                        </p:tgtEl>
                                      </p:cBhvr>
                                    </p:animEffect>
                                  </p:childTnLst>
                                </p:cTn>
                              </p:par>
                              <p:par>
                                <p:cTn id="99" presetID="2" presetClass="entr" presetSubtype="4" fill="hold" nodeType="withEffect">
                                  <p:stCondLst>
                                    <p:cond delay="0"/>
                                  </p:stCondLst>
                                  <p:childTnLst>
                                    <p:set>
                                      <p:cBhvr>
                                        <p:cTn id="100" dur="1" fill="hold">
                                          <p:stCondLst>
                                            <p:cond delay="0"/>
                                          </p:stCondLst>
                                        </p:cTn>
                                        <p:tgtEl>
                                          <p:spTgt spid="16"/>
                                        </p:tgtEl>
                                        <p:attrNameLst>
                                          <p:attrName>style.visibility</p:attrName>
                                        </p:attrNameLst>
                                      </p:cBhvr>
                                      <p:to>
                                        <p:strVal val="visible"/>
                                      </p:to>
                                    </p:set>
                                    <p:anim calcmode="lin" valueType="num">
                                      <p:cBhvr additive="base">
                                        <p:cTn id="101" dur="500" fill="hold"/>
                                        <p:tgtEl>
                                          <p:spTgt spid="16"/>
                                        </p:tgtEl>
                                        <p:attrNameLst>
                                          <p:attrName>ppt_x</p:attrName>
                                        </p:attrNameLst>
                                      </p:cBhvr>
                                      <p:tavLst>
                                        <p:tav tm="0">
                                          <p:val>
                                            <p:strVal val="#ppt_x"/>
                                          </p:val>
                                        </p:tav>
                                        <p:tav tm="100000">
                                          <p:val>
                                            <p:strVal val="#ppt_x"/>
                                          </p:val>
                                        </p:tav>
                                      </p:tavLst>
                                    </p:anim>
                                    <p:anim calcmode="lin" valueType="num">
                                      <p:cBhvr additive="base">
                                        <p:cTn id="102" dur="500" fill="hold"/>
                                        <p:tgtEl>
                                          <p:spTgt spid="16"/>
                                        </p:tgtEl>
                                        <p:attrNameLst>
                                          <p:attrName>ppt_y</p:attrName>
                                        </p:attrNameLst>
                                      </p:cBhvr>
                                      <p:tavLst>
                                        <p:tav tm="0">
                                          <p:val>
                                            <p:strVal val="1+#ppt_h/2"/>
                                          </p:val>
                                        </p:tav>
                                        <p:tav tm="100000">
                                          <p:val>
                                            <p:strVal val="#ppt_y"/>
                                          </p:val>
                                        </p:tav>
                                      </p:tavLst>
                                    </p:anim>
                                  </p:childTnLst>
                                </p:cTn>
                              </p:par>
                              <p:par>
                                <p:cTn id="103" presetID="2" presetClass="entr" presetSubtype="4" fill="hold" nodeType="withEffect">
                                  <p:stCondLst>
                                    <p:cond delay="0"/>
                                  </p:stCondLst>
                                  <p:childTnLst>
                                    <p:set>
                                      <p:cBhvr>
                                        <p:cTn id="104" dur="1" fill="hold">
                                          <p:stCondLst>
                                            <p:cond delay="0"/>
                                          </p:stCondLst>
                                        </p:cTn>
                                        <p:tgtEl>
                                          <p:spTgt spid="20"/>
                                        </p:tgtEl>
                                        <p:attrNameLst>
                                          <p:attrName>style.visibility</p:attrName>
                                        </p:attrNameLst>
                                      </p:cBhvr>
                                      <p:to>
                                        <p:strVal val="visible"/>
                                      </p:to>
                                    </p:set>
                                    <p:anim calcmode="lin" valueType="num">
                                      <p:cBhvr additive="base">
                                        <p:cTn id="105" dur="500" fill="hold"/>
                                        <p:tgtEl>
                                          <p:spTgt spid="20"/>
                                        </p:tgtEl>
                                        <p:attrNameLst>
                                          <p:attrName>ppt_x</p:attrName>
                                        </p:attrNameLst>
                                      </p:cBhvr>
                                      <p:tavLst>
                                        <p:tav tm="0">
                                          <p:val>
                                            <p:strVal val="#ppt_x"/>
                                          </p:val>
                                        </p:tav>
                                        <p:tav tm="100000">
                                          <p:val>
                                            <p:strVal val="#ppt_x"/>
                                          </p:val>
                                        </p:tav>
                                      </p:tavLst>
                                    </p:anim>
                                    <p:anim calcmode="lin" valueType="num">
                                      <p:cBhvr additive="base">
                                        <p:cTn id="106" dur="500" fill="hold"/>
                                        <p:tgtEl>
                                          <p:spTgt spid="20"/>
                                        </p:tgtEl>
                                        <p:attrNameLst>
                                          <p:attrName>ppt_y</p:attrName>
                                        </p:attrNameLst>
                                      </p:cBhvr>
                                      <p:tavLst>
                                        <p:tav tm="0">
                                          <p:val>
                                            <p:strVal val="1+#ppt_h/2"/>
                                          </p:val>
                                        </p:tav>
                                        <p:tav tm="100000">
                                          <p:val>
                                            <p:strVal val="#ppt_y"/>
                                          </p:val>
                                        </p:tav>
                                      </p:tavLst>
                                    </p:anim>
                                  </p:childTnLst>
                                </p:cTn>
                              </p:par>
                              <p:par>
                                <p:cTn id="107" presetID="2" presetClass="entr" presetSubtype="4" fill="hold" nodeType="withEffect">
                                  <p:stCondLst>
                                    <p:cond delay="0"/>
                                  </p:stCondLst>
                                  <p:childTnLst>
                                    <p:set>
                                      <p:cBhvr>
                                        <p:cTn id="108" dur="1" fill="hold">
                                          <p:stCondLst>
                                            <p:cond delay="0"/>
                                          </p:stCondLst>
                                        </p:cTn>
                                        <p:tgtEl>
                                          <p:spTgt spid="24"/>
                                        </p:tgtEl>
                                        <p:attrNameLst>
                                          <p:attrName>style.visibility</p:attrName>
                                        </p:attrNameLst>
                                      </p:cBhvr>
                                      <p:to>
                                        <p:strVal val="visible"/>
                                      </p:to>
                                    </p:set>
                                    <p:anim calcmode="lin" valueType="num">
                                      <p:cBhvr additive="base">
                                        <p:cTn id="109" dur="500" fill="hold"/>
                                        <p:tgtEl>
                                          <p:spTgt spid="24"/>
                                        </p:tgtEl>
                                        <p:attrNameLst>
                                          <p:attrName>ppt_x</p:attrName>
                                        </p:attrNameLst>
                                      </p:cBhvr>
                                      <p:tavLst>
                                        <p:tav tm="0">
                                          <p:val>
                                            <p:strVal val="#ppt_x"/>
                                          </p:val>
                                        </p:tav>
                                        <p:tav tm="100000">
                                          <p:val>
                                            <p:strVal val="#ppt_x"/>
                                          </p:val>
                                        </p:tav>
                                      </p:tavLst>
                                    </p:anim>
                                    <p:anim calcmode="lin" valueType="num">
                                      <p:cBhvr additive="base">
                                        <p:cTn id="110" dur="500" fill="hold"/>
                                        <p:tgtEl>
                                          <p:spTgt spid="24"/>
                                        </p:tgtEl>
                                        <p:attrNameLst>
                                          <p:attrName>ppt_y</p:attrName>
                                        </p:attrNameLst>
                                      </p:cBhvr>
                                      <p:tavLst>
                                        <p:tav tm="0">
                                          <p:val>
                                            <p:strVal val="1+#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40"/>
                                        </p:tgtEl>
                                        <p:attrNameLst>
                                          <p:attrName>style.visibility</p:attrName>
                                        </p:attrNameLst>
                                      </p:cBhvr>
                                      <p:to>
                                        <p:strVal val="visible"/>
                                      </p:to>
                                    </p:set>
                                    <p:anim calcmode="lin" valueType="num">
                                      <p:cBhvr additive="base">
                                        <p:cTn id="113" dur="500" fill="hold"/>
                                        <p:tgtEl>
                                          <p:spTgt spid="40"/>
                                        </p:tgtEl>
                                        <p:attrNameLst>
                                          <p:attrName>ppt_x</p:attrName>
                                        </p:attrNameLst>
                                      </p:cBhvr>
                                      <p:tavLst>
                                        <p:tav tm="0">
                                          <p:val>
                                            <p:strVal val="#ppt_x"/>
                                          </p:val>
                                        </p:tav>
                                        <p:tav tm="100000">
                                          <p:val>
                                            <p:strVal val="#ppt_x"/>
                                          </p:val>
                                        </p:tav>
                                      </p:tavLst>
                                    </p:anim>
                                    <p:anim calcmode="lin" valueType="num">
                                      <p:cBhvr additive="base">
                                        <p:cTn id="114" dur="500" fill="hold"/>
                                        <p:tgtEl>
                                          <p:spTgt spid="40"/>
                                        </p:tgtEl>
                                        <p:attrNameLst>
                                          <p:attrName>ppt_y</p:attrName>
                                        </p:attrNameLst>
                                      </p:cBhvr>
                                      <p:tavLst>
                                        <p:tav tm="0">
                                          <p:val>
                                            <p:strVal val="1+#ppt_h/2"/>
                                          </p:val>
                                        </p:tav>
                                        <p:tav tm="100000">
                                          <p:val>
                                            <p:strVal val="#ppt_y"/>
                                          </p:val>
                                        </p:tav>
                                      </p:tavLst>
                                    </p:anim>
                                  </p:childTnLst>
                                </p:cTn>
                              </p:par>
                              <p:par>
                                <p:cTn id="115" presetID="41" presetClass="entr" presetSubtype="0" fill="hold" grpId="0" nodeType="withEffect">
                                  <p:stCondLst>
                                    <p:cond delay="0"/>
                                  </p:stCondLst>
                                  <p:iterate type="lt">
                                    <p:tmPct val="10000"/>
                                  </p:iterate>
                                  <p:childTnLst>
                                    <p:set>
                                      <p:cBhvr>
                                        <p:cTn id="116" dur="1" fill="hold">
                                          <p:stCondLst>
                                            <p:cond delay="0"/>
                                          </p:stCondLst>
                                        </p:cTn>
                                        <p:tgtEl>
                                          <p:spTgt spid="46">
                                            <p:txEl>
                                              <p:pRg st="0" end="0"/>
                                            </p:txEl>
                                          </p:spTgt>
                                        </p:tgtEl>
                                        <p:attrNameLst>
                                          <p:attrName>style.visibility</p:attrName>
                                        </p:attrNameLst>
                                      </p:cBhvr>
                                      <p:to>
                                        <p:strVal val="visible"/>
                                      </p:to>
                                    </p:set>
                                    <p:anim calcmode="lin" valueType="num">
                                      <p:cBhvr>
                                        <p:cTn id="117" dur="500" fill="hold"/>
                                        <p:tgtEl>
                                          <p:spTgt spid="46">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118" dur="500" fill="hold"/>
                                        <p:tgtEl>
                                          <p:spTgt spid="46">
                                            <p:txEl>
                                              <p:pRg st="0" end="0"/>
                                            </p:txEl>
                                          </p:spTgt>
                                        </p:tgtEl>
                                        <p:attrNameLst>
                                          <p:attrName>ppt_y</p:attrName>
                                        </p:attrNameLst>
                                      </p:cBhvr>
                                      <p:tavLst>
                                        <p:tav tm="0">
                                          <p:val>
                                            <p:strVal val="#ppt_y"/>
                                          </p:val>
                                        </p:tav>
                                        <p:tav tm="100000">
                                          <p:val>
                                            <p:strVal val="#ppt_y"/>
                                          </p:val>
                                        </p:tav>
                                      </p:tavLst>
                                    </p:anim>
                                    <p:anim calcmode="lin" valueType="num">
                                      <p:cBhvr>
                                        <p:cTn id="119" dur="500" fill="hold"/>
                                        <p:tgtEl>
                                          <p:spTgt spid="46">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120" dur="500" fill="hold"/>
                                        <p:tgtEl>
                                          <p:spTgt spid="46">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121" dur="500" tmFilter="0,0; .5, 1; 1, 1"/>
                                        <p:tgtEl>
                                          <p:spTgt spid="46">
                                            <p:txEl>
                                              <p:pRg st="0" end="0"/>
                                            </p:txEl>
                                          </p:spTgt>
                                        </p:tgtEl>
                                      </p:cBhvr>
                                    </p:animEffect>
                                  </p:childTnLst>
                                </p:cTn>
                              </p:par>
                              <p:par>
                                <p:cTn id="122" presetID="41" presetClass="entr" presetSubtype="0" fill="hold" grpId="0" nodeType="withEffect">
                                  <p:stCondLst>
                                    <p:cond delay="0"/>
                                  </p:stCondLst>
                                  <p:iterate type="lt">
                                    <p:tmPct val="10000"/>
                                  </p:iterate>
                                  <p:childTnLst>
                                    <p:set>
                                      <p:cBhvr>
                                        <p:cTn id="123" dur="1" fill="hold">
                                          <p:stCondLst>
                                            <p:cond delay="0"/>
                                          </p:stCondLst>
                                        </p:cTn>
                                        <p:tgtEl>
                                          <p:spTgt spid="50">
                                            <p:txEl>
                                              <p:pRg st="0" end="0"/>
                                            </p:txEl>
                                          </p:spTgt>
                                        </p:tgtEl>
                                        <p:attrNameLst>
                                          <p:attrName>style.visibility</p:attrName>
                                        </p:attrNameLst>
                                      </p:cBhvr>
                                      <p:to>
                                        <p:strVal val="visible"/>
                                      </p:to>
                                    </p:set>
                                    <p:anim calcmode="lin" valueType="num">
                                      <p:cBhvr>
                                        <p:cTn id="124" dur="500" fill="hold"/>
                                        <p:tgtEl>
                                          <p:spTgt spid="50">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125" dur="500" fill="hold"/>
                                        <p:tgtEl>
                                          <p:spTgt spid="50">
                                            <p:txEl>
                                              <p:pRg st="0" end="0"/>
                                            </p:txEl>
                                          </p:spTgt>
                                        </p:tgtEl>
                                        <p:attrNameLst>
                                          <p:attrName>ppt_y</p:attrName>
                                        </p:attrNameLst>
                                      </p:cBhvr>
                                      <p:tavLst>
                                        <p:tav tm="0">
                                          <p:val>
                                            <p:strVal val="#ppt_y"/>
                                          </p:val>
                                        </p:tav>
                                        <p:tav tm="100000">
                                          <p:val>
                                            <p:strVal val="#ppt_y"/>
                                          </p:val>
                                        </p:tav>
                                      </p:tavLst>
                                    </p:anim>
                                    <p:anim calcmode="lin" valueType="num">
                                      <p:cBhvr>
                                        <p:cTn id="126" dur="500" fill="hold"/>
                                        <p:tgtEl>
                                          <p:spTgt spid="50">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127" dur="500" fill="hold"/>
                                        <p:tgtEl>
                                          <p:spTgt spid="50">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128" dur="500" tmFilter="0,0; .5, 1; 1, 1"/>
                                        <p:tgtEl>
                                          <p:spTgt spid="50">
                                            <p:txEl>
                                              <p:pRg st="0" end="0"/>
                                            </p:txEl>
                                          </p:spTgt>
                                        </p:tgtEl>
                                      </p:cBhvr>
                                    </p:animEffect>
                                  </p:childTnLst>
                                </p:cTn>
                              </p:par>
                              <p:par>
                                <p:cTn id="129" presetID="41" presetClass="entr" presetSubtype="0" fill="hold" grpId="0" nodeType="withEffect">
                                  <p:stCondLst>
                                    <p:cond delay="0"/>
                                  </p:stCondLst>
                                  <p:iterate type="lt">
                                    <p:tmPct val="10000"/>
                                  </p:iterate>
                                  <p:childTnLst>
                                    <p:set>
                                      <p:cBhvr>
                                        <p:cTn id="130" dur="1" fill="hold">
                                          <p:stCondLst>
                                            <p:cond delay="0"/>
                                          </p:stCondLst>
                                        </p:cTn>
                                        <p:tgtEl>
                                          <p:spTgt spid="49">
                                            <p:txEl>
                                              <p:pRg st="0" end="0"/>
                                            </p:txEl>
                                          </p:spTgt>
                                        </p:tgtEl>
                                        <p:attrNameLst>
                                          <p:attrName>style.visibility</p:attrName>
                                        </p:attrNameLst>
                                      </p:cBhvr>
                                      <p:to>
                                        <p:strVal val="visible"/>
                                      </p:to>
                                    </p:set>
                                    <p:anim calcmode="lin" valueType="num">
                                      <p:cBhvr>
                                        <p:cTn id="131" dur="500" fill="hold"/>
                                        <p:tgtEl>
                                          <p:spTgt spid="49">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132" dur="500" fill="hold"/>
                                        <p:tgtEl>
                                          <p:spTgt spid="49">
                                            <p:txEl>
                                              <p:pRg st="0" end="0"/>
                                            </p:txEl>
                                          </p:spTgt>
                                        </p:tgtEl>
                                        <p:attrNameLst>
                                          <p:attrName>ppt_y</p:attrName>
                                        </p:attrNameLst>
                                      </p:cBhvr>
                                      <p:tavLst>
                                        <p:tav tm="0">
                                          <p:val>
                                            <p:strVal val="#ppt_y"/>
                                          </p:val>
                                        </p:tav>
                                        <p:tav tm="100000">
                                          <p:val>
                                            <p:strVal val="#ppt_y"/>
                                          </p:val>
                                        </p:tav>
                                      </p:tavLst>
                                    </p:anim>
                                    <p:anim calcmode="lin" valueType="num">
                                      <p:cBhvr>
                                        <p:cTn id="133" dur="500" fill="hold"/>
                                        <p:tgtEl>
                                          <p:spTgt spid="49">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134" dur="500" fill="hold"/>
                                        <p:tgtEl>
                                          <p:spTgt spid="49">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135" dur="500" tmFilter="0,0; .5, 1; 1, 1"/>
                                        <p:tgtEl>
                                          <p:spTgt spid="49">
                                            <p:txEl>
                                              <p:pRg st="0" end="0"/>
                                            </p:txEl>
                                          </p:spTgt>
                                        </p:tgtEl>
                                      </p:cBhvr>
                                    </p:animEffect>
                                  </p:childTnLst>
                                </p:cTn>
                              </p:par>
                              <p:par>
                                <p:cTn id="136" presetID="41" presetClass="entr" presetSubtype="0" fill="hold" grpId="0" nodeType="withEffect">
                                  <p:stCondLst>
                                    <p:cond delay="0"/>
                                  </p:stCondLst>
                                  <p:iterate type="lt">
                                    <p:tmPct val="10000"/>
                                  </p:iterate>
                                  <p:childTnLst>
                                    <p:set>
                                      <p:cBhvr>
                                        <p:cTn id="137" dur="1" fill="hold">
                                          <p:stCondLst>
                                            <p:cond delay="0"/>
                                          </p:stCondLst>
                                        </p:cTn>
                                        <p:tgtEl>
                                          <p:spTgt spid="48">
                                            <p:txEl>
                                              <p:pRg st="0" end="0"/>
                                            </p:txEl>
                                          </p:spTgt>
                                        </p:tgtEl>
                                        <p:attrNameLst>
                                          <p:attrName>style.visibility</p:attrName>
                                        </p:attrNameLst>
                                      </p:cBhvr>
                                      <p:to>
                                        <p:strVal val="visible"/>
                                      </p:to>
                                    </p:set>
                                    <p:anim calcmode="lin" valueType="num">
                                      <p:cBhvr>
                                        <p:cTn id="138" dur="500" fill="hold"/>
                                        <p:tgtEl>
                                          <p:spTgt spid="48">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139" dur="500" fill="hold"/>
                                        <p:tgtEl>
                                          <p:spTgt spid="48">
                                            <p:txEl>
                                              <p:pRg st="0" end="0"/>
                                            </p:txEl>
                                          </p:spTgt>
                                        </p:tgtEl>
                                        <p:attrNameLst>
                                          <p:attrName>ppt_y</p:attrName>
                                        </p:attrNameLst>
                                      </p:cBhvr>
                                      <p:tavLst>
                                        <p:tav tm="0">
                                          <p:val>
                                            <p:strVal val="#ppt_y"/>
                                          </p:val>
                                        </p:tav>
                                        <p:tav tm="100000">
                                          <p:val>
                                            <p:strVal val="#ppt_y"/>
                                          </p:val>
                                        </p:tav>
                                      </p:tavLst>
                                    </p:anim>
                                    <p:anim calcmode="lin" valueType="num">
                                      <p:cBhvr>
                                        <p:cTn id="140" dur="500" fill="hold"/>
                                        <p:tgtEl>
                                          <p:spTgt spid="48">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141" dur="500" fill="hold"/>
                                        <p:tgtEl>
                                          <p:spTgt spid="48">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142" dur="500" tmFilter="0,0; .5, 1; 1, 1"/>
                                        <p:tgtEl>
                                          <p:spTgt spid="48">
                                            <p:txEl>
                                              <p:pRg st="0" end="0"/>
                                            </p:txEl>
                                          </p:spTgt>
                                        </p:tgtEl>
                                      </p:cBhvr>
                                    </p:animEffect>
                                  </p:childTnLst>
                                </p:cTn>
                              </p:par>
                              <p:par>
                                <p:cTn id="143" presetID="41" presetClass="entr" presetSubtype="0" fill="hold" grpId="0" nodeType="withEffect">
                                  <p:stCondLst>
                                    <p:cond delay="0"/>
                                  </p:stCondLst>
                                  <p:iterate type="lt">
                                    <p:tmPct val="10000"/>
                                  </p:iterate>
                                  <p:childTnLst>
                                    <p:set>
                                      <p:cBhvr>
                                        <p:cTn id="144" dur="1" fill="hold">
                                          <p:stCondLst>
                                            <p:cond delay="0"/>
                                          </p:stCondLst>
                                        </p:cTn>
                                        <p:tgtEl>
                                          <p:spTgt spid="47">
                                            <p:txEl>
                                              <p:pRg st="0" end="0"/>
                                            </p:txEl>
                                          </p:spTgt>
                                        </p:tgtEl>
                                        <p:attrNameLst>
                                          <p:attrName>style.visibility</p:attrName>
                                        </p:attrNameLst>
                                      </p:cBhvr>
                                      <p:to>
                                        <p:strVal val="visible"/>
                                      </p:to>
                                    </p:set>
                                    <p:anim calcmode="lin" valueType="num">
                                      <p:cBhvr>
                                        <p:cTn id="145" dur="500" fill="hold"/>
                                        <p:tgtEl>
                                          <p:spTgt spid="47">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146" dur="500" fill="hold"/>
                                        <p:tgtEl>
                                          <p:spTgt spid="47">
                                            <p:txEl>
                                              <p:pRg st="0" end="0"/>
                                            </p:txEl>
                                          </p:spTgt>
                                        </p:tgtEl>
                                        <p:attrNameLst>
                                          <p:attrName>ppt_y</p:attrName>
                                        </p:attrNameLst>
                                      </p:cBhvr>
                                      <p:tavLst>
                                        <p:tav tm="0">
                                          <p:val>
                                            <p:strVal val="#ppt_y"/>
                                          </p:val>
                                        </p:tav>
                                        <p:tav tm="100000">
                                          <p:val>
                                            <p:strVal val="#ppt_y"/>
                                          </p:val>
                                        </p:tav>
                                      </p:tavLst>
                                    </p:anim>
                                    <p:anim calcmode="lin" valueType="num">
                                      <p:cBhvr>
                                        <p:cTn id="147" dur="500" fill="hold"/>
                                        <p:tgtEl>
                                          <p:spTgt spid="47">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148" dur="500" fill="hold"/>
                                        <p:tgtEl>
                                          <p:spTgt spid="47">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149" dur="500" tmFilter="0,0; .5, 1; 1, 1"/>
                                        <p:tgtEl>
                                          <p:spTgt spid="4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build="allAtOnce"/>
      <p:bldP spid="12" grpId="0" build="allAtOnce"/>
      <p:bldP spid="13" grpId="0" build="allAtOnce"/>
      <p:bldP spid="17" grpId="0" build="allAtOnce"/>
      <p:bldP spid="18" grpId="0" build="allAtOnce"/>
      <p:bldP spid="21" grpId="0" build="allAtOnce"/>
      <p:bldP spid="22" grpId="0" build="allAtOnce"/>
      <p:bldP spid="30" grpId="0" build="allAtOnce"/>
      <p:bldP spid="39" grpId="0" build="allAtOnce"/>
      <p:bldP spid="41" grpId="0" build="allAtOnce"/>
      <p:bldP spid="42" grpId="0" build="allAtOnce"/>
      <p:bldP spid="46" grpId="0" build="allAtOnce"/>
      <p:bldP spid="47" grpId="0" build="allAtOnce"/>
      <p:bldP spid="48" grpId="0" build="allAtOnce"/>
      <p:bldP spid="49" grpId="0" build="allAtOnce"/>
      <p:bldP spid="50" grpId="0" build="allAtOnce"/>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21214" y="1109436"/>
            <a:ext cx="1309654" cy="430887"/>
          </a:xfrm>
          <a:prstGeom prst="rect">
            <a:avLst/>
          </a:prstGeom>
          <a:noFill/>
        </p:spPr>
        <p:txBody>
          <a:bodyPr wrap="none" lIns="0" tIns="0" rIns="0" bIns="0" numCol="1" rtlCol="0">
            <a:spAutoFit/>
          </a:bodyPr>
          <a:lstStyle/>
          <a:p>
            <a:r>
              <a:rPr lang="de-DE" altLang="de-DE" sz="2800" spc="300" dirty="0">
                <a:solidFill>
                  <a:schemeClr val="accent5"/>
                </a:solidFill>
              </a:rPr>
              <a:t>Plastic</a:t>
            </a:r>
          </a:p>
        </p:txBody>
      </p:sp>
      <p:sp>
        <p:nvSpPr>
          <p:cNvPr id="8" name="TextBox 7">
            <a:extLst>
              <a:ext uri="{FF2B5EF4-FFF2-40B4-BE49-F238E27FC236}">
                <a16:creationId xmlns:a16="http://schemas.microsoft.com/office/drawing/2014/main" id="{C9A73559-491A-4614-A844-496762024E0B}"/>
              </a:ext>
            </a:extLst>
          </p:cNvPr>
          <p:cNvSpPr txBox="1"/>
          <p:nvPr/>
        </p:nvSpPr>
        <p:spPr>
          <a:xfrm>
            <a:off x="5191106" y="1831831"/>
            <a:ext cx="6286194" cy="3756307"/>
          </a:xfrm>
          <a:prstGeom prst="rect">
            <a:avLst/>
          </a:prstGeom>
          <a:noFill/>
        </p:spPr>
        <p:txBody>
          <a:bodyPr wrap="square" lIns="0" tIns="0" rIns="0" bIns="0" numCol="1" rtlCol="0">
            <a:spAutoFit/>
          </a:bodyPr>
          <a:lstStyle/>
          <a:p>
            <a:r>
              <a:rPr lang="en-US" sz="2400" dirty="0"/>
              <a:t>The plastic wastes are best possible for recycling if these materials are collected separately and cleaned. Recycling is difficult if plastic wastes are mixed with other plastics or contaminants.</a:t>
            </a:r>
          </a:p>
          <a:p>
            <a:r>
              <a:rPr lang="en-US" sz="2400" dirty="0"/>
              <a:t>Plastic may be recycled and used in products specifically designed for the utilization of recycled plastic, such as street furniture, roof and floor, PVC window noise barrier, cable ducting, panel.</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778016" y="1831831"/>
            <a:ext cx="4441372" cy="4194880"/>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6483678"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5771451"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17" name="Picture 16">
            <a:extLst>
              <a:ext uri="{FF2B5EF4-FFF2-40B4-BE49-F238E27FC236}">
                <a16:creationId xmlns:a16="http://schemas.microsoft.com/office/drawing/2014/main" id="{E71F2EC4-E52C-4ABE-A3B0-E3C1EF5039C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1049" y="1831831"/>
            <a:ext cx="4480560" cy="4100687"/>
          </a:xfrm>
          <a:prstGeom prst="ellipse">
            <a:avLst/>
          </a:prstGeom>
          <a:ln>
            <a:solidFill>
              <a:schemeClr val="bg2"/>
            </a:solidFill>
          </a:ln>
        </p:spPr>
      </p:pic>
      <p:sp>
        <p:nvSpPr>
          <p:cNvPr id="23" name="Rectangle 22">
            <a:extLst>
              <a:ext uri="{FF2B5EF4-FFF2-40B4-BE49-F238E27FC236}">
                <a16:creationId xmlns:a16="http://schemas.microsoft.com/office/drawing/2014/main" id="{F13748ED-C15D-494D-A662-801A11A428E9}"/>
              </a:ext>
            </a:extLst>
          </p:cNvPr>
          <p:cNvSpPr/>
          <p:nvPr/>
        </p:nvSpPr>
        <p:spPr>
          <a:xfrm>
            <a:off x="1224026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pic>
        <p:nvPicPr>
          <p:cNvPr id="31" name="Picture 30">
            <a:extLst>
              <a:ext uri="{FF2B5EF4-FFF2-40B4-BE49-F238E27FC236}">
                <a16:creationId xmlns:a16="http://schemas.microsoft.com/office/drawing/2014/main" id="{B36A151C-D7F3-439C-A765-061B82BCA73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778016" y="1831830"/>
            <a:ext cx="4480560" cy="4100687"/>
          </a:xfrm>
          <a:prstGeom prst="ellipse">
            <a:avLst/>
          </a:prstGeom>
          <a:ln>
            <a:solidFill>
              <a:schemeClr val="bg2"/>
            </a:solidFill>
          </a:ln>
        </p:spPr>
      </p:pic>
      <p:sp>
        <p:nvSpPr>
          <p:cNvPr id="24" name="!!Oval 8">
            <a:extLst>
              <a:ext uri="{FF2B5EF4-FFF2-40B4-BE49-F238E27FC236}">
                <a16:creationId xmlns:a16="http://schemas.microsoft.com/office/drawing/2014/main" id="{130FBE8C-D276-4B87-8F51-4D174EE7084F}"/>
              </a:ext>
            </a:extLst>
          </p:cNvPr>
          <p:cNvSpPr/>
          <p:nvPr/>
        </p:nvSpPr>
        <p:spPr>
          <a:xfrm>
            <a:off x="718905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5" name="!!Oval 17">
            <a:extLst>
              <a:ext uri="{FF2B5EF4-FFF2-40B4-BE49-F238E27FC236}">
                <a16:creationId xmlns:a16="http://schemas.microsoft.com/office/drawing/2014/main" id="{825C9118-2F69-4251-BFF3-04DEDD2FEA0E}"/>
              </a:ext>
            </a:extLst>
          </p:cNvPr>
          <p:cNvSpPr/>
          <p:nvPr/>
        </p:nvSpPr>
        <p:spPr>
          <a:xfrm>
            <a:off x="754018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2"/>
    </p:custDataLst>
    <p:extLst>
      <p:ext uri="{BB962C8B-B14F-4D97-AF65-F5344CB8AC3E}">
        <p14:creationId xmlns:p14="http://schemas.microsoft.com/office/powerpoint/2010/main" val="131504710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7612865"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97867" y="914850"/>
            <a:ext cx="1937453" cy="553998"/>
          </a:xfrm>
          <a:prstGeom prst="rect">
            <a:avLst/>
          </a:prstGeom>
          <a:noFill/>
        </p:spPr>
        <p:txBody>
          <a:bodyPr wrap="none" lIns="0" tIns="0" rIns="0" bIns="0" numCol="1" rtlCol="0">
            <a:spAutoFit/>
          </a:bodyPr>
          <a:lstStyle/>
          <a:p>
            <a:r>
              <a:rPr lang="de-DE" altLang="de-DE" sz="3600" spc="300" dirty="0">
                <a:solidFill>
                  <a:srgbClr val="079B84"/>
                </a:solidFill>
              </a:rPr>
              <a:t>Gypsum</a:t>
            </a:r>
            <a:endParaRPr lang="de-DE" altLang="de-DE" sz="2800" spc="300" dirty="0">
              <a:solidFill>
                <a:srgbClr val="079B84"/>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463134" y="1869168"/>
            <a:ext cx="5811398" cy="3447098"/>
          </a:xfrm>
          <a:prstGeom prst="rect">
            <a:avLst/>
          </a:prstGeom>
          <a:noFill/>
        </p:spPr>
        <p:txBody>
          <a:bodyPr wrap="square" lIns="0" tIns="0" rIns="0" bIns="0" numCol="1" rtlCol="0">
            <a:spAutoFit/>
          </a:bodyPr>
          <a:lstStyle/>
          <a:p>
            <a:r>
              <a:rPr lang="en-US" sz="2800" dirty="0"/>
              <a:t>In India, about 6 MT of waste gypsum such as phosphor-gypsum, Fluro-Gypsum etc., are being generated annually. Plaster developed from this waste gypsum has showed improved engineering properties without any harmful effect.</a:t>
            </a:r>
          </a:p>
        </p:txBody>
      </p:sp>
      <p:sp>
        <p:nvSpPr>
          <p:cNvPr id="9" name="!!Oval 8">
            <a:extLst>
              <a:ext uri="{FF2B5EF4-FFF2-40B4-BE49-F238E27FC236}">
                <a16:creationId xmlns:a16="http://schemas.microsoft.com/office/drawing/2014/main" id="{67191FB7-1694-4872-81F9-FE7754259935}"/>
              </a:ext>
            </a:extLst>
          </p:cNvPr>
          <p:cNvSpPr/>
          <p:nvPr/>
        </p:nvSpPr>
        <p:spPr>
          <a:xfrm>
            <a:off x="46313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81426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84610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1913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53236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16" name="Picture 15">
            <a:extLst>
              <a:ext uri="{FF2B5EF4-FFF2-40B4-BE49-F238E27FC236}">
                <a16:creationId xmlns:a16="http://schemas.microsoft.com/office/drawing/2014/main" id="{364A62D8-C2D4-4936-BDDD-10D874B25A8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50976" y="1740390"/>
            <a:ext cx="4480560" cy="4100687"/>
          </a:xfrm>
          <a:prstGeom prst="ellipse">
            <a:avLst/>
          </a:prstGeom>
          <a:ln>
            <a:solidFill>
              <a:schemeClr val="bg2"/>
            </a:solidFill>
          </a:ln>
        </p:spPr>
      </p:pic>
      <p:sp>
        <p:nvSpPr>
          <p:cNvPr id="14" name="Rectangle 13">
            <a:extLst>
              <a:ext uri="{FF2B5EF4-FFF2-40B4-BE49-F238E27FC236}">
                <a16:creationId xmlns:a16="http://schemas.microsoft.com/office/drawing/2014/main" id="{C70A1166-6909-4CE8-8CDF-EB812006FC43}"/>
              </a:ext>
            </a:extLst>
          </p:cNvPr>
          <p:cNvSpPr/>
          <p:nvPr/>
        </p:nvSpPr>
        <p:spPr>
          <a:xfrm>
            <a:off x="-4631615" y="0"/>
            <a:ext cx="4630057" cy="686657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15" name="Picture 14">
            <a:extLst>
              <a:ext uri="{FF2B5EF4-FFF2-40B4-BE49-F238E27FC236}">
                <a16:creationId xmlns:a16="http://schemas.microsoft.com/office/drawing/2014/main" id="{80C01354-5DE6-436C-A745-A28E0BA86BB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52427" y="1740389"/>
            <a:ext cx="4480560" cy="4100687"/>
          </a:xfrm>
          <a:prstGeom prst="ellipse">
            <a:avLst/>
          </a:prstGeom>
          <a:ln>
            <a:solidFill>
              <a:schemeClr val="bg2"/>
            </a:solidFill>
          </a:ln>
        </p:spPr>
      </p:pic>
      <p:sp>
        <p:nvSpPr>
          <p:cNvPr id="17" name="!!Oval 8">
            <a:extLst>
              <a:ext uri="{FF2B5EF4-FFF2-40B4-BE49-F238E27FC236}">
                <a16:creationId xmlns:a16="http://schemas.microsoft.com/office/drawing/2014/main" id="{D7F3103A-B376-445E-959B-AFE35883F63E}"/>
              </a:ext>
            </a:extLst>
          </p:cNvPr>
          <p:cNvSpPr/>
          <p:nvPr/>
        </p:nvSpPr>
        <p:spPr>
          <a:xfrm>
            <a:off x="220049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3" name="!!Oval 17">
            <a:extLst>
              <a:ext uri="{FF2B5EF4-FFF2-40B4-BE49-F238E27FC236}">
                <a16:creationId xmlns:a16="http://schemas.microsoft.com/office/drawing/2014/main" id="{F549D3A8-0705-442D-AEDD-1350953168C3}"/>
              </a:ext>
            </a:extLst>
          </p:cNvPr>
          <p:cNvSpPr/>
          <p:nvPr/>
        </p:nvSpPr>
        <p:spPr>
          <a:xfrm>
            <a:off x="2531302" y="581929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2"/>
    </p:custDataLst>
    <p:extLst>
      <p:ext uri="{BB962C8B-B14F-4D97-AF65-F5344CB8AC3E}">
        <p14:creationId xmlns:p14="http://schemas.microsoft.com/office/powerpoint/2010/main" val="153929210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235912" y="429693"/>
            <a:ext cx="1476366" cy="492443"/>
          </a:xfrm>
          <a:prstGeom prst="rect">
            <a:avLst/>
          </a:prstGeom>
          <a:noFill/>
        </p:spPr>
        <p:txBody>
          <a:bodyPr wrap="none" lIns="0" tIns="0" rIns="0" bIns="0" numCol="1" rtlCol="0">
            <a:spAutoFit/>
          </a:bodyPr>
          <a:lstStyle/>
          <a:p>
            <a:r>
              <a:rPr lang="de-DE" altLang="de-DE" sz="3200" spc="300" dirty="0">
                <a:solidFill>
                  <a:schemeClr val="accent5"/>
                </a:solidFill>
              </a:rPr>
              <a:t>Metals</a:t>
            </a:r>
          </a:p>
        </p:txBody>
      </p:sp>
      <p:sp>
        <p:nvSpPr>
          <p:cNvPr id="8" name="TextBox 7">
            <a:extLst>
              <a:ext uri="{FF2B5EF4-FFF2-40B4-BE49-F238E27FC236}">
                <a16:creationId xmlns:a16="http://schemas.microsoft.com/office/drawing/2014/main" id="{C9A73559-491A-4614-A844-496762024E0B}"/>
              </a:ext>
            </a:extLst>
          </p:cNvPr>
          <p:cNvSpPr txBox="1"/>
          <p:nvPr/>
        </p:nvSpPr>
        <p:spPr>
          <a:xfrm>
            <a:off x="5235912" y="1149641"/>
            <a:ext cx="6286194" cy="4431983"/>
          </a:xfrm>
          <a:prstGeom prst="rect">
            <a:avLst/>
          </a:prstGeom>
          <a:noFill/>
        </p:spPr>
        <p:txBody>
          <a:bodyPr wrap="square" lIns="0" tIns="0" rIns="0" bIns="0" numCol="1" rtlCol="0">
            <a:spAutoFit/>
          </a:bodyPr>
          <a:lstStyle/>
          <a:p>
            <a:r>
              <a:rPr lang="en-US" sz="2400" b="1" dirty="0"/>
              <a:t>Ferrous Metal</a:t>
            </a:r>
          </a:p>
          <a:p>
            <a:r>
              <a:rPr lang="en-US" sz="2400" dirty="0"/>
              <a:t>Ferrous metal is  a type of waste which is not only highly profitable but also can be recycled nearly completely. In addition, ferrous metal can be recycled multiple times.  </a:t>
            </a:r>
          </a:p>
          <a:p>
            <a:endParaRPr lang="en-US" sz="2400" dirty="0"/>
          </a:p>
          <a:p>
            <a:r>
              <a:rPr lang="en-US" sz="2400" b="1" dirty="0"/>
              <a:t>Non-ferrous Metal</a:t>
            </a:r>
          </a:p>
          <a:p>
            <a:r>
              <a:rPr lang="en-US" sz="2400" dirty="0"/>
              <a:t>Aluminum, copper, lead, and zinc are examples of nonferrous materials wastes produced at construction sites. The majority of these materials can be recycled.</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778016" y="1831831"/>
            <a:ext cx="4441372" cy="4194880"/>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7183184"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5771451"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50060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3" name="Rectangle 22">
            <a:extLst>
              <a:ext uri="{FF2B5EF4-FFF2-40B4-BE49-F238E27FC236}">
                <a16:creationId xmlns:a16="http://schemas.microsoft.com/office/drawing/2014/main" id="{F13748ED-C15D-494D-A662-801A11A428E9}"/>
              </a:ext>
            </a:extLst>
          </p:cNvPr>
          <p:cNvSpPr/>
          <p:nvPr/>
        </p:nvSpPr>
        <p:spPr>
          <a:xfrm>
            <a:off x="1224026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pic>
        <p:nvPicPr>
          <p:cNvPr id="31" name="Picture 30">
            <a:extLst>
              <a:ext uri="{FF2B5EF4-FFF2-40B4-BE49-F238E27FC236}">
                <a16:creationId xmlns:a16="http://schemas.microsoft.com/office/drawing/2014/main" id="{B36A151C-D7F3-439C-A765-061B82BCA73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778016" y="1740389"/>
            <a:ext cx="4480560" cy="4100687"/>
          </a:xfrm>
          <a:prstGeom prst="ellipse">
            <a:avLst/>
          </a:prstGeom>
          <a:ln>
            <a:solidFill>
              <a:schemeClr val="bg2"/>
            </a:solidFill>
          </a:ln>
        </p:spPr>
      </p:pic>
      <p:pic>
        <p:nvPicPr>
          <p:cNvPr id="22" name="Picture 21">
            <a:extLst>
              <a:ext uri="{FF2B5EF4-FFF2-40B4-BE49-F238E27FC236}">
                <a16:creationId xmlns:a16="http://schemas.microsoft.com/office/drawing/2014/main" id="{620C5A1E-253D-48DF-9E37-B970C91C33F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3813" y="1740389"/>
            <a:ext cx="4480560" cy="4100687"/>
          </a:xfrm>
          <a:prstGeom prst="ellipse">
            <a:avLst/>
          </a:prstGeom>
          <a:ln>
            <a:solidFill>
              <a:schemeClr val="bg2"/>
            </a:solidFill>
          </a:ln>
        </p:spPr>
      </p:pic>
      <p:sp>
        <p:nvSpPr>
          <p:cNvPr id="24" name="!!Oval 8">
            <a:extLst>
              <a:ext uri="{FF2B5EF4-FFF2-40B4-BE49-F238E27FC236}">
                <a16:creationId xmlns:a16="http://schemas.microsoft.com/office/drawing/2014/main" id="{75FF5486-56EE-4733-9E31-D8FD5D2C3E17}"/>
              </a:ext>
            </a:extLst>
          </p:cNvPr>
          <p:cNvSpPr/>
          <p:nvPr/>
        </p:nvSpPr>
        <p:spPr>
          <a:xfrm>
            <a:off x="68436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5" name="!!Oval 17">
            <a:extLst>
              <a:ext uri="{FF2B5EF4-FFF2-40B4-BE49-F238E27FC236}">
                <a16:creationId xmlns:a16="http://schemas.microsoft.com/office/drawing/2014/main" id="{1F8E3BBB-C625-4475-98B1-AE4B21E9F53D}"/>
              </a:ext>
            </a:extLst>
          </p:cNvPr>
          <p:cNvSpPr/>
          <p:nvPr/>
        </p:nvSpPr>
        <p:spPr>
          <a:xfrm>
            <a:off x="754018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2"/>
    </p:custDataLst>
    <p:extLst>
      <p:ext uri="{BB962C8B-B14F-4D97-AF65-F5344CB8AC3E}">
        <p14:creationId xmlns:p14="http://schemas.microsoft.com/office/powerpoint/2010/main" val="36587602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612865"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97867" y="914850"/>
            <a:ext cx="4630057" cy="553998"/>
          </a:xfrm>
          <a:prstGeom prst="rect">
            <a:avLst/>
          </a:prstGeom>
          <a:noFill/>
        </p:spPr>
        <p:txBody>
          <a:bodyPr wrap="square" lIns="0" tIns="0" rIns="0" bIns="0" numCol="1" rtlCol="0">
            <a:spAutoFit/>
          </a:bodyPr>
          <a:lstStyle/>
          <a:p>
            <a:r>
              <a:rPr lang="de-DE" altLang="de-DE" sz="3600" spc="300" dirty="0">
                <a:solidFill>
                  <a:srgbClr val="079B84"/>
                </a:solidFill>
              </a:rPr>
              <a:t>Packaging Waste</a:t>
            </a:r>
            <a:endParaRPr lang="de-DE" altLang="de-DE" sz="2800" spc="300" dirty="0">
              <a:solidFill>
                <a:srgbClr val="079B84"/>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463135" y="1699996"/>
            <a:ext cx="5811398" cy="3877985"/>
          </a:xfrm>
          <a:prstGeom prst="rect">
            <a:avLst/>
          </a:prstGeom>
          <a:noFill/>
        </p:spPr>
        <p:txBody>
          <a:bodyPr wrap="square" lIns="0" tIns="0" rIns="0" bIns="0" numCol="1" rtlCol="0">
            <a:spAutoFit/>
          </a:bodyPr>
          <a:lstStyle/>
          <a:p>
            <a:r>
              <a:rPr lang="en-US" sz="2800" dirty="0"/>
              <a:t>Plastic Packaging Is Extremely Wasteful And Impacts Earth's Ecosystems, On Which We Depend. Due To Poor Product Design And Lack Of Political Infrastructure</a:t>
            </a:r>
          </a:p>
          <a:p>
            <a:r>
              <a:rPr lang="en-US" sz="2800" dirty="0"/>
              <a:t>Packaging waste is a dominant contributor in today's world and responsible for half of the waste in the globe.</a:t>
            </a:r>
            <a:endParaRPr lang="en-US" sz="3600" dirty="0"/>
          </a:p>
        </p:txBody>
      </p:sp>
      <p:sp>
        <p:nvSpPr>
          <p:cNvPr id="9" name="!!Oval 8">
            <a:extLst>
              <a:ext uri="{FF2B5EF4-FFF2-40B4-BE49-F238E27FC236}">
                <a16:creationId xmlns:a16="http://schemas.microsoft.com/office/drawing/2014/main" id="{67191FB7-1694-4872-81F9-FE7754259935}"/>
              </a:ext>
            </a:extLst>
          </p:cNvPr>
          <p:cNvSpPr/>
          <p:nvPr/>
        </p:nvSpPr>
        <p:spPr>
          <a:xfrm>
            <a:off x="46313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81426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250650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1913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53236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17" name="Picture 16">
            <a:extLst>
              <a:ext uri="{FF2B5EF4-FFF2-40B4-BE49-F238E27FC236}">
                <a16:creationId xmlns:a16="http://schemas.microsoft.com/office/drawing/2014/main" id="{EBE392DC-B87E-454D-938E-0256F82402E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30656" y="1740389"/>
            <a:ext cx="4480560" cy="4100687"/>
          </a:xfrm>
          <a:prstGeom prst="ellipse">
            <a:avLst/>
          </a:prstGeom>
          <a:ln>
            <a:solidFill>
              <a:schemeClr val="bg2"/>
            </a:solidFill>
          </a:ln>
        </p:spPr>
      </p:pic>
      <p:sp>
        <p:nvSpPr>
          <p:cNvPr id="14" name="Rectangle 13">
            <a:extLst>
              <a:ext uri="{FF2B5EF4-FFF2-40B4-BE49-F238E27FC236}">
                <a16:creationId xmlns:a16="http://schemas.microsoft.com/office/drawing/2014/main" id="{C70A1166-6909-4CE8-8CDF-EB812006FC43}"/>
              </a:ext>
            </a:extLst>
          </p:cNvPr>
          <p:cNvSpPr/>
          <p:nvPr/>
        </p:nvSpPr>
        <p:spPr>
          <a:xfrm>
            <a:off x="-4630057" y="-8575"/>
            <a:ext cx="4630057" cy="686657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15" name="Picture 14">
            <a:extLst>
              <a:ext uri="{FF2B5EF4-FFF2-40B4-BE49-F238E27FC236}">
                <a16:creationId xmlns:a16="http://schemas.microsoft.com/office/drawing/2014/main" id="{80C01354-5DE6-436C-A745-A28E0BA86BB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50869" y="1731814"/>
            <a:ext cx="4480560" cy="4100687"/>
          </a:xfrm>
          <a:prstGeom prst="ellipse">
            <a:avLst/>
          </a:prstGeom>
          <a:ln>
            <a:solidFill>
              <a:schemeClr val="bg2"/>
            </a:solidFill>
          </a:ln>
        </p:spPr>
      </p:pic>
      <p:sp>
        <p:nvSpPr>
          <p:cNvPr id="22" name="!!Oval 8">
            <a:extLst>
              <a:ext uri="{FF2B5EF4-FFF2-40B4-BE49-F238E27FC236}">
                <a16:creationId xmlns:a16="http://schemas.microsoft.com/office/drawing/2014/main" id="{28659C37-EFB2-4F23-8EBB-5194F42CC109}"/>
              </a:ext>
            </a:extLst>
          </p:cNvPr>
          <p:cNvSpPr/>
          <p:nvPr/>
        </p:nvSpPr>
        <p:spPr>
          <a:xfrm>
            <a:off x="1844895" y="581929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3" name="!!Oval 17">
            <a:extLst>
              <a:ext uri="{FF2B5EF4-FFF2-40B4-BE49-F238E27FC236}">
                <a16:creationId xmlns:a16="http://schemas.microsoft.com/office/drawing/2014/main" id="{BCC09C24-E4B9-4FCF-8FD6-318D33945BDE}"/>
              </a:ext>
            </a:extLst>
          </p:cNvPr>
          <p:cNvSpPr/>
          <p:nvPr/>
        </p:nvSpPr>
        <p:spPr>
          <a:xfrm>
            <a:off x="21655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2"/>
    </p:custDataLst>
    <p:extLst>
      <p:ext uri="{BB962C8B-B14F-4D97-AF65-F5344CB8AC3E}">
        <p14:creationId xmlns:p14="http://schemas.microsoft.com/office/powerpoint/2010/main" val="283223754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1A1D24"/>
        </a:solidFill>
        <a:effectLst/>
      </p:bgPr>
    </p:bg>
    <p:spTree>
      <p:nvGrpSpPr>
        <p:cNvPr id="1" name=""/>
        <p:cNvGrpSpPr/>
        <p:nvPr/>
      </p:nvGrpSpPr>
      <p:grpSpPr>
        <a:xfrm>
          <a:off x="0" y="0"/>
          <a:ext cx="0" cy="0"/>
          <a:chOff x="0" y="0"/>
          <a:chExt cx="0" cy="0"/>
        </a:xfrm>
      </p:grpSpPr>
      <p:grpSp>
        <p:nvGrpSpPr>
          <p:cNvPr id="125" name="Group 124">
            <a:extLst>
              <a:ext uri="{FF2B5EF4-FFF2-40B4-BE49-F238E27FC236}">
                <a16:creationId xmlns:a16="http://schemas.microsoft.com/office/drawing/2014/main" id="{591E6D8F-4A21-4193-8892-A53595067B9B}"/>
              </a:ext>
            </a:extLst>
          </p:cNvPr>
          <p:cNvGrpSpPr/>
          <p:nvPr/>
        </p:nvGrpSpPr>
        <p:grpSpPr>
          <a:xfrm>
            <a:off x="1532278" y="824959"/>
            <a:ext cx="7327242" cy="6033041"/>
            <a:chOff x="292758" y="-5192"/>
            <a:chExt cx="7327242" cy="6033041"/>
          </a:xfrm>
        </p:grpSpPr>
        <p:sp>
          <p:nvSpPr>
            <p:cNvPr id="84" name="Block Arc 83">
              <a:extLst>
                <a:ext uri="{FF2B5EF4-FFF2-40B4-BE49-F238E27FC236}">
                  <a16:creationId xmlns:a16="http://schemas.microsoft.com/office/drawing/2014/main" id="{FCE9CCE2-C0B8-4B10-A294-075AEF983095}"/>
                </a:ext>
              </a:extLst>
            </p:cNvPr>
            <p:cNvSpPr/>
            <p:nvPr/>
          </p:nvSpPr>
          <p:spPr>
            <a:xfrm rot="3263825">
              <a:off x="2570342" y="828696"/>
              <a:ext cx="4460515" cy="4460515"/>
            </a:xfrm>
            <a:prstGeom prst="blockArc">
              <a:avLst>
                <a:gd name="adj1" fmla="val 9000000"/>
                <a:gd name="adj2" fmla="val 16244705"/>
                <a:gd name="adj3" fmla="val 2919"/>
              </a:avLst>
            </a:prstGeom>
            <a:ln/>
          </p:spPr>
          <p:style>
            <a:lnRef idx="2">
              <a:schemeClr val="accent3">
                <a:shade val="50000"/>
              </a:schemeClr>
            </a:lnRef>
            <a:fillRef idx="1">
              <a:schemeClr val="accent3"/>
            </a:fillRef>
            <a:effectRef idx="0">
              <a:schemeClr val="accent3"/>
            </a:effectRef>
            <a:fontRef idx="minor">
              <a:schemeClr val="lt1"/>
            </a:fontRef>
          </p:style>
        </p:sp>
        <p:sp>
          <p:nvSpPr>
            <p:cNvPr id="85" name="Block Arc 84">
              <a:extLst>
                <a:ext uri="{FF2B5EF4-FFF2-40B4-BE49-F238E27FC236}">
                  <a16:creationId xmlns:a16="http://schemas.microsoft.com/office/drawing/2014/main" id="{43D932C4-E664-47BF-AF25-76246FD45701}"/>
                </a:ext>
              </a:extLst>
            </p:cNvPr>
            <p:cNvSpPr/>
            <p:nvPr/>
          </p:nvSpPr>
          <p:spPr>
            <a:xfrm rot="542410">
              <a:off x="2570342" y="828696"/>
              <a:ext cx="4460515" cy="4460515"/>
            </a:xfrm>
            <a:prstGeom prst="blockArc">
              <a:avLst>
                <a:gd name="adj1" fmla="val 1800000"/>
                <a:gd name="adj2" fmla="val 8994590"/>
                <a:gd name="adj3" fmla="val 2734"/>
              </a:avLst>
            </a:prstGeom>
            <a:ln/>
          </p:spPr>
          <p:style>
            <a:lnRef idx="2">
              <a:schemeClr val="accent3">
                <a:shade val="50000"/>
              </a:schemeClr>
            </a:lnRef>
            <a:fillRef idx="1">
              <a:schemeClr val="accent3"/>
            </a:fillRef>
            <a:effectRef idx="0">
              <a:schemeClr val="accent3"/>
            </a:effectRef>
            <a:fontRef idx="minor">
              <a:schemeClr val="lt1"/>
            </a:fontRef>
          </p:style>
        </p:sp>
        <p:sp>
          <p:nvSpPr>
            <p:cNvPr id="86" name="Block Arc 85">
              <a:extLst>
                <a:ext uri="{FF2B5EF4-FFF2-40B4-BE49-F238E27FC236}">
                  <a16:creationId xmlns:a16="http://schemas.microsoft.com/office/drawing/2014/main" id="{3E52F2B3-A50F-4CBD-944D-1B7C467B71F3}"/>
                </a:ext>
              </a:extLst>
            </p:cNvPr>
            <p:cNvSpPr/>
            <p:nvPr/>
          </p:nvSpPr>
          <p:spPr>
            <a:xfrm rot="2135694">
              <a:off x="2570341" y="828695"/>
              <a:ext cx="4460515" cy="4460515"/>
            </a:xfrm>
            <a:prstGeom prst="blockArc">
              <a:avLst>
                <a:gd name="adj1" fmla="val 16200000"/>
                <a:gd name="adj2" fmla="val 1738032"/>
                <a:gd name="adj3" fmla="val 2871"/>
              </a:avLst>
            </a:prstGeom>
            <a:ln>
              <a:noFill/>
            </a:ln>
          </p:spPr>
          <p:style>
            <a:lnRef idx="2">
              <a:schemeClr val="accent3">
                <a:shade val="50000"/>
              </a:schemeClr>
            </a:lnRef>
            <a:fillRef idx="1">
              <a:schemeClr val="accent3"/>
            </a:fillRef>
            <a:effectRef idx="0">
              <a:schemeClr val="accent3"/>
            </a:effectRef>
            <a:fontRef idx="minor">
              <a:schemeClr val="lt1"/>
            </a:fontRef>
          </p:style>
        </p:sp>
        <mc:AlternateContent xmlns:mc="http://schemas.openxmlformats.org/markup-compatibility/2006" xmlns:pslz="http://schemas.microsoft.com/office/powerpoint/2016/slidezoom">
          <mc:Choice Requires="pslz">
            <p:graphicFrame>
              <p:nvGraphicFramePr>
                <p:cNvPr id="98" name="Slide Zoom 97">
                  <a:extLst>
                    <a:ext uri="{FF2B5EF4-FFF2-40B4-BE49-F238E27FC236}">
                      <a16:creationId xmlns:a16="http://schemas.microsoft.com/office/drawing/2014/main" id="{F2AA77B5-C0CD-4170-84B8-46011E426E9D}"/>
                    </a:ext>
                  </a:extLst>
                </p:cNvPr>
                <p:cNvGraphicFramePr>
                  <a:graphicFrameLocks noChangeAspect="1"/>
                </p:cNvGraphicFramePr>
                <p:nvPr>
                  <p:extLst>
                    <p:ext uri="{D42A27DB-BD31-4B8C-83A1-F6EECF244321}">
                      <p14:modId xmlns:p14="http://schemas.microsoft.com/office/powerpoint/2010/main" val="350858998"/>
                    </p:ext>
                  </p:extLst>
                </p:nvPr>
              </p:nvGraphicFramePr>
              <p:xfrm>
                <a:off x="2449907" y="-5192"/>
                <a:ext cx="3048000" cy="1714500"/>
              </p:xfrm>
              <a:graphic>
                <a:graphicData uri="http://schemas.microsoft.com/office/powerpoint/2016/slidezoom">
                  <pslz:sldZm>
                    <pslz:sldZmObj sldId="289" cId="3276725644">
                      <pslz:zmPr id="{2C5C2075-7D9C-4A55-993D-AB81D5435553}" returnToParent="0" transitionDur="1000" showBg="0">
                        <p166:blipFill xmlns:p166="http://schemas.microsoft.com/office/powerpoint/2016/6/main">
                          <a:blip r:embed="rId2"/>
                          <a:stretch>
                            <a:fillRect/>
                          </a:stretch>
                        </p166:blipFill>
                        <p166:spPr xmlns:p166="http://schemas.microsoft.com/office/powerpoint/2016/6/main">
                          <a:xfrm>
                            <a:off x="0" y="0"/>
                            <a:ext cx="3048000" cy="1714500"/>
                          </a:xfrm>
                          <a:prstGeom prst="rect">
                            <a:avLst/>
                          </a:prstGeom>
                        </p166:spPr>
                      </pslz:zmPr>
                    </pslz:sldZmObj>
                  </pslz:sldZm>
                </a:graphicData>
              </a:graphic>
            </p:graphicFrame>
          </mc:Choice>
          <mc:Fallback xmlns="">
            <p:pic>
              <p:nvPicPr>
                <p:cNvPr id="98" name="Slide Zoom 97">
                  <a:hlinkClick r:id="rId3" action="ppaction://hlinksldjump"/>
                  <a:extLst>
                    <a:ext uri="{FF2B5EF4-FFF2-40B4-BE49-F238E27FC236}">
                      <a16:creationId xmlns:a16="http://schemas.microsoft.com/office/drawing/2014/main" id="{F2AA77B5-C0CD-4170-84B8-46011E426E9D}"/>
                    </a:ext>
                  </a:extLst>
                </p:cNvPr>
                <p:cNvPicPr>
                  <a:picLocks noGrp="1" noRot="1" noChangeAspect="1" noMove="1" noResize="1" noEditPoints="1" noAdjustHandles="1" noChangeArrowheads="1" noChangeShapeType="1"/>
                </p:cNvPicPr>
                <p:nvPr/>
              </p:nvPicPr>
              <p:blipFill>
                <a:blip r:embed="rId4"/>
                <a:stretch>
                  <a:fillRect/>
                </a:stretch>
              </p:blipFill>
              <p:spPr>
                <a:xfrm>
                  <a:off x="3689427" y="824959"/>
                  <a:ext cx="3048000" cy="1714500"/>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100" name="Slide Zoom 99">
                  <a:extLst>
                    <a:ext uri="{FF2B5EF4-FFF2-40B4-BE49-F238E27FC236}">
                      <a16:creationId xmlns:a16="http://schemas.microsoft.com/office/drawing/2014/main" id="{B723A6E3-9D43-465C-86E8-56D77C802436}"/>
                    </a:ext>
                  </a:extLst>
                </p:cNvPr>
                <p:cNvGraphicFramePr>
                  <a:graphicFrameLocks noChangeAspect="1"/>
                </p:cNvGraphicFramePr>
                <p:nvPr>
                  <p:extLst>
                    <p:ext uri="{D42A27DB-BD31-4B8C-83A1-F6EECF244321}">
                      <p14:modId xmlns:p14="http://schemas.microsoft.com/office/powerpoint/2010/main" val="3421812469"/>
                    </p:ext>
                  </p:extLst>
                </p:nvPr>
              </p:nvGraphicFramePr>
              <p:xfrm>
                <a:off x="292758" y="2140742"/>
                <a:ext cx="3048000" cy="1714500"/>
              </p:xfrm>
              <a:graphic>
                <a:graphicData uri="http://schemas.microsoft.com/office/powerpoint/2016/slidezoom">
                  <pslz:sldZm>
                    <pslz:sldZmObj sldId="288" cId="1921306714">
                      <pslz:zmPr id="{1CB5AE95-4C7E-4019-85EA-B5986B7056A9}" returnToParent="0" transitionDur="1000" showBg="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p166:spPr>
                      </pslz:zmPr>
                    </pslz:sldZmObj>
                  </pslz:sldZm>
                </a:graphicData>
              </a:graphic>
            </p:graphicFrame>
          </mc:Choice>
          <mc:Fallback xmlns="">
            <p:pic>
              <p:nvPicPr>
                <p:cNvPr id="100" name="Slide Zoom 99">
                  <a:hlinkClick r:id="rId6" action="ppaction://hlinksldjump"/>
                  <a:extLst>
                    <a:ext uri="{FF2B5EF4-FFF2-40B4-BE49-F238E27FC236}">
                      <a16:creationId xmlns:a16="http://schemas.microsoft.com/office/drawing/2014/main" id="{B723A6E3-9D43-465C-86E8-56D77C802436}"/>
                    </a:ext>
                  </a:extLst>
                </p:cNvPr>
                <p:cNvPicPr>
                  <a:picLocks noGrp="1" noRot="1" noChangeAspect="1" noMove="1" noResize="1" noEditPoints="1" noAdjustHandles="1" noChangeArrowheads="1" noChangeShapeType="1"/>
                </p:cNvPicPr>
                <p:nvPr/>
              </p:nvPicPr>
              <p:blipFill>
                <a:blip r:embed="rId7"/>
                <a:stretch>
                  <a:fillRect/>
                </a:stretch>
              </p:blipFill>
              <p:spPr>
                <a:xfrm>
                  <a:off x="1532278" y="2970893"/>
                  <a:ext cx="3048000" cy="1714500"/>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102" name="Slide Zoom 101">
                  <a:extLst>
                    <a:ext uri="{FF2B5EF4-FFF2-40B4-BE49-F238E27FC236}">
                      <a16:creationId xmlns:a16="http://schemas.microsoft.com/office/drawing/2014/main" id="{84D2E9EA-01C7-429B-A17B-381036F4909F}"/>
                    </a:ext>
                  </a:extLst>
                </p:cNvPr>
                <p:cNvGraphicFramePr>
                  <a:graphicFrameLocks noChangeAspect="1"/>
                </p:cNvGraphicFramePr>
                <p:nvPr>
                  <p:extLst>
                    <p:ext uri="{D42A27DB-BD31-4B8C-83A1-F6EECF244321}">
                      <p14:modId xmlns:p14="http://schemas.microsoft.com/office/powerpoint/2010/main" val="1729672658"/>
                    </p:ext>
                  </p:extLst>
                </p:nvPr>
              </p:nvGraphicFramePr>
              <p:xfrm>
                <a:off x="4572000" y="2274756"/>
                <a:ext cx="3048000" cy="1714500"/>
              </p:xfrm>
              <a:graphic>
                <a:graphicData uri="http://schemas.microsoft.com/office/powerpoint/2016/slidezoom">
                  <pslz:sldZm>
                    <pslz:sldZmObj sldId="290" cId="2769873470">
                      <pslz:zmPr id="{A437630B-1699-4F85-9194-61CF6609030C}" returnToParent="0" transitionDur="1000" showBg="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p166:spPr>
                      </pslz:zmPr>
                    </pslz:sldZmObj>
                  </pslz:sldZm>
                </a:graphicData>
              </a:graphic>
            </p:graphicFrame>
          </mc:Choice>
          <mc:Fallback xmlns="">
            <p:pic>
              <p:nvPicPr>
                <p:cNvPr id="102" name="Slide Zoom 101">
                  <a:hlinkClick r:id="rId9" action="ppaction://hlinksldjump"/>
                  <a:extLst>
                    <a:ext uri="{FF2B5EF4-FFF2-40B4-BE49-F238E27FC236}">
                      <a16:creationId xmlns:a16="http://schemas.microsoft.com/office/drawing/2014/main" id="{84D2E9EA-01C7-429B-A17B-381036F4909F}"/>
                    </a:ext>
                  </a:extLst>
                </p:cNvPr>
                <p:cNvPicPr>
                  <a:picLocks noGrp="1" noRot="1" noChangeAspect="1" noMove="1" noResize="1" noEditPoints="1" noAdjustHandles="1" noChangeArrowheads="1" noChangeShapeType="1"/>
                </p:cNvPicPr>
                <p:nvPr/>
              </p:nvPicPr>
              <p:blipFill>
                <a:blip r:embed="rId10"/>
                <a:stretch>
                  <a:fillRect/>
                </a:stretch>
              </p:blipFill>
              <p:spPr>
                <a:xfrm>
                  <a:off x="5811520" y="3104907"/>
                  <a:ext cx="3048000" cy="1714500"/>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104" name="Slide Zoom 103">
                  <a:extLst>
                    <a:ext uri="{FF2B5EF4-FFF2-40B4-BE49-F238E27FC236}">
                      <a16:creationId xmlns:a16="http://schemas.microsoft.com/office/drawing/2014/main" id="{333E1E11-399B-4923-B3DF-71A3BC3DF916}"/>
                    </a:ext>
                  </a:extLst>
                </p:cNvPr>
                <p:cNvGraphicFramePr>
                  <a:graphicFrameLocks noChangeAspect="1"/>
                </p:cNvGraphicFramePr>
                <p:nvPr>
                  <p:extLst>
                    <p:ext uri="{D42A27DB-BD31-4B8C-83A1-F6EECF244321}">
                      <p14:modId xmlns:p14="http://schemas.microsoft.com/office/powerpoint/2010/main" val="1391494960"/>
                    </p:ext>
                  </p:extLst>
                </p:nvPr>
              </p:nvGraphicFramePr>
              <p:xfrm>
                <a:off x="2449907" y="4313349"/>
                <a:ext cx="3048000" cy="1714500"/>
              </p:xfrm>
              <a:graphic>
                <a:graphicData uri="http://schemas.microsoft.com/office/powerpoint/2016/slidezoom">
                  <pslz:sldZm>
                    <pslz:sldZmObj sldId="291" cId="3897643686">
                      <pslz:zmPr id="{676615E6-7C14-40E8-A1CE-AAE933F3B27C}" returnToParent="0" transitionDur="1000" showBg="0">
                        <p166:blipFill xmlns:p166="http://schemas.microsoft.com/office/powerpoint/2016/6/main">
                          <a:blip r:embed="rId11"/>
                          <a:stretch>
                            <a:fillRect/>
                          </a:stretch>
                        </p166:blipFill>
                        <p166:spPr xmlns:p166="http://schemas.microsoft.com/office/powerpoint/2016/6/main">
                          <a:xfrm>
                            <a:off x="0" y="0"/>
                            <a:ext cx="3048000" cy="1714500"/>
                          </a:xfrm>
                          <a:prstGeom prst="rect">
                            <a:avLst/>
                          </a:prstGeom>
                        </p166:spPr>
                      </pslz:zmPr>
                    </pslz:sldZmObj>
                  </pslz:sldZm>
                </a:graphicData>
              </a:graphic>
            </p:graphicFrame>
          </mc:Choice>
          <mc:Fallback xmlns="">
            <p:pic>
              <p:nvPicPr>
                <p:cNvPr id="104" name="Slide Zoom 103">
                  <a:hlinkClick r:id="rId12" action="ppaction://hlinksldjump"/>
                  <a:extLst>
                    <a:ext uri="{FF2B5EF4-FFF2-40B4-BE49-F238E27FC236}">
                      <a16:creationId xmlns:a16="http://schemas.microsoft.com/office/drawing/2014/main" id="{333E1E11-399B-4923-B3DF-71A3BC3DF916}"/>
                    </a:ext>
                  </a:extLst>
                </p:cNvPr>
                <p:cNvPicPr>
                  <a:picLocks noGrp="1" noRot="1" noChangeAspect="1" noMove="1" noResize="1" noEditPoints="1" noAdjustHandles="1" noChangeArrowheads="1" noChangeShapeType="1"/>
                </p:cNvPicPr>
                <p:nvPr/>
              </p:nvPicPr>
              <p:blipFill>
                <a:blip r:embed="rId13"/>
                <a:stretch>
                  <a:fillRect/>
                </a:stretch>
              </p:blipFill>
              <p:spPr>
                <a:xfrm>
                  <a:off x="3689427" y="5143500"/>
                  <a:ext cx="3048000" cy="1714500"/>
                </a:xfrm>
                <a:prstGeom prst="rect">
                  <a:avLst/>
                </a:prstGeom>
              </p:spPr>
            </p:pic>
          </mc:Fallback>
        </mc:AlternateContent>
      </p:grpSp>
      <p:sp>
        <p:nvSpPr>
          <p:cNvPr id="126" name="TextBox 125">
            <a:extLst>
              <a:ext uri="{FF2B5EF4-FFF2-40B4-BE49-F238E27FC236}">
                <a16:creationId xmlns:a16="http://schemas.microsoft.com/office/drawing/2014/main" id="{71D7ECFB-2894-44E0-848D-E7330B38AA38}"/>
              </a:ext>
            </a:extLst>
          </p:cNvPr>
          <p:cNvSpPr txBox="1"/>
          <p:nvPr/>
        </p:nvSpPr>
        <p:spPr>
          <a:xfrm>
            <a:off x="1260173" y="86260"/>
            <a:ext cx="10089780" cy="1477328"/>
          </a:xfrm>
          <a:prstGeom prst="rect">
            <a:avLst/>
          </a:prstGeom>
          <a:noFill/>
        </p:spPr>
        <p:txBody>
          <a:bodyPr wrap="square" lIns="0" tIns="0" rIns="0" bIns="0" numCol="1" rtlCol="0">
            <a:spAutoFit/>
          </a:bodyPr>
          <a:lstStyle/>
          <a:p>
            <a:r>
              <a:rPr lang="de-DE" altLang="de-DE" sz="4800" spc="300" dirty="0">
                <a:solidFill>
                  <a:srgbClr val="079B84"/>
                </a:solidFill>
              </a:rPr>
              <a:t>Some other Examples Of C &amp; D Waste</a:t>
            </a:r>
            <a:endParaRPr lang="de-DE" altLang="de-DE" sz="4000" spc="300" dirty="0">
              <a:solidFill>
                <a:srgbClr val="079B84"/>
              </a:solidFill>
            </a:endParaRPr>
          </a:p>
        </p:txBody>
      </p:sp>
    </p:spTree>
    <p:extLst>
      <p:ext uri="{BB962C8B-B14F-4D97-AF65-F5344CB8AC3E}">
        <p14:creationId xmlns:p14="http://schemas.microsoft.com/office/powerpoint/2010/main" val="370490641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C0A2C1D9-1BBC-4E6C-93B9-F75A3B7C85A3}"/>
              </a:ext>
            </a:extLst>
          </p:cNvPr>
          <p:cNvSpPr/>
          <p:nvPr/>
        </p:nvSpPr>
        <p:spPr>
          <a:xfrm>
            <a:off x="6682457" y="813122"/>
            <a:ext cx="5339788" cy="5231756"/>
          </a:xfrm>
          <a:custGeom>
            <a:avLst/>
            <a:gdLst>
              <a:gd name="connsiteX0" fmla="*/ 0 w 1343223"/>
              <a:gd name="connsiteY0" fmla="*/ 671612 h 1343223"/>
              <a:gd name="connsiteX1" fmla="*/ 671612 w 1343223"/>
              <a:gd name="connsiteY1" fmla="*/ 0 h 1343223"/>
              <a:gd name="connsiteX2" fmla="*/ 1343224 w 1343223"/>
              <a:gd name="connsiteY2" fmla="*/ 671612 h 1343223"/>
              <a:gd name="connsiteX3" fmla="*/ 671612 w 1343223"/>
              <a:gd name="connsiteY3" fmla="*/ 1343224 h 1343223"/>
              <a:gd name="connsiteX4" fmla="*/ 0 w 1343223"/>
              <a:gd name="connsiteY4" fmla="*/ 671612 h 1343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23" h="1343223">
                <a:moveTo>
                  <a:pt x="0" y="671612"/>
                </a:moveTo>
                <a:cubicBezTo>
                  <a:pt x="0" y="300691"/>
                  <a:pt x="300691" y="0"/>
                  <a:pt x="671612" y="0"/>
                </a:cubicBezTo>
                <a:cubicBezTo>
                  <a:pt x="1042533" y="0"/>
                  <a:pt x="1343224" y="300691"/>
                  <a:pt x="1343224" y="671612"/>
                </a:cubicBezTo>
                <a:cubicBezTo>
                  <a:pt x="1343224" y="1042533"/>
                  <a:pt x="1042533" y="1343224"/>
                  <a:pt x="671612" y="1343224"/>
                </a:cubicBezTo>
                <a:cubicBezTo>
                  <a:pt x="300691" y="1343224"/>
                  <a:pt x="0" y="1042533"/>
                  <a:pt x="0" y="671612"/>
                </a:cubicBez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1000" tIns="231000" rIns="231000" bIns="231000" numCol="1" spcCol="1270" anchor="ctr" anchorCtr="0">
            <a:noAutofit/>
          </a:bodyPr>
          <a:lstStyle/>
          <a:p>
            <a:pPr marL="0" lvl="0" indent="0" algn="ctr" defTabSz="1200150">
              <a:lnSpc>
                <a:spcPct val="90000"/>
              </a:lnSpc>
              <a:spcBef>
                <a:spcPct val="0"/>
              </a:spcBef>
              <a:spcAft>
                <a:spcPct val="35000"/>
              </a:spcAft>
              <a:buNone/>
            </a:pPr>
            <a:endParaRPr lang="en-US" sz="2700" u="sng" kern="1200"/>
          </a:p>
        </p:txBody>
      </p:sp>
      <p:sp>
        <p:nvSpPr>
          <p:cNvPr id="24" name="Block Arc 23">
            <a:extLst>
              <a:ext uri="{FF2B5EF4-FFF2-40B4-BE49-F238E27FC236}">
                <a16:creationId xmlns:a16="http://schemas.microsoft.com/office/drawing/2014/main" id="{5048E508-D234-4DBE-B748-8CAF906AD7A3}"/>
              </a:ext>
            </a:extLst>
          </p:cNvPr>
          <p:cNvSpPr/>
          <p:nvPr/>
        </p:nvSpPr>
        <p:spPr>
          <a:xfrm>
            <a:off x="883086" y="5557144"/>
            <a:ext cx="770925" cy="770925"/>
          </a:xfrm>
          <a:prstGeom prst="blockArc">
            <a:avLst>
              <a:gd name="adj1" fmla="val 10800000"/>
              <a:gd name="adj2" fmla="val 16200000"/>
              <a:gd name="adj3" fmla="val 4644"/>
            </a:avLst>
          </a:prstGeom>
        </p:spPr>
        <p:style>
          <a:lnRef idx="2">
            <a:schemeClr val="dk1">
              <a:shade val="50000"/>
            </a:schemeClr>
          </a:lnRef>
          <a:fillRef idx="1">
            <a:schemeClr val="dk1"/>
          </a:fillRef>
          <a:effectRef idx="0">
            <a:schemeClr val="dk1"/>
          </a:effectRef>
          <a:fontRef idx="minor">
            <a:schemeClr val="lt1"/>
          </a:fontRef>
        </p:style>
      </p:sp>
      <p:sp>
        <p:nvSpPr>
          <p:cNvPr id="26" name="Block Arc 25">
            <a:extLst>
              <a:ext uri="{FF2B5EF4-FFF2-40B4-BE49-F238E27FC236}">
                <a16:creationId xmlns:a16="http://schemas.microsoft.com/office/drawing/2014/main" id="{E5700072-7A86-4C06-B58F-6DB44F43F6EE}"/>
              </a:ext>
            </a:extLst>
          </p:cNvPr>
          <p:cNvSpPr/>
          <p:nvPr/>
        </p:nvSpPr>
        <p:spPr>
          <a:xfrm>
            <a:off x="883086" y="5557144"/>
            <a:ext cx="770925" cy="770925"/>
          </a:xfrm>
          <a:prstGeom prst="blockArc">
            <a:avLst>
              <a:gd name="adj1" fmla="val 5400000"/>
              <a:gd name="adj2" fmla="val 10800000"/>
              <a:gd name="adj3" fmla="val 4644"/>
            </a:avLst>
          </a:prstGeom>
        </p:spPr>
        <p:style>
          <a:lnRef idx="2">
            <a:schemeClr val="dk1">
              <a:shade val="50000"/>
            </a:schemeClr>
          </a:lnRef>
          <a:fillRef idx="1">
            <a:schemeClr val="dk1"/>
          </a:fillRef>
          <a:effectRef idx="0">
            <a:schemeClr val="dk1"/>
          </a:effectRef>
          <a:fontRef idx="minor">
            <a:schemeClr val="lt1"/>
          </a:fontRef>
        </p:style>
      </p:sp>
      <p:sp>
        <p:nvSpPr>
          <p:cNvPr id="29" name="Block Arc 28">
            <a:extLst>
              <a:ext uri="{FF2B5EF4-FFF2-40B4-BE49-F238E27FC236}">
                <a16:creationId xmlns:a16="http://schemas.microsoft.com/office/drawing/2014/main" id="{2CAB1987-E94A-414B-A361-BE9C42A15F1B}"/>
              </a:ext>
            </a:extLst>
          </p:cNvPr>
          <p:cNvSpPr/>
          <p:nvPr/>
        </p:nvSpPr>
        <p:spPr>
          <a:xfrm>
            <a:off x="883086" y="5557144"/>
            <a:ext cx="770925" cy="770925"/>
          </a:xfrm>
          <a:prstGeom prst="blockArc">
            <a:avLst>
              <a:gd name="adj1" fmla="val 0"/>
              <a:gd name="adj2" fmla="val 5400000"/>
              <a:gd name="adj3" fmla="val 4644"/>
            </a:avLst>
          </a:prstGeom>
        </p:spPr>
        <p:style>
          <a:lnRef idx="2">
            <a:schemeClr val="dk1">
              <a:shade val="50000"/>
            </a:schemeClr>
          </a:lnRef>
          <a:fillRef idx="1">
            <a:schemeClr val="dk1"/>
          </a:fillRef>
          <a:effectRef idx="0">
            <a:schemeClr val="dk1"/>
          </a:effectRef>
          <a:fontRef idx="minor">
            <a:schemeClr val="lt1"/>
          </a:fontRef>
        </p:style>
      </p:sp>
      <p:sp>
        <p:nvSpPr>
          <p:cNvPr id="33" name="Block Arc 32">
            <a:extLst>
              <a:ext uri="{FF2B5EF4-FFF2-40B4-BE49-F238E27FC236}">
                <a16:creationId xmlns:a16="http://schemas.microsoft.com/office/drawing/2014/main" id="{7EDA7EF1-4DD3-49C3-95D8-A8D09F7DFE9B}"/>
              </a:ext>
            </a:extLst>
          </p:cNvPr>
          <p:cNvSpPr/>
          <p:nvPr/>
        </p:nvSpPr>
        <p:spPr>
          <a:xfrm>
            <a:off x="883085" y="5557144"/>
            <a:ext cx="770925" cy="770925"/>
          </a:xfrm>
          <a:prstGeom prst="blockArc">
            <a:avLst>
              <a:gd name="adj1" fmla="val 16200000"/>
              <a:gd name="adj2" fmla="val 0"/>
              <a:gd name="adj3" fmla="val 4644"/>
            </a:avLst>
          </a:prstGeom>
        </p:spPr>
        <p:style>
          <a:lnRef idx="2">
            <a:schemeClr val="dk1">
              <a:shade val="50000"/>
            </a:schemeClr>
          </a:lnRef>
          <a:fillRef idx="1">
            <a:schemeClr val="dk1"/>
          </a:fillRef>
          <a:effectRef idx="0">
            <a:schemeClr val="dk1"/>
          </a:effectRef>
          <a:fontRef idx="minor">
            <a:schemeClr val="lt1"/>
          </a:fontRef>
        </p:style>
      </p:sp>
      <p:sp>
        <p:nvSpPr>
          <p:cNvPr id="37" name="Freeform: Shape 36">
            <a:extLst>
              <a:ext uri="{FF2B5EF4-FFF2-40B4-BE49-F238E27FC236}">
                <a16:creationId xmlns:a16="http://schemas.microsoft.com/office/drawing/2014/main" id="{D2B785F3-8322-49CB-96BD-30F2DEC54490}"/>
              </a:ext>
            </a:extLst>
          </p:cNvPr>
          <p:cNvSpPr/>
          <p:nvPr/>
        </p:nvSpPr>
        <p:spPr>
          <a:xfrm>
            <a:off x="1144239" y="6181596"/>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38" name="Freeform: Shape 37">
            <a:extLst>
              <a:ext uri="{FF2B5EF4-FFF2-40B4-BE49-F238E27FC236}">
                <a16:creationId xmlns:a16="http://schemas.microsoft.com/office/drawing/2014/main" id="{1A778532-362D-4B7F-BCA0-BBD7181DCDCC}"/>
              </a:ext>
            </a:extLst>
          </p:cNvPr>
          <p:cNvSpPr/>
          <p:nvPr/>
        </p:nvSpPr>
        <p:spPr>
          <a:xfrm>
            <a:off x="797378" y="5866935"/>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34" name="Freeform: Shape 33">
            <a:extLst>
              <a:ext uri="{FF2B5EF4-FFF2-40B4-BE49-F238E27FC236}">
                <a16:creationId xmlns:a16="http://schemas.microsoft.com/office/drawing/2014/main" id="{12993188-5A3E-4B24-9C28-5DE996F13DB3}"/>
              </a:ext>
            </a:extLst>
          </p:cNvPr>
          <p:cNvSpPr/>
          <p:nvPr/>
        </p:nvSpPr>
        <p:spPr>
          <a:xfrm>
            <a:off x="1144239" y="5486613"/>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40" name="Rectangle 39">
            <a:extLst>
              <a:ext uri="{FF2B5EF4-FFF2-40B4-BE49-F238E27FC236}">
                <a16:creationId xmlns:a16="http://schemas.microsoft.com/office/drawing/2014/main" id="{632A4478-D176-4F24-8815-0148AF41AE40}"/>
              </a:ext>
            </a:extLst>
          </p:cNvPr>
          <p:cNvSpPr/>
          <p:nvPr/>
        </p:nvSpPr>
        <p:spPr>
          <a:xfrm>
            <a:off x="-3550596" y="2229036"/>
            <a:ext cx="3521412" cy="923330"/>
          </a:xfrm>
          <a:prstGeom prst="rect">
            <a:avLst/>
          </a:prstGeom>
          <a:noFill/>
          <a:ln w="19050">
            <a:solidFill>
              <a:srgbClr val="FF0000"/>
            </a:solidFill>
          </a:ln>
          <a:effectLst/>
          <a:scene3d>
            <a:camera prst="orthographicFront"/>
            <a:lightRig rig="soft" dir="t">
              <a:rot lat="0" lon="0" rev="15600000"/>
            </a:lightRig>
          </a:scene3d>
          <a:sp3d>
            <a:bevelT/>
          </a:sp3d>
        </p:spPr>
        <p:txBody>
          <a:bodyPr wrap="square" lIns="91440" tIns="45720" rIns="91440" bIns="45720">
            <a:spAutoFit/>
            <a:sp3d extrusionH="57150" prstMaterial="softEdge">
              <a:bevelT w="25400" h="38100"/>
            </a:sp3d>
          </a:bodyPr>
          <a:lstStyle/>
          <a:p>
            <a:pPr algn="ctr"/>
            <a:r>
              <a:rPr lang="en-US" sz="5400" dirty="0">
                <a:ln w="0"/>
                <a:gradFill>
                  <a:gsLst>
                    <a:gs pos="21000">
                      <a:srgbClr val="53575C"/>
                    </a:gs>
                    <a:gs pos="88000">
                      <a:srgbClr val="C5C7CA"/>
                    </a:gs>
                  </a:gsLst>
                  <a:lin ang="5400000"/>
                </a:gradFill>
              </a:rPr>
              <a:t>Scrap Iron</a:t>
            </a:r>
          </a:p>
        </p:txBody>
      </p:sp>
      <p:sp>
        <p:nvSpPr>
          <p:cNvPr id="36" name="Freeform: Shape 35">
            <a:extLst>
              <a:ext uri="{FF2B5EF4-FFF2-40B4-BE49-F238E27FC236}">
                <a16:creationId xmlns:a16="http://schemas.microsoft.com/office/drawing/2014/main" id="{25FD6F51-FF70-47D2-B6CE-D243F53A1CC0}"/>
              </a:ext>
            </a:extLst>
          </p:cNvPr>
          <p:cNvSpPr/>
          <p:nvPr/>
        </p:nvSpPr>
        <p:spPr>
          <a:xfrm>
            <a:off x="1513131" y="5866935"/>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2" name="Oval 1">
            <a:extLst>
              <a:ext uri="{FF2B5EF4-FFF2-40B4-BE49-F238E27FC236}">
                <a16:creationId xmlns:a16="http://schemas.microsoft.com/office/drawing/2014/main" id="{E8C8A461-80DA-4853-A317-9045A4DF27D3}"/>
              </a:ext>
            </a:extLst>
          </p:cNvPr>
          <p:cNvSpPr/>
          <p:nvPr/>
        </p:nvSpPr>
        <p:spPr>
          <a:xfrm>
            <a:off x="611958" y="5407835"/>
            <a:ext cx="1259840" cy="1274086"/>
          </a:xfrm>
          <a:prstGeom prst="ellipse">
            <a:avLst/>
          </a:prstGeom>
          <a:solidFill>
            <a:srgbClr val="1A1D24"/>
          </a:solidFill>
          <a:ln>
            <a:noFill/>
          </a:ln>
        </p:spPr>
        <p:style>
          <a:lnRef idx="2">
            <a:schemeClr val="accent4"/>
          </a:lnRef>
          <a:fillRef idx="1">
            <a:schemeClr val="lt1"/>
          </a:fillRef>
          <a:effectRef idx="0">
            <a:schemeClr val="accent4"/>
          </a:effectRef>
          <a:fontRef idx="minor">
            <a:schemeClr val="dk1"/>
          </a:fontRef>
        </p:style>
        <p:txBody>
          <a:bodyPr lIns="73152" tIns="73152" rIns="73152" bIns="73152" numCol="1" rtlCol="0" anchor="ctr"/>
          <a:lstStyle/>
          <a:p>
            <a:pPr algn="ctr"/>
            <a:endParaRPr lang="en-US" sz="1000" kern="0" dirty="0" err="1">
              <a:solidFill>
                <a:schemeClr val="tx1"/>
              </a:solidFill>
            </a:endParaRPr>
          </a:p>
        </p:txBody>
      </p:sp>
    </p:spTree>
    <p:extLst>
      <p:ext uri="{BB962C8B-B14F-4D97-AF65-F5344CB8AC3E}">
        <p14:creationId xmlns:p14="http://schemas.microsoft.com/office/powerpoint/2010/main" val="19213067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grpId="0" nodeType="withEffect">
                                  <p:stCondLst>
                                    <p:cond delay="0"/>
                                  </p:stCondLst>
                                  <p:childTnLst>
                                    <p:animMotion origin="layout" path="M -0.08243 -0.00602 L 0.38268 -0.00717 " pathEditMode="relative" rAng="0" ptsTypes="AA">
                                      <p:cBhvr>
                                        <p:cTn id="6" dur="2000" fill="hold"/>
                                        <p:tgtEl>
                                          <p:spTgt spid="40"/>
                                        </p:tgtEl>
                                        <p:attrNameLst>
                                          <p:attrName>ppt_x</p:attrName>
                                          <p:attrName>ppt_y</p:attrName>
                                        </p:attrNameLst>
                                      </p:cBhvr>
                                      <p:rCtr x="23255" y="-69"/>
                                    </p:animMotion>
                                  </p:childTnLst>
                                </p:cTn>
                              </p:par>
                              <p:par>
                                <p:cTn id="7" presetID="10" presetClass="exit" presetSubtype="0" fill="hold" grpId="0" nodeType="withEffect">
                                  <p:stCondLst>
                                    <p:cond delay="0"/>
                                  </p:stCondLst>
                                  <p:childTnLst>
                                    <p:animEffect transition="out" filter="fade">
                                      <p:cBhvr>
                                        <p:cTn id="8" dur="500"/>
                                        <p:tgtEl>
                                          <p:spTgt spid="2"/>
                                        </p:tgtEl>
                                      </p:cBhvr>
                                    </p:animEffect>
                                    <p:set>
                                      <p:cBhvr>
                                        <p:cTn id="9"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121B0E28-4DFE-4895-A3A9-E6BCFD739B4E}"/>
              </a:ext>
            </a:extLst>
          </p:cNvPr>
          <p:cNvSpPr/>
          <p:nvPr/>
        </p:nvSpPr>
        <p:spPr>
          <a:xfrm>
            <a:off x="6678593" y="813123"/>
            <a:ext cx="5339787" cy="5231755"/>
          </a:xfrm>
          <a:custGeom>
            <a:avLst/>
            <a:gdLst>
              <a:gd name="connsiteX0" fmla="*/ 0 w 1343223"/>
              <a:gd name="connsiteY0" fmla="*/ 671612 h 1343223"/>
              <a:gd name="connsiteX1" fmla="*/ 671612 w 1343223"/>
              <a:gd name="connsiteY1" fmla="*/ 0 h 1343223"/>
              <a:gd name="connsiteX2" fmla="*/ 1343224 w 1343223"/>
              <a:gd name="connsiteY2" fmla="*/ 671612 h 1343223"/>
              <a:gd name="connsiteX3" fmla="*/ 671612 w 1343223"/>
              <a:gd name="connsiteY3" fmla="*/ 1343224 h 1343223"/>
              <a:gd name="connsiteX4" fmla="*/ 0 w 1343223"/>
              <a:gd name="connsiteY4" fmla="*/ 671612 h 1343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23" h="1343223">
                <a:moveTo>
                  <a:pt x="0" y="671612"/>
                </a:moveTo>
                <a:cubicBezTo>
                  <a:pt x="0" y="300691"/>
                  <a:pt x="300691" y="0"/>
                  <a:pt x="671612" y="0"/>
                </a:cubicBezTo>
                <a:cubicBezTo>
                  <a:pt x="1042533" y="0"/>
                  <a:pt x="1343224" y="300691"/>
                  <a:pt x="1343224" y="671612"/>
                </a:cubicBezTo>
                <a:cubicBezTo>
                  <a:pt x="1343224" y="1042533"/>
                  <a:pt x="1042533" y="1343224"/>
                  <a:pt x="671612" y="1343224"/>
                </a:cubicBezTo>
                <a:cubicBezTo>
                  <a:pt x="300691" y="1343224"/>
                  <a:pt x="0" y="1042533"/>
                  <a:pt x="0" y="671612"/>
                </a:cubicBez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1000" tIns="231000" rIns="231000" bIns="231000" numCol="1" spcCol="1270" anchor="ctr" anchorCtr="0">
            <a:noAutofit/>
          </a:bodyPr>
          <a:lstStyle/>
          <a:p>
            <a:pPr marL="0" lvl="0" indent="0" algn="ctr" defTabSz="1200150">
              <a:lnSpc>
                <a:spcPct val="90000"/>
              </a:lnSpc>
              <a:spcBef>
                <a:spcPct val="0"/>
              </a:spcBef>
              <a:spcAft>
                <a:spcPct val="35000"/>
              </a:spcAft>
              <a:buNone/>
            </a:pPr>
            <a:endParaRPr lang="en-US" sz="2700" u="sng" kern="1200"/>
          </a:p>
        </p:txBody>
      </p:sp>
      <p:sp>
        <p:nvSpPr>
          <p:cNvPr id="17" name="Block Arc 16">
            <a:extLst>
              <a:ext uri="{FF2B5EF4-FFF2-40B4-BE49-F238E27FC236}">
                <a16:creationId xmlns:a16="http://schemas.microsoft.com/office/drawing/2014/main" id="{9054C23D-C218-4AC9-B965-600E99F2423D}"/>
              </a:ext>
            </a:extLst>
          </p:cNvPr>
          <p:cNvSpPr/>
          <p:nvPr/>
        </p:nvSpPr>
        <p:spPr>
          <a:xfrm>
            <a:off x="883086" y="5605782"/>
            <a:ext cx="770925" cy="770925"/>
          </a:xfrm>
          <a:prstGeom prst="blockArc">
            <a:avLst>
              <a:gd name="adj1" fmla="val 5400000"/>
              <a:gd name="adj2" fmla="val 10800000"/>
              <a:gd name="adj3" fmla="val 4644"/>
            </a:avLst>
          </a:prstGeom>
        </p:spPr>
        <p:style>
          <a:lnRef idx="2">
            <a:schemeClr val="dk1">
              <a:shade val="50000"/>
            </a:schemeClr>
          </a:lnRef>
          <a:fillRef idx="1">
            <a:schemeClr val="dk1"/>
          </a:fillRef>
          <a:effectRef idx="0">
            <a:schemeClr val="dk1"/>
          </a:effectRef>
          <a:fontRef idx="minor">
            <a:schemeClr val="lt1"/>
          </a:fontRef>
        </p:style>
      </p:sp>
      <p:grpSp>
        <p:nvGrpSpPr>
          <p:cNvPr id="6" name="Group 5">
            <a:extLst>
              <a:ext uri="{FF2B5EF4-FFF2-40B4-BE49-F238E27FC236}">
                <a16:creationId xmlns:a16="http://schemas.microsoft.com/office/drawing/2014/main" id="{F50C909E-2562-4CE2-A33C-F8096065A042}"/>
              </a:ext>
            </a:extLst>
          </p:cNvPr>
          <p:cNvGrpSpPr/>
          <p:nvPr/>
        </p:nvGrpSpPr>
        <p:grpSpPr>
          <a:xfrm>
            <a:off x="883086" y="5605782"/>
            <a:ext cx="770925" cy="770925"/>
            <a:chOff x="883086" y="5605782"/>
            <a:chExt cx="770925" cy="770925"/>
          </a:xfrm>
        </p:grpSpPr>
        <p:sp>
          <p:nvSpPr>
            <p:cNvPr id="18" name="Block Arc 17">
              <a:extLst>
                <a:ext uri="{FF2B5EF4-FFF2-40B4-BE49-F238E27FC236}">
                  <a16:creationId xmlns:a16="http://schemas.microsoft.com/office/drawing/2014/main" id="{BD12C49D-956B-45CB-A408-B0B4D9B869D0}"/>
                </a:ext>
              </a:extLst>
            </p:cNvPr>
            <p:cNvSpPr/>
            <p:nvPr/>
          </p:nvSpPr>
          <p:spPr>
            <a:xfrm>
              <a:off x="883086" y="5605782"/>
              <a:ext cx="770925" cy="770925"/>
            </a:xfrm>
            <a:prstGeom prst="blockArc">
              <a:avLst>
                <a:gd name="adj1" fmla="val 0"/>
                <a:gd name="adj2" fmla="val 5400000"/>
                <a:gd name="adj3" fmla="val 4644"/>
              </a:avLst>
            </a:prstGeom>
          </p:spPr>
          <p:style>
            <a:lnRef idx="2">
              <a:schemeClr val="dk1">
                <a:shade val="50000"/>
              </a:schemeClr>
            </a:lnRef>
            <a:fillRef idx="1">
              <a:schemeClr val="dk1"/>
            </a:fillRef>
            <a:effectRef idx="0">
              <a:schemeClr val="dk1"/>
            </a:effectRef>
            <a:fontRef idx="minor">
              <a:schemeClr val="lt1"/>
            </a:fontRef>
          </p:style>
        </p:sp>
        <p:grpSp>
          <p:nvGrpSpPr>
            <p:cNvPr id="5" name="Group 4">
              <a:extLst>
                <a:ext uri="{FF2B5EF4-FFF2-40B4-BE49-F238E27FC236}">
                  <a16:creationId xmlns:a16="http://schemas.microsoft.com/office/drawing/2014/main" id="{C3490F83-F247-41FD-B8AA-B3A87844554E}"/>
                </a:ext>
              </a:extLst>
            </p:cNvPr>
            <p:cNvGrpSpPr/>
            <p:nvPr/>
          </p:nvGrpSpPr>
          <p:grpSpPr>
            <a:xfrm>
              <a:off x="883086" y="5605782"/>
              <a:ext cx="770925" cy="770925"/>
              <a:chOff x="883086" y="5605782"/>
              <a:chExt cx="770925" cy="770925"/>
            </a:xfrm>
          </p:grpSpPr>
          <p:sp>
            <p:nvSpPr>
              <p:cNvPr id="16" name="Block Arc 15">
                <a:extLst>
                  <a:ext uri="{FF2B5EF4-FFF2-40B4-BE49-F238E27FC236}">
                    <a16:creationId xmlns:a16="http://schemas.microsoft.com/office/drawing/2014/main" id="{85DEAC36-2A86-4D3B-880A-7314D37D2D77}"/>
                  </a:ext>
                </a:extLst>
              </p:cNvPr>
              <p:cNvSpPr/>
              <p:nvPr/>
            </p:nvSpPr>
            <p:spPr>
              <a:xfrm>
                <a:off x="883086" y="5605782"/>
                <a:ext cx="770925" cy="770925"/>
              </a:xfrm>
              <a:prstGeom prst="blockArc">
                <a:avLst>
                  <a:gd name="adj1" fmla="val 10800000"/>
                  <a:gd name="adj2" fmla="val 16200000"/>
                  <a:gd name="adj3" fmla="val 4644"/>
                </a:avLst>
              </a:prstGeom>
            </p:spPr>
            <p:style>
              <a:lnRef idx="2">
                <a:schemeClr val="dk1">
                  <a:shade val="50000"/>
                </a:schemeClr>
              </a:lnRef>
              <a:fillRef idx="1">
                <a:schemeClr val="dk1"/>
              </a:fillRef>
              <a:effectRef idx="0">
                <a:schemeClr val="dk1"/>
              </a:effectRef>
              <a:fontRef idx="minor">
                <a:schemeClr val="lt1"/>
              </a:fontRef>
            </p:style>
          </p:sp>
          <p:sp>
            <p:nvSpPr>
              <p:cNvPr id="19" name="Block Arc 18">
                <a:extLst>
                  <a:ext uri="{FF2B5EF4-FFF2-40B4-BE49-F238E27FC236}">
                    <a16:creationId xmlns:a16="http://schemas.microsoft.com/office/drawing/2014/main" id="{086D8D96-F837-4670-8C40-22D71A3C5DCB}"/>
                  </a:ext>
                </a:extLst>
              </p:cNvPr>
              <p:cNvSpPr/>
              <p:nvPr/>
            </p:nvSpPr>
            <p:spPr>
              <a:xfrm>
                <a:off x="883086" y="5605782"/>
                <a:ext cx="770925" cy="770925"/>
              </a:xfrm>
              <a:prstGeom prst="blockArc">
                <a:avLst>
                  <a:gd name="adj1" fmla="val 16200000"/>
                  <a:gd name="adj2" fmla="val 0"/>
                  <a:gd name="adj3" fmla="val 4644"/>
                </a:avLst>
              </a:prstGeom>
            </p:spPr>
            <p:style>
              <a:lnRef idx="2">
                <a:schemeClr val="dk1">
                  <a:shade val="50000"/>
                </a:schemeClr>
              </a:lnRef>
              <a:fillRef idx="1">
                <a:schemeClr val="dk1"/>
              </a:fillRef>
              <a:effectRef idx="0">
                <a:schemeClr val="dk1"/>
              </a:effectRef>
              <a:fontRef idx="minor">
                <a:schemeClr val="lt1"/>
              </a:fontRef>
            </p:style>
          </p:sp>
        </p:grpSp>
      </p:grpSp>
      <p:sp>
        <p:nvSpPr>
          <p:cNvPr id="20" name="Freeform: Shape 19">
            <a:extLst>
              <a:ext uri="{FF2B5EF4-FFF2-40B4-BE49-F238E27FC236}">
                <a16:creationId xmlns:a16="http://schemas.microsoft.com/office/drawing/2014/main" id="{3F659D05-2356-46E2-81D5-0974FF76A8B1}"/>
              </a:ext>
            </a:extLst>
          </p:cNvPr>
          <p:cNvSpPr/>
          <p:nvPr/>
        </p:nvSpPr>
        <p:spPr>
          <a:xfrm>
            <a:off x="1540479" y="5871423"/>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21" name="Freeform: Shape 20">
            <a:extLst>
              <a:ext uri="{FF2B5EF4-FFF2-40B4-BE49-F238E27FC236}">
                <a16:creationId xmlns:a16="http://schemas.microsoft.com/office/drawing/2014/main" id="{63293B98-3648-4CB8-9164-B62EB42E680A}"/>
              </a:ext>
            </a:extLst>
          </p:cNvPr>
          <p:cNvSpPr/>
          <p:nvPr/>
        </p:nvSpPr>
        <p:spPr>
          <a:xfrm>
            <a:off x="1144238" y="5501997"/>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22" name="Freeform: Shape 21">
            <a:extLst>
              <a:ext uri="{FF2B5EF4-FFF2-40B4-BE49-F238E27FC236}">
                <a16:creationId xmlns:a16="http://schemas.microsoft.com/office/drawing/2014/main" id="{B2486D87-873F-4A81-B5A0-B5ADFA9CC6F8}"/>
              </a:ext>
            </a:extLst>
          </p:cNvPr>
          <p:cNvSpPr/>
          <p:nvPr/>
        </p:nvSpPr>
        <p:spPr>
          <a:xfrm>
            <a:off x="1144239" y="6231873"/>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23" name="Freeform: Shape 22">
            <a:extLst>
              <a:ext uri="{FF2B5EF4-FFF2-40B4-BE49-F238E27FC236}">
                <a16:creationId xmlns:a16="http://schemas.microsoft.com/office/drawing/2014/main" id="{FEC805E4-A7CF-407E-98F8-2A657879FF23}"/>
              </a:ext>
            </a:extLst>
          </p:cNvPr>
          <p:cNvSpPr/>
          <p:nvPr/>
        </p:nvSpPr>
        <p:spPr>
          <a:xfrm>
            <a:off x="769553" y="5871423"/>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25" name="Rectangle 24">
            <a:extLst>
              <a:ext uri="{FF2B5EF4-FFF2-40B4-BE49-F238E27FC236}">
                <a16:creationId xmlns:a16="http://schemas.microsoft.com/office/drawing/2014/main" id="{16FF97E2-2A5F-4E4F-ADB2-3D328589C5E6}"/>
              </a:ext>
            </a:extLst>
          </p:cNvPr>
          <p:cNvSpPr/>
          <p:nvPr/>
        </p:nvSpPr>
        <p:spPr>
          <a:xfrm>
            <a:off x="-2217906" y="2229036"/>
            <a:ext cx="2188722" cy="923330"/>
          </a:xfrm>
          <a:prstGeom prst="rect">
            <a:avLst/>
          </a:prstGeom>
          <a:noFill/>
          <a:ln w="19050">
            <a:solidFill>
              <a:srgbClr val="FF0000"/>
            </a:solidFill>
          </a:ln>
          <a:effectLst/>
          <a:scene3d>
            <a:camera prst="orthographicFront"/>
            <a:lightRig rig="soft" dir="t">
              <a:rot lat="0" lon="0" rev="15600000"/>
            </a:lightRig>
          </a:scene3d>
          <a:sp3d>
            <a:bevelT/>
          </a:sp3d>
        </p:spPr>
        <p:txBody>
          <a:bodyPr wrap="square" lIns="91440" tIns="45720" rIns="91440" bIns="45720">
            <a:spAutoFit/>
            <a:sp3d extrusionH="57150" prstMaterial="softEdge">
              <a:bevelT w="25400" h="38100"/>
            </a:sp3d>
          </a:bodyPr>
          <a:lstStyle/>
          <a:p>
            <a:pPr algn="ctr"/>
            <a:r>
              <a:rPr lang="en-US" sz="5400" dirty="0">
                <a:ln w="0"/>
                <a:gradFill>
                  <a:gsLst>
                    <a:gs pos="21000">
                      <a:srgbClr val="53575C"/>
                    </a:gs>
                    <a:gs pos="88000">
                      <a:srgbClr val="C5C7CA"/>
                    </a:gs>
                  </a:gsLst>
                  <a:lin ang="5400000"/>
                </a:gradFill>
              </a:rPr>
              <a:t>Doors</a:t>
            </a:r>
          </a:p>
        </p:txBody>
      </p:sp>
      <p:sp>
        <p:nvSpPr>
          <p:cNvPr id="26" name="Oval 25">
            <a:extLst>
              <a:ext uri="{FF2B5EF4-FFF2-40B4-BE49-F238E27FC236}">
                <a16:creationId xmlns:a16="http://schemas.microsoft.com/office/drawing/2014/main" id="{00D6E551-3E64-49D9-986F-0A8AB8583285}"/>
              </a:ext>
            </a:extLst>
          </p:cNvPr>
          <p:cNvSpPr/>
          <p:nvPr/>
        </p:nvSpPr>
        <p:spPr>
          <a:xfrm>
            <a:off x="684926" y="5407835"/>
            <a:ext cx="1259840" cy="1274086"/>
          </a:xfrm>
          <a:prstGeom prst="ellipse">
            <a:avLst/>
          </a:prstGeom>
          <a:solidFill>
            <a:srgbClr val="1A1D24"/>
          </a:solidFill>
          <a:ln>
            <a:noFill/>
          </a:ln>
        </p:spPr>
        <p:style>
          <a:lnRef idx="2">
            <a:schemeClr val="accent4"/>
          </a:lnRef>
          <a:fillRef idx="1">
            <a:schemeClr val="lt1"/>
          </a:fillRef>
          <a:effectRef idx="0">
            <a:schemeClr val="accent4"/>
          </a:effectRef>
          <a:fontRef idx="minor">
            <a:schemeClr val="dk1"/>
          </a:fontRef>
        </p:style>
        <p:txBody>
          <a:bodyPr lIns="73152" tIns="73152" rIns="73152" bIns="73152" numCol="1" rtlCol="0" anchor="ctr"/>
          <a:lstStyle/>
          <a:p>
            <a:pPr algn="ctr"/>
            <a:endParaRPr lang="en-US" sz="1000" kern="0" dirty="0" err="1">
              <a:solidFill>
                <a:schemeClr val="tx1"/>
              </a:solidFill>
            </a:endParaRPr>
          </a:p>
        </p:txBody>
      </p:sp>
    </p:spTree>
    <p:extLst>
      <p:ext uri="{BB962C8B-B14F-4D97-AF65-F5344CB8AC3E}">
        <p14:creationId xmlns:p14="http://schemas.microsoft.com/office/powerpoint/2010/main" val="327672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grpId="0" nodeType="withEffect">
                                  <p:stCondLst>
                                    <p:cond delay="0"/>
                                  </p:stCondLst>
                                  <p:childTnLst>
                                    <p:animMotion origin="layout" path="M -0.08243 -0.00602 L 0.38268 -0.00717 " pathEditMode="relative" rAng="0" ptsTypes="AA">
                                      <p:cBhvr>
                                        <p:cTn id="6" dur="2000" fill="hold"/>
                                        <p:tgtEl>
                                          <p:spTgt spid="25"/>
                                        </p:tgtEl>
                                        <p:attrNameLst>
                                          <p:attrName>ppt_x</p:attrName>
                                          <p:attrName>ppt_y</p:attrName>
                                        </p:attrNameLst>
                                      </p:cBhvr>
                                      <p:rCtr x="23255" y="-69"/>
                                    </p:animMotion>
                                  </p:childTnLst>
                                </p:cTn>
                              </p:par>
                              <p:par>
                                <p:cTn id="7" presetID="10" presetClass="exit" presetSubtype="0" fill="hold" grpId="0" nodeType="withEffect">
                                  <p:stCondLst>
                                    <p:cond delay="0"/>
                                  </p:stCondLst>
                                  <p:childTnLst>
                                    <p:animEffect transition="out" filter="fade">
                                      <p:cBhvr>
                                        <p:cTn id="8" dur="500"/>
                                        <p:tgtEl>
                                          <p:spTgt spid="26"/>
                                        </p:tgtEl>
                                      </p:cBhvr>
                                    </p:animEffect>
                                    <p:set>
                                      <p:cBhvr>
                                        <p:cTn id="9" dur="1" fill="hold">
                                          <p:stCondLst>
                                            <p:cond delay="499"/>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540D221E-6DBA-40D7-8938-0EC12A9776F7}"/>
              </a:ext>
            </a:extLst>
          </p:cNvPr>
          <p:cNvSpPr/>
          <p:nvPr/>
        </p:nvSpPr>
        <p:spPr>
          <a:xfrm>
            <a:off x="6678592" y="813122"/>
            <a:ext cx="5339787" cy="5231755"/>
          </a:xfrm>
          <a:custGeom>
            <a:avLst/>
            <a:gdLst>
              <a:gd name="connsiteX0" fmla="*/ 0 w 1343223"/>
              <a:gd name="connsiteY0" fmla="*/ 671612 h 1343223"/>
              <a:gd name="connsiteX1" fmla="*/ 671612 w 1343223"/>
              <a:gd name="connsiteY1" fmla="*/ 0 h 1343223"/>
              <a:gd name="connsiteX2" fmla="*/ 1343224 w 1343223"/>
              <a:gd name="connsiteY2" fmla="*/ 671612 h 1343223"/>
              <a:gd name="connsiteX3" fmla="*/ 671612 w 1343223"/>
              <a:gd name="connsiteY3" fmla="*/ 1343224 h 1343223"/>
              <a:gd name="connsiteX4" fmla="*/ 0 w 1343223"/>
              <a:gd name="connsiteY4" fmla="*/ 671612 h 1343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23" h="1343223">
                <a:moveTo>
                  <a:pt x="0" y="671612"/>
                </a:moveTo>
                <a:cubicBezTo>
                  <a:pt x="0" y="300691"/>
                  <a:pt x="300691" y="0"/>
                  <a:pt x="671612" y="0"/>
                </a:cubicBezTo>
                <a:cubicBezTo>
                  <a:pt x="1042533" y="0"/>
                  <a:pt x="1343224" y="300691"/>
                  <a:pt x="1343224" y="671612"/>
                </a:cubicBezTo>
                <a:cubicBezTo>
                  <a:pt x="1343224" y="1042533"/>
                  <a:pt x="1042533" y="1343224"/>
                  <a:pt x="671612" y="1343224"/>
                </a:cubicBezTo>
                <a:cubicBezTo>
                  <a:pt x="300691" y="1343224"/>
                  <a:pt x="0" y="1042533"/>
                  <a:pt x="0" y="671612"/>
                </a:cubicBez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1000" tIns="231000" rIns="231000" bIns="231000" numCol="1" spcCol="1270" anchor="ctr" anchorCtr="0">
            <a:noAutofit/>
          </a:bodyPr>
          <a:lstStyle/>
          <a:p>
            <a:pPr marL="0" lvl="0" indent="0" algn="ctr" defTabSz="1200150">
              <a:lnSpc>
                <a:spcPct val="90000"/>
              </a:lnSpc>
              <a:spcBef>
                <a:spcPct val="0"/>
              </a:spcBef>
              <a:spcAft>
                <a:spcPct val="35000"/>
              </a:spcAft>
              <a:buNone/>
            </a:pPr>
            <a:endParaRPr lang="en-US" sz="2700" u="sng" kern="1200"/>
          </a:p>
        </p:txBody>
      </p:sp>
      <p:grpSp>
        <p:nvGrpSpPr>
          <p:cNvPr id="5" name="Group 4">
            <a:extLst>
              <a:ext uri="{FF2B5EF4-FFF2-40B4-BE49-F238E27FC236}">
                <a16:creationId xmlns:a16="http://schemas.microsoft.com/office/drawing/2014/main" id="{8BF03881-F299-444B-8045-3B3AA1191511}"/>
              </a:ext>
            </a:extLst>
          </p:cNvPr>
          <p:cNvGrpSpPr/>
          <p:nvPr/>
        </p:nvGrpSpPr>
        <p:grpSpPr>
          <a:xfrm>
            <a:off x="883086" y="5605782"/>
            <a:ext cx="770925" cy="770925"/>
            <a:chOff x="883086" y="5605782"/>
            <a:chExt cx="770925" cy="770925"/>
          </a:xfrm>
        </p:grpSpPr>
        <p:sp>
          <p:nvSpPr>
            <p:cNvPr id="7" name="Block Arc 6">
              <a:extLst>
                <a:ext uri="{FF2B5EF4-FFF2-40B4-BE49-F238E27FC236}">
                  <a16:creationId xmlns:a16="http://schemas.microsoft.com/office/drawing/2014/main" id="{7356C03E-2060-49BE-A3F6-588EE0337DFA}"/>
                </a:ext>
              </a:extLst>
            </p:cNvPr>
            <p:cNvSpPr/>
            <p:nvPr/>
          </p:nvSpPr>
          <p:spPr>
            <a:xfrm>
              <a:off x="883086" y="5605782"/>
              <a:ext cx="770925" cy="770925"/>
            </a:xfrm>
            <a:prstGeom prst="blockArc">
              <a:avLst>
                <a:gd name="adj1" fmla="val 5400000"/>
                <a:gd name="adj2" fmla="val 10800000"/>
                <a:gd name="adj3" fmla="val 4644"/>
              </a:avLst>
            </a:prstGeom>
          </p:spPr>
          <p:style>
            <a:lnRef idx="2">
              <a:schemeClr val="dk1">
                <a:shade val="50000"/>
              </a:schemeClr>
            </a:lnRef>
            <a:fillRef idx="1">
              <a:schemeClr val="dk1"/>
            </a:fillRef>
            <a:effectRef idx="0">
              <a:schemeClr val="dk1"/>
            </a:effectRef>
            <a:fontRef idx="minor">
              <a:schemeClr val="lt1"/>
            </a:fontRef>
          </p:style>
        </p:sp>
        <p:grpSp>
          <p:nvGrpSpPr>
            <p:cNvPr id="3" name="Group 2">
              <a:extLst>
                <a:ext uri="{FF2B5EF4-FFF2-40B4-BE49-F238E27FC236}">
                  <a16:creationId xmlns:a16="http://schemas.microsoft.com/office/drawing/2014/main" id="{65F23366-0C2C-4122-9C83-D88CB1B1E3DB}"/>
                </a:ext>
              </a:extLst>
            </p:cNvPr>
            <p:cNvGrpSpPr/>
            <p:nvPr/>
          </p:nvGrpSpPr>
          <p:grpSpPr>
            <a:xfrm>
              <a:off x="883086" y="5605782"/>
              <a:ext cx="770925" cy="770925"/>
              <a:chOff x="883086" y="5605782"/>
              <a:chExt cx="770925" cy="770925"/>
            </a:xfrm>
          </p:grpSpPr>
          <p:grpSp>
            <p:nvGrpSpPr>
              <p:cNvPr id="2" name="Group 1">
                <a:extLst>
                  <a:ext uri="{FF2B5EF4-FFF2-40B4-BE49-F238E27FC236}">
                    <a16:creationId xmlns:a16="http://schemas.microsoft.com/office/drawing/2014/main" id="{BC2C76AC-F97D-49E4-B6E7-4BC1C3805A92}"/>
                  </a:ext>
                </a:extLst>
              </p:cNvPr>
              <p:cNvGrpSpPr/>
              <p:nvPr/>
            </p:nvGrpSpPr>
            <p:grpSpPr>
              <a:xfrm>
                <a:off x="883086" y="5605782"/>
                <a:ext cx="770925" cy="770925"/>
                <a:chOff x="883086" y="5605782"/>
                <a:chExt cx="770925" cy="770925"/>
              </a:xfrm>
            </p:grpSpPr>
            <p:sp>
              <p:nvSpPr>
                <p:cNvPr id="6" name="Block Arc 5">
                  <a:extLst>
                    <a:ext uri="{FF2B5EF4-FFF2-40B4-BE49-F238E27FC236}">
                      <a16:creationId xmlns:a16="http://schemas.microsoft.com/office/drawing/2014/main" id="{F61FD79F-88EA-4ADE-84BB-1A1BC6A9FC16}"/>
                    </a:ext>
                  </a:extLst>
                </p:cNvPr>
                <p:cNvSpPr/>
                <p:nvPr/>
              </p:nvSpPr>
              <p:spPr>
                <a:xfrm>
                  <a:off x="883086" y="5605782"/>
                  <a:ext cx="770925" cy="770925"/>
                </a:xfrm>
                <a:prstGeom prst="blockArc">
                  <a:avLst>
                    <a:gd name="adj1" fmla="val 10800000"/>
                    <a:gd name="adj2" fmla="val 16200000"/>
                    <a:gd name="adj3" fmla="val 4644"/>
                  </a:avLst>
                </a:prstGeom>
              </p:spPr>
              <p:style>
                <a:lnRef idx="2">
                  <a:schemeClr val="dk1">
                    <a:shade val="50000"/>
                  </a:schemeClr>
                </a:lnRef>
                <a:fillRef idx="1">
                  <a:schemeClr val="dk1"/>
                </a:fillRef>
                <a:effectRef idx="0">
                  <a:schemeClr val="dk1"/>
                </a:effectRef>
                <a:fontRef idx="minor">
                  <a:schemeClr val="lt1"/>
                </a:fontRef>
              </p:style>
            </p:sp>
            <p:sp>
              <p:nvSpPr>
                <p:cNvPr id="10" name="Block Arc 9">
                  <a:extLst>
                    <a:ext uri="{FF2B5EF4-FFF2-40B4-BE49-F238E27FC236}">
                      <a16:creationId xmlns:a16="http://schemas.microsoft.com/office/drawing/2014/main" id="{DF891710-CD2F-468E-A6E7-500975A6714E}"/>
                    </a:ext>
                  </a:extLst>
                </p:cNvPr>
                <p:cNvSpPr/>
                <p:nvPr/>
              </p:nvSpPr>
              <p:spPr>
                <a:xfrm>
                  <a:off x="883086" y="5605782"/>
                  <a:ext cx="770925" cy="770925"/>
                </a:xfrm>
                <a:prstGeom prst="blockArc">
                  <a:avLst>
                    <a:gd name="adj1" fmla="val 16200000"/>
                    <a:gd name="adj2" fmla="val 0"/>
                    <a:gd name="adj3" fmla="val 4644"/>
                  </a:avLst>
                </a:prstGeom>
              </p:spPr>
              <p:style>
                <a:lnRef idx="2">
                  <a:schemeClr val="dk1">
                    <a:shade val="50000"/>
                  </a:schemeClr>
                </a:lnRef>
                <a:fillRef idx="1">
                  <a:schemeClr val="dk1"/>
                </a:fillRef>
                <a:effectRef idx="0">
                  <a:schemeClr val="dk1"/>
                </a:effectRef>
                <a:fontRef idx="minor">
                  <a:schemeClr val="lt1"/>
                </a:fontRef>
              </p:style>
            </p:sp>
          </p:grpSp>
          <p:sp>
            <p:nvSpPr>
              <p:cNvPr id="8" name="Block Arc 7">
                <a:extLst>
                  <a:ext uri="{FF2B5EF4-FFF2-40B4-BE49-F238E27FC236}">
                    <a16:creationId xmlns:a16="http://schemas.microsoft.com/office/drawing/2014/main" id="{A7AE41CA-F467-4EC7-BCF9-0D8FE31FCE0B}"/>
                  </a:ext>
                </a:extLst>
              </p:cNvPr>
              <p:cNvSpPr/>
              <p:nvPr/>
            </p:nvSpPr>
            <p:spPr>
              <a:xfrm>
                <a:off x="883086" y="5605782"/>
                <a:ext cx="770925" cy="770925"/>
              </a:xfrm>
              <a:prstGeom prst="blockArc">
                <a:avLst>
                  <a:gd name="adj1" fmla="val 0"/>
                  <a:gd name="adj2" fmla="val 5400000"/>
                  <a:gd name="adj3" fmla="val 4644"/>
                </a:avLst>
              </a:prstGeom>
            </p:spPr>
            <p:style>
              <a:lnRef idx="2">
                <a:schemeClr val="dk1">
                  <a:shade val="50000"/>
                </a:schemeClr>
              </a:lnRef>
              <a:fillRef idx="1">
                <a:schemeClr val="dk1"/>
              </a:fillRef>
              <a:effectRef idx="0">
                <a:schemeClr val="dk1"/>
              </a:effectRef>
              <a:fontRef idx="minor">
                <a:schemeClr val="lt1"/>
              </a:fontRef>
            </p:style>
          </p:sp>
        </p:grpSp>
      </p:grpSp>
      <p:sp>
        <p:nvSpPr>
          <p:cNvPr id="9" name="Freeform: Shape 8">
            <a:extLst>
              <a:ext uri="{FF2B5EF4-FFF2-40B4-BE49-F238E27FC236}">
                <a16:creationId xmlns:a16="http://schemas.microsoft.com/office/drawing/2014/main" id="{1C18B7B1-CB00-4600-B2B8-AB6FA6F05AAD}"/>
              </a:ext>
            </a:extLst>
          </p:cNvPr>
          <p:cNvSpPr/>
          <p:nvPr/>
        </p:nvSpPr>
        <p:spPr>
          <a:xfrm>
            <a:off x="1540479" y="5874848"/>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11" name="Freeform: Shape 10">
            <a:extLst>
              <a:ext uri="{FF2B5EF4-FFF2-40B4-BE49-F238E27FC236}">
                <a16:creationId xmlns:a16="http://schemas.microsoft.com/office/drawing/2014/main" id="{8895E6D7-144C-4644-ABD4-456148BD302D}"/>
              </a:ext>
            </a:extLst>
          </p:cNvPr>
          <p:cNvSpPr/>
          <p:nvPr/>
        </p:nvSpPr>
        <p:spPr>
          <a:xfrm>
            <a:off x="1158619" y="6204604"/>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12" name="Freeform: Shape 11">
            <a:extLst>
              <a:ext uri="{FF2B5EF4-FFF2-40B4-BE49-F238E27FC236}">
                <a16:creationId xmlns:a16="http://schemas.microsoft.com/office/drawing/2014/main" id="{B491FC14-799F-40AC-8B88-9755611855DF}"/>
              </a:ext>
            </a:extLst>
          </p:cNvPr>
          <p:cNvSpPr/>
          <p:nvPr/>
        </p:nvSpPr>
        <p:spPr>
          <a:xfrm>
            <a:off x="1154991" y="5516415"/>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13" name="Freeform: Shape 12">
            <a:extLst>
              <a:ext uri="{FF2B5EF4-FFF2-40B4-BE49-F238E27FC236}">
                <a16:creationId xmlns:a16="http://schemas.microsoft.com/office/drawing/2014/main" id="{B9FCB272-E6C7-4CED-A65F-3A1400B52938}"/>
              </a:ext>
            </a:extLst>
          </p:cNvPr>
          <p:cNvSpPr/>
          <p:nvPr/>
        </p:nvSpPr>
        <p:spPr>
          <a:xfrm>
            <a:off x="767726" y="5866935"/>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15" name="Rectangle 14">
            <a:extLst>
              <a:ext uri="{FF2B5EF4-FFF2-40B4-BE49-F238E27FC236}">
                <a16:creationId xmlns:a16="http://schemas.microsoft.com/office/drawing/2014/main" id="{520DA320-9E5E-41F4-B9EE-4063C3A931D0}"/>
              </a:ext>
            </a:extLst>
          </p:cNvPr>
          <p:cNvSpPr/>
          <p:nvPr/>
        </p:nvSpPr>
        <p:spPr>
          <a:xfrm>
            <a:off x="-2801073" y="2229036"/>
            <a:ext cx="2781617" cy="923330"/>
          </a:xfrm>
          <a:prstGeom prst="rect">
            <a:avLst/>
          </a:prstGeom>
          <a:noFill/>
          <a:ln w="19050">
            <a:solidFill>
              <a:srgbClr val="FF0000"/>
            </a:solidFill>
          </a:ln>
          <a:effectLst/>
          <a:scene3d>
            <a:camera prst="orthographicFront"/>
            <a:lightRig rig="soft" dir="t">
              <a:rot lat="0" lon="0" rev="15600000"/>
            </a:lightRig>
          </a:scene3d>
          <a:sp3d>
            <a:bevelT/>
          </a:sp3d>
        </p:spPr>
        <p:txBody>
          <a:bodyPr wrap="square" lIns="91440" tIns="45720" rIns="91440" bIns="45720">
            <a:spAutoFit/>
            <a:sp3d extrusionH="57150" prstMaterial="softEdge">
              <a:bevelT w="25400" h="38100"/>
            </a:sp3d>
          </a:bodyPr>
          <a:lstStyle/>
          <a:p>
            <a:pPr algn="ctr"/>
            <a:r>
              <a:rPr lang="en-US" sz="5400" dirty="0">
                <a:ln w="0"/>
                <a:gradFill>
                  <a:gsLst>
                    <a:gs pos="21000">
                      <a:srgbClr val="53575C"/>
                    </a:gs>
                    <a:gs pos="88000">
                      <a:srgbClr val="C5C7CA"/>
                    </a:gs>
                  </a:gsLst>
                  <a:lin ang="5400000"/>
                </a:gradFill>
              </a:rPr>
              <a:t>Bricks</a:t>
            </a:r>
          </a:p>
        </p:txBody>
      </p:sp>
      <p:sp>
        <p:nvSpPr>
          <p:cNvPr id="17" name="Oval 16">
            <a:extLst>
              <a:ext uri="{FF2B5EF4-FFF2-40B4-BE49-F238E27FC236}">
                <a16:creationId xmlns:a16="http://schemas.microsoft.com/office/drawing/2014/main" id="{F0C23404-586E-4F65-8109-24D16A930739}"/>
              </a:ext>
            </a:extLst>
          </p:cNvPr>
          <p:cNvSpPr/>
          <p:nvPr/>
        </p:nvSpPr>
        <p:spPr>
          <a:xfrm>
            <a:off x="638628" y="5407835"/>
            <a:ext cx="1259840" cy="1274086"/>
          </a:xfrm>
          <a:prstGeom prst="ellipse">
            <a:avLst/>
          </a:prstGeom>
          <a:solidFill>
            <a:srgbClr val="1A1D24"/>
          </a:solidFill>
          <a:ln>
            <a:noFill/>
          </a:ln>
        </p:spPr>
        <p:style>
          <a:lnRef idx="2">
            <a:schemeClr val="accent4"/>
          </a:lnRef>
          <a:fillRef idx="1">
            <a:schemeClr val="lt1"/>
          </a:fillRef>
          <a:effectRef idx="0">
            <a:schemeClr val="accent4"/>
          </a:effectRef>
          <a:fontRef idx="minor">
            <a:schemeClr val="dk1"/>
          </a:fontRef>
        </p:style>
        <p:txBody>
          <a:bodyPr lIns="73152" tIns="73152" rIns="73152" bIns="73152" numCol="1" rtlCol="0" anchor="ctr"/>
          <a:lstStyle/>
          <a:p>
            <a:pPr algn="ctr"/>
            <a:endParaRPr lang="en-US" sz="1000" kern="0" dirty="0" err="1">
              <a:solidFill>
                <a:schemeClr val="tx1"/>
              </a:solidFill>
            </a:endParaRPr>
          </a:p>
        </p:txBody>
      </p:sp>
    </p:spTree>
    <p:extLst>
      <p:ext uri="{BB962C8B-B14F-4D97-AF65-F5344CB8AC3E}">
        <p14:creationId xmlns:p14="http://schemas.microsoft.com/office/powerpoint/2010/main" val="27698734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grpId="0" nodeType="withEffect">
                                  <p:stCondLst>
                                    <p:cond delay="0"/>
                                  </p:stCondLst>
                                  <p:childTnLst>
                                    <p:animMotion origin="layout" path="M -0.08243 -0.00602 L 0.38268 -0.00717 " pathEditMode="relative" rAng="0" ptsTypes="AA">
                                      <p:cBhvr>
                                        <p:cTn id="6" dur="2000" fill="hold"/>
                                        <p:tgtEl>
                                          <p:spTgt spid="15"/>
                                        </p:tgtEl>
                                        <p:attrNameLst>
                                          <p:attrName>ppt_x</p:attrName>
                                          <p:attrName>ppt_y</p:attrName>
                                        </p:attrNameLst>
                                      </p:cBhvr>
                                      <p:rCtr x="23255" y="-69"/>
                                    </p:animMotion>
                                  </p:childTnLst>
                                </p:cTn>
                              </p:par>
                              <p:par>
                                <p:cTn id="7" presetID="10" presetClass="exit" presetSubtype="0" fill="hold" grpId="0" nodeType="withEffect">
                                  <p:stCondLst>
                                    <p:cond delay="0"/>
                                  </p:stCondLst>
                                  <p:childTnLst>
                                    <p:animEffect transition="out" filter="fade">
                                      <p:cBhvr>
                                        <p:cTn id="8" dur="500"/>
                                        <p:tgtEl>
                                          <p:spTgt spid="17"/>
                                        </p:tgtEl>
                                      </p:cBhvr>
                                    </p:animEffect>
                                    <p:set>
                                      <p:cBhvr>
                                        <p:cTn id="9"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82A19821-CA4C-4F98-B7DF-9648D10DFF02}"/>
              </a:ext>
            </a:extLst>
          </p:cNvPr>
          <p:cNvSpPr/>
          <p:nvPr/>
        </p:nvSpPr>
        <p:spPr>
          <a:xfrm>
            <a:off x="6620229" y="813122"/>
            <a:ext cx="5339788" cy="5231756"/>
          </a:xfrm>
          <a:custGeom>
            <a:avLst/>
            <a:gdLst>
              <a:gd name="connsiteX0" fmla="*/ 0 w 1343223"/>
              <a:gd name="connsiteY0" fmla="*/ 671612 h 1343223"/>
              <a:gd name="connsiteX1" fmla="*/ 671612 w 1343223"/>
              <a:gd name="connsiteY1" fmla="*/ 0 h 1343223"/>
              <a:gd name="connsiteX2" fmla="*/ 1343224 w 1343223"/>
              <a:gd name="connsiteY2" fmla="*/ 671612 h 1343223"/>
              <a:gd name="connsiteX3" fmla="*/ 671612 w 1343223"/>
              <a:gd name="connsiteY3" fmla="*/ 1343224 h 1343223"/>
              <a:gd name="connsiteX4" fmla="*/ 0 w 1343223"/>
              <a:gd name="connsiteY4" fmla="*/ 671612 h 1343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23" h="1343223">
                <a:moveTo>
                  <a:pt x="0" y="671612"/>
                </a:moveTo>
                <a:cubicBezTo>
                  <a:pt x="0" y="300691"/>
                  <a:pt x="300691" y="0"/>
                  <a:pt x="671612" y="0"/>
                </a:cubicBezTo>
                <a:cubicBezTo>
                  <a:pt x="1042533" y="0"/>
                  <a:pt x="1343224" y="300691"/>
                  <a:pt x="1343224" y="671612"/>
                </a:cubicBezTo>
                <a:cubicBezTo>
                  <a:pt x="1343224" y="1042533"/>
                  <a:pt x="1042533" y="1343224"/>
                  <a:pt x="671612" y="1343224"/>
                </a:cubicBezTo>
                <a:cubicBezTo>
                  <a:pt x="300691" y="1343224"/>
                  <a:pt x="0" y="1042533"/>
                  <a:pt x="0" y="671612"/>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1000" tIns="231000" rIns="231000" bIns="231000" numCol="1" spcCol="1270" anchor="ctr" anchorCtr="0">
            <a:noAutofit/>
          </a:bodyPr>
          <a:lstStyle/>
          <a:p>
            <a:pPr marL="0" lvl="0" indent="0" algn="ctr" defTabSz="1200150">
              <a:lnSpc>
                <a:spcPct val="90000"/>
              </a:lnSpc>
              <a:spcBef>
                <a:spcPct val="0"/>
              </a:spcBef>
              <a:spcAft>
                <a:spcPct val="35000"/>
              </a:spcAft>
              <a:buNone/>
            </a:pPr>
            <a:endParaRPr lang="en-US" sz="2700" u="sng" kern="1200"/>
          </a:p>
        </p:txBody>
      </p:sp>
      <p:sp>
        <p:nvSpPr>
          <p:cNvPr id="5" name="Rectangle 4">
            <a:extLst>
              <a:ext uri="{FF2B5EF4-FFF2-40B4-BE49-F238E27FC236}">
                <a16:creationId xmlns:a16="http://schemas.microsoft.com/office/drawing/2014/main" id="{2B608085-369D-4AB8-873B-71FAE1C3CD58}"/>
              </a:ext>
            </a:extLst>
          </p:cNvPr>
          <p:cNvSpPr/>
          <p:nvPr/>
        </p:nvSpPr>
        <p:spPr>
          <a:xfrm>
            <a:off x="-3541853" y="3092636"/>
            <a:ext cx="3522397" cy="923330"/>
          </a:xfrm>
          <a:prstGeom prst="rect">
            <a:avLst/>
          </a:prstGeom>
          <a:noFill/>
          <a:ln w="19050">
            <a:solidFill>
              <a:srgbClr val="FF0000"/>
            </a:solidFill>
          </a:ln>
          <a:effectLst/>
          <a:scene3d>
            <a:camera prst="orthographicFront"/>
            <a:lightRig rig="soft" dir="t">
              <a:rot lat="0" lon="0" rev="15600000"/>
            </a:lightRig>
          </a:scene3d>
          <a:sp3d>
            <a:bevelT/>
          </a:sp3d>
        </p:spPr>
        <p:txBody>
          <a:bodyPr wrap="square" lIns="91440" tIns="45720" rIns="91440" bIns="45720">
            <a:spAutoFit/>
            <a:sp3d extrusionH="57150" prstMaterial="softEdge">
              <a:bevelT w="25400" h="38100"/>
            </a:sp3d>
          </a:bodyPr>
          <a:lstStyle/>
          <a:p>
            <a:pPr algn="ctr"/>
            <a:r>
              <a:rPr lang="en-US" sz="5400" dirty="0">
                <a:ln w="0"/>
                <a:gradFill>
                  <a:gsLst>
                    <a:gs pos="21000">
                      <a:srgbClr val="53575C"/>
                    </a:gs>
                    <a:gs pos="88000">
                      <a:srgbClr val="C5C7CA"/>
                    </a:gs>
                  </a:gsLst>
                  <a:lin ang="5400000"/>
                </a:gradFill>
              </a:rPr>
              <a:t>Asphalt</a:t>
            </a:r>
          </a:p>
        </p:txBody>
      </p:sp>
      <p:grpSp>
        <p:nvGrpSpPr>
          <p:cNvPr id="16" name="Group 15">
            <a:extLst>
              <a:ext uri="{FF2B5EF4-FFF2-40B4-BE49-F238E27FC236}">
                <a16:creationId xmlns:a16="http://schemas.microsoft.com/office/drawing/2014/main" id="{540001F0-094E-4D8A-8B1F-B9A892911B0A}"/>
              </a:ext>
            </a:extLst>
          </p:cNvPr>
          <p:cNvGrpSpPr/>
          <p:nvPr/>
        </p:nvGrpSpPr>
        <p:grpSpPr>
          <a:xfrm>
            <a:off x="883086" y="5605782"/>
            <a:ext cx="770925" cy="770925"/>
            <a:chOff x="883086" y="5605782"/>
            <a:chExt cx="770925" cy="770925"/>
          </a:xfrm>
        </p:grpSpPr>
        <p:sp>
          <p:nvSpPr>
            <p:cNvPr id="7" name="Block Arc 6">
              <a:extLst>
                <a:ext uri="{FF2B5EF4-FFF2-40B4-BE49-F238E27FC236}">
                  <a16:creationId xmlns:a16="http://schemas.microsoft.com/office/drawing/2014/main" id="{453B8FE6-17F4-4ACB-8C12-5707DE9162CB}"/>
                </a:ext>
              </a:extLst>
            </p:cNvPr>
            <p:cNvSpPr/>
            <p:nvPr/>
          </p:nvSpPr>
          <p:spPr>
            <a:xfrm>
              <a:off x="883086" y="5605782"/>
              <a:ext cx="770925" cy="770925"/>
            </a:xfrm>
            <a:prstGeom prst="blockArc">
              <a:avLst>
                <a:gd name="adj1" fmla="val 5400000"/>
                <a:gd name="adj2" fmla="val 10800000"/>
                <a:gd name="adj3" fmla="val 4644"/>
              </a:avLst>
            </a:prstGeom>
          </p:spPr>
          <p:style>
            <a:lnRef idx="2">
              <a:schemeClr val="dk1">
                <a:shade val="50000"/>
              </a:schemeClr>
            </a:lnRef>
            <a:fillRef idx="1">
              <a:schemeClr val="dk1"/>
            </a:fillRef>
            <a:effectRef idx="0">
              <a:schemeClr val="dk1"/>
            </a:effectRef>
            <a:fontRef idx="minor">
              <a:schemeClr val="lt1"/>
            </a:fontRef>
          </p:style>
        </p:sp>
        <p:grpSp>
          <p:nvGrpSpPr>
            <p:cNvPr id="15" name="Group 14">
              <a:extLst>
                <a:ext uri="{FF2B5EF4-FFF2-40B4-BE49-F238E27FC236}">
                  <a16:creationId xmlns:a16="http://schemas.microsoft.com/office/drawing/2014/main" id="{7F96B1D0-3B4A-45A3-899B-D1089C12F2C1}"/>
                </a:ext>
              </a:extLst>
            </p:cNvPr>
            <p:cNvGrpSpPr/>
            <p:nvPr/>
          </p:nvGrpSpPr>
          <p:grpSpPr>
            <a:xfrm>
              <a:off x="883086" y="5605782"/>
              <a:ext cx="770925" cy="770925"/>
              <a:chOff x="883086" y="5605782"/>
              <a:chExt cx="770925" cy="770925"/>
            </a:xfrm>
          </p:grpSpPr>
          <p:grpSp>
            <p:nvGrpSpPr>
              <p:cNvPr id="4" name="Group 3">
                <a:extLst>
                  <a:ext uri="{FF2B5EF4-FFF2-40B4-BE49-F238E27FC236}">
                    <a16:creationId xmlns:a16="http://schemas.microsoft.com/office/drawing/2014/main" id="{74F137D9-1056-4955-A89D-C011B881C703}"/>
                  </a:ext>
                </a:extLst>
              </p:cNvPr>
              <p:cNvGrpSpPr/>
              <p:nvPr/>
            </p:nvGrpSpPr>
            <p:grpSpPr>
              <a:xfrm>
                <a:off x="883086" y="5605782"/>
                <a:ext cx="770925" cy="770925"/>
                <a:chOff x="883086" y="5605782"/>
                <a:chExt cx="770925" cy="770925"/>
              </a:xfrm>
            </p:grpSpPr>
            <p:sp>
              <p:nvSpPr>
                <p:cNvPr id="10" name="Block Arc 9">
                  <a:extLst>
                    <a:ext uri="{FF2B5EF4-FFF2-40B4-BE49-F238E27FC236}">
                      <a16:creationId xmlns:a16="http://schemas.microsoft.com/office/drawing/2014/main" id="{64B9BE0A-C4CF-495D-A0E8-5E5E66E5CC49}"/>
                    </a:ext>
                  </a:extLst>
                </p:cNvPr>
                <p:cNvSpPr/>
                <p:nvPr/>
              </p:nvSpPr>
              <p:spPr>
                <a:xfrm>
                  <a:off x="883086" y="5605782"/>
                  <a:ext cx="770925" cy="770925"/>
                </a:xfrm>
                <a:prstGeom prst="blockArc">
                  <a:avLst>
                    <a:gd name="adj1" fmla="val 16200000"/>
                    <a:gd name="adj2" fmla="val 0"/>
                    <a:gd name="adj3" fmla="val 4644"/>
                  </a:avLst>
                </a:prstGeom>
              </p:spPr>
              <p:style>
                <a:lnRef idx="2">
                  <a:schemeClr val="dk1">
                    <a:shade val="50000"/>
                  </a:schemeClr>
                </a:lnRef>
                <a:fillRef idx="1">
                  <a:schemeClr val="dk1"/>
                </a:fillRef>
                <a:effectRef idx="0">
                  <a:schemeClr val="dk1"/>
                </a:effectRef>
                <a:fontRef idx="minor">
                  <a:schemeClr val="lt1"/>
                </a:fontRef>
              </p:style>
            </p:sp>
            <p:sp>
              <p:nvSpPr>
                <p:cNvPr id="6" name="Block Arc 5">
                  <a:extLst>
                    <a:ext uri="{FF2B5EF4-FFF2-40B4-BE49-F238E27FC236}">
                      <a16:creationId xmlns:a16="http://schemas.microsoft.com/office/drawing/2014/main" id="{0EA3D45C-B822-4C53-920B-B5B13834E5DA}"/>
                    </a:ext>
                  </a:extLst>
                </p:cNvPr>
                <p:cNvSpPr/>
                <p:nvPr/>
              </p:nvSpPr>
              <p:spPr>
                <a:xfrm>
                  <a:off x="883086" y="5605782"/>
                  <a:ext cx="770925" cy="770925"/>
                </a:xfrm>
                <a:prstGeom prst="blockArc">
                  <a:avLst>
                    <a:gd name="adj1" fmla="val 10800000"/>
                    <a:gd name="adj2" fmla="val 16200000"/>
                    <a:gd name="adj3" fmla="val 4644"/>
                  </a:avLst>
                </a:prstGeom>
              </p:spPr>
              <p:style>
                <a:lnRef idx="2">
                  <a:schemeClr val="dk1">
                    <a:shade val="50000"/>
                  </a:schemeClr>
                </a:lnRef>
                <a:fillRef idx="1">
                  <a:schemeClr val="dk1"/>
                </a:fillRef>
                <a:effectRef idx="0">
                  <a:schemeClr val="dk1"/>
                </a:effectRef>
                <a:fontRef idx="minor">
                  <a:schemeClr val="lt1"/>
                </a:fontRef>
              </p:style>
            </p:sp>
          </p:grpSp>
          <p:sp>
            <p:nvSpPr>
              <p:cNvPr id="8" name="Block Arc 7">
                <a:extLst>
                  <a:ext uri="{FF2B5EF4-FFF2-40B4-BE49-F238E27FC236}">
                    <a16:creationId xmlns:a16="http://schemas.microsoft.com/office/drawing/2014/main" id="{5375A92D-3156-4536-B24E-05A6A2EAC5C9}"/>
                  </a:ext>
                </a:extLst>
              </p:cNvPr>
              <p:cNvSpPr/>
              <p:nvPr/>
            </p:nvSpPr>
            <p:spPr>
              <a:xfrm>
                <a:off x="883086" y="5605782"/>
                <a:ext cx="770925" cy="770925"/>
              </a:xfrm>
              <a:prstGeom prst="blockArc">
                <a:avLst>
                  <a:gd name="adj1" fmla="val 0"/>
                  <a:gd name="adj2" fmla="val 5400000"/>
                  <a:gd name="adj3" fmla="val 4644"/>
                </a:avLst>
              </a:prstGeom>
            </p:spPr>
            <p:style>
              <a:lnRef idx="2">
                <a:schemeClr val="dk1">
                  <a:shade val="50000"/>
                </a:schemeClr>
              </a:lnRef>
              <a:fillRef idx="1">
                <a:schemeClr val="dk1"/>
              </a:fillRef>
              <a:effectRef idx="0">
                <a:schemeClr val="dk1"/>
              </a:effectRef>
              <a:fontRef idx="minor">
                <a:schemeClr val="lt1"/>
              </a:fontRef>
            </p:style>
          </p:sp>
        </p:grpSp>
      </p:grpSp>
      <p:sp>
        <p:nvSpPr>
          <p:cNvPr id="9" name="Freeform: Shape 8">
            <a:extLst>
              <a:ext uri="{FF2B5EF4-FFF2-40B4-BE49-F238E27FC236}">
                <a16:creationId xmlns:a16="http://schemas.microsoft.com/office/drawing/2014/main" id="{F860EA98-DBDD-4E6F-B41C-178B16A1A451}"/>
              </a:ext>
            </a:extLst>
          </p:cNvPr>
          <p:cNvSpPr/>
          <p:nvPr/>
        </p:nvSpPr>
        <p:spPr>
          <a:xfrm>
            <a:off x="1540479" y="5874848"/>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11" name="Freeform: Shape 10">
            <a:extLst>
              <a:ext uri="{FF2B5EF4-FFF2-40B4-BE49-F238E27FC236}">
                <a16:creationId xmlns:a16="http://schemas.microsoft.com/office/drawing/2014/main" id="{D921C459-4624-4F1F-B394-EEABC92EE434}"/>
              </a:ext>
            </a:extLst>
          </p:cNvPr>
          <p:cNvSpPr/>
          <p:nvPr/>
        </p:nvSpPr>
        <p:spPr>
          <a:xfrm>
            <a:off x="767726" y="5874848"/>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12" name="Freeform: Shape 11">
            <a:extLst>
              <a:ext uri="{FF2B5EF4-FFF2-40B4-BE49-F238E27FC236}">
                <a16:creationId xmlns:a16="http://schemas.microsoft.com/office/drawing/2014/main" id="{9DD0EF25-65AA-4771-840F-830FB076C8F4}"/>
              </a:ext>
            </a:extLst>
          </p:cNvPr>
          <p:cNvSpPr/>
          <p:nvPr/>
        </p:nvSpPr>
        <p:spPr>
          <a:xfrm>
            <a:off x="1154991" y="5516415"/>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13" name="Freeform: Shape 12">
            <a:extLst>
              <a:ext uri="{FF2B5EF4-FFF2-40B4-BE49-F238E27FC236}">
                <a16:creationId xmlns:a16="http://schemas.microsoft.com/office/drawing/2014/main" id="{A4EA3630-DB1A-4464-8365-7AF57625B3F1}"/>
              </a:ext>
            </a:extLst>
          </p:cNvPr>
          <p:cNvSpPr/>
          <p:nvPr/>
        </p:nvSpPr>
        <p:spPr>
          <a:xfrm>
            <a:off x="1154991" y="6217455"/>
            <a:ext cx="248619" cy="248619"/>
          </a:xfrm>
          <a:custGeom>
            <a:avLst/>
            <a:gdLst>
              <a:gd name="connsiteX0" fmla="*/ 0 w 248619"/>
              <a:gd name="connsiteY0" fmla="*/ 124310 h 248619"/>
              <a:gd name="connsiteX1" fmla="*/ 124310 w 248619"/>
              <a:gd name="connsiteY1" fmla="*/ 0 h 248619"/>
              <a:gd name="connsiteX2" fmla="*/ 248620 w 248619"/>
              <a:gd name="connsiteY2" fmla="*/ 124310 h 248619"/>
              <a:gd name="connsiteX3" fmla="*/ 124310 w 248619"/>
              <a:gd name="connsiteY3" fmla="*/ 248620 h 248619"/>
              <a:gd name="connsiteX4" fmla="*/ 0 w 248619"/>
              <a:gd name="connsiteY4" fmla="*/ 124310 h 248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619" h="248619">
                <a:moveTo>
                  <a:pt x="0" y="124310"/>
                </a:moveTo>
                <a:cubicBezTo>
                  <a:pt x="0" y="55655"/>
                  <a:pt x="55655" y="0"/>
                  <a:pt x="124310" y="0"/>
                </a:cubicBezTo>
                <a:cubicBezTo>
                  <a:pt x="192965" y="0"/>
                  <a:pt x="248620" y="55655"/>
                  <a:pt x="248620" y="124310"/>
                </a:cubicBezTo>
                <a:cubicBezTo>
                  <a:pt x="248620" y="192965"/>
                  <a:pt x="192965" y="248620"/>
                  <a:pt x="124310" y="248620"/>
                </a:cubicBezTo>
                <a:cubicBezTo>
                  <a:pt x="55655" y="248620"/>
                  <a:pt x="0" y="192965"/>
                  <a:pt x="0" y="124310"/>
                </a:cubicBez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42759" tIns="42759" rIns="42759" bIns="42759" numCol="1" spcCol="1270" anchor="ctr" anchorCtr="0">
            <a:noAutofit/>
          </a:bodyPr>
          <a:lstStyle/>
          <a:p>
            <a:pPr marL="0" lvl="0" indent="0" algn="ctr" defTabSz="222250">
              <a:lnSpc>
                <a:spcPct val="90000"/>
              </a:lnSpc>
              <a:spcBef>
                <a:spcPct val="0"/>
              </a:spcBef>
              <a:spcAft>
                <a:spcPct val="35000"/>
              </a:spcAft>
              <a:buNone/>
            </a:pPr>
            <a:endParaRPr lang="en-US" sz="500" kern="1200"/>
          </a:p>
        </p:txBody>
      </p:sp>
      <p:sp>
        <p:nvSpPr>
          <p:cNvPr id="18" name="Oval 17">
            <a:extLst>
              <a:ext uri="{FF2B5EF4-FFF2-40B4-BE49-F238E27FC236}">
                <a16:creationId xmlns:a16="http://schemas.microsoft.com/office/drawing/2014/main" id="{A81808C5-5E91-48EA-8A33-FBD890E96987}"/>
              </a:ext>
            </a:extLst>
          </p:cNvPr>
          <p:cNvSpPr/>
          <p:nvPr/>
        </p:nvSpPr>
        <p:spPr>
          <a:xfrm>
            <a:off x="638628" y="5407835"/>
            <a:ext cx="1259840" cy="1274086"/>
          </a:xfrm>
          <a:prstGeom prst="ellipse">
            <a:avLst/>
          </a:prstGeom>
          <a:solidFill>
            <a:srgbClr val="1A1D24"/>
          </a:solidFill>
          <a:ln>
            <a:noFill/>
          </a:ln>
        </p:spPr>
        <p:style>
          <a:lnRef idx="2">
            <a:schemeClr val="accent4"/>
          </a:lnRef>
          <a:fillRef idx="1">
            <a:schemeClr val="lt1"/>
          </a:fillRef>
          <a:effectRef idx="0">
            <a:schemeClr val="accent4"/>
          </a:effectRef>
          <a:fontRef idx="minor">
            <a:schemeClr val="dk1"/>
          </a:fontRef>
        </p:style>
        <p:txBody>
          <a:bodyPr lIns="73152" tIns="73152" rIns="73152" bIns="73152" numCol="1" rtlCol="0" anchor="ctr"/>
          <a:lstStyle/>
          <a:p>
            <a:pPr algn="ctr"/>
            <a:endParaRPr lang="en-US" sz="1000" kern="0" dirty="0" err="1">
              <a:solidFill>
                <a:schemeClr val="tx1"/>
              </a:solidFill>
            </a:endParaRPr>
          </a:p>
        </p:txBody>
      </p:sp>
    </p:spTree>
    <p:extLst>
      <p:ext uri="{BB962C8B-B14F-4D97-AF65-F5344CB8AC3E}">
        <p14:creationId xmlns:p14="http://schemas.microsoft.com/office/powerpoint/2010/main" val="3897643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grpId="0" nodeType="withEffect">
                                  <p:stCondLst>
                                    <p:cond delay="0"/>
                                  </p:stCondLst>
                                  <p:childTnLst>
                                    <p:animMotion origin="layout" path="M -0.08243 -0.00602 L 0.38268 -0.00718 " pathEditMode="relative" rAng="0" ptsTypes="AA">
                                      <p:cBhvr>
                                        <p:cTn id="6" dur="2000" fill="hold"/>
                                        <p:tgtEl>
                                          <p:spTgt spid="5"/>
                                        </p:tgtEl>
                                        <p:attrNameLst>
                                          <p:attrName>ppt_x</p:attrName>
                                          <p:attrName>ppt_y</p:attrName>
                                        </p:attrNameLst>
                                      </p:cBhvr>
                                      <p:rCtr x="23255" y="-69"/>
                                    </p:animMotion>
                                  </p:childTnLst>
                                </p:cTn>
                              </p:par>
                              <p:par>
                                <p:cTn id="7" presetID="10" presetClass="exit" presetSubtype="0" fill="hold" grpId="0" nodeType="withEffect">
                                  <p:stCondLst>
                                    <p:cond delay="0"/>
                                  </p:stCondLst>
                                  <p:childTnLst>
                                    <p:animEffect transition="out" filter="fade">
                                      <p:cBhvr>
                                        <p:cTn id="8" dur="500"/>
                                        <p:tgtEl>
                                          <p:spTgt spid="18"/>
                                        </p:tgtEl>
                                      </p:cBhvr>
                                    </p:animEffect>
                                    <p:set>
                                      <p:cBhvr>
                                        <p:cTn id="9"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10000">
              <a:srgbClr val="7030A0"/>
            </a:gs>
            <a:gs pos="51000">
              <a:srgbClr val="7030A0"/>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graphicFrame>
        <p:nvGraphicFramePr>
          <p:cNvPr id="25" name="Chart 24">
            <a:extLst>
              <a:ext uri="{FF2B5EF4-FFF2-40B4-BE49-F238E27FC236}">
                <a16:creationId xmlns:a16="http://schemas.microsoft.com/office/drawing/2014/main" id="{E5597687-E5BB-45EA-8C81-6E683DEC8DAA}"/>
              </a:ext>
            </a:extLst>
          </p:cNvPr>
          <p:cNvGraphicFramePr/>
          <p:nvPr>
            <p:extLst>
              <p:ext uri="{D42A27DB-BD31-4B8C-83A1-F6EECF244321}">
                <p14:modId xmlns:p14="http://schemas.microsoft.com/office/powerpoint/2010/main" val="573717826"/>
              </p:ext>
            </p:extLst>
          </p:nvPr>
        </p:nvGraphicFramePr>
        <p:xfrm>
          <a:off x="1238877" y="135924"/>
          <a:ext cx="10401187" cy="67220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5903878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E73364AE-0783-44D6-A4A6-0E1757C18AA1}"/>
                  </a:ext>
                </a:extLst>
              </p:cNvPr>
              <p:cNvGraphicFramePr>
                <a:graphicFrameLocks noChangeAspect="1"/>
              </p:cNvGraphicFramePr>
              <p:nvPr>
                <p:extLst>
                  <p:ext uri="{D42A27DB-BD31-4B8C-83A1-F6EECF244321}">
                    <p14:modId xmlns:p14="http://schemas.microsoft.com/office/powerpoint/2010/main" val="3684858769"/>
                  </p:ext>
                </p:extLst>
              </p:nvPr>
            </p:nvGraphicFramePr>
            <p:xfrm>
              <a:off x="3956509" y="2501424"/>
              <a:ext cx="3852263" cy="2166898"/>
            </p:xfrm>
            <a:graphic>
              <a:graphicData uri="http://schemas.microsoft.com/office/powerpoint/2016/sectionzoom">
                <psez:sectionZm>
                  <psez:sectionZmObj sectionId="{19CE7E56-5B55-493C-9384-D4581003FBEE}">
                    <psez:zmPr id="{9B7FD18B-E3B8-48F1-802A-C068BE49D3DA}" transitionDur="1000">
                      <p166:blipFill xmlns:p166="http://schemas.microsoft.com/office/powerpoint/2016/6/main">
                        <a:blip r:embed="rId2"/>
                        <a:stretch>
                          <a:fillRect/>
                        </a:stretch>
                      </p166:blipFill>
                      <p166:spPr xmlns:p166="http://schemas.microsoft.com/office/powerpoint/2016/6/main">
                        <a:xfrm>
                          <a:off x="0" y="0"/>
                          <a:ext cx="3852263" cy="21668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ez:zmPr>
                  </psez:sectionZmObj>
                </psez:sectionZm>
              </a:graphicData>
            </a:graphic>
          </p:graphicFrame>
        </mc:Choice>
        <mc:Fallback xmlns="">
          <p:pic>
            <p:nvPicPr>
              <p:cNvPr id="5" name="Section Zoom 4">
                <a:hlinkClick r:id="rId3" action="ppaction://hlinksldjump"/>
                <a:extLst>
                  <a:ext uri="{FF2B5EF4-FFF2-40B4-BE49-F238E27FC236}">
                    <a16:creationId xmlns:a16="http://schemas.microsoft.com/office/drawing/2014/main" id="{E73364AE-0783-44D6-A4A6-0E1757C18AA1}"/>
                  </a:ext>
                </a:extLst>
              </p:cNvPr>
              <p:cNvPicPr>
                <a:picLocks noGrp="1" noRot="1" noChangeAspect="1" noMove="1" noResize="1" noEditPoints="1" noAdjustHandles="1" noChangeArrowheads="1" noChangeShapeType="1"/>
              </p:cNvPicPr>
              <p:nvPr/>
            </p:nvPicPr>
            <p:blipFill>
              <a:blip r:embed="rId4"/>
              <a:stretch>
                <a:fillRect/>
              </a:stretch>
            </p:blipFill>
            <p:spPr>
              <a:xfrm>
                <a:off x="3956509" y="2501424"/>
                <a:ext cx="3852263" cy="21668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ez="http://schemas.microsoft.com/office/powerpoint/2016/sectionzoom">
        <mc:Choice Requires="psez">
          <p:graphicFrame>
            <p:nvGraphicFramePr>
              <p:cNvPr id="7" name="Section Zoom 6">
                <a:extLst>
                  <a:ext uri="{FF2B5EF4-FFF2-40B4-BE49-F238E27FC236}">
                    <a16:creationId xmlns:a16="http://schemas.microsoft.com/office/drawing/2014/main" id="{16FFE7C7-6FF8-4C3F-8B05-AAFD2C3EB23B}"/>
                  </a:ext>
                </a:extLst>
              </p:cNvPr>
              <p:cNvGraphicFramePr>
                <a:graphicFrameLocks noChangeAspect="1"/>
              </p:cNvGraphicFramePr>
              <p:nvPr>
                <p:extLst>
                  <p:ext uri="{D42A27DB-BD31-4B8C-83A1-F6EECF244321}">
                    <p14:modId xmlns:p14="http://schemas.microsoft.com/office/powerpoint/2010/main" val="2329242671"/>
                  </p:ext>
                </p:extLst>
              </p:nvPr>
            </p:nvGraphicFramePr>
            <p:xfrm>
              <a:off x="621880" y="1465302"/>
              <a:ext cx="3039464" cy="1709698"/>
            </p:xfrm>
            <a:graphic>
              <a:graphicData uri="http://schemas.microsoft.com/office/powerpoint/2016/sectionzoom">
                <psez:sectionZm>
                  <psez:sectionZmObj sectionId="{E349C76C-020F-4FA7-B8DC-8B3A743E1A32}">
                    <psez:zmPr id="{C1E7DED5-87F5-4489-879C-A6BE4C6DC5C3}" transitionDur="1000">
                      <p166:blipFill xmlns:p166="http://schemas.microsoft.com/office/powerpoint/2016/6/main">
                        <a:blip r:embed="rId5"/>
                        <a:stretch>
                          <a:fillRect/>
                        </a:stretch>
                      </p166:blipFill>
                      <p166:spPr xmlns:p166="http://schemas.microsoft.com/office/powerpoint/2016/6/main">
                        <a:xfrm>
                          <a:off x="0" y="0"/>
                          <a:ext cx="3039464" cy="17096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ez:zmPr>
                  </psez:sectionZmObj>
                </psez:sectionZm>
              </a:graphicData>
            </a:graphic>
          </p:graphicFrame>
        </mc:Choice>
        <mc:Fallback xmlns="">
          <p:pic>
            <p:nvPicPr>
              <p:cNvPr id="7" name="Section Zoom 6">
                <a:hlinkClick r:id="rId6" action="ppaction://hlinksldjump"/>
                <a:extLst>
                  <a:ext uri="{FF2B5EF4-FFF2-40B4-BE49-F238E27FC236}">
                    <a16:creationId xmlns:a16="http://schemas.microsoft.com/office/drawing/2014/main" id="{16FFE7C7-6FF8-4C3F-8B05-AAFD2C3EB23B}"/>
                  </a:ext>
                </a:extLst>
              </p:cNvPr>
              <p:cNvPicPr>
                <a:picLocks noGrp="1" noRot="1" noChangeAspect="1" noMove="1" noResize="1" noEditPoints="1" noAdjustHandles="1" noChangeArrowheads="1" noChangeShapeType="1"/>
              </p:cNvPicPr>
              <p:nvPr/>
            </p:nvPicPr>
            <p:blipFill>
              <a:blip r:embed="rId7"/>
              <a:stretch>
                <a:fillRect/>
              </a:stretch>
            </p:blipFill>
            <p:spPr>
              <a:xfrm>
                <a:off x="621880" y="1465302"/>
                <a:ext cx="3039464" cy="17096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34C693D5-BA42-43CE-8C29-551A53A4CECA}"/>
                  </a:ext>
                </a:extLst>
              </p:cNvPr>
              <p:cNvGraphicFramePr>
                <a:graphicFrameLocks noChangeAspect="1"/>
              </p:cNvGraphicFramePr>
              <p:nvPr>
                <p:extLst>
                  <p:ext uri="{D42A27DB-BD31-4B8C-83A1-F6EECF244321}">
                    <p14:modId xmlns:p14="http://schemas.microsoft.com/office/powerpoint/2010/main" val="1598960272"/>
                  </p:ext>
                </p:extLst>
              </p:nvPr>
            </p:nvGraphicFramePr>
            <p:xfrm>
              <a:off x="673555" y="4109754"/>
              <a:ext cx="3039463" cy="1709698"/>
            </p:xfrm>
            <a:graphic>
              <a:graphicData uri="http://schemas.microsoft.com/office/powerpoint/2016/sectionzoom">
                <psez:sectionZm>
                  <psez:sectionZmObj sectionId="{D9577E53-9BCA-43B7-A476-45F029D73A76}">
                    <psez:zmPr id="{D02D52B4-6AA6-4D0F-95DB-F3E0EF5BE231}" transitionDur="1000">
                      <p166:blipFill xmlns:p166="http://schemas.microsoft.com/office/powerpoint/2016/6/main">
                        <a:blip r:embed="rId8"/>
                        <a:stretch>
                          <a:fillRect/>
                        </a:stretch>
                      </p166:blipFill>
                      <p166:spPr xmlns:p166="http://schemas.microsoft.com/office/powerpoint/2016/6/main">
                        <a:xfrm>
                          <a:off x="0" y="0"/>
                          <a:ext cx="3039463" cy="17096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ez:zmPr>
                  </psez:sectionZmObj>
                </psez:sectionZm>
              </a:graphicData>
            </a:graphic>
          </p:graphicFrame>
        </mc:Choice>
        <mc:Fallback xmlns="">
          <p:pic>
            <p:nvPicPr>
              <p:cNvPr id="9" name="Section Zoom 8">
                <a:hlinkClick r:id="rId9" action="ppaction://hlinksldjump"/>
                <a:extLst>
                  <a:ext uri="{FF2B5EF4-FFF2-40B4-BE49-F238E27FC236}">
                    <a16:creationId xmlns:a16="http://schemas.microsoft.com/office/drawing/2014/main" id="{34C693D5-BA42-43CE-8C29-551A53A4CECA}"/>
                  </a:ext>
                </a:extLst>
              </p:cNvPr>
              <p:cNvPicPr>
                <a:picLocks noGrp="1" noRot="1" noChangeAspect="1" noMove="1" noResize="1" noEditPoints="1" noAdjustHandles="1" noChangeArrowheads="1" noChangeShapeType="1"/>
              </p:cNvPicPr>
              <p:nvPr/>
            </p:nvPicPr>
            <p:blipFill>
              <a:blip r:embed="rId10"/>
              <a:stretch>
                <a:fillRect/>
              </a:stretch>
            </p:blipFill>
            <p:spPr>
              <a:xfrm>
                <a:off x="673555" y="4109754"/>
                <a:ext cx="3039463" cy="17096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9D7B5E7C-157B-405D-AD80-FC86E2715A3E}"/>
                  </a:ext>
                </a:extLst>
              </p:cNvPr>
              <p:cNvGraphicFramePr>
                <a:graphicFrameLocks noChangeAspect="1"/>
              </p:cNvGraphicFramePr>
              <p:nvPr>
                <p:extLst>
                  <p:ext uri="{D42A27DB-BD31-4B8C-83A1-F6EECF244321}">
                    <p14:modId xmlns:p14="http://schemas.microsoft.com/office/powerpoint/2010/main" val="1610271723"/>
                  </p:ext>
                </p:extLst>
              </p:nvPr>
            </p:nvGraphicFramePr>
            <p:xfrm>
              <a:off x="8103938" y="4109754"/>
              <a:ext cx="3035807" cy="1709698"/>
            </p:xfrm>
            <a:graphic>
              <a:graphicData uri="http://schemas.microsoft.com/office/powerpoint/2016/sectionzoom">
                <psez:sectionZm>
                  <psez:sectionZmObj sectionId="{90BED619-649A-484C-83F2-9F7878E83001}">
                    <psez:zmPr id="{63619E5F-9BBA-4914-BD36-CDE77B4CCCF9}" transitionDur="1000">
                      <p166:blipFill xmlns:p166="http://schemas.microsoft.com/office/powerpoint/2016/6/main">
                        <a:blip r:embed="rId11"/>
                        <a:stretch>
                          <a:fillRect/>
                        </a:stretch>
                      </p166:blipFill>
                      <p166:spPr xmlns:p166="http://schemas.microsoft.com/office/powerpoint/2016/6/main">
                        <a:xfrm>
                          <a:off x="0" y="0"/>
                          <a:ext cx="3035807" cy="17096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ez:zmPr>
                  </psez:sectionZmObj>
                </psez:sectionZm>
              </a:graphicData>
            </a:graphic>
          </p:graphicFrame>
        </mc:Choice>
        <mc:Fallback xmlns="">
          <p:pic>
            <p:nvPicPr>
              <p:cNvPr id="13" name="Section Zoom 12">
                <a:hlinkClick r:id="rId12" action="ppaction://hlinksldjump"/>
                <a:extLst>
                  <a:ext uri="{FF2B5EF4-FFF2-40B4-BE49-F238E27FC236}">
                    <a16:creationId xmlns:a16="http://schemas.microsoft.com/office/drawing/2014/main" id="{9D7B5E7C-157B-405D-AD80-FC86E2715A3E}"/>
                  </a:ext>
                </a:extLst>
              </p:cNvPr>
              <p:cNvPicPr>
                <a:picLocks noGrp="1" noRot="1" noChangeAspect="1" noMove="1" noResize="1" noEditPoints="1" noAdjustHandles="1" noChangeArrowheads="1" noChangeShapeType="1"/>
              </p:cNvPicPr>
              <p:nvPr/>
            </p:nvPicPr>
            <p:blipFill>
              <a:blip r:embed="rId13"/>
              <a:stretch>
                <a:fillRect/>
              </a:stretch>
            </p:blipFill>
            <p:spPr>
              <a:xfrm>
                <a:off x="8103938" y="4109754"/>
                <a:ext cx="3035807" cy="17096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sp>
        <p:nvSpPr>
          <p:cNvPr id="14" name="TextBox 13">
            <a:extLst>
              <a:ext uri="{FF2B5EF4-FFF2-40B4-BE49-F238E27FC236}">
                <a16:creationId xmlns:a16="http://schemas.microsoft.com/office/drawing/2014/main" id="{BEEB3875-3923-41E8-A8DB-DD31B561B380}"/>
              </a:ext>
            </a:extLst>
          </p:cNvPr>
          <p:cNvSpPr txBox="1"/>
          <p:nvPr/>
        </p:nvSpPr>
        <p:spPr>
          <a:xfrm>
            <a:off x="4995090" y="514847"/>
            <a:ext cx="1740989" cy="369332"/>
          </a:xfrm>
          <a:prstGeom prst="rect">
            <a:avLst/>
          </a:prstGeom>
          <a:noFill/>
        </p:spPr>
        <p:txBody>
          <a:bodyPr wrap="square" lIns="0" tIns="0" rIns="0" bIns="0" numCol="1" rtlCol="0">
            <a:spAutoFit/>
          </a:bodyPr>
          <a:lstStyle>
            <a:defPPr>
              <a:defRPr lang="en-US"/>
            </a:defPPr>
            <a:lvl1pPr>
              <a:defRPr sz="1000" kern="0">
                <a:solidFill>
                  <a:schemeClr val="accent1"/>
                </a:solidFill>
              </a:defRPr>
            </a:lvl1pPr>
          </a:lstStyle>
          <a:p>
            <a:pPr algn="ctr"/>
            <a:r>
              <a:rPr lang="de-DE" altLang="de-DE" sz="2400" dirty="0"/>
              <a:t>Summary</a:t>
            </a:r>
          </a:p>
        </p:txBody>
      </p:sp>
      <mc:AlternateContent xmlns:mc="http://schemas.openxmlformats.org/markup-compatibility/2006" xmlns:psez="http://schemas.microsoft.com/office/powerpoint/2016/sectionzoom">
        <mc:Choice Requires="psez">
          <p:graphicFrame>
            <p:nvGraphicFramePr>
              <p:cNvPr id="18" name="Section Zoom 17">
                <a:extLst>
                  <a:ext uri="{FF2B5EF4-FFF2-40B4-BE49-F238E27FC236}">
                    <a16:creationId xmlns:a16="http://schemas.microsoft.com/office/drawing/2014/main" id="{A97C5E1A-2C16-4C30-B8EC-DC898991C8CD}"/>
                  </a:ext>
                </a:extLst>
              </p:cNvPr>
              <p:cNvGraphicFramePr>
                <a:graphicFrameLocks noChangeAspect="1"/>
              </p:cNvGraphicFramePr>
              <p:nvPr>
                <p:extLst>
                  <p:ext uri="{D42A27DB-BD31-4B8C-83A1-F6EECF244321}">
                    <p14:modId xmlns:p14="http://schemas.microsoft.com/office/powerpoint/2010/main" val="3517677906"/>
                  </p:ext>
                </p:extLst>
              </p:nvPr>
            </p:nvGraphicFramePr>
            <p:xfrm>
              <a:off x="8103937" y="1467358"/>
              <a:ext cx="3035808" cy="1707642"/>
            </p:xfrm>
            <a:graphic>
              <a:graphicData uri="http://schemas.microsoft.com/office/powerpoint/2016/sectionzoom">
                <psez:sectionZm>
                  <psez:sectionZmObj sectionId="{93A0901C-D3D7-457B-B60F-2FF3C8C8CA32}">
                    <psez:zmPr id="{2C2A7EF3-DB1F-4C2E-9F8B-B01C85DE27F2}" transitionDur="1000">
                      <p166:blipFill xmlns:p166="http://schemas.microsoft.com/office/powerpoint/2016/6/main">
                        <a:blip r:embed="rId14"/>
                        <a:stretch>
                          <a:fillRect/>
                        </a:stretch>
                      </p166:blipFill>
                      <p166:spPr xmlns:p166="http://schemas.microsoft.com/office/powerpoint/2016/6/main">
                        <a:xfrm>
                          <a:off x="0" y="0"/>
                          <a:ext cx="3035808" cy="170764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ez:zmPr>
                  </psez:sectionZmObj>
                </psez:sectionZm>
              </a:graphicData>
            </a:graphic>
          </p:graphicFrame>
        </mc:Choice>
        <mc:Fallback xmlns="">
          <p:pic>
            <p:nvPicPr>
              <p:cNvPr id="18" name="Section Zoom 17">
                <a:hlinkClick r:id="rId15" action="ppaction://hlinksldjump"/>
                <a:extLst>
                  <a:ext uri="{FF2B5EF4-FFF2-40B4-BE49-F238E27FC236}">
                    <a16:creationId xmlns:a16="http://schemas.microsoft.com/office/drawing/2014/main" id="{A97C5E1A-2C16-4C30-B8EC-DC898991C8CD}"/>
                  </a:ext>
                </a:extLst>
              </p:cNvPr>
              <p:cNvPicPr>
                <a:picLocks noGrp="1" noRot="1" noChangeAspect="1" noMove="1" noResize="1" noEditPoints="1" noAdjustHandles="1" noChangeArrowheads="1" noChangeShapeType="1"/>
              </p:cNvPicPr>
              <p:nvPr/>
            </p:nvPicPr>
            <p:blipFill>
              <a:blip r:embed="rId16"/>
              <a:stretch>
                <a:fillRect/>
              </a:stretch>
            </p:blipFill>
            <p:spPr>
              <a:xfrm>
                <a:off x="8103937" y="1467358"/>
                <a:ext cx="3035808" cy="170764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spTree>
    <p:extLst>
      <p:ext uri="{BB962C8B-B14F-4D97-AF65-F5344CB8AC3E}">
        <p14:creationId xmlns:p14="http://schemas.microsoft.com/office/powerpoint/2010/main" val="1284202332"/>
      </p:ext>
    </p:extLst>
  </p:cSld>
  <p:clrMapOvr>
    <a:masterClrMapping/>
  </p:clrMapOvr>
  <p:transition spd="med">
    <p:pull/>
  </p:transition>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39000" b="-39000"/>
          </a:stretch>
        </a:blipFill>
        <a:effectLst/>
      </p:bgPr>
    </p:bg>
    <p:spTree>
      <p:nvGrpSpPr>
        <p:cNvPr id="1" name=""/>
        <p:cNvGrpSpPr/>
        <p:nvPr/>
      </p:nvGrpSpPr>
      <p:grpSpPr>
        <a:xfrm>
          <a:off x="0" y="0"/>
          <a:ext cx="0" cy="0"/>
          <a:chOff x="0" y="0"/>
          <a:chExt cx="0" cy="0"/>
        </a:xfrm>
      </p:grpSpPr>
      <p:sp>
        <p:nvSpPr>
          <p:cNvPr id="4" name="object 4"/>
          <p:cNvSpPr txBox="1">
            <a:spLocks noGrp="1"/>
          </p:cNvSpPr>
          <p:nvPr>
            <p:ph type="title"/>
          </p:nvPr>
        </p:nvSpPr>
        <p:spPr>
          <a:xfrm>
            <a:off x="7417305" y="699802"/>
            <a:ext cx="4359363" cy="1490793"/>
          </a:xfrm>
          <a:prstGeom prst="rect">
            <a:avLst/>
          </a:prstGeom>
        </p:spPr>
        <p:txBody>
          <a:bodyPr vert="horz" wrap="square" lIns="0" tIns="13335" rIns="0" bIns="0" rtlCol="0" anchor="ctr">
            <a:spAutoFit/>
            <a:scene3d>
              <a:camera prst="perspectiveFront"/>
              <a:lightRig rig="threePt" dir="t"/>
            </a:scene3d>
          </a:bodyPr>
          <a:lstStyle/>
          <a:p>
            <a:pPr marL="12700" algn="ctr">
              <a:lnSpc>
                <a:spcPct val="100000"/>
              </a:lnSpc>
              <a:spcBef>
                <a:spcPts val="105"/>
              </a:spcBef>
            </a:pPr>
            <a:r>
              <a:rPr lang="en-US" sz="4800" dirty="0">
                <a:ln w="0"/>
                <a:effectLst>
                  <a:outerShdw blurRad="38100" dist="19050" dir="2700000" algn="tl" rotWithShape="0">
                    <a:schemeClr val="dk1">
                      <a:alpha val="40000"/>
                    </a:schemeClr>
                  </a:outerShdw>
                </a:effectLst>
              </a:rPr>
              <a:t>C &amp; D Waste </a:t>
            </a:r>
            <a:r>
              <a:rPr sz="4800" dirty="0">
                <a:ln w="0"/>
                <a:effectLst>
                  <a:outerShdw blurRad="38100" dist="19050" dir="2700000" algn="tl" rotWithShape="0">
                    <a:schemeClr val="dk1">
                      <a:alpha val="40000"/>
                    </a:schemeClr>
                  </a:outerShdw>
                </a:effectLst>
              </a:rPr>
              <a:t>Recycling Process</a:t>
            </a:r>
          </a:p>
        </p:txBody>
      </p:sp>
    </p:spTree>
    <p:extLst>
      <p:ext uri="{BB962C8B-B14F-4D97-AF65-F5344CB8AC3E}">
        <p14:creationId xmlns:p14="http://schemas.microsoft.com/office/powerpoint/2010/main" val="2798153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2091678" y="2244"/>
            <a:ext cx="8268929" cy="752129"/>
          </a:xfrm>
          <a:prstGeom prst="rect">
            <a:avLst/>
          </a:prstGeom>
        </p:spPr>
        <p:txBody>
          <a:bodyPr vert="horz" wrap="square" lIns="0" tIns="13335" rIns="0" bIns="0" rtlCol="0" anchor="ctr">
            <a:spAutoFit/>
          </a:bodyPr>
          <a:lstStyle/>
          <a:p>
            <a:pPr marL="12700" algn="ctr">
              <a:lnSpc>
                <a:spcPct val="100000"/>
              </a:lnSpc>
              <a:spcBef>
                <a:spcPts val="105"/>
              </a:spcBef>
            </a:pPr>
            <a:r>
              <a:rPr sz="48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Recycling Process</a:t>
            </a:r>
          </a:p>
        </p:txBody>
      </p:sp>
      <p:sp>
        <p:nvSpPr>
          <p:cNvPr id="3" name="Rectangle: Rounded Corners 2">
            <a:extLst>
              <a:ext uri="{FF2B5EF4-FFF2-40B4-BE49-F238E27FC236}">
                <a16:creationId xmlns:a16="http://schemas.microsoft.com/office/drawing/2014/main" id="{C6E44997-0F76-4BEB-8B86-874D336D522F}"/>
              </a:ext>
            </a:extLst>
          </p:cNvPr>
          <p:cNvSpPr/>
          <p:nvPr/>
        </p:nvSpPr>
        <p:spPr>
          <a:xfrm>
            <a:off x="4843076" y="907975"/>
            <a:ext cx="2595715" cy="521109"/>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Incoming Material</a:t>
            </a:r>
          </a:p>
        </p:txBody>
      </p:sp>
      <p:sp>
        <p:nvSpPr>
          <p:cNvPr id="6" name="Rectangle: Rounded Corners 5">
            <a:extLst>
              <a:ext uri="{FF2B5EF4-FFF2-40B4-BE49-F238E27FC236}">
                <a16:creationId xmlns:a16="http://schemas.microsoft.com/office/drawing/2014/main" id="{026833D3-3C5D-4725-AD13-C2B1A62ED796}"/>
              </a:ext>
            </a:extLst>
          </p:cNvPr>
          <p:cNvSpPr/>
          <p:nvPr/>
        </p:nvSpPr>
        <p:spPr>
          <a:xfrm>
            <a:off x="5138044" y="1884027"/>
            <a:ext cx="2005780" cy="521109"/>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Inspection</a:t>
            </a:r>
          </a:p>
        </p:txBody>
      </p:sp>
      <p:sp>
        <p:nvSpPr>
          <p:cNvPr id="7" name="Rectangle: Rounded Corners 6">
            <a:extLst>
              <a:ext uri="{FF2B5EF4-FFF2-40B4-BE49-F238E27FC236}">
                <a16:creationId xmlns:a16="http://schemas.microsoft.com/office/drawing/2014/main" id="{66474224-477D-4AC1-B114-CDA35127F998}"/>
              </a:ext>
            </a:extLst>
          </p:cNvPr>
          <p:cNvSpPr/>
          <p:nvPr/>
        </p:nvSpPr>
        <p:spPr>
          <a:xfrm>
            <a:off x="833149" y="2872268"/>
            <a:ext cx="2517058" cy="1113232"/>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Technical specifications of the technology used to process waste</a:t>
            </a:r>
          </a:p>
        </p:txBody>
      </p:sp>
      <p:sp>
        <p:nvSpPr>
          <p:cNvPr id="8" name="Rectangle: Rounded Corners 7">
            <a:extLst>
              <a:ext uri="{FF2B5EF4-FFF2-40B4-BE49-F238E27FC236}">
                <a16:creationId xmlns:a16="http://schemas.microsoft.com/office/drawing/2014/main" id="{3469BE92-A5E3-468F-9623-F58572429286}"/>
              </a:ext>
            </a:extLst>
          </p:cNvPr>
          <p:cNvSpPr/>
          <p:nvPr/>
        </p:nvSpPr>
        <p:spPr>
          <a:xfrm>
            <a:off x="9304843" y="5704139"/>
            <a:ext cx="2517058" cy="698051"/>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Market for these Materials</a:t>
            </a:r>
          </a:p>
        </p:txBody>
      </p:sp>
      <p:sp>
        <p:nvSpPr>
          <p:cNvPr id="9" name="Rectangle: Rounded Corners 8">
            <a:extLst>
              <a:ext uri="{FF2B5EF4-FFF2-40B4-BE49-F238E27FC236}">
                <a16:creationId xmlns:a16="http://schemas.microsoft.com/office/drawing/2014/main" id="{E43E6C62-4B20-4DA7-BA89-3033DD255ACE}"/>
              </a:ext>
            </a:extLst>
          </p:cNvPr>
          <p:cNvSpPr/>
          <p:nvPr/>
        </p:nvSpPr>
        <p:spPr>
          <a:xfrm>
            <a:off x="1001467" y="1540450"/>
            <a:ext cx="2618425" cy="958514"/>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Purchase of C &amp; D waste through MCD, NDMC and PWD</a:t>
            </a:r>
          </a:p>
        </p:txBody>
      </p:sp>
      <p:sp>
        <p:nvSpPr>
          <p:cNvPr id="10" name="Rectangle: Rounded Corners 9">
            <a:extLst>
              <a:ext uri="{FF2B5EF4-FFF2-40B4-BE49-F238E27FC236}">
                <a16:creationId xmlns:a16="http://schemas.microsoft.com/office/drawing/2014/main" id="{27A0B85F-4A37-405C-AAF3-C85C928078B8}"/>
              </a:ext>
            </a:extLst>
          </p:cNvPr>
          <p:cNvSpPr/>
          <p:nvPr/>
        </p:nvSpPr>
        <p:spPr>
          <a:xfrm>
            <a:off x="9159972" y="1789815"/>
            <a:ext cx="2517058" cy="1039166"/>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Material inspected, manually sorted before processing</a:t>
            </a:r>
          </a:p>
        </p:txBody>
      </p:sp>
      <p:sp>
        <p:nvSpPr>
          <p:cNvPr id="11" name="Rectangle: Rounded Corners 10">
            <a:extLst>
              <a:ext uri="{FF2B5EF4-FFF2-40B4-BE49-F238E27FC236}">
                <a16:creationId xmlns:a16="http://schemas.microsoft.com/office/drawing/2014/main" id="{5CDA1C0B-2CC4-42D6-AE70-09732F7B5D68}"/>
              </a:ext>
            </a:extLst>
          </p:cNvPr>
          <p:cNvSpPr/>
          <p:nvPr/>
        </p:nvSpPr>
        <p:spPr>
          <a:xfrm>
            <a:off x="1722857" y="4091945"/>
            <a:ext cx="2218944" cy="624464"/>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Concrete Blocks</a:t>
            </a:r>
          </a:p>
        </p:txBody>
      </p:sp>
      <p:sp>
        <p:nvSpPr>
          <p:cNvPr id="12" name="Rectangle: Rounded Corners 11">
            <a:extLst>
              <a:ext uri="{FF2B5EF4-FFF2-40B4-BE49-F238E27FC236}">
                <a16:creationId xmlns:a16="http://schemas.microsoft.com/office/drawing/2014/main" id="{8DBF1917-0601-45DC-978C-9EE38533F10C}"/>
              </a:ext>
            </a:extLst>
          </p:cNvPr>
          <p:cNvSpPr/>
          <p:nvPr/>
        </p:nvSpPr>
        <p:spPr>
          <a:xfrm>
            <a:off x="8564742" y="4089031"/>
            <a:ext cx="2327798" cy="624464"/>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Recovered Waste</a:t>
            </a:r>
          </a:p>
        </p:txBody>
      </p:sp>
      <p:sp>
        <p:nvSpPr>
          <p:cNvPr id="13" name="Rectangle: Rounded Corners 12">
            <a:extLst>
              <a:ext uri="{FF2B5EF4-FFF2-40B4-BE49-F238E27FC236}">
                <a16:creationId xmlns:a16="http://schemas.microsoft.com/office/drawing/2014/main" id="{7AB1A0B9-2101-4231-8F51-4FDCF777E354}"/>
              </a:ext>
            </a:extLst>
          </p:cNvPr>
          <p:cNvSpPr/>
          <p:nvPr/>
        </p:nvSpPr>
        <p:spPr>
          <a:xfrm>
            <a:off x="5147186" y="2887705"/>
            <a:ext cx="2005780" cy="521109"/>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Segregation</a:t>
            </a:r>
          </a:p>
        </p:txBody>
      </p:sp>
      <p:sp>
        <p:nvSpPr>
          <p:cNvPr id="14" name="Rectangle: Rounded Corners 13">
            <a:extLst>
              <a:ext uri="{FF2B5EF4-FFF2-40B4-BE49-F238E27FC236}">
                <a16:creationId xmlns:a16="http://schemas.microsoft.com/office/drawing/2014/main" id="{4CF55C01-39CD-44B8-B5F8-81564150C98A}"/>
              </a:ext>
            </a:extLst>
          </p:cNvPr>
          <p:cNvSpPr/>
          <p:nvPr/>
        </p:nvSpPr>
        <p:spPr>
          <a:xfrm>
            <a:off x="5138044" y="4151222"/>
            <a:ext cx="2133599" cy="781664"/>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Mixed C &amp; D Waste</a:t>
            </a:r>
          </a:p>
        </p:txBody>
      </p:sp>
      <p:sp>
        <p:nvSpPr>
          <p:cNvPr id="15" name="Rectangle: Rounded Corners 14">
            <a:extLst>
              <a:ext uri="{FF2B5EF4-FFF2-40B4-BE49-F238E27FC236}">
                <a16:creationId xmlns:a16="http://schemas.microsoft.com/office/drawing/2014/main" id="{2445341A-841B-48B6-BA2D-CC26F31DA98C}"/>
              </a:ext>
            </a:extLst>
          </p:cNvPr>
          <p:cNvSpPr/>
          <p:nvPr/>
        </p:nvSpPr>
        <p:spPr>
          <a:xfrm>
            <a:off x="4451553" y="5510675"/>
            <a:ext cx="3397047" cy="1084981"/>
          </a:xfrm>
          <a:prstGeom prst="round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Recycled Aggregates</a:t>
            </a:r>
          </a:p>
          <a:p>
            <a:pPr algn="ctr"/>
            <a:r>
              <a:rPr lang="en-US" dirty="0"/>
              <a:t>Finished Products</a:t>
            </a:r>
          </a:p>
          <a:p>
            <a:pPr algn="ctr"/>
            <a:r>
              <a:rPr lang="en-US" dirty="0"/>
              <a:t>Bricks/Tiles/Wooden Pieces</a:t>
            </a:r>
          </a:p>
        </p:txBody>
      </p:sp>
      <p:cxnSp>
        <p:nvCxnSpPr>
          <p:cNvPr id="17" name="Straight Arrow Connector 16">
            <a:extLst>
              <a:ext uri="{FF2B5EF4-FFF2-40B4-BE49-F238E27FC236}">
                <a16:creationId xmlns:a16="http://schemas.microsoft.com/office/drawing/2014/main" id="{C4A03E3A-DB80-420B-A963-9A6AACB815DF}"/>
              </a:ext>
            </a:extLst>
          </p:cNvPr>
          <p:cNvCxnSpPr>
            <a:cxnSpLocks/>
            <a:stCxn id="7" idx="3"/>
            <a:endCxn id="13" idx="1"/>
          </p:cNvCxnSpPr>
          <p:nvPr/>
        </p:nvCxnSpPr>
        <p:spPr>
          <a:xfrm flipV="1">
            <a:off x="3350207" y="3148260"/>
            <a:ext cx="1796979" cy="280624"/>
          </a:xfrm>
          <a:prstGeom prst="straightConnector1">
            <a:avLst/>
          </a:prstGeom>
          <a:ln w="38100">
            <a:solidFill>
              <a:srgbClr val="FF0000"/>
            </a:solidFill>
            <a:tailEnd type="triangle"/>
          </a:ln>
        </p:spPr>
        <p:style>
          <a:lnRef idx="3">
            <a:schemeClr val="accent6"/>
          </a:lnRef>
          <a:fillRef idx="0">
            <a:schemeClr val="accent6"/>
          </a:fillRef>
          <a:effectRef idx="2">
            <a:schemeClr val="accent6"/>
          </a:effectRef>
          <a:fontRef idx="minor">
            <a:schemeClr val="tx1"/>
          </a:fontRef>
        </p:style>
      </p:cxnSp>
      <p:cxnSp>
        <p:nvCxnSpPr>
          <p:cNvPr id="21" name="Straight Arrow Connector 20">
            <a:extLst>
              <a:ext uri="{FF2B5EF4-FFF2-40B4-BE49-F238E27FC236}">
                <a16:creationId xmlns:a16="http://schemas.microsoft.com/office/drawing/2014/main" id="{7282B48D-587D-437D-9935-B416FF726E7B}"/>
              </a:ext>
            </a:extLst>
          </p:cNvPr>
          <p:cNvCxnSpPr>
            <a:cxnSpLocks/>
            <a:endCxn id="3" idx="1"/>
          </p:cNvCxnSpPr>
          <p:nvPr/>
        </p:nvCxnSpPr>
        <p:spPr>
          <a:xfrm flipV="1">
            <a:off x="2455903" y="1168530"/>
            <a:ext cx="2387173" cy="371919"/>
          </a:xfrm>
          <a:prstGeom prst="straightConnector1">
            <a:avLst/>
          </a:prstGeom>
          <a:ln w="38100">
            <a:solidFill>
              <a:srgbClr val="FF0000"/>
            </a:solidFill>
            <a:tailEnd type="triangle"/>
          </a:ln>
        </p:spPr>
        <p:style>
          <a:lnRef idx="3">
            <a:schemeClr val="accent6"/>
          </a:lnRef>
          <a:fillRef idx="0">
            <a:schemeClr val="accent6"/>
          </a:fillRef>
          <a:effectRef idx="2">
            <a:schemeClr val="accent6"/>
          </a:effectRef>
          <a:fontRef idx="minor">
            <a:schemeClr val="tx1"/>
          </a:fontRef>
        </p:style>
      </p:cxnSp>
      <p:cxnSp>
        <p:nvCxnSpPr>
          <p:cNvPr id="22" name="Straight Arrow Connector 21">
            <a:extLst>
              <a:ext uri="{FF2B5EF4-FFF2-40B4-BE49-F238E27FC236}">
                <a16:creationId xmlns:a16="http://schemas.microsoft.com/office/drawing/2014/main" id="{41A39C6E-D226-4395-8F3C-C7170073E844}"/>
              </a:ext>
            </a:extLst>
          </p:cNvPr>
          <p:cNvCxnSpPr>
            <a:cxnSpLocks/>
            <a:stCxn id="6" idx="3"/>
            <a:endCxn id="10" idx="1"/>
          </p:cNvCxnSpPr>
          <p:nvPr/>
        </p:nvCxnSpPr>
        <p:spPr>
          <a:xfrm>
            <a:off x="7143824" y="2144582"/>
            <a:ext cx="2016148" cy="164816"/>
          </a:xfrm>
          <a:prstGeom prst="straightConnector1">
            <a:avLst/>
          </a:prstGeom>
          <a:ln w="38100">
            <a:solidFill>
              <a:srgbClr val="FF0000"/>
            </a:solidFill>
            <a:tailEnd type="triangle"/>
          </a:ln>
        </p:spPr>
        <p:style>
          <a:lnRef idx="3">
            <a:schemeClr val="accent6"/>
          </a:lnRef>
          <a:fillRef idx="0">
            <a:schemeClr val="accent6"/>
          </a:fillRef>
          <a:effectRef idx="2">
            <a:schemeClr val="accent6"/>
          </a:effectRef>
          <a:fontRef idx="minor">
            <a:schemeClr val="tx1"/>
          </a:fontRef>
        </p:style>
      </p:cxnSp>
      <p:sp>
        <p:nvSpPr>
          <p:cNvPr id="39" name="Arrow: Down 38">
            <a:extLst>
              <a:ext uri="{FF2B5EF4-FFF2-40B4-BE49-F238E27FC236}">
                <a16:creationId xmlns:a16="http://schemas.microsoft.com/office/drawing/2014/main" id="{D28C216F-9ECF-45F0-97A5-79392942A133}"/>
              </a:ext>
            </a:extLst>
          </p:cNvPr>
          <p:cNvSpPr/>
          <p:nvPr/>
        </p:nvSpPr>
        <p:spPr>
          <a:xfrm>
            <a:off x="6020247" y="1477210"/>
            <a:ext cx="277264" cy="371919"/>
          </a:xfrm>
          <a:prstGeom prst="downArrow">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a:p>
        </p:txBody>
      </p:sp>
      <p:sp>
        <p:nvSpPr>
          <p:cNvPr id="42" name="Arrow: Down 41">
            <a:extLst>
              <a:ext uri="{FF2B5EF4-FFF2-40B4-BE49-F238E27FC236}">
                <a16:creationId xmlns:a16="http://schemas.microsoft.com/office/drawing/2014/main" id="{4DFDA0F6-AB56-46F9-A1CE-70E4F4085996}"/>
              </a:ext>
            </a:extLst>
          </p:cNvPr>
          <p:cNvSpPr/>
          <p:nvPr/>
        </p:nvSpPr>
        <p:spPr>
          <a:xfrm>
            <a:off x="6002301" y="2463658"/>
            <a:ext cx="277264" cy="371919"/>
          </a:xfrm>
          <a:prstGeom prst="downArrow">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a:p>
        </p:txBody>
      </p:sp>
      <p:sp>
        <p:nvSpPr>
          <p:cNvPr id="43" name="Arrow: Down 42">
            <a:extLst>
              <a:ext uri="{FF2B5EF4-FFF2-40B4-BE49-F238E27FC236}">
                <a16:creationId xmlns:a16="http://schemas.microsoft.com/office/drawing/2014/main" id="{B2E53334-5F6B-4C7D-ACFC-800C8BCD5D5E}"/>
              </a:ext>
            </a:extLst>
          </p:cNvPr>
          <p:cNvSpPr/>
          <p:nvPr/>
        </p:nvSpPr>
        <p:spPr>
          <a:xfrm>
            <a:off x="6002385" y="3440662"/>
            <a:ext cx="331718" cy="674506"/>
          </a:xfrm>
          <a:prstGeom prst="downArrow">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a:p>
        </p:txBody>
      </p:sp>
      <p:sp>
        <p:nvSpPr>
          <p:cNvPr id="44" name="Arrow: Down 43">
            <a:extLst>
              <a:ext uri="{FF2B5EF4-FFF2-40B4-BE49-F238E27FC236}">
                <a16:creationId xmlns:a16="http://schemas.microsoft.com/office/drawing/2014/main" id="{0AD4D12E-174E-4D5A-ADDA-74FCA0A8DE81}"/>
              </a:ext>
            </a:extLst>
          </p:cNvPr>
          <p:cNvSpPr/>
          <p:nvPr/>
        </p:nvSpPr>
        <p:spPr>
          <a:xfrm>
            <a:off x="6011443" y="4968940"/>
            <a:ext cx="313603" cy="521665"/>
          </a:xfrm>
          <a:prstGeom prst="downArrow">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a:p>
        </p:txBody>
      </p:sp>
      <p:sp>
        <p:nvSpPr>
          <p:cNvPr id="45" name="Arrow: Right 44">
            <a:extLst>
              <a:ext uri="{FF2B5EF4-FFF2-40B4-BE49-F238E27FC236}">
                <a16:creationId xmlns:a16="http://schemas.microsoft.com/office/drawing/2014/main" id="{90D51D77-1750-4B3C-AADB-2BA824F9C51D}"/>
              </a:ext>
            </a:extLst>
          </p:cNvPr>
          <p:cNvSpPr/>
          <p:nvPr/>
        </p:nvSpPr>
        <p:spPr>
          <a:xfrm rot="8873611">
            <a:off x="3899641" y="3536841"/>
            <a:ext cx="1318712" cy="501635"/>
          </a:xfrm>
          <a:prstGeom prst="rightArrow">
            <a:avLst/>
          </a:prstGeom>
        </p:spPr>
        <p:style>
          <a:lnRef idx="0">
            <a:schemeClr val="dk1"/>
          </a:lnRef>
          <a:fillRef idx="3">
            <a:schemeClr val="dk1"/>
          </a:fillRef>
          <a:effectRef idx="3">
            <a:schemeClr val="dk1"/>
          </a:effectRef>
          <a:fontRef idx="minor">
            <a:schemeClr val="lt1"/>
          </a:fontRef>
        </p:style>
        <p:txBody>
          <a:bodyPr rtlCol="0" anchor="ctr"/>
          <a:lstStyle/>
          <a:p>
            <a:pPr algn="ctr"/>
            <a:endParaRPr lang="en-US"/>
          </a:p>
        </p:txBody>
      </p:sp>
      <p:sp>
        <p:nvSpPr>
          <p:cNvPr id="46" name="Arrow: Right 45">
            <a:extLst>
              <a:ext uri="{FF2B5EF4-FFF2-40B4-BE49-F238E27FC236}">
                <a16:creationId xmlns:a16="http://schemas.microsoft.com/office/drawing/2014/main" id="{9DD6C1B7-364F-406E-A6DF-620DEE52D1E7}"/>
              </a:ext>
            </a:extLst>
          </p:cNvPr>
          <p:cNvSpPr/>
          <p:nvPr/>
        </p:nvSpPr>
        <p:spPr>
          <a:xfrm rot="1690656">
            <a:off x="7149801" y="3543930"/>
            <a:ext cx="1453702" cy="493789"/>
          </a:xfrm>
          <a:prstGeom prst="rightArrow">
            <a:avLst/>
          </a:prstGeom>
        </p:spPr>
        <p:style>
          <a:lnRef idx="0">
            <a:schemeClr val="dk1"/>
          </a:lnRef>
          <a:fillRef idx="3">
            <a:schemeClr val="dk1"/>
          </a:fillRef>
          <a:effectRef idx="3">
            <a:schemeClr val="dk1"/>
          </a:effectRef>
          <a:fontRef idx="minor">
            <a:schemeClr val="lt1"/>
          </a:fontRef>
        </p:style>
        <p:txBody>
          <a:bodyPr rtlCol="0" anchor="ctr"/>
          <a:lstStyle/>
          <a:p>
            <a:pPr algn="ctr"/>
            <a:endParaRPr lang="en-US"/>
          </a:p>
        </p:txBody>
      </p:sp>
      <p:sp>
        <p:nvSpPr>
          <p:cNvPr id="47" name="Arrow: Right 46">
            <a:extLst>
              <a:ext uri="{FF2B5EF4-FFF2-40B4-BE49-F238E27FC236}">
                <a16:creationId xmlns:a16="http://schemas.microsoft.com/office/drawing/2014/main" id="{B45CE28A-4011-418A-B877-4009C5BE2EF9}"/>
              </a:ext>
            </a:extLst>
          </p:cNvPr>
          <p:cNvSpPr/>
          <p:nvPr/>
        </p:nvSpPr>
        <p:spPr>
          <a:xfrm rot="7877114">
            <a:off x="7593545" y="4837115"/>
            <a:ext cx="1126650" cy="501635"/>
          </a:xfrm>
          <a:prstGeom prst="rightArrow">
            <a:avLst/>
          </a:prstGeom>
        </p:spPr>
        <p:style>
          <a:lnRef idx="0">
            <a:schemeClr val="dk1"/>
          </a:lnRef>
          <a:fillRef idx="3">
            <a:schemeClr val="dk1"/>
          </a:fillRef>
          <a:effectRef idx="3">
            <a:schemeClr val="dk1"/>
          </a:effectRef>
          <a:fontRef idx="minor">
            <a:schemeClr val="lt1"/>
          </a:fontRef>
        </p:style>
        <p:txBody>
          <a:bodyPr rtlCol="0" anchor="ctr"/>
          <a:lstStyle/>
          <a:p>
            <a:pPr algn="ctr"/>
            <a:endParaRPr lang="en-US"/>
          </a:p>
        </p:txBody>
      </p:sp>
      <p:sp>
        <p:nvSpPr>
          <p:cNvPr id="48" name="Arrow: Right 47">
            <a:extLst>
              <a:ext uri="{FF2B5EF4-FFF2-40B4-BE49-F238E27FC236}">
                <a16:creationId xmlns:a16="http://schemas.microsoft.com/office/drawing/2014/main" id="{F8383402-F070-47DD-8448-4714FD9681DD}"/>
              </a:ext>
            </a:extLst>
          </p:cNvPr>
          <p:cNvSpPr/>
          <p:nvPr/>
        </p:nvSpPr>
        <p:spPr>
          <a:xfrm rot="2755972">
            <a:off x="3815048" y="4935605"/>
            <a:ext cx="893725" cy="437030"/>
          </a:xfrm>
          <a:prstGeom prst="rightArrow">
            <a:avLst/>
          </a:prstGeom>
        </p:spPr>
        <p:style>
          <a:lnRef idx="0">
            <a:schemeClr val="dk1"/>
          </a:lnRef>
          <a:fillRef idx="3">
            <a:schemeClr val="dk1"/>
          </a:fillRef>
          <a:effectRef idx="3">
            <a:schemeClr val="dk1"/>
          </a:effectRef>
          <a:fontRef idx="minor">
            <a:schemeClr val="lt1"/>
          </a:fontRef>
        </p:style>
        <p:txBody>
          <a:bodyPr rtlCol="0" anchor="ctr"/>
          <a:lstStyle/>
          <a:p>
            <a:pPr algn="ctr"/>
            <a:endParaRPr lang="en-US"/>
          </a:p>
        </p:txBody>
      </p:sp>
      <p:cxnSp>
        <p:nvCxnSpPr>
          <p:cNvPr id="27" name="Straight Arrow Connector 26">
            <a:extLst>
              <a:ext uri="{FF2B5EF4-FFF2-40B4-BE49-F238E27FC236}">
                <a16:creationId xmlns:a16="http://schemas.microsoft.com/office/drawing/2014/main" id="{F0608ED0-3A06-48EE-9CEF-43C930596D0A}"/>
              </a:ext>
            </a:extLst>
          </p:cNvPr>
          <p:cNvCxnSpPr>
            <a:cxnSpLocks/>
            <a:stCxn id="15" idx="3"/>
            <a:endCxn id="8" idx="1"/>
          </p:cNvCxnSpPr>
          <p:nvPr/>
        </p:nvCxnSpPr>
        <p:spPr>
          <a:xfrm flipV="1">
            <a:off x="7848600" y="6053165"/>
            <a:ext cx="1456243" cy="1"/>
          </a:xfrm>
          <a:prstGeom prst="straightConnector1">
            <a:avLst/>
          </a:prstGeom>
          <a:ln w="38100">
            <a:solidFill>
              <a:srgbClr val="FF0000"/>
            </a:solidFill>
            <a:tailEnd type="triangle"/>
          </a:ln>
        </p:spPr>
        <p:style>
          <a:lnRef idx="3">
            <a:schemeClr val="accent6"/>
          </a:lnRef>
          <a:fillRef idx="0">
            <a:schemeClr val="accent6"/>
          </a:fillRef>
          <a:effectRef idx="2">
            <a:schemeClr val="accent6"/>
          </a:effectRef>
          <a:fontRef idx="minor">
            <a:schemeClr val="tx1"/>
          </a:fontRef>
        </p:style>
      </p:cxnSp>
    </p:spTree>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674990" y="46299"/>
            <a:ext cx="8268929" cy="752129"/>
          </a:xfrm>
          <a:prstGeom prst="rect">
            <a:avLst/>
          </a:prstGeom>
        </p:spPr>
        <p:txBody>
          <a:bodyPr vert="horz" wrap="square" lIns="0" tIns="13335" rIns="0" bIns="0" rtlCol="0" anchor="ctr">
            <a:spAutoFit/>
          </a:bodyPr>
          <a:lstStyle/>
          <a:p>
            <a:pPr marL="12700" algn="ctr">
              <a:lnSpc>
                <a:spcPct val="100000"/>
              </a:lnSpc>
              <a:spcBef>
                <a:spcPts val="105"/>
              </a:spcBef>
            </a:pPr>
            <a:r>
              <a:rPr sz="48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Recycling Process</a:t>
            </a:r>
          </a:p>
        </p:txBody>
      </p:sp>
      <p:sp>
        <p:nvSpPr>
          <p:cNvPr id="2" name="TextBox 1">
            <a:extLst>
              <a:ext uri="{FF2B5EF4-FFF2-40B4-BE49-F238E27FC236}">
                <a16:creationId xmlns:a16="http://schemas.microsoft.com/office/drawing/2014/main" id="{597A3660-3FA1-4CB3-BC7B-065B035CC1EE}"/>
              </a:ext>
            </a:extLst>
          </p:cNvPr>
          <p:cNvSpPr txBox="1"/>
          <p:nvPr/>
        </p:nvSpPr>
        <p:spPr>
          <a:xfrm>
            <a:off x="3032569" y="2351782"/>
            <a:ext cx="8646289" cy="1077218"/>
          </a:xfrm>
          <a:prstGeom prst="rect">
            <a:avLst/>
          </a:prstGeom>
          <a:noFill/>
        </p:spPr>
        <p:txBody>
          <a:bodyPr wrap="square" rtlCol="0">
            <a:spAutoFit/>
          </a:bodyPr>
          <a:lstStyle/>
          <a:p>
            <a:r>
              <a:rPr lang="en-US" sz="3200" b="1" dirty="0"/>
              <a:t>Lets See It With The Help Of Some Animations……..</a:t>
            </a:r>
          </a:p>
        </p:txBody>
      </p:sp>
    </p:spTree>
    <p:extLst>
      <p:ext uri="{BB962C8B-B14F-4D97-AF65-F5344CB8AC3E}">
        <p14:creationId xmlns:p14="http://schemas.microsoft.com/office/powerpoint/2010/main" val="26107239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Rectangle 282">
            <a:extLst>
              <a:ext uri="{FF2B5EF4-FFF2-40B4-BE49-F238E27FC236}">
                <a16:creationId xmlns:a16="http://schemas.microsoft.com/office/drawing/2014/main" id="{04A16556-7E9E-4E97-B6D4-91176E35235F}"/>
              </a:ext>
            </a:extLst>
          </p:cNvPr>
          <p:cNvSpPr/>
          <p:nvPr/>
        </p:nvSpPr>
        <p:spPr>
          <a:xfrm>
            <a:off x="-12082" y="3261335"/>
            <a:ext cx="12273280" cy="3586480"/>
          </a:xfrm>
          <a:custGeom>
            <a:avLst/>
            <a:gdLst>
              <a:gd name="connsiteX0" fmla="*/ 0 w 3159760"/>
              <a:gd name="connsiteY0" fmla="*/ 0 h 1412240"/>
              <a:gd name="connsiteX1" fmla="*/ 3159760 w 3159760"/>
              <a:gd name="connsiteY1" fmla="*/ 0 h 1412240"/>
              <a:gd name="connsiteX2" fmla="*/ 3159760 w 3159760"/>
              <a:gd name="connsiteY2" fmla="*/ 1412240 h 1412240"/>
              <a:gd name="connsiteX3" fmla="*/ 0 w 3159760"/>
              <a:gd name="connsiteY3" fmla="*/ 1412240 h 1412240"/>
              <a:gd name="connsiteX4" fmla="*/ 0 w 3159760"/>
              <a:gd name="connsiteY4" fmla="*/ 0 h 1412240"/>
              <a:gd name="connsiteX0" fmla="*/ 0 w 3159760"/>
              <a:gd name="connsiteY0" fmla="*/ 0 h 1412240"/>
              <a:gd name="connsiteX1" fmla="*/ 2895600 w 3159760"/>
              <a:gd name="connsiteY1" fmla="*/ 447040 h 1412240"/>
              <a:gd name="connsiteX2" fmla="*/ 3159760 w 3159760"/>
              <a:gd name="connsiteY2" fmla="*/ 1412240 h 1412240"/>
              <a:gd name="connsiteX3" fmla="*/ 0 w 3159760"/>
              <a:gd name="connsiteY3" fmla="*/ 1412240 h 1412240"/>
              <a:gd name="connsiteX4" fmla="*/ 0 w 3159760"/>
              <a:gd name="connsiteY4" fmla="*/ 0 h 1412240"/>
              <a:gd name="connsiteX0" fmla="*/ 0 w 3759200"/>
              <a:gd name="connsiteY0" fmla="*/ 0 h 1412240"/>
              <a:gd name="connsiteX1" fmla="*/ 2895600 w 3759200"/>
              <a:gd name="connsiteY1" fmla="*/ 447040 h 1412240"/>
              <a:gd name="connsiteX2" fmla="*/ 3759200 w 3759200"/>
              <a:gd name="connsiteY2" fmla="*/ 802640 h 1412240"/>
              <a:gd name="connsiteX3" fmla="*/ 0 w 3759200"/>
              <a:gd name="connsiteY3" fmla="*/ 1412240 h 1412240"/>
              <a:gd name="connsiteX4" fmla="*/ 0 w 3759200"/>
              <a:gd name="connsiteY4" fmla="*/ 0 h 1412240"/>
              <a:gd name="connsiteX0" fmla="*/ 0 w 3911600"/>
              <a:gd name="connsiteY0" fmla="*/ 203200 h 965200"/>
              <a:gd name="connsiteX1" fmla="*/ 3048000 w 3911600"/>
              <a:gd name="connsiteY1" fmla="*/ 0 h 965200"/>
              <a:gd name="connsiteX2" fmla="*/ 3911600 w 3911600"/>
              <a:gd name="connsiteY2" fmla="*/ 355600 h 965200"/>
              <a:gd name="connsiteX3" fmla="*/ 152400 w 3911600"/>
              <a:gd name="connsiteY3" fmla="*/ 965200 h 965200"/>
              <a:gd name="connsiteX4" fmla="*/ 0 w 3911600"/>
              <a:gd name="connsiteY4" fmla="*/ 203200 h 965200"/>
              <a:gd name="connsiteX0" fmla="*/ 0 w 3911600"/>
              <a:gd name="connsiteY0" fmla="*/ 203200 h 853440"/>
              <a:gd name="connsiteX1" fmla="*/ 3048000 w 3911600"/>
              <a:gd name="connsiteY1" fmla="*/ 0 h 853440"/>
              <a:gd name="connsiteX2" fmla="*/ 3911600 w 3911600"/>
              <a:gd name="connsiteY2" fmla="*/ 355600 h 853440"/>
              <a:gd name="connsiteX3" fmla="*/ 762000 w 3911600"/>
              <a:gd name="connsiteY3" fmla="*/ 853440 h 853440"/>
              <a:gd name="connsiteX4" fmla="*/ 0 w 3911600"/>
              <a:gd name="connsiteY4" fmla="*/ 203200 h 853440"/>
              <a:gd name="connsiteX0" fmla="*/ 0 w 3464560"/>
              <a:gd name="connsiteY0" fmla="*/ 467360 h 853440"/>
              <a:gd name="connsiteX1" fmla="*/ 2600960 w 3464560"/>
              <a:gd name="connsiteY1" fmla="*/ 0 h 853440"/>
              <a:gd name="connsiteX2" fmla="*/ 3464560 w 3464560"/>
              <a:gd name="connsiteY2" fmla="*/ 355600 h 853440"/>
              <a:gd name="connsiteX3" fmla="*/ 314960 w 3464560"/>
              <a:gd name="connsiteY3" fmla="*/ 853440 h 853440"/>
              <a:gd name="connsiteX4" fmla="*/ 0 w 3464560"/>
              <a:gd name="connsiteY4" fmla="*/ 467360 h 853440"/>
              <a:gd name="connsiteX0" fmla="*/ 0 w 3464560"/>
              <a:gd name="connsiteY0" fmla="*/ 335280 h 721360"/>
              <a:gd name="connsiteX1" fmla="*/ 2712720 w 3464560"/>
              <a:gd name="connsiteY1" fmla="*/ 0 h 721360"/>
              <a:gd name="connsiteX2" fmla="*/ 3464560 w 3464560"/>
              <a:gd name="connsiteY2" fmla="*/ 223520 h 721360"/>
              <a:gd name="connsiteX3" fmla="*/ 314960 w 3464560"/>
              <a:gd name="connsiteY3" fmla="*/ 721360 h 721360"/>
              <a:gd name="connsiteX4" fmla="*/ 0 w 3464560"/>
              <a:gd name="connsiteY4" fmla="*/ 335280 h 721360"/>
              <a:gd name="connsiteX0" fmla="*/ 0 w 4693920"/>
              <a:gd name="connsiteY0" fmla="*/ 538480 h 924560"/>
              <a:gd name="connsiteX1" fmla="*/ 4693920 w 4693920"/>
              <a:gd name="connsiteY1" fmla="*/ 0 h 924560"/>
              <a:gd name="connsiteX2" fmla="*/ 3464560 w 4693920"/>
              <a:gd name="connsiteY2" fmla="*/ 426720 h 924560"/>
              <a:gd name="connsiteX3" fmla="*/ 314960 w 4693920"/>
              <a:gd name="connsiteY3" fmla="*/ 924560 h 924560"/>
              <a:gd name="connsiteX4" fmla="*/ 0 w 4693920"/>
              <a:gd name="connsiteY4" fmla="*/ 538480 h 924560"/>
              <a:gd name="connsiteX0" fmla="*/ 0 w 4693920"/>
              <a:gd name="connsiteY0" fmla="*/ 538480 h 924560"/>
              <a:gd name="connsiteX1" fmla="*/ 4693920 w 4693920"/>
              <a:gd name="connsiteY1" fmla="*/ 0 h 924560"/>
              <a:gd name="connsiteX2" fmla="*/ 4277360 w 4693920"/>
              <a:gd name="connsiteY2" fmla="*/ 355600 h 924560"/>
              <a:gd name="connsiteX3" fmla="*/ 314960 w 4693920"/>
              <a:gd name="connsiteY3" fmla="*/ 924560 h 924560"/>
              <a:gd name="connsiteX4" fmla="*/ 0 w 4693920"/>
              <a:gd name="connsiteY4" fmla="*/ 538480 h 924560"/>
              <a:gd name="connsiteX0" fmla="*/ 0 w 5008880"/>
              <a:gd name="connsiteY0" fmla="*/ 802640 h 1188720"/>
              <a:gd name="connsiteX1" fmla="*/ 5008880 w 5008880"/>
              <a:gd name="connsiteY1" fmla="*/ 0 h 1188720"/>
              <a:gd name="connsiteX2" fmla="*/ 4277360 w 5008880"/>
              <a:gd name="connsiteY2" fmla="*/ 619760 h 1188720"/>
              <a:gd name="connsiteX3" fmla="*/ 314960 w 5008880"/>
              <a:gd name="connsiteY3" fmla="*/ 1188720 h 1188720"/>
              <a:gd name="connsiteX4" fmla="*/ 0 w 5008880"/>
              <a:gd name="connsiteY4" fmla="*/ 802640 h 1188720"/>
              <a:gd name="connsiteX0" fmla="*/ 1188720 w 4693920"/>
              <a:gd name="connsiteY0" fmla="*/ 30480 h 1188720"/>
              <a:gd name="connsiteX1" fmla="*/ 4693920 w 4693920"/>
              <a:gd name="connsiteY1" fmla="*/ 0 h 1188720"/>
              <a:gd name="connsiteX2" fmla="*/ 3962400 w 4693920"/>
              <a:gd name="connsiteY2" fmla="*/ 619760 h 1188720"/>
              <a:gd name="connsiteX3" fmla="*/ 0 w 4693920"/>
              <a:gd name="connsiteY3" fmla="*/ 1188720 h 1188720"/>
              <a:gd name="connsiteX4" fmla="*/ 1188720 w 4693920"/>
              <a:gd name="connsiteY4" fmla="*/ 30480 h 1188720"/>
              <a:gd name="connsiteX0" fmla="*/ 467360 w 3972560"/>
              <a:gd name="connsiteY0" fmla="*/ 30480 h 690880"/>
              <a:gd name="connsiteX1" fmla="*/ 3972560 w 3972560"/>
              <a:gd name="connsiteY1" fmla="*/ 0 h 690880"/>
              <a:gd name="connsiteX2" fmla="*/ 3241040 w 3972560"/>
              <a:gd name="connsiteY2" fmla="*/ 619760 h 690880"/>
              <a:gd name="connsiteX3" fmla="*/ 0 w 3972560"/>
              <a:gd name="connsiteY3" fmla="*/ 690880 h 690880"/>
              <a:gd name="connsiteX4" fmla="*/ 467360 w 3972560"/>
              <a:gd name="connsiteY4" fmla="*/ 30480 h 690880"/>
              <a:gd name="connsiteX0" fmla="*/ 0 w 7904480"/>
              <a:gd name="connsiteY0" fmla="*/ 0 h 995680"/>
              <a:gd name="connsiteX1" fmla="*/ 7904480 w 7904480"/>
              <a:gd name="connsiteY1" fmla="*/ 304800 h 995680"/>
              <a:gd name="connsiteX2" fmla="*/ 7172960 w 7904480"/>
              <a:gd name="connsiteY2" fmla="*/ 924560 h 995680"/>
              <a:gd name="connsiteX3" fmla="*/ 3931920 w 7904480"/>
              <a:gd name="connsiteY3" fmla="*/ 995680 h 995680"/>
              <a:gd name="connsiteX4" fmla="*/ 0 w 7904480"/>
              <a:gd name="connsiteY4" fmla="*/ 0 h 995680"/>
              <a:gd name="connsiteX0" fmla="*/ 20320 w 7924800"/>
              <a:gd name="connsiteY0" fmla="*/ 0 h 1178560"/>
              <a:gd name="connsiteX1" fmla="*/ 7924800 w 7924800"/>
              <a:gd name="connsiteY1" fmla="*/ 304800 h 1178560"/>
              <a:gd name="connsiteX2" fmla="*/ 7193280 w 7924800"/>
              <a:gd name="connsiteY2" fmla="*/ 924560 h 1178560"/>
              <a:gd name="connsiteX3" fmla="*/ 0 w 7924800"/>
              <a:gd name="connsiteY3" fmla="*/ 1178560 h 1178560"/>
              <a:gd name="connsiteX4" fmla="*/ 20320 w 7924800"/>
              <a:gd name="connsiteY4" fmla="*/ 0 h 1178560"/>
              <a:gd name="connsiteX0" fmla="*/ 10160 w 7924800"/>
              <a:gd name="connsiteY0" fmla="*/ 60960 h 873760"/>
              <a:gd name="connsiteX1" fmla="*/ 7924800 w 7924800"/>
              <a:gd name="connsiteY1" fmla="*/ 0 h 873760"/>
              <a:gd name="connsiteX2" fmla="*/ 7193280 w 7924800"/>
              <a:gd name="connsiteY2" fmla="*/ 619760 h 873760"/>
              <a:gd name="connsiteX3" fmla="*/ 0 w 7924800"/>
              <a:gd name="connsiteY3" fmla="*/ 873760 h 873760"/>
              <a:gd name="connsiteX4" fmla="*/ 10160 w 7924800"/>
              <a:gd name="connsiteY4" fmla="*/ 60960 h 873760"/>
              <a:gd name="connsiteX0" fmla="*/ 10160 w 7924800"/>
              <a:gd name="connsiteY0" fmla="*/ 60960 h 3616960"/>
              <a:gd name="connsiteX1" fmla="*/ 7924800 w 7924800"/>
              <a:gd name="connsiteY1" fmla="*/ 0 h 3616960"/>
              <a:gd name="connsiteX2" fmla="*/ 3474720 w 7924800"/>
              <a:gd name="connsiteY2" fmla="*/ 3616960 h 3616960"/>
              <a:gd name="connsiteX3" fmla="*/ 0 w 7924800"/>
              <a:gd name="connsiteY3" fmla="*/ 873760 h 3616960"/>
              <a:gd name="connsiteX4" fmla="*/ 10160 w 7924800"/>
              <a:gd name="connsiteY4" fmla="*/ 60960 h 3616960"/>
              <a:gd name="connsiteX0" fmla="*/ 0 w 7914640"/>
              <a:gd name="connsiteY0" fmla="*/ 60960 h 3616960"/>
              <a:gd name="connsiteX1" fmla="*/ 7914640 w 7914640"/>
              <a:gd name="connsiteY1" fmla="*/ 0 h 3616960"/>
              <a:gd name="connsiteX2" fmla="*/ 3464560 w 7914640"/>
              <a:gd name="connsiteY2" fmla="*/ 3616960 h 3616960"/>
              <a:gd name="connsiteX3" fmla="*/ 30480 w 7914640"/>
              <a:gd name="connsiteY3" fmla="*/ 3586480 h 3616960"/>
              <a:gd name="connsiteX4" fmla="*/ 0 w 7914640"/>
              <a:gd name="connsiteY4" fmla="*/ 60960 h 3616960"/>
              <a:gd name="connsiteX0" fmla="*/ 0 w 7914640"/>
              <a:gd name="connsiteY0" fmla="*/ 60960 h 3616960"/>
              <a:gd name="connsiteX1" fmla="*/ 7914640 w 7914640"/>
              <a:gd name="connsiteY1" fmla="*/ 0 h 3616960"/>
              <a:gd name="connsiteX2" fmla="*/ 7185042 w 7914640"/>
              <a:gd name="connsiteY2" fmla="*/ 579145 h 3616960"/>
              <a:gd name="connsiteX3" fmla="*/ 3464560 w 7914640"/>
              <a:gd name="connsiteY3" fmla="*/ 3616960 h 3616960"/>
              <a:gd name="connsiteX4" fmla="*/ 30480 w 7914640"/>
              <a:gd name="connsiteY4" fmla="*/ 3586480 h 3616960"/>
              <a:gd name="connsiteX5" fmla="*/ 0 w 7914640"/>
              <a:gd name="connsiteY5" fmla="*/ 60960 h 361696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30480 w 12273280"/>
              <a:gd name="connsiteY4" fmla="*/ 3586480 h 3586480"/>
              <a:gd name="connsiteX5" fmla="*/ 0 w 12273280"/>
              <a:gd name="connsiteY5"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30480 w 12273280"/>
              <a:gd name="connsiteY4" fmla="*/ 3586480 h 3586480"/>
              <a:gd name="connsiteX5" fmla="*/ 0 w 12273280"/>
              <a:gd name="connsiteY5"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7875922 w 12273280"/>
              <a:gd name="connsiteY4" fmla="*/ 1686585 h 3586480"/>
              <a:gd name="connsiteX5" fmla="*/ 30480 w 12273280"/>
              <a:gd name="connsiteY5" fmla="*/ 3586480 h 3586480"/>
              <a:gd name="connsiteX6" fmla="*/ 0 w 12273280"/>
              <a:gd name="connsiteY6"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12183762 w 12273280"/>
              <a:gd name="connsiteY4" fmla="*/ 3545865 h 3586480"/>
              <a:gd name="connsiteX5" fmla="*/ 30480 w 12273280"/>
              <a:gd name="connsiteY5" fmla="*/ 3586480 h 3586480"/>
              <a:gd name="connsiteX6" fmla="*/ 0 w 12273280"/>
              <a:gd name="connsiteY6"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12163442 w 12273280"/>
              <a:gd name="connsiteY4" fmla="*/ 3545865 h 3586480"/>
              <a:gd name="connsiteX5" fmla="*/ 30480 w 12273280"/>
              <a:gd name="connsiteY5" fmla="*/ 3586480 h 3586480"/>
              <a:gd name="connsiteX6" fmla="*/ 0 w 12273280"/>
              <a:gd name="connsiteY6" fmla="*/ 60960 h 35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3280" h="3586480">
                <a:moveTo>
                  <a:pt x="0" y="60960"/>
                </a:moveTo>
                <a:lnTo>
                  <a:pt x="7914640" y="0"/>
                </a:lnTo>
                <a:lnTo>
                  <a:pt x="7185042" y="579145"/>
                </a:lnTo>
                <a:lnTo>
                  <a:pt x="12273280" y="629920"/>
                </a:lnTo>
                <a:lnTo>
                  <a:pt x="12163442" y="3545865"/>
                </a:lnTo>
                <a:lnTo>
                  <a:pt x="30480" y="3586480"/>
                </a:lnTo>
                <a:lnTo>
                  <a:pt x="0" y="60960"/>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45" name="Rectangle 344">
            <a:extLst>
              <a:ext uri="{FF2B5EF4-FFF2-40B4-BE49-F238E27FC236}">
                <a16:creationId xmlns:a16="http://schemas.microsoft.com/office/drawing/2014/main" id="{27866B50-D3EC-45AB-A1DF-B7D144E796E1}"/>
              </a:ext>
            </a:extLst>
          </p:cNvPr>
          <p:cNvSpPr/>
          <p:nvPr/>
        </p:nvSpPr>
        <p:spPr>
          <a:xfrm>
            <a:off x="-20319" y="3258110"/>
            <a:ext cx="12263120" cy="3589730"/>
          </a:xfrm>
          <a:custGeom>
            <a:avLst/>
            <a:gdLst>
              <a:gd name="connsiteX0" fmla="*/ 0 w 7295839"/>
              <a:gd name="connsiteY0" fmla="*/ 0 h 488086"/>
              <a:gd name="connsiteX1" fmla="*/ 7295839 w 7295839"/>
              <a:gd name="connsiteY1" fmla="*/ 0 h 488086"/>
              <a:gd name="connsiteX2" fmla="*/ 7295839 w 7295839"/>
              <a:gd name="connsiteY2" fmla="*/ 488086 h 488086"/>
              <a:gd name="connsiteX3" fmla="*/ 0 w 7295839"/>
              <a:gd name="connsiteY3" fmla="*/ 488086 h 488086"/>
              <a:gd name="connsiteX4" fmla="*/ 0 w 7295839"/>
              <a:gd name="connsiteY4" fmla="*/ 0 h 488086"/>
              <a:gd name="connsiteX0" fmla="*/ 0 w 7905439"/>
              <a:gd name="connsiteY0" fmla="*/ 101600 h 589686"/>
              <a:gd name="connsiteX1" fmla="*/ 7905439 w 7905439"/>
              <a:gd name="connsiteY1" fmla="*/ 0 h 589686"/>
              <a:gd name="connsiteX2" fmla="*/ 7295839 w 7905439"/>
              <a:gd name="connsiteY2" fmla="*/ 589686 h 589686"/>
              <a:gd name="connsiteX3" fmla="*/ 0 w 7905439"/>
              <a:gd name="connsiteY3" fmla="*/ 589686 h 589686"/>
              <a:gd name="connsiteX4" fmla="*/ 0 w 7905439"/>
              <a:gd name="connsiteY4" fmla="*/ 101600 h 589686"/>
              <a:gd name="connsiteX0" fmla="*/ 10160 w 7905439"/>
              <a:gd name="connsiteY0" fmla="*/ 101600 h 589686"/>
              <a:gd name="connsiteX1" fmla="*/ 7905439 w 7905439"/>
              <a:gd name="connsiteY1" fmla="*/ 0 h 589686"/>
              <a:gd name="connsiteX2" fmla="*/ 7295839 w 7905439"/>
              <a:gd name="connsiteY2" fmla="*/ 589686 h 589686"/>
              <a:gd name="connsiteX3" fmla="*/ 0 w 7905439"/>
              <a:gd name="connsiteY3" fmla="*/ 589686 h 589686"/>
              <a:gd name="connsiteX4" fmla="*/ 10160 w 7905439"/>
              <a:gd name="connsiteY4" fmla="*/ 101600 h 589686"/>
              <a:gd name="connsiteX0" fmla="*/ 20320 w 7915599"/>
              <a:gd name="connsiteY0" fmla="*/ 101600 h 701446"/>
              <a:gd name="connsiteX1" fmla="*/ 7915599 w 7915599"/>
              <a:gd name="connsiteY1" fmla="*/ 0 h 701446"/>
              <a:gd name="connsiteX2" fmla="*/ 7305999 w 7915599"/>
              <a:gd name="connsiteY2" fmla="*/ 589686 h 701446"/>
              <a:gd name="connsiteX3" fmla="*/ 0 w 7915599"/>
              <a:gd name="connsiteY3" fmla="*/ 701446 h 701446"/>
              <a:gd name="connsiteX4" fmla="*/ 20320 w 7915599"/>
              <a:gd name="connsiteY4" fmla="*/ 101600 h 701446"/>
              <a:gd name="connsiteX0" fmla="*/ 20320 w 7915599"/>
              <a:gd name="connsiteY0" fmla="*/ 101600 h 701446"/>
              <a:gd name="connsiteX1" fmla="*/ 7915599 w 7915599"/>
              <a:gd name="connsiteY1" fmla="*/ 0 h 701446"/>
              <a:gd name="connsiteX2" fmla="*/ 7305999 w 7915599"/>
              <a:gd name="connsiteY2" fmla="*/ 589686 h 701446"/>
              <a:gd name="connsiteX3" fmla="*/ 2245360 w 7915599"/>
              <a:gd name="connsiteY3" fmla="*/ 663650 h 701446"/>
              <a:gd name="connsiteX4" fmla="*/ 0 w 7915599"/>
              <a:gd name="connsiteY4" fmla="*/ 701446 h 701446"/>
              <a:gd name="connsiteX5" fmla="*/ 20320 w 7915599"/>
              <a:gd name="connsiteY5" fmla="*/ 101600 h 701446"/>
              <a:gd name="connsiteX0" fmla="*/ 20320 w 7915599"/>
              <a:gd name="connsiteY0" fmla="*/ 101600 h 701446"/>
              <a:gd name="connsiteX1" fmla="*/ 7915599 w 7915599"/>
              <a:gd name="connsiteY1" fmla="*/ 0 h 701446"/>
              <a:gd name="connsiteX2" fmla="*/ 7305999 w 7915599"/>
              <a:gd name="connsiteY2" fmla="*/ 589686 h 701446"/>
              <a:gd name="connsiteX3" fmla="*/ 2245360 w 7915599"/>
              <a:gd name="connsiteY3" fmla="*/ 663650 h 701446"/>
              <a:gd name="connsiteX4" fmla="*/ 1290320 w 7915599"/>
              <a:gd name="connsiteY4" fmla="*/ 663650 h 701446"/>
              <a:gd name="connsiteX5" fmla="*/ 0 w 7915599"/>
              <a:gd name="connsiteY5" fmla="*/ 701446 h 701446"/>
              <a:gd name="connsiteX6" fmla="*/ 20320 w 7915599"/>
              <a:gd name="connsiteY6" fmla="*/ 101600 h 701446"/>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0 w 7915599"/>
              <a:gd name="connsiteY5" fmla="*/ 701446 h 3650690"/>
              <a:gd name="connsiteX6" fmla="*/ 20320 w 7915599"/>
              <a:gd name="connsiteY6"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924560 w 7915599"/>
              <a:gd name="connsiteY5" fmla="*/ 22892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493520 w 7915599"/>
              <a:gd name="connsiteY3" fmla="*/ 69413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635760 w 7915599"/>
              <a:gd name="connsiteY3" fmla="*/ 95829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158240 w 7915599"/>
              <a:gd name="connsiteY3" fmla="*/ 75509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10050"/>
              <a:gd name="connsiteX1" fmla="*/ 7915599 w 7915599"/>
              <a:gd name="connsiteY1" fmla="*/ 0 h 3610050"/>
              <a:gd name="connsiteX2" fmla="*/ 7305999 w 7915599"/>
              <a:gd name="connsiteY2" fmla="*/ 589686 h 3610050"/>
              <a:gd name="connsiteX3" fmla="*/ 1158240 w 7915599"/>
              <a:gd name="connsiteY3" fmla="*/ 755090 h 3610050"/>
              <a:gd name="connsiteX4" fmla="*/ 1259840 w 7915599"/>
              <a:gd name="connsiteY4" fmla="*/ 354909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58240 w 7915599"/>
              <a:gd name="connsiteY3" fmla="*/ 75509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493520 w 7915599"/>
              <a:gd name="connsiteY3" fmla="*/ 49093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41981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2174240 w 7915599"/>
              <a:gd name="connsiteY4" fmla="*/ 358973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2174240 w 7915599"/>
              <a:gd name="connsiteY4" fmla="*/ 3589730 h 3610050"/>
              <a:gd name="connsiteX5" fmla="*/ 79248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5212080 w 7915599"/>
              <a:gd name="connsiteY4" fmla="*/ 3528770 h 3610050"/>
              <a:gd name="connsiteX5" fmla="*/ 79248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528770"/>
              <a:gd name="connsiteX1" fmla="*/ 7915599 w 7915599"/>
              <a:gd name="connsiteY1" fmla="*/ 0 h 3528770"/>
              <a:gd name="connsiteX2" fmla="*/ 7305999 w 7915599"/>
              <a:gd name="connsiteY2" fmla="*/ 589686 h 3528770"/>
              <a:gd name="connsiteX3" fmla="*/ 1117600 w 7915599"/>
              <a:gd name="connsiteY3" fmla="*/ 66365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773680 w 7915599"/>
              <a:gd name="connsiteY3" fmla="*/ 123261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936240 w 7915599"/>
              <a:gd name="connsiteY3" fmla="*/ 78557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936240 w 7915599"/>
              <a:gd name="connsiteY3" fmla="*/ 100909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6838639 w 7915599"/>
              <a:gd name="connsiteY2" fmla="*/ 1077366 h 3528770"/>
              <a:gd name="connsiteX3" fmla="*/ 2936240 w 7915599"/>
              <a:gd name="connsiteY3" fmla="*/ 100909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15200 w 7915599"/>
              <a:gd name="connsiteY2" fmla="*/ 572210 h 3528770"/>
              <a:gd name="connsiteX3" fmla="*/ 6838639 w 7915599"/>
              <a:gd name="connsiteY3" fmla="*/ 1077366 h 3528770"/>
              <a:gd name="connsiteX4" fmla="*/ 2936240 w 7915599"/>
              <a:gd name="connsiteY4" fmla="*/ 1009090 h 3528770"/>
              <a:gd name="connsiteX5" fmla="*/ 5212080 w 7915599"/>
              <a:gd name="connsiteY5" fmla="*/ 3528770 h 3528770"/>
              <a:gd name="connsiteX6" fmla="*/ 3393440 w 7915599"/>
              <a:gd name="connsiteY6" fmla="*/ 3528770 h 3528770"/>
              <a:gd name="connsiteX7" fmla="*/ 0 w 7915599"/>
              <a:gd name="connsiteY7" fmla="*/ 701446 h 3528770"/>
              <a:gd name="connsiteX8" fmla="*/ 20320 w 7915599"/>
              <a:gd name="connsiteY8" fmla="*/ 101600 h 3528770"/>
              <a:gd name="connsiteX0" fmla="*/ 20320 w 8972239"/>
              <a:gd name="connsiteY0" fmla="*/ 101600 h 3528770"/>
              <a:gd name="connsiteX1" fmla="*/ 7915599 w 8972239"/>
              <a:gd name="connsiteY1" fmla="*/ 0 h 3528770"/>
              <a:gd name="connsiteX2" fmla="*/ 7315200 w 8972239"/>
              <a:gd name="connsiteY2" fmla="*/ 572210 h 3528770"/>
              <a:gd name="connsiteX3" fmla="*/ 8972239 w 8972239"/>
              <a:gd name="connsiteY3" fmla="*/ 1189126 h 3528770"/>
              <a:gd name="connsiteX4" fmla="*/ 2936240 w 8972239"/>
              <a:gd name="connsiteY4" fmla="*/ 1009090 h 3528770"/>
              <a:gd name="connsiteX5" fmla="*/ 5212080 w 8972239"/>
              <a:gd name="connsiteY5" fmla="*/ 3528770 h 3528770"/>
              <a:gd name="connsiteX6" fmla="*/ 3393440 w 8972239"/>
              <a:gd name="connsiteY6" fmla="*/ 3528770 h 3528770"/>
              <a:gd name="connsiteX7" fmla="*/ 0 w 8972239"/>
              <a:gd name="connsiteY7" fmla="*/ 701446 h 3528770"/>
              <a:gd name="connsiteX8" fmla="*/ 20320 w 8972239"/>
              <a:gd name="connsiteY8" fmla="*/ 101600 h 3528770"/>
              <a:gd name="connsiteX0" fmla="*/ 20320 w 8972239"/>
              <a:gd name="connsiteY0" fmla="*/ 101600 h 3528770"/>
              <a:gd name="connsiteX1" fmla="*/ 7915599 w 8972239"/>
              <a:gd name="connsiteY1" fmla="*/ 0 h 3528770"/>
              <a:gd name="connsiteX2" fmla="*/ 7315200 w 8972239"/>
              <a:gd name="connsiteY2" fmla="*/ 572210 h 3528770"/>
              <a:gd name="connsiteX3" fmla="*/ 8087360 w 8972239"/>
              <a:gd name="connsiteY3" fmla="*/ 836370 h 3528770"/>
              <a:gd name="connsiteX4" fmla="*/ 8972239 w 8972239"/>
              <a:gd name="connsiteY4" fmla="*/ 1189126 h 3528770"/>
              <a:gd name="connsiteX5" fmla="*/ 2936240 w 8972239"/>
              <a:gd name="connsiteY5" fmla="*/ 1009090 h 3528770"/>
              <a:gd name="connsiteX6" fmla="*/ 5212080 w 8972239"/>
              <a:gd name="connsiteY6" fmla="*/ 3528770 h 3528770"/>
              <a:gd name="connsiteX7" fmla="*/ 3393440 w 8972239"/>
              <a:gd name="connsiteY7" fmla="*/ 3528770 h 3528770"/>
              <a:gd name="connsiteX8" fmla="*/ 0 w 8972239"/>
              <a:gd name="connsiteY8" fmla="*/ 701446 h 3528770"/>
              <a:gd name="connsiteX9" fmla="*/ 20320 w 8972239"/>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8972239 w 12252960"/>
              <a:gd name="connsiteY4" fmla="*/ 1189126 h 3528770"/>
              <a:gd name="connsiteX5" fmla="*/ 2936240 w 12252960"/>
              <a:gd name="connsiteY5" fmla="*/ 100909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12243759 w 12252960"/>
              <a:gd name="connsiteY4" fmla="*/ 1250086 h 3528770"/>
              <a:gd name="connsiteX5" fmla="*/ 2936240 w 12252960"/>
              <a:gd name="connsiteY5" fmla="*/ 100909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12243759 w 12252960"/>
              <a:gd name="connsiteY4" fmla="*/ 1250086 h 3528770"/>
              <a:gd name="connsiteX5" fmla="*/ 2651760 w 12252960"/>
              <a:gd name="connsiteY5" fmla="*/ 124277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651760 w 12252960"/>
              <a:gd name="connsiteY5" fmla="*/ 124277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952240 w 12252960"/>
              <a:gd name="connsiteY5" fmla="*/ 121229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95600 w 12252960"/>
              <a:gd name="connsiteY5" fmla="*/ 109037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281679 w 12252960"/>
              <a:gd name="connsiteY5" fmla="*/ 108021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281679 w 12252960"/>
              <a:gd name="connsiteY5" fmla="*/ 108021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956560 w 12252960"/>
              <a:gd name="connsiteY6" fmla="*/ 118181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956560 w 12252960"/>
              <a:gd name="connsiteY6" fmla="*/ 118181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956560 w 12252960"/>
              <a:gd name="connsiteY5" fmla="*/ 118181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383280 w 12252960"/>
              <a:gd name="connsiteY5" fmla="*/ 128341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701446 h 3589730"/>
              <a:gd name="connsiteX9" fmla="*/ 20320 w 12252960"/>
              <a:gd name="connsiteY9" fmla="*/ 101600 h 358973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985926 h 3589730"/>
              <a:gd name="connsiteX9" fmla="*/ 20320 w 12252960"/>
              <a:gd name="connsiteY9" fmla="*/ 101600 h 358973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985926 h 3589730"/>
              <a:gd name="connsiteX9" fmla="*/ 20320 w 12252960"/>
              <a:gd name="connsiteY9"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0 w 12232640"/>
              <a:gd name="connsiteY8" fmla="*/ 935126 h 3589730"/>
              <a:gd name="connsiteX9" fmla="*/ 0 w 12232640"/>
              <a:gd name="connsiteY9"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436879 w 12232640"/>
              <a:gd name="connsiteY8" fmla="*/ 1263090 h 3589730"/>
              <a:gd name="connsiteX9" fmla="*/ 0 w 12232640"/>
              <a:gd name="connsiteY9" fmla="*/ 935126 h 3589730"/>
              <a:gd name="connsiteX10" fmla="*/ 0 w 12232640"/>
              <a:gd name="connsiteY10"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436879 w 12232640"/>
              <a:gd name="connsiteY8" fmla="*/ 1263090 h 3589730"/>
              <a:gd name="connsiteX9" fmla="*/ 0 w 12232640"/>
              <a:gd name="connsiteY9" fmla="*/ 935126 h 3589730"/>
              <a:gd name="connsiteX10" fmla="*/ 0 w 12232640"/>
              <a:gd name="connsiteY10" fmla="*/ 101600 h 3589730"/>
              <a:gd name="connsiteX0" fmla="*/ 71120 w 12303760"/>
              <a:gd name="connsiteY0" fmla="*/ 101600 h 3589730"/>
              <a:gd name="connsiteX1" fmla="*/ 7966399 w 12303760"/>
              <a:gd name="connsiteY1" fmla="*/ 0 h 3589730"/>
              <a:gd name="connsiteX2" fmla="*/ 7366000 w 12303760"/>
              <a:gd name="connsiteY2" fmla="*/ 572210 h 3589730"/>
              <a:gd name="connsiteX3" fmla="*/ 12303760 w 12303760"/>
              <a:gd name="connsiteY3" fmla="*/ 612850 h 3589730"/>
              <a:gd name="connsiteX4" fmla="*/ 12294559 w 12303760"/>
              <a:gd name="connsiteY4" fmla="*/ 1250086 h 3589730"/>
              <a:gd name="connsiteX5" fmla="*/ 3434080 w 12303760"/>
              <a:gd name="connsiteY5" fmla="*/ 1283410 h 3589730"/>
              <a:gd name="connsiteX6" fmla="*/ 6431280 w 12303760"/>
              <a:gd name="connsiteY6" fmla="*/ 3589730 h 3589730"/>
              <a:gd name="connsiteX7" fmla="*/ 3444240 w 12303760"/>
              <a:gd name="connsiteY7" fmla="*/ 3528770 h 3589730"/>
              <a:gd name="connsiteX8" fmla="*/ 507999 w 12303760"/>
              <a:gd name="connsiteY8" fmla="*/ 1263090 h 3589730"/>
              <a:gd name="connsiteX9" fmla="*/ 0 w 12303760"/>
              <a:gd name="connsiteY9" fmla="*/ 1758086 h 3589730"/>
              <a:gd name="connsiteX10" fmla="*/ 71120 w 12303760"/>
              <a:gd name="connsiteY10" fmla="*/ 101600 h 3589730"/>
              <a:gd name="connsiteX0" fmla="*/ 50800 w 12283440"/>
              <a:gd name="connsiteY0" fmla="*/ 101600 h 3589730"/>
              <a:gd name="connsiteX1" fmla="*/ 7946079 w 12283440"/>
              <a:gd name="connsiteY1" fmla="*/ 0 h 3589730"/>
              <a:gd name="connsiteX2" fmla="*/ 7345680 w 12283440"/>
              <a:gd name="connsiteY2" fmla="*/ 572210 h 3589730"/>
              <a:gd name="connsiteX3" fmla="*/ 12283440 w 12283440"/>
              <a:gd name="connsiteY3" fmla="*/ 612850 h 3589730"/>
              <a:gd name="connsiteX4" fmla="*/ 12274239 w 12283440"/>
              <a:gd name="connsiteY4" fmla="*/ 1250086 h 3589730"/>
              <a:gd name="connsiteX5" fmla="*/ 3413760 w 12283440"/>
              <a:gd name="connsiteY5" fmla="*/ 1283410 h 3589730"/>
              <a:gd name="connsiteX6" fmla="*/ 6410960 w 12283440"/>
              <a:gd name="connsiteY6" fmla="*/ 3589730 h 3589730"/>
              <a:gd name="connsiteX7" fmla="*/ 3423920 w 12283440"/>
              <a:gd name="connsiteY7" fmla="*/ 3528770 h 3589730"/>
              <a:gd name="connsiteX8" fmla="*/ 487679 w 12283440"/>
              <a:gd name="connsiteY8" fmla="*/ 1263090 h 3589730"/>
              <a:gd name="connsiteX9" fmla="*/ 0 w 12283440"/>
              <a:gd name="connsiteY9" fmla="*/ 1361846 h 3589730"/>
              <a:gd name="connsiteX10" fmla="*/ 50800 w 12283440"/>
              <a:gd name="connsiteY10" fmla="*/ 101600 h 3589730"/>
              <a:gd name="connsiteX0" fmla="*/ 30480 w 12263120"/>
              <a:gd name="connsiteY0" fmla="*/ 101600 h 3589730"/>
              <a:gd name="connsiteX1" fmla="*/ 7925759 w 12263120"/>
              <a:gd name="connsiteY1" fmla="*/ 0 h 3589730"/>
              <a:gd name="connsiteX2" fmla="*/ 7325360 w 12263120"/>
              <a:gd name="connsiteY2" fmla="*/ 572210 h 3589730"/>
              <a:gd name="connsiteX3" fmla="*/ 12263120 w 12263120"/>
              <a:gd name="connsiteY3" fmla="*/ 612850 h 3589730"/>
              <a:gd name="connsiteX4" fmla="*/ 12253919 w 12263120"/>
              <a:gd name="connsiteY4" fmla="*/ 1250086 h 3589730"/>
              <a:gd name="connsiteX5" fmla="*/ 3393440 w 12263120"/>
              <a:gd name="connsiteY5" fmla="*/ 1283410 h 3589730"/>
              <a:gd name="connsiteX6" fmla="*/ 6390640 w 12263120"/>
              <a:gd name="connsiteY6" fmla="*/ 3589730 h 3589730"/>
              <a:gd name="connsiteX7" fmla="*/ 3403600 w 12263120"/>
              <a:gd name="connsiteY7" fmla="*/ 3528770 h 3589730"/>
              <a:gd name="connsiteX8" fmla="*/ 467359 w 12263120"/>
              <a:gd name="connsiteY8" fmla="*/ 1263090 h 3589730"/>
              <a:gd name="connsiteX9" fmla="*/ 0 w 12263120"/>
              <a:gd name="connsiteY9" fmla="*/ 1280566 h 3589730"/>
              <a:gd name="connsiteX10" fmla="*/ 30480 w 12263120"/>
              <a:gd name="connsiteY10" fmla="*/ 101600 h 3589730"/>
              <a:gd name="connsiteX0" fmla="*/ 30480 w 12263120"/>
              <a:gd name="connsiteY0" fmla="*/ 101600 h 3589730"/>
              <a:gd name="connsiteX1" fmla="*/ 7925759 w 12263120"/>
              <a:gd name="connsiteY1" fmla="*/ 0 h 3589730"/>
              <a:gd name="connsiteX2" fmla="*/ 7325360 w 12263120"/>
              <a:gd name="connsiteY2" fmla="*/ 572210 h 3589730"/>
              <a:gd name="connsiteX3" fmla="*/ 12263120 w 12263120"/>
              <a:gd name="connsiteY3" fmla="*/ 612850 h 3589730"/>
              <a:gd name="connsiteX4" fmla="*/ 12253919 w 12263120"/>
              <a:gd name="connsiteY4" fmla="*/ 1250086 h 3589730"/>
              <a:gd name="connsiteX5" fmla="*/ 3393440 w 12263120"/>
              <a:gd name="connsiteY5" fmla="*/ 1283410 h 3589730"/>
              <a:gd name="connsiteX6" fmla="*/ 6390640 w 12263120"/>
              <a:gd name="connsiteY6" fmla="*/ 3589730 h 3589730"/>
              <a:gd name="connsiteX7" fmla="*/ 3403600 w 12263120"/>
              <a:gd name="connsiteY7" fmla="*/ 3528770 h 3589730"/>
              <a:gd name="connsiteX8" fmla="*/ 467359 w 12263120"/>
              <a:gd name="connsiteY8" fmla="*/ 1263090 h 3589730"/>
              <a:gd name="connsiteX9" fmla="*/ 0 w 12263120"/>
              <a:gd name="connsiteY9" fmla="*/ 1219606 h 3589730"/>
              <a:gd name="connsiteX10" fmla="*/ 30480 w 12263120"/>
              <a:gd name="connsiteY10" fmla="*/ 101600 h 358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63120" h="3589730">
                <a:moveTo>
                  <a:pt x="30480" y="101600"/>
                </a:moveTo>
                <a:lnTo>
                  <a:pt x="7925759" y="0"/>
                </a:lnTo>
                <a:lnTo>
                  <a:pt x="7325360" y="572210"/>
                </a:lnTo>
                <a:lnTo>
                  <a:pt x="12263120" y="612850"/>
                </a:lnTo>
                <a:lnTo>
                  <a:pt x="12253919" y="1250086"/>
                </a:lnTo>
                <a:lnTo>
                  <a:pt x="3393440" y="1283410"/>
                </a:lnTo>
                <a:lnTo>
                  <a:pt x="6390640" y="3589730"/>
                </a:lnTo>
                <a:lnTo>
                  <a:pt x="3403600" y="3528770"/>
                </a:lnTo>
                <a:lnTo>
                  <a:pt x="467359" y="1263090"/>
                </a:lnTo>
                <a:lnTo>
                  <a:pt x="0" y="1219606"/>
                </a:lnTo>
                <a:lnTo>
                  <a:pt x="30480" y="101600"/>
                </a:lnTo>
                <a:close/>
              </a:path>
            </a:pathLst>
          </a:cu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cxnSp>
        <p:nvCxnSpPr>
          <p:cNvPr id="348" name="Straight Connector 347">
            <a:extLst>
              <a:ext uri="{FF2B5EF4-FFF2-40B4-BE49-F238E27FC236}">
                <a16:creationId xmlns:a16="http://schemas.microsoft.com/office/drawing/2014/main" id="{F3339352-4680-428B-A664-957353F8DB9F}"/>
              </a:ext>
            </a:extLst>
          </p:cNvPr>
          <p:cNvCxnSpPr>
            <a:cxnSpLocks/>
          </p:cNvCxnSpPr>
          <p:nvPr/>
        </p:nvCxnSpPr>
        <p:spPr>
          <a:xfrm>
            <a:off x="-12082" y="3831135"/>
            <a:ext cx="7170432" cy="0"/>
          </a:xfrm>
          <a:prstGeom prst="line">
            <a:avLst/>
          </a:prstGeom>
          <a:ln w="762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C51C83C2-E831-4DB5-AA75-97319EB94749}"/>
              </a:ext>
            </a:extLst>
          </p:cNvPr>
          <p:cNvCxnSpPr>
            <a:cxnSpLocks/>
          </p:cNvCxnSpPr>
          <p:nvPr/>
        </p:nvCxnSpPr>
        <p:spPr>
          <a:xfrm flipH="1" flipV="1">
            <a:off x="1137920" y="3885507"/>
            <a:ext cx="3911602" cy="2962309"/>
          </a:xfrm>
          <a:prstGeom prst="line">
            <a:avLst/>
          </a:prstGeom>
          <a:ln w="762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358" name="Rectangle 357">
            <a:extLst>
              <a:ext uri="{FF2B5EF4-FFF2-40B4-BE49-F238E27FC236}">
                <a16:creationId xmlns:a16="http://schemas.microsoft.com/office/drawing/2014/main" id="{4FFF2A67-798D-4E70-B857-BDD0EBFA2CBD}"/>
              </a:ext>
            </a:extLst>
          </p:cNvPr>
          <p:cNvSpPr/>
          <p:nvPr/>
        </p:nvSpPr>
        <p:spPr>
          <a:xfrm>
            <a:off x="7315200" y="3258110"/>
            <a:ext cx="4901081" cy="623010"/>
          </a:xfrm>
          <a:custGeom>
            <a:avLst/>
            <a:gdLst>
              <a:gd name="connsiteX0" fmla="*/ 0 w 2980841"/>
              <a:gd name="connsiteY0" fmla="*/ 0 h 978610"/>
              <a:gd name="connsiteX1" fmla="*/ 2980841 w 2980841"/>
              <a:gd name="connsiteY1" fmla="*/ 0 h 978610"/>
              <a:gd name="connsiteX2" fmla="*/ 2980841 w 2980841"/>
              <a:gd name="connsiteY2" fmla="*/ 978610 h 978610"/>
              <a:gd name="connsiteX3" fmla="*/ 0 w 2980841"/>
              <a:gd name="connsiteY3" fmla="*/ 978610 h 978610"/>
              <a:gd name="connsiteX4" fmla="*/ 0 w 2980841"/>
              <a:gd name="connsiteY4" fmla="*/ 0 h 978610"/>
              <a:gd name="connsiteX0" fmla="*/ 619760 w 3600601"/>
              <a:gd name="connsiteY0" fmla="*/ 0 h 978610"/>
              <a:gd name="connsiteX1" fmla="*/ 3600601 w 3600601"/>
              <a:gd name="connsiteY1" fmla="*/ 0 h 978610"/>
              <a:gd name="connsiteX2" fmla="*/ 3600601 w 3600601"/>
              <a:gd name="connsiteY2" fmla="*/ 978610 h 978610"/>
              <a:gd name="connsiteX3" fmla="*/ 0 w 3600601"/>
              <a:gd name="connsiteY3" fmla="*/ 551890 h 978610"/>
              <a:gd name="connsiteX4" fmla="*/ 619760 w 3600601"/>
              <a:gd name="connsiteY4" fmla="*/ 0 h 978610"/>
              <a:gd name="connsiteX0" fmla="*/ 619760 w 4860441"/>
              <a:gd name="connsiteY0" fmla="*/ 0 h 623010"/>
              <a:gd name="connsiteX1" fmla="*/ 3600601 w 4860441"/>
              <a:gd name="connsiteY1" fmla="*/ 0 h 623010"/>
              <a:gd name="connsiteX2" fmla="*/ 4860441 w 4860441"/>
              <a:gd name="connsiteY2" fmla="*/ 623010 h 623010"/>
              <a:gd name="connsiteX3" fmla="*/ 0 w 4860441"/>
              <a:gd name="connsiteY3" fmla="*/ 551890 h 623010"/>
              <a:gd name="connsiteX4" fmla="*/ 619760 w 4860441"/>
              <a:gd name="connsiteY4" fmla="*/ 0 h 623010"/>
              <a:gd name="connsiteX0" fmla="*/ 619760 w 4860441"/>
              <a:gd name="connsiteY0" fmla="*/ 20320 h 643330"/>
              <a:gd name="connsiteX1" fmla="*/ 4860441 w 4860441"/>
              <a:gd name="connsiteY1" fmla="*/ 0 h 643330"/>
              <a:gd name="connsiteX2" fmla="*/ 4860441 w 4860441"/>
              <a:gd name="connsiteY2" fmla="*/ 643330 h 643330"/>
              <a:gd name="connsiteX3" fmla="*/ 0 w 4860441"/>
              <a:gd name="connsiteY3" fmla="*/ 572210 h 643330"/>
              <a:gd name="connsiteX4" fmla="*/ 619760 w 4860441"/>
              <a:gd name="connsiteY4" fmla="*/ 20320 h 643330"/>
              <a:gd name="connsiteX0" fmla="*/ 619760 w 4901081"/>
              <a:gd name="connsiteY0" fmla="*/ 0 h 623010"/>
              <a:gd name="connsiteX1" fmla="*/ 4901081 w 4901081"/>
              <a:gd name="connsiteY1" fmla="*/ 101600 h 623010"/>
              <a:gd name="connsiteX2" fmla="*/ 4860441 w 4901081"/>
              <a:gd name="connsiteY2" fmla="*/ 623010 h 623010"/>
              <a:gd name="connsiteX3" fmla="*/ 0 w 4901081"/>
              <a:gd name="connsiteY3" fmla="*/ 551890 h 623010"/>
              <a:gd name="connsiteX4" fmla="*/ 619760 w 4901081"/>
              <a:gd name="connsiteY4" fmla="*/ 0 h 623010"/>
              <a:gd name="connsiteX0" fmla="*/ 619760 w 4870601"/>
              <a:gd name="connsiteY0" fmla="*/ 50800 h 673810"/>
              <a:gd name="connsiteX1" fmla="*/ 4870601 w 4870601"/>
              <a:gd name="connsiteY1" fmla="*/ 0 h 673810"/>
              <a:gd name="connsiteX2" fmla="*/ 4860441 w 4870601"/>
              <a:gd name="connsiteY2" fmla="*/ 673810 h 673810"/>
              <a:gd name="connsiteX3" fmla="*/ 0 w 4870601"/>
              <a:gd name="connsiteY3" fmla="*/ 602690 h 673810"/>
              <a:gd name="connsiteX4" fmla="*/ 619760 w 4870601"/>
              <a:gd name="connsiteY4" fmla="*/ 50800 h 673810"/>
              <a:gd name="connsiteX0" fmla="*/ 619760 w 4901081"/>
              <a:gd name="connsiteY0" fmla="*/ 0 h 623010"/>
              <a:gd name="connsiteX1" fmla="*/ 4901081 w 4901081"/>
              <a:gd name="connsiteY1" fmla="*/ 121920 h 623010"/>
              <a:gd name="connsiteX2" fmla="*/ 4860441 w 4901081"/>
              <a:gd name="connsiteY2" fmla="*/ 623010 h 623010"/>
              <a:gd name="connsiteX3" fmla="*/ 0 w 4901081"/>
              <a:gd name="connsiteY3" fmla="*/ 551890 h 623010"/>
              <a:gd name="connsiteX4" fmla="*/ 619760 w 4901081"/>
              <a:gd name="connsiteY4" fmla="*/ 0 h 623010"/>
              <a:gd name="connsiteX0" fmla="*/ 619760 w 4860441"/>
              <a:gd name="connsiteY0" fmla="*/ 60960 h 683970"/>
              <a:gd name="connsiteX1" fmla="*/ 4829961 w 4860441"/>
              <a:gd name="connsiteY1" fmla="*/ 0 h 683970"/>
              <a:gd name="connsiteX2" fmla="*/ 4860441 w 4860441"/>
              <a:gd name="connsiteY2" fmla="*/ 683970 h 683970"/>
              <a:gd name="connsiteX3" fmla="*/ 0 w 4860441"/>
              <a:gd name="connsiteY3" fmla="*/ 612850 h 683970"/>
              <a:gd name="connsiteX4" fmla="*/ 619760 w 4860441"/>
              <a:gd name="connsiteY4" fmla="*/ 60960 h 683970"/>
              <a:gd name="connsiteX0" fmla="*/ 619760 w 4860441"/>
              <a:gd name="connsiteY0" fmla="*/ 60960 h 683970"/>
              <a:gd name="connsiteX1" fmla="*/ 4819801 w 4860441"/>
              <a:gd name="connsiteY1" fmla="*/ 0 h 683970"/>
              <a:gd name="connsiteX2" fmla="*/ 4860441 w 4860441"/>
              <a:gd name="connsiteY2" fmla="*/ 683970 h 683970"/>
              <a:gd name="connsiteX3" fmla="*/ 0 w 4860441"/>
              <a:gd name="connsiteY3" fmla="*/ 612850 h 683970"/>
              <a:gd name="connsiteX4" fmla="*/ 619760 w 4860441"/>
              <a:gd name="connsiteY4" fmla="*/ 60960 h 683970"/>
              <a:gd name="connsiteX0" fmla="*/ 619760 w 4860441"/>
              <a:gd name="connsiteY0" fmla="*/ 50800 h 673810"/>
              <a:gd name="connsiteX1" fmla="*/ 4860441 w 4860441"/>
              <a:gd name="connsiteY1" fmla="*/ 0 h 673810"/>
              <a:gd name="connsiteX2" fmla="*/ 4860441 w 4860441"/>
              <a:gd name="connsiteY2" fmla="*/ 673810 h 673810"/>
              <a:gd name="connsiteX3" fmla="*/ 0 w 4860441"/>
              <a:gd name="connsiteY3" fmla="*/ 602690 h 673810"/>
              <a:gd name="connsiteX4" fmla="*/ 619760 w 4860441"/>
              <a:gd name="connsiteY4" fmla="*/ 50800 h 673810"/>
              <a:gd name="connsiteX0" fmla="*/ 619760 w 4870601"/>
              <a:gd name="connsiteY0" fmla="*/ 0 h 623010"/>
              <a:gd name="connsiteX1" fmla="*/ 4870601 w 4870601"/>
              <a:gd name="connsiteY1" fmla="*/ 50800 h 623010"/>
              <a:gd name="connsiteX2" fmla="*/ 4860441 w 4870601"/>
              <a:gd name="connsiteY2" fmla="*/ 623010 h 623010"/>
              <a:gd name="connsiteX3" fmla="*/ 0 w 4870601"/>
              <a:gd name="connsiteY3" fmla="*/ 551890 h 623010"/>
              <a:gd name="connsiteX4" fmla="*/ 619760 w 4870601"/>
              <a:gd name="connsiteY4" fmla="*/ 0 h 623010"/>
              <a:gd name="connsiteX0" fmla="*/ 619760 w 4901081"/>
              <a:gd name="connsiteY0" fmla="*/ 0 h 623010"/>
              <a:gd name="connsiteX1" fmla="*/ 4870601 w 4901081"/>
              <a:gd name="connsiteY1" fmla="*/ 50800 h 623010"/>
              <a:gd name="connsiteX2" fmla="*/ 4901081 w 4901081"/>
              <a:gd name="connsiteY2" fmla="*/ 623010 h 623010"/>
              <a:gd name="connsiteX3" fmla="*/ 0 w 4901081"/>
              <a:gd name="connsiteY3" fmla="*/ 551890 h 623010"/>
              <a:gd name="connsiteX4" fmla="*/ 619760 w 4901081"/>
              <a:gd name="connsiteY4" fmla="*/ 0 h 62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1081" h="623010">
                <a:moveTo>
                  <a:pt x="619760" y="0"/>
                </a:moveTo>
                <a:lnTo>
                  <a:pt x="4870601" y="50800"/>
                </a:lnTo>
                <a:lnTo>
                  <a:pt x="4901081" y="623010"/>
                </a:lnTo>
                <a:lnTo>
                  <a:pt x="0" y="551890"/>
                </a:lnTo>
                <a:lnTo>
                  <a:pt x="619760" y="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368" name="Picture 367">
            <a:extLst>
              <a:ext uri="{FF2B5EF4-FFF2-40B4-BE49-F238E27FC236}">
                <a16:creationId xmlns:a16="http://schemas.microsoft.com/office/drawing/2014/main" id="{8150AADB-0811-4B33-AF9C-45066E08F6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05970" y="2264055"/>
            <a:ext cx="3367254" cy="1517260"/>
          </a:xfrm>
          <a:prstGeom prst="rect">
            <a:avLst/>
          </a:prstGeom>
        </p:spPr>
      </p:pic>
      <p:pic>
        <p:nvPicPr>
          <p:cNvPr id="10" name="Picture 9">
            <a:extLst>
              <a:ext uri="{FF2B5EF4-FFF2-40B4-BE49-F238E27FC236}">
                <a16:creationId xmlns:a16="http://schemas.microsoft.com/office/drawing/2014/main" id="{E430B3C7-5AC6-4415-88F4-E932C5ABEA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137476">
            <a:off x="9264080" y="2569142"/>
            <a:ext cx="1379282" cy="1377934"/>
          </a:xfrm>
          <a:prstGeom prst="rect">
            <a:avLst/>
          </a:prstGeom>
        </p:spPr>
      </p:pic>
      <p:pic>
        <p:nvPicPr>
          <p:cNvPr id="3" name="Picture 2">
            <a:extLst>
              <a:ext uri="{FF2B5EF4-FFF2-40B4-BE49-F238E27FC236}">
                <a16:creationId xmlns:a16="http://schemas.microsoft.com/office/drawing/2014/main" id="{DB76EFB5-2CFB-4E92-8FB4-2C47348685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77518" y="1989548"/>
            <a:ext cx="2600759" cy="2181282"/>
          </a:xfrm>
          <a:prstGeom prst="rect">
            <a:avLst/>
          </a:prstGeom>
        </p:spPr>
      </p:pic>
      <p:pic>
        <p:nvPicPr>
          <p:cNvPr id="94" name="Picture 93">
            <a:extLst>
              <a:ext uri="{FF2B5EF4-FFF2-40B4-BE49-F238E27FC236}">
                <a16:creationId xmlns:a16="http://schemas.microsoft.com/office/drawing/2014/main" id="{4504B17C-A154-40AF-940F-4825105213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94951" y="1763304"/>
            <a:ext cx="3140264" cy="2633770"/>
          </a:xfrm>
          <a:prstGeom prst="rect">
            <a:avLst/>
          </a:prstGeom>
        </p:spPr>
      </p:pic>
      <p:pic>
        <p:nvPicPr>
          <p:cNvPr id="9" name="Picture 8">
            <a:extLst>
              <a:ext uri="{FF2B5EF4-FFF2-40B4-BE49-F238E27FC236}">
                <a16:creationId xmlns:a16="http://schemas.microsoft.com/office/drawing/2014/main" id="{E6496BE5-4DF8-4696-B4A7-22F396C8F51E}"/>
              </a:ext>
            </a:extLst>
          </p:cNvPr>
          <p:cNvPicPr>
            <a:picLocks noChangeAspect="1"/>
          </p:cNvPicPr>
          <p:nvPr/>
        </p:nvPicPr>
        <p:blipFill rotWithShape="1">
          <a:blip r:embed="rId5">
            <a:extLst>
              <a:ext uri="{28A0092B-C50C-407E-A947-70E740481C1C}">
                <a14:useLocalDpi xmlns:a14="http://schemas.microsoft.com/office/drawing/2010/main" val="0"/>
              </a:ext>
            </a:extLst>
          </a:blip>
          <a:srcRect l="16667" r="38044" b="7781"/>
          <a:stretch/>
        </p:blipFill>
        <p:spPr>
          <a:xfrm>
            <a:off x="8318646" y="0"/>
            <a:ext cx="2316481" cy="3820975"/>
          </a:xfrm>
          <a:prstGeom prst="rect">
            <a:avLst/>
          </a:prstGeom>
        </p:spPr>
      </p:pic>
      <p:sp>
        <p:nvSpPr>
          <p:cNvPr id="2" name="TextBox 1">
            <a:extLst>
              <a:ext uri="{FF2B5EF4-FFF2-40B4-BE49-F238E27FC236}">
                <a16:creationId xmlns:a16="http://schemas.microsoft.com/office/drawing/2014/main" id="{C5A1EE9C-FB89-4979-9127-7FF29ED78A92}"/>
              </a:ext>
            </a:extLst>
          </p:cNvPr>
          <p:cNvSpPr txBox="1"/>
          <p:nvPr/>
        </p:nvSpPr>
        <p:spPr>
          <a:xfrm>
            <a:off x="1137919" y="147782"/>
            <a:ext cx="4025207" cy="584775"/>
          </a:xfrm>
          <a:prstGeom prst="rect">
            <a:avLst/>
          </a:prstGeom>
          <a:noFill/>
        </p:spPr>
        <p:txBody>
          <a:bodyPr wrap="square" rtlCol="0">
            <a:spAutoFit/>
          </a:bodyPr>
          <a:lstStyle/>
          <a:p>
            <a:pPr algn="ctr"/>
            <a:r>
              <a:rPr lang="en-US" sz="3200" dirty="0"/>
              <a:t>Demolition Of Building</a:t>
            </a:r>
          </a:p>
        </p:txBody>
      </p:sp>
    </p:spTree>
    <p:extLst>
      <p:ext uri="{BB962C8B-B14F-4D97-AF65-F5344CB8AC3E}">
        <p14:creationId xmlns:p14="http://schemas.microsoft.com/office/powerpoint/2010/main" val="37779475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nodeType="clickEffect">
                                  <p:stCondLst>
                                    <p:cond delay="0"/>
                                  </p:stCondLst>
                                  <p:childTnLst>
                                    <p:animEffect transition="out" filter="wipe(up)">
                                      <p:cBhvr>
                                        <p:cTn id="6" dur="4000"/>
                                        <p:tgtEl>
                                          <p:spTgt spid="9"/>
                                        </p:tgtEl>
                                      </p:cBhvr>
                                    </p:animEffect>
                                    <p:set>
                                      <p:cBhvr>
                                        <p:cTn id="7" dur="1" fill="hold">
                                          <p:stCondLst>
                                            <p:cond delay="3999"/>
                                          </p:stCondLst>
                                        </p:cTn>
                                        <p:tgtEl>
                                          <p:spTgt spid="9"/>
                                        </p:tgtEl>
                                        <p:attrNameLst>
                                          <p:attrName>style.visibility</p:attrName>
                                        </p:attrNameLst>
                                      </p:cBhvr>
                                      <p:to>
                                        <p:strVal val="hidden"/>
                                      </p:to>
                                    </p:set>
                                  </p:childTnLst>
                                </p:cTn>
                              </p:par>
                              <p:par>
                                <p:cTn id="8" presetID="22" presetClass="entr" presetSubtype="4" fill="hold" nodeType="withEffect">
                                  <p:stCondLst>
                                    <p:cond delay="2000"/>
                                  </p:stCondLst>
                                  <p:childTnLst>
                                    <p:set>
                                      <p:cBhvr>
                                        <p:cTn id="9" dur="1" fill="hold">
                                          <p:stCondLst>
                                            <p:cond delay="0"/>
                                          </p:stCondLst>
                                        </p:cTn>
                                        <p:tgtEl>
                                          <p:spTgt spid="10"/>
                                        </p:tgtEl>
                                        <p:attrNameLst>
                                          <p:attrName>style.visibility</p:attrName>
                                        </p:attrNameLst>
                                      </p:cBhvr>
                                      <p:to>
                                        <p:strVal val="visible"/>
                                      </p:to>
                                    </p:set>
                                    <p:animEffect transition="in" filter="wipe(down)">
                                      <p:cBhvr>
                                        <p:cTn id="10" dur="2000"/>
                                        <p:tgtEl>
                                          <p:spTgt spid="10"/>
                                        </p:tgtEl>
                                      </p:cBhvr>
                                    </p:animEffect>
                                  </p:childTnLst>
                                </p:cTn>
                              </p:par>
                              <p:par>
                                <p:cTn id="11" presetID="22" presetClass="entr" presetSubtype="4" fill="hold" nodeType="withEffect">
                                  <p:stCondLst>
                                    <p:cond delay="2000"/>
                                  </p:stCondLst>
                                  <p:childTnLst>
                                    <p:set>
                                      <p:cBhvr>
                                        <p:cTn id="12" dur="1" fill="hold">
                                          <p:stCondLst>
                                            <p:cond delay="0"/>
                                          </p:stCondLst>
                                        </p:cTn>
                                        <p:tgtEl>
                                          <p:spTgt spid="3"/>
                                        </p:tgtEl>
                                        <p:attrNameLst>
                                          <p:attrName>style.visibility</p:attrName>
                                        </p:attrNameLst>
                                      </p:cBhvr>
                                      <p:to>
                                        <p:strVal val="visible"/>
                                      </p:to>
                                    </p:set>
                                    <p:animEffect transition="in" filter="wipe(down)">
                                      <p:cBhvr>
                                        <p:cTn id="13" dur="2000"/>
                                        <p:tgtEl>
                                          <p:spTgt spid="3"/>
                                        </p:tgtEl>
                                      </p:cBhvr>
                                    </p:animEffect>
                                  </p:childTnLst>
                                </p:cTn>
                              </p:par>
                              <p:par>
                                <p:cTn id="14" presetID="22" presetClass="entr" presetSubtype="4" fill="hold" nodeType="withEffect">
                                  <p:stCondLst>
                                    <p:cond delay="2000"/>
                                  </p:stCondLst>
                                  <p:childTnLst>
                                    <p:set>
                                      <p:cBhvr>
                                        <p:cTn id="15" dur="1" fill="hold">
                                          <p:stCondLst>
                                            <p:cond delay="0"/>
                                          </p:stCondLst>
                                        </p:cTn>
                                        <p:tgtEl>
                                          <p:spTgt spid="94"/>
                                        </p:tgtEl>
                                        <p:attrNameLst>
                                          <p:attrName>style.visibility</p:attrName>
                                        </p:attrNameLst>
                                      </p:cBhvr>
                                      <p:to>
                                        <p:strVal val="visible"/>
                                      </p:to>
                                    </p:set>
                                    <p:animEffect transition="in" filter="wipe(down)">
                                      <p:cBhvr>
                                        <p:cTn id="16" dur="20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Rectangle 282">
            <a:extLst>
              <a:ext uri="{FF2B5EF4-FFF2-40B4-BE49-F238E27FC236}">
                <a16:creationId xmlns:a16="http://schemas.microsoft.com/office/drawing/2014/main" id="{04A16556-7E9E-4E97-B6D4-91176E35235F}"/>
              </a:ext>
            </a:extLst>
          </p:cNvPr>
          <p:cNvSpPr/>
          <p:nvPr/>
        </p:nvSpPr>
        <p:spPr>
          <a:xfrm>
            <a:off x="-12082" y="3261335"/>
            <a:ext cx="12273280" cy="3586480"/>
          </a:xfrm>
          <a:custGeom>
            <a:avLst/>
            <a:gdLst>
              <a:gd name="connsiteX0" fmla="*/ 0 w 3159760"/>
              <a:gd name="connsiteY0" fmla="*/ 0 h 1412240"/>
              <a:gd name="connsiteX1" fmla="*/ 3159760 w 3159760"/>
              <a:gd name="connsiteY1" fmla="*/ 0 h 1412240"/>
              <a:gd name="connsiteX2" fmla="*/ 3159760 w 3159760"/>
              <a:gd name="connsiteY2" fmla="*/ 1412240 h 1412240"/>
              <a:gd name="connsiteX3" fmla="*/ 0 w 3159760"/>
              <a:gd name="connsiteY3" fmla="*/ 1412240 h 1412240"/>
              <a:gd name="connsiteX4" fmla="*/ 0 w 3159760"/>
              <a:gd name="connsiteY4" fmla="*/ 0 h 1412240"/>
              <a:gd name="connsiteX0" fmla="*/ 0 w 3159760"/>
              <a:gd name="connsiteY0" fmla="*/ 0 h 1412240"/>
              <a:gd name="connsiteX1" fmla="*/ 2895600 w 3159760"/>
              <a:gd name="connsiteY1" fmla="*/ 447040 h 1412240"/>
              <a:gd name="connsiteX2" fmla="*/ 3159760 w 3159760"/>
              <a:gd name="connsiteY2" fmla="*/ 1412240 h 1412240"/>
              <a:gd name="connsiteX3" fmla="*/ 0 w 3159760"/>
              <a:gd name="connsiteY3" fmla="*/ 1412240 h 1412240"/>
              <a:gd name="connsiteX4" fmla="*/ 0 w 3159760"/>
              <a:gd name="connsiteY4" fmla="*/ 0 h 1412240"/>
              <a:gd name="connsiteX0" fmla="*/ 0 w 3759200"/>
              <a:gd name="connsiteY0" fmla="*/ 0 h 1412240"/>
              <a:gd name="connsiteX1" fmla="*/ 2895600 w 3759200"/>
              <a:gd name="connsiteY1" fmla="*/ 447040 h 1412240"/>
              <a:gd name="connsiteX2" fmla="*/ 3759200 w 3759200"/>
              <a:gd name="connsiteY2" fmla="*/ 802640 h 1412240"/>
              <a:gd name="connsiteX3" fmla="*/ 0 w 3759200"/>
              <a:gd name="connsiteY3" fmla="*/ 1412240 h 1412240"/>
              <a:gd name="connsiteX4" fmla="*/ 0 w 3759200"/>
              <a:gd name="connsiteY4" fmla="*/ 0 h 1412240"/>
              <a:gd name="connsiteX0" fmla="*/ 0 w 3911600"/>
              <a:gd name="connsiteY0" fmla="*/ 203200 h 965200"/>
              <a:gd name="connsiteX1" fmla="*/ 3048000 w 3911600"/>
              <a:gd name="connsiteY1" fmla="*/ 0 h 965200"/>
              <a:gd name="connsiteX2" fmla="*/ 3911600 w 3911600"/>
              <a:gd name="connsiteY2" fmla="*/ 355600 h 965200"/>
              <a:gd name="connsiteX3" fmla="*/ 152400 w 3911600"/>
              <a:gd name="connsiteY3" fmla="*/ 965200 h 965200"/>
              <a:gd name="connsiteX4" fmla="*/ 0 w 3911600"/>
              <a:gd name="connsiteY4" fmla="*/ 203200 h 965200"/>
              <a:gd name="connsiteX0" fmla="*/ 0 w 3911600"/>
              <a:gd name="connsiteY0" fmla="*/ 203200 h 853440"/>
              <a:gd name="connsiteX1" fmla="*/ 3048000 w 3911600"/>
              <a:gd name="connsiteY1" fmla="*/ 0 h 853440"/>
              <a:gd name="connsiteX2" fmla="*/ 3911600 w 3911600"/>
              <a:gd name="connsiteY2" fmla="*/ 355600 h 853440"/>
              <a:gd name="connsiteX3" fmla="*/ 762000 w 3911600"/>
              <a:gd name="connsiteY3" fmla="*/ 853440 h 853440"/>
              <a:gd name="connsiteX4" fmla="*/ 0 w 3911600"/>
              <a:gd name="connsiteY4" fmla="*/ 203200 h 853440"/>
              <a:gd name="connsiteX0" fmla="*/ 0 w 3464560"/>
              <a:gd name="connsiteY0" fmla="*/ 467360 h 853440"/>
              <a:gd name="connsiteX1" fmla="*/ 2600960 w 3464560"/>
              <a:gd name="connsiteY1" fmla="*/ 0 h 853440"/>
              <a:gd name="connsiteX2" fmla="*/ 3464560 w 3464560"/>
              <a:gd name="connsiteY2" fmla="*/ 355600 h 853440"/>
              <a:gd name="connsiteX3" fmla="*/ 314960 w 3464560"/>
              <a:gd name="connsiteY3" fmla="*/ 853440 h 853440"/>
              <a:gd name="connsiteX4" fmla="*/ 0 w 3464560"/>
              <a:gd name="connsiteY4" fmla="*/ 467360 h 853440"/>
              <a:gd name="connsiteX0" fmla="*/ 0 w 3464560"/>
              <a:gd name="connsiteY0" fmla="*/ 335280 h 721360"/>
              <a:gd name="connsiteX1" fmla="*/ 2712720 w 3464560"/>
              <a:gd name="connsiteY1" fmla="*/ 0 h 721360"/>
              <a:gd name="connsiteX2" fmla="*/ 3464560 w 3464560"/>
              <a:gd name="connsiteY2" fmla="*/ 223520 h 721360"/>
              <a:gd name="connsiteX3" fmla="*/ 314960 w 3464560"/>
              <a:gd name="connsiteY3" fmla="*/ 721360 h 721360"/>
              <a:gd name="connsiteX4" fmla="*/ 0 w 3464560"/>
              <a:gd name="connsiteY4" fmla="*/ 335280 h 721360"/>
              <a:gd name="connsiteX0" fmla="*/ 0 w 4693920"/>
              <a:gd name="connsiteY0" fmla="*/ 538480 h 924560"/>
              <a:gd name="connsiteX1" fmla="*/ 4693920 w 4693920"/>
              <a:gd name="connsiteY1" fmla="*/ 0 h 924560"/>
              <a:gd name="connsiteX2" fmla="*/ 3464560 w 4693920"/>
              <a:gd name="connsiteY2" fmla="*/ 426720 h 924560"/>
              <a:gd name="connsiteX3" fmla="*/ 314960 w 4693920"/>
              <a:gd name="connsiteY3" fmla="*/ 924560 h 924560"/>
              <a:gd name="connsiteX4" fmla="*/ 0 w 4693920"/>
              <a:gd name="connsiteY4" fmla="*/ 538480 h 924560"/>
              <a:gd name="connsiteX0" fmla="*/ 0 w 4693920"/>
              <a:gd name="connsiteY0" fmla="*/ 538480 h 924560"/>
              <a:gd name="connsiteX1" fmla="*/ 4693920 w 4693920"/>
              <a:gd name="connsiteY1" fmla="*/ 0 h 924560"/>
              <a:gd name="connsiteX2" fmla="*/ 4277360 w 4693920"/>
              <a:gd name="connsiteY2" fmla="*/ 355600 h 924560"/>
              <a:gd name="connsiteX3" fmla="*/ 314960 w 4693920"/>
              <a:gd name="connsiteY3" fmla="*/ 924560 h 924560"/>
              <a:gd name="connsiteX4" fmla="*/ 0 w 4693920"/>
              <a:gd name="connsiteY4" fmla="*/ 538480 h 924560"/>
              <a:gd name="connsiteX0" fmla="*/ 0 w 5008880"/>
              <a:gd name="connsiteY0" fmla="*/ 802640 h 1188720"/>
              <a:gd name="connsiteX1" fmla="*/ 5008880 w 5008880"/>
              <a:gd name="connsiteY1" fmla="*/ 0 h 1188720"/>
              <a:gd name="connsiteX2" fmla="*/ 4277360 w 5008880"/>
              <a:gd name="connsiteY2" fmla="*/ 619760 h 1188720"/>
              <a:gd name="connsiteX3" fmla="*/ 314960 w 5008880"/>
              <a:gd name="connsiteY3" fmla="*/ 1188720 h 1188720"/>
              <a:gd name="connsiteX4" fmla="*/ 0 w 5008880"/>
              <a:gd name="connsiteY4" fmla="*/ 802640 h 1188720"/>
              <a:gd name="connsiteX0" fmla="*/ 1188720 w 4693920"/>
              <a:gd name="connsiteY0" fmla="*/ 30480 h 1188720"/>
              <a:gd name="connsiteX1" fmla="*/ 4693920 w 4693920"/>
              <a:gd name="connsiteY1" fmla="*/ 0 h 1188720"/>
              <a:gd name="connsiteX2" fmla="*/ 3962400 w 4693920"/>
              <a:gd name="connsiteY2" fmla="*/ 619760 h 1188720"/>
              <a:gd name="connsiteX3" fmla="*/ 0 w 4693920"/>
              <a:gd name="connsiteY3" fmla="*/ 1188720 h 1188720"/>
              <a:gd name="connsiteX4" fmla="*/ 1188720 w 4693920"/>
              <a:gd name="connsiteY4" fmla="*/ 30480 h 1188720"/>
              <a:gd name="connsiteX0" fmla="*/ 467360 w 3972560"/>
              <a:gd name="connsiteY0" fmla="*/ 30480 h 690880"/>
              <a:gd name="connsiteX1" fmla="*/ 3972560 w 3972560"/>
              <a:gd name="connsiteY1" fmla="*/ 0 h 690880"/>
              <a:gd name="connsiteX2" fmla="*/ 3241040 w 3972560"/>
              <a:gd name="connsiteY2" fmla="*/ 619760 h 690880"/>
              <a:gd name="connsiteX3" fmla="*/ 0 w 3972560"/>
              <a:gd name="connsiteY3" fmla="*/ 690880 h 690880"/>
              <a:gd name="connsiteX4" fmla="*/ 467360 w 3972560"/>
              <a:gd name="connsiteY4" fmla="*/ 30480 h 690880"/>
              <a:gd name="connsiteX0" fmla="*/ 0 w 7904480"/>
              <a:gd name="connsiteY0" fmla="*/ 0 h 995680"/>
              <a:gd name="connsiteX1" fmla="*/ 7904480 w 7904480"/>
              <a:gd name="connsiteY1" fmla="*/ 304800 h 995680"/>
              <a:gd name="connsiteX2" fmla="*/ 7172960 w 7904480"/>
              <a:gd name="connsiteY2" fmla="*/ 924560 h 995680"/>
              <a:gd name="connsiteX3" fmla="*/ 3931920 w 7904480"/>
              <a:gd name="connsiteY3" fmla="*/ 995680 h 995680"/>
              <a:gd name="connsiteX4" fmla="*/ 0 w 7904480"/>
              <a:gd name="connsiteY4" fmla="*/ 0 h 995680"/>
              <a:gd name="connsiteX0" fmla="*/ 20320 w 7924800"/>
              <a:gd name="connsiteY0" fmla="*/ 0 h 1178560"/>
              <a:gd name="connsiteX1" fmla="*/ 7924800 w 7924800"/>
              <a:gd name="connsiteY1" fmla="*/ 304800 h 1178560"/>
              <a:gd name="connsiteX2" fmla="*/ 7193280 w 7924800"/>
              <a:gd name="connsiteY2" fmla="*/ 924560 h 1178560"/>
              <a:gd name="connsiteX3" fmla="*/ 0 w 7924800"/>
              <a:gd name="connsiteY3" fmla="*/ 1178560 h 1178560"/>
              <a:gd name="connsiteX4" fmla="*/ 20320 w 7924800"/>
              <a:gd name="connsiteY4" fmla="*/ 0 h 1178560"/>
              <a:gd name="connsiteX0" fmla="*/ 10160 w 7924800"/>
              <a:gd name="connsiteY0" fmla="*/ 60960 h 873760"/>
              <a:gd name="connsiteX1" fmla="*/ 7924800 w 7924800"/>
              <a:gd name="connsiteY1" fmla="*/ 0 h 873760"/>
              <a:gd name="connsiteX2" fmla="*/ 7193280 w 7924800"/>
              <a:gd name="connsiteY2" fmla="*/ 619760 h 873760"/>
              <a:gd name="connsiteX3" fmla="*/ 0 w 7924800"/>
              <a:gd name="connsiteY3" fmla="*/ 873760 h 873760"/>
              <a:gd name="connsiteX4" fmla="*/ 10160 w 7924800"/>
              <a:gd name="connsiteY4" fmla="*/ 60960 h 873760"/>
              <a:gd name="connsiteX0" fmla="*/ 10160 w 7924800"/>
              <a:gd name="connsiteY0" fmla="*/ 60960 h 3616960"/>
              <a:gd name="connsiteX1" fmla="*/ 7924800 w 7924800"/>
              <a:gd name="connsiteY1" fmla="*/ 0 h 3616960"/>
              <a:gd name="connsiteX2" fmla="*/ 3474720 w 7924800"/>
              <a:gd name="connsiteY2" fmla="*/ 3616960 h 3616960"/>
              <a:gd name="connsiteX3" fmla="*/ 0 w 7924800"/>
              <a:gd name="connsiteY3" fmla="*/ 873760 h 3616960"/>
              <a:gd name="connsiteX4" fmla="*/ 10160 w 7924800"/>
              <a:gd name="connsiteY4" fmla="*/ 60960 h 3616960"/>
              <a:gd name="connsiteX0" fmla="*/ 0 w 7914640"/>
              <a:gd name="connsiteY0" fmla="*/ 60960 h 3616960"/>
              <a:gd name="connsiteX1" fmla="*/ 7914640 w 7914640"/>
              <a:gd name="connsiteY1" fmla="*/ 0 h 3616960"/>
              <a:gd name="connsiteX2" fmla="*/ 3464560 w 7914640"/>
              <a:gd name="connsiteY2" fmla="*/ 3616960 h 3616960"/>
              <a:gd name="connsiteX3" fmla="*/ 30480 w 7914640"/>
              <a:gd name="connsiteY3" fmla="*/ 3586480 h 3616960"/>
              <a:gd name="connsiteX4" fmla="*/ 0 w 7914640"/>
              <a:gd name="connsiteY4" fmla="*/ 60960 h 3616960"/>
              <a:gd name="connsiteX0" fmla="*/ 0 w 7914640"/>
              <a:gd name="connsiteY0" fmla="*/ 60960 h 3616960"/>
              <a:gd name="connsiteX1" fmla="*/ 7914640 w 7914640"/>
              <a:gd name="connsiteY1" fmla="*/ 0 h 3616960"/>
              <a:gd name="connsiteX2" fmla="*/ 7185042 w 7914640"/>
              <a:gd name="connsiteY2" fmla="*/ 579145 h 3616960"/>
              <a:gd name="connsiteX3" fmla="*/ 3464560 w 7914640"/>
              <a:gd name="connsiteY3" fmla="*/ 3616960 h 3616960"/>
              <a:gd name="connsiteX4" fmla="*/ 30480 w 7914640"/>
              <a:gd name="connsiteY4" fmla="*/ 3586480 h 3616960"/>
              <a:gd name="connsiteX5" fmla="*/ 0 w 7914640"/>
              <a:gd name="connsiteY5" fmla="*/ 60960 h 361696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30480 w 12273280"/>
              <a:gd name="connsiteY4" fmla="*/ 3586480 h 3586480"/>
              <a:gd name="connsiteX5" fmla="*/ 0 w 12273280"/>
              <a:gd name="connsiteY5"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30480 w 12273280"/>
              <a:gd name="connsiteY4" fmla="*/ 3586480 h 3586480"/>
              <a:gd name="connsiteX5" fmla="*/ 0 w 12273280"/>
              <a:gd name="connsiteY5"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7875922 w 12273280"/>
              <a:gd name="connsiteY4" fmla="*/ 1686585 h 3586480"/>
              <a:gd name="connsiteX5" fmla="*/ 30480 w 12273280"/>
              <a:gd name="connsiteY5" fmla="*/ 3586480 h 3586480"/>
              <a:gd name="connsiteX6" fmla="*/ 0 w 12273280"/>
              <a:gd name="connsiteY6"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12183762 w 12273280"/>
              <a:gd name="connsiteY4" fmla="*/ 3545865 h 3586480"/>
              <a:gd name="connsiteX5" fmla="*/ 30480 w 12273280"/>
              <a:gd name="connsiteY5" fmla="*/ 3586480 h 3586480"/>
              <a:gd name="connsiteX6" fmla="*/ 0 w 12273280"/>
              <a:gd name="connsiteY6"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12163442 w 12273280"/>
              <a:gd name="connsiteY4" fmla="*/ 3545865 h 3586480"/>
              <a:gd name="connsiteX5" fmla="*/ 30480 w 12273280"/>
              <a:gd name="connsiteY5" fmla="*/ 3586480 h 3586480"/>
              <a:gd name="connsiteX6" fmla="*/ 0 w 12273280"/>
              <a:gd name="connsiteY6" fmla="*/ 60960 h 35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3280" h="3586480">
                <a:moveTo>
                  <a:pt x="0" y="60960"/>
                </a:moveTo>
                <a:lnTo>
                  <a:pt x="7914640" y="0"/>
                </a:lnTo>
                <a:lnTo>
                  <a:pt x="7185042" y="579145"/>
                </a:lnTo>
                <a:lnTo>
                  <a:pt x="12273280" y="629920"/>
                </a:lnTo>
                <a:lnTo>
                  <a:pt x="12163442" y="3545865"/>
                </a:lnTo>
                <a:lnTo>
                  <a:pt x="30480" y="3586480"/>
                </a:lnTo>
                <a:lnTo>
                  <a:pt x="0" y="60960"/>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45" name="Rectangle 344">
            <a:extLst>
              <a:ext uri="{FF2B5EF4-FFF2-40B4-BE49-F238E27FC236}">
                <a16:creationId xmlns:a16="http://schemas.microsoft.com/office/drawing/2014/main" id="{27866B50-D3EC-45AB-A1DF-B7D144E796E1}"/>
              </a:ext>
            </a:extLst>
          </p:cNvPr>
          <p:cNvSpPr/>
          <p:nvPr/>
        </p:nvSpPr>
        <p:spPr>
          <a:xfrm>
            <a:off x="-20319" y="3258110"/>
            <a:ext cx="12263120" cy="3589730"/>
          </a:xfrm>
          <a:custGeom>
            <a:avLst/>
            <a:gdLst>
              <a:gd name="connsiteX0" fmla="*/ 0 w 7295839"/>
              <a:gd name="connsiteY0" fmla="*/ 0 h 488086"/>
              <a:gd name="connsiteX1" fmla="*/ 7295839 w 7295839"/>
              <a:gd name="connsiteY1" fmla="*/ 0 h 488086"/>
              <a:gd name="connsiteX2" fmla="*/ 7295839 w 7295839"/>
              <a:gd name="connsiteY2" fmla="*/ 488086 h 488086"/>
              <a:gd name="connsiteX3" fmla="*/ 0 w 7295839"/>
              <a:gd name="connsiteY3" fmla="*/ 488086 h 488086"/>
              <a:gd name="connsiteX4" fmla="*/ 0 w 7295839"/>
              <a:gd name="connsiteY4" fmla="*/ 0 h 488086"/>
              <a:gd name="connsiteX0" fmla="*/ 0 w 7905439"/>
              <a:gd name="connsiteY0" fmla="*/ 101600 h 589686"/>
              <a:gd name="connsiteX1" fmla="*/ 7905439 w 7905439"/>
              <a:gd name="connsiteY1" fmla="*/ 0 h 589686"/>
              <a:gd name="connsiteX2" fmla="*/ 7295839 w 7905439"/>
              <a:gd name="connsiteY2" fmla="*/ 589686 h 589686"/>
              <a:gd name="connsiteX3" fmla="*/ 0 w 7905439"/>
              <a:gd name="connsiteY3" fmla="*/ 589686 h 589686"/>
              <a:gd name="connsiteX4" fmla="*/ 0 w 7905439"/>
              <a:gd name="connsiteY4" fmla="*/ 101600 h 589686"/>
              <a:gd name="connsiteX0" fmla="*/ 10160 w 7905439"/>
              <a:gd name="connsiteY0" fmla="*/ 101600 h 589686"/>
              <a:gd name="connsiteX1" fmla="*/ 7905439 w 7905439"/>
              <a:gd name="connsiteY1" fmla="*/ 0 h 589686"/>
              <a:gd name="connsiteX2" fmla="*/ 7295839 w 7905439"/>
              <a:gd name="connsiteY2" fmla="*/ 589686 h 589686"/>
              <a:gd name="connsiteX3" fmla="*/ 0 w 7905439"/>
              <a:gd name="connsiteY3" fmla="*/ 589686 h 589686"/>
              <a:gd name="connsiteX4" fmla="*/ 10160 w 7905439"/>
              <a:gd name="connsiteY4" fmla="*/ 101600 h 589686"/>
              <a:gd name="connsiteX0" fmla="*/ 20320 w 7915599"/>
              <a:gd name="connsiteY0" fmla="*/ 101600 h 701446"/>
              <a:gd name="connsiteX1" fmla="*/ 7915599 w 7915599"/>
              <a:gd name="connsiteY1" fmla="*/ 0 h 701446"/>
              <a:gd name="connsiteX2" fmla="*/ 7305999 w 7915599"/>
              <a:gd name="connsiteY2" fmla="*/ 589686 h 701446"/>
              <a:gd name="connsiteX3" fmla="*/ 0 w 7915599"/>
              <a:gd name="connsiteY3" fmla="*/ 701446 h 701446"/>
              <a:gd name="connsiteX4" fmla="*/ 20320 w 7915599"/>
              <a:gd name="connsiteY4" fmla="*/ 101600 h 701446"/>
              <a:gd name="connsiteX0" fmla="*/ 20320 w 7915599"/>
              <a:gd name="connsiteY0" fmla="*/ 101600 h 701446"/>
              <a:gd name="connsiteX1" fmla="*/ 7915599 w 7915599"/>
              <a:gd name="connsiteY1" fmla="*/ 0 h 701446"/>
              <a:gd name="connsiteX2" fmla="*/ 7305999 w 7915599"/>
              <a:gd name="connsiteY2" fmla="*/ 589686 h 701446"/>
              <a:gd name="connsiteX3" fmla="*/ 2245360 w 7915599"/>
              <a:gd name="connsiteY3" fmla="*/ 663650 h 701446"/>
              <a:gd name="connsiteX4" fmla="*/ 0 w 7915599"/>
              <a:gd name="connsiteY4" fmla="*/ 701446 h 701446"/>
              <a:gd name="connsiteX5" fmla="*/ 20320 w 7915599"/>
              <a:gd name="connsiteY5" fmla="*/ 101600 h 701446"/>
              <a:gd name="connsiteX0" fmla="*/ 20320 w 7915599"/>
              <a:gd name="connsiteY0" fmla="*/ 101600 h 701446"/>
              <a:gd name="connsiteX1" fmla="*/ 7915599 w 7915599"/>
              <a:gd name="connsiteY1" fmla="*/ 0 h 701446"/>
              <a:gd name="connsiteX2" fmla="*/ 7305999 w 7915599"/>
              <a:gd name="connsiteY2" fmla="*/ 589686 h 701446"/>
              <a:gd name="connsiteX3" fmla="*/ 2245360 w 7915599"/>
              <a:gd name="connsiteY3" fmla="*/ 663650 h 701446"/>
              <a:gd name="connsiteX4" fmla="*/ 1290320 w 7915599"/>
              <a:gd name="connsiteY4" fmla="*/ 663650 h 701446"/>
              <a:gd name="connsiteX5" fmla="*/ 0 w 7915599"/>
              <a:gd name="connsiteY5" fmla="*/ 701446 h 701446"/>
              <a:gd name="connsiteX6" fmla="*/ 20320 w 7915599"/>
              <a:gd name="connsiteY6" fmla="*/ 101600 h 701446"/>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0 w 7915599"/>
              <a:gd name="connsiteY5" fmla="*/ 701446 h 3650690"/>
              <a:gd name="connsiteX6" fmla="*/ 20320 w 7915599"/>
              <a:gd name="connsiteY6"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924560 w 7915599"/>
              <a:gd name="connsiteY5" fmla="*/ 22892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493520 w 7915599"/>
              <a:gd name="connsiteY3" fmla="*/ 69413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635760 w 7915599"/>
              <a:gd name="connsiteY3" fmla="*/ 95829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158240 w 7915599"/>
              <a:gd name="connsiteY3" fmla="*/ 75509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10050"/>
              <a:gd name="connsiteX1" fmla="*/ 7915599 w 7915599"/>
              <a:gd name="connsiteY1" fmla="*/ 0 h 3610050"/>
              <a:gd name="connsiteX2" fmla="*/ 7305999 w 7915599"/>
              <a:gd name="connsiteY2" fmla="*/ 589686 h 3610050"/>
              <a:gd name="connsiteX3" fmla="*/ 1158240 w 7915599"/>
              <a:gd name="connsiteY3" fmla="*/ 755090 h 3610050"/>
              <a:gd name="connsiteX4" fmla="*/ 1259840 w 7915599"/>
              <a:gd name="connsiteY4" fmla="*/ 354909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58240 w 7915599"/>
              <a:gd name="connsiteY3" fmla="*/ 75509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493520 w 7915599"/>
              <a:gd name="connsiteY3" fmla="*/ 49093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41981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2174240 w 7915599"/>
              <a:gd name="connsiteY4" fmla="*/ 358973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2174240 w 7915599"/>
              <a:gd name="connsiteY4" fmla="*/ 3589730 h 3610050"/>
              <a:gd name="connsiteX5" fmla="*/ 79248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5212080 w 7915599"/>
              <a:gd name="connsiteY4" fmla="*/ 3528770 h 3610050"/>
              <a:gd name="connsiteX5" fmla="*/ 79248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528770"/>
              <a:gd name="connsiteX1" fmla="*/ 7915599 w 7915599"/>
              <a:gd name="connsiteY1" fmla="*/ 0 h 3528770"/>
              <a:gd name="connsiteX2" fmla="*/ 7305999 w 7915599"/>
              <a:gd name="connsiteY2" fmla="*/ 589686 h 3528770"/>
              <a:gd name="connsiteX3" fmla="*/ 1117600 w 7915599"/>
              <a:gd name="connsiteY3" fmla="*/ 66365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773680 w 7915599"/>
              <a:gd name="connsiteY3" fmla="*/ 123261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936240 w 7915599"/>
              <a:gd name="connsiteY3" fmla="*/ 78557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936240 w 7915599"/>
              <a:gd name="connsiteY3" fmla="*/ 100909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6838639 w 7915599"/>
              <a:gd name="connsiteY2" fmla="*/ 1077366 h 3528770"/>
              <a:gd name="connsiteX3" fmla="*/ 2936240 w 7915599"/>
              <a:gd name="connsiteY3" fmla="*/ 100909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15200 w 7915599"/>
              <a:gd name="connsiteY2" fmla="*/ 572210 h 3528770"/>
              <a:gd name="connsiteX3" fmla="*/ 6838639 w 7915599"/>
              <a:gd name="connsiteY3" fmla="*/ 1077366 h 3528770"/>
              <a:gd name="connsiteX4" fmla="*/ 2936240 w 7915599"/>
              <a:gd name="connsiteY4" fmla="*/ 1009090 h 3528770"/>
              <a:gd name="connsiteX5" fmla="*/ 5212080 w 7915599"/>
              <a:gd name="connsiteY5" fmla="*/ 3528770 h 3528770"/>
              <a:gd name="connsiteX6" fmla="*/ 3393440 w 7915599"/>
              <a:gd name="connsiteY6" fmla="*/ 3528770 h 3528770"/>
              <a:gd name="connsiteX7" fmla="*/ 0 w 7915599"/>
              <a:gd name="connsiteY7" fmla="*/ 701446 h 3528770"/>
              <a:gd name="connsiteX8" fmla="*/ 20320 w 7915599"/>
              <a:gd name="connsiteY8" fmla="*/ 101600 h 3528770"/>
              <a:gd name="connsiteX0" fmla="*/ 20320 w 8972239"/>
              <a:gd name="connsiteY0" fmla="*/ 101600 h 3528770"/>
              <a:gd name="connsiteX1" fmla="*/ 7915599 w 8972239"/>
              <a:gd name="connsiteY1" fmla="*/ 0 h 3528770"/>
              <a:gd name="connsiteX2" fmla="*/ 7315200 w 8972239"/>
              <a:gd name="connsiteY2" fmla="*/ 572210 h 3528770"/>
              <a:gd name="connsiteX3" fmla="*/ 8972239 w 8972239"/>
              <a:gd name="connsiteY3" fmla="*/ 1189126 h 3528770"/>
              <a:gd name="connsiteX4" fmla="*/ 2936240 w 8972239"/>
              <a:gd name="connsiteY4" fmla="*/ 1009090 h 3528770"/>
              <a:gd name="connsiteX5" fmla="*/ 5212080 w 8972239"/>
              <a:gd name="connsiteY5" fmla="*/ 3528770 h 3528770"/>
              <a:gd name="connsiteX6" fmla="*/ 3393440 w 8972239"/>
              <a:gd name="connsiteY6" fmla="*/ 3528770 h 3528770"/>
              <a:gd name="connsiteX7" fmla="*/ 0 w 8972239"/>
              <a:gd name="connsiteY7" fmla="*/ 701446 h 3528770"/>
              <a:gd name="connsiteX8" fmla="*/ 20320 w 8972239"/>
              <a:gd name="connsiteY8" fmla="*/ 101600 h 3528770"/>
              <a:gd name="connsiteX0" fmla="*/ 20320 w 8972239"/>
              <a:gd name="connsiteY0" fmla="*/ 101600 h 3528770"/>
              <a:gd name="connsiteX1" fmla="*/ 7915599 w 8972239"/>
              <a:gd name="connsiteY1" fmla="*/ 0 h 3528770"/>
              <a:gd name="connsiteX2" fmla="*/ 7315200 w 8972239"/>
              <a:gd name="connsiteY2" fmla="*/ 572210 h 3528770"/>
              <a:gd name="connsiteX3" fmla="*/ 8087360 w 8972239"/>
              <a:gd name="connsiteY3" fmla="*/ 836370 h 3528770"/>
              <a:gd name="connsiteX4" fmla="*/ 8972239 w 8972239"/>
              <a:gd name="connsiteY4" fmla="*/ 1189126 h 3528770"/>
              <a:gd name="connsiteX5" fmla="*/ 2936240 w 8972239"/>
              <a:gd name="connsiteY5" fmla="*/ 1009090 h 3528770"/>
              <a:gd name="connsiteX6" fmla="*/ 5212080 w 8972239"/>
              <a:gd name="connsiteY6" fmla="*/ 3528770 h 3528770"/>
              <a:gd name="connsiteX7" fmla="*/ 3393440 w 8972239"/>
              <a:gd name="connsiteY7" fmla="*/ 3528770 h 3528770"/>
              <a:gd name="connsiteX8" fmla="*/ 0 w 8972239"/>
              <a:gd name="connsiteY8" fmla="*/ 701446 h 3528770"/>
              <a:gd name="connsiteX9" fmla="*/ 20320 w 8972239"/>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8972239 w 12252960"/>
              <a:gd name="connsiteY4" fmla="*/ 1189126 h 3528770"/>
              <a:gd name="connsiteX5" fmla="*/ 2936240 w 12252960"/>
              <a:gd name="connsiteY5" fmla="*/ 100909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12243759 w 12252960"/>
              <a:gd name="connsiteY4" fmla="*/ 1250086 h 3528770"/>
              <a:gd name="connsiteX5" fmla="*/ 2936240 w 12252960"/>
              <a:gd name="connsiteY5" fmla="*/ 100909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12243759 w 12252960"/>
              <a:gd name="connsiteY4" fmla="*/ 1250086 h 3528770"/>
              <a:gd name="connsiteX5" fmla="*/ 2651760 w 12252960"/>
              <a:gd name="connsiteY5" fmla="*/ 124277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651760 w 12252960"/>
              <a:gd name="connsiteY5" fmla="*/ 124277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952240 w 12252960"/>
              <a:gd name="connsiteY5" fmla="*/ 121229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95600 w 12252960"/>
              <a:gd name="connsiteY5" fmla="*/ 109037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281679 w 12252960"/>
              <a:gd name="connsiteY5" fmla="*/ 108021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281679 w 12252960"/>
              <a:gd name="connsiteY5" fmla="*/ 108021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956560 w 12252960"/>
              <a:gd name="connsiteY6" fmla="*/ 118181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956560 w 12252960"/>
              <a:gd name="connsiteY6" fmla="*/ 118181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956560 w 12252960"/>
              <a:gd name="connsiteY5" fmla="*/ 118181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383280 w 12252960"/>
              <a:gd name="connsiteY5" fmla="*/ 128341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701446 h 3589730"/>
              <a:gd name="connsiteX9" fmla="*/ 20320 w 12252960"/>
              <a:gd name="connsiteY9" fmla="*/ 101600 h 358973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985926 h 3589730"/>
              <a:gd name="connsiteX9" fmla="*/ 20320 w 12252960"/>
              <a:gd name="connsiteY9" fmla="*/ 101600 h 358973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985926 h 3589730"/>
              <a:gd name="connsiteX9" fmla="*/ 20320 w 12252960"/>
              <a:gd name="connsiteY9"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0 w 12232640"/>
              <a:gd name="connsiteY8" fmla="*/ 935126 h 3589730"/>
              <a:gd name="connsiteX9" fmla="*/ 0 w 12232640"/>
              <a:gd name="connsiteY9"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436879 w 12232640"/>
              <a:gd name="connsiteY8" fmla="*/ 1263090 h 3589730"/>
              <a:gd name="connsiteX9" fmla="*/ 0 w 12232640"/>
              <a:gd name="connsiteY9" fmla="*/ 935126 h 3589730"/>
              <a:gd name="connsiteX10" fmla="*/ 0 w 12232640"/>
              <a:gd name="connsiteY10"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436879 w 12232640"/>
              <a:gd name="connsiteY8" fmla="*/ 1263090 h 3589730"/>
              <a:gd name="connsiteX9" fmla="*/ 0 w 12232640"/>
              <a:gd name="connsiteY9" fmla="*/ 935126 h 3589730"/>
              <a:gd name="connsiteX10" fmla="*/ 0 w 12232640"/>
              <a:gd name="connsiteY10" fmla="*/ 101600 h 3589730"/>
              <a:gd name="connsiteX0" fmla="*/ 71120 w 12303760"/>
              <a:gd name="connsiteY0" fmla="*/ 101600 h 3589730"/>
              <a:gd name="connsiteX1" fmla="*/ 7966399 w 12303760"/>
              <a:gd name="connsiteY1" fmla="*/ 0 h 3589730"/>
              <a:gd name="connsiteX2" fmla="*/ 7366000 w 12303760"/>
              <a:gd name="connsiteY2" fmla="*/ 572210 h 3589730"/>
              <a:gd name="connsiteX3" fmla="*/ 12303760 w 12303760"/>
              <a:gd name="connsiteY3" fmla="*/ 612850 h 3589730"/>
              <a:gd name="connsiteX4" fmla="*/ 12294559 w 12303760"/>
              <a:gd name="connsiteY4" fmla="*/ 1250086 h 3589730"/>
              <a:gd name="connsiteX5" fmla="*/ 3434080 w 12303760"/>
              <a:gd name="connsiteY5" fmla="*/ 1283410 h 3589730"/>
              <a:gd name="connsiteX6" fmla="*/ 6431280 w 12303760"/>
              <a:gd name="connsiteY6" fmla="*/ 3589730 h 3589730"/>
              <a:gd name="connsiteX7" fmla="*/ 3444240 w 12303760"/>
              <a:gd name="connsiteY7" fmla="*/ 3528770 h 3589730"/>
              <a:gd name="connsiteX8" fmla="*/ 507999 w 12303760"/>
              <a:gd name="connsiteY8" fmla="*/ 1263090 h 3589730"/>
              <a:gd name="connsiteX9" fmla="*/ 0 w 12303760"/>
              <a:gd name="connsiteY9" fmla="*/ 1758086 h 3589730"/>
              <a:gd name="connsiteX10" fmla="*/ 71120 w 12303760"/>
              <a:gd name="connsiteY10" fmla="*/ 101600 h 3589730"/>
              <a:gd name="connsiteX0" fmla="*/ 50800 w 12283440"/>
              <a:gd name="connsiteY0" fmla="*/ 101600 h 3589730"/>
              <a:gd name="connsiteX1" fmla="*/ 7946079 w 12283440"/>
              <a:gd name="connsiteY1" fmla="*/ 0 h 3589730"/>
              <a:gd name="connsiteX2" fmla="*/ 7345680 w 12283440"/>
              <a:gd name="connsiteY2" fmla="*/ 572210 h 3589730"/>
              <a:gd name="connsiteX3" fmla="*/ 12283440 w 12283440"/>
              <a:gd name="connsiteY3" fmla="*/ 612850 h 3589730"/>
              <a:gd name="connsiteX4" fmla="*/ 12274239 w 12283440"/>
              <a:gd name="connsiteY4" fmla="*/ 1250086 h 3589730"/>
              <a:gd name="connsiteX5" fmla="*/ 3413760 w 12283440"/>
              <a:gd name="connsiteY5" fmla="*/ 1283410 h 3589730"/>
              <a:gd name="connsiteX6" fmla="*/ 6410960 w 12283440"/>
              <a:gd name="connsiteY6" fmla="*/ 3589730 h 3589730"/>
              <a:gd name="connsiteX7" fmla="*/ 3423920 w 12283440"/>
              <a:gd name="connsiteY7" fmla="*/ 3528770 h 3589730"/>
              <a:gd name="connsiteX8" fmla="*/ 487679 w 12283440"/>
              <a:gd name="connsiteY8" fmla="*/ 1263090 h 3589730"/>
              <a:gd name="connsiteX9" fmla="*/ 0 w 12283440"/>
              <a:gd name="connsiteY9" fmla="*/ 1361846 h 3589730"/>
              <a:gd name="connsiteX10" fmla="*/ 50800 w 12283440"/>
              <a:gd name="connsiteY10" fmla="*/ 101600 h 3589730"/>
              <a:gd name="connsiteX0" fmla="*/ 30480 w 12263120"/>
              <a:gd name="connsiteY0" fmla="*/ 101600 h 3589730"/>
              <a:gd name="connsiteX1" fmla="*/ 7925759 w 12263120"/>
              <a:gd name="connsiteY1" fmla="*/ 0 h 3589730"/>
              <a:gd name="connsiteX2" fmla="*/ 7325360 w 12263120"/>
              <a:gd name="connsiteY2" fmla="*/ 572210 h 3589730"/>
              <a:gd name="connsiteX3" fmla="*/ 12263120 w 12263120"/>
              <a:gd name="connsiteY3" fmla="*/ 612850 h 3589730"/>
              <a:gd name="connsiteX4" fmla="*/ 12253919 w 12263120"/>
              <a:gd name="connsiteY4" fmla="*/ 1250086 h 3589730"/>
              <a:gd name="connsiteX5" fmla="*/ 3393440 w 12263120"/>
              <a:gd name="connsiteY5" fmla="*/ 1283410 h 3589730"/>
              <a:gd name="connsiteX6" fmla="*/ 6390640 w 12263120"/>
              <a:gd name="connsiteY6" fmla="*/ 3589730 h 3589730"/>
              <a:gd name="connsiteX7" fmla="*/ 3403600 w 12263120"/>
              <a:gd name="connsiteY7" fmla="*/ 3528770 h 3589730"/>
              <a:gd name="connsiteX8" fmla="*/ 467359 w 12263120"/>
              <a:gd name="connsiteY8" fmla="*/ 1263090 h 3589730"/>
              <a:gd name="connsiteX9" fmla="*/ 0 w 12263120"/>
              <a:gd name="connsiteY9" fmla="*/ 1280566 h 3589730"/>
              <a:gd name="connsiteX10" fmla="*/ 30480 w 12263120"/>
              <a:gd name="connsiteY10" fmla="*/ 101600 h 3589730"/>
              <a:gd name="connsiteX0" fmla="*/ 30480 w 12263120"/>
              <a:gd name="connsiteY0" fmla="*/ 101600 h 3589730"/>
              <a:gd name="connsiteX1" fmla="*/ 7925759 w 12263120"/>
              <a:gd name="connsiteY1" fmla="*/ 0 h 3589730"/>
              <a:gd name="connsiteX2" fmla="*/ 7325360 w 12263120"/>
              <a:gd name="connsiteY2" fmla="*/ 572210 h 3589730"/>
              <a:gd name="connsiteX3" fmla="*/ 12263120 w 12263120"/>
              <a:gd name="connsiteY3" fmla="*/ 612850 h 3589730"/>
              <a:gd name="connsiteX4" fmla="*/ 12253919 w 12263120"/>
              <a:gd name="connsiteY4" fmla="*/ 1250086 h 3589730"/>
              <a:gd name="connsiteX5" fmla="*/ 3393440 w 12263120"/>
              <a:gd name="connsiteY5" fmla="*/ 1283410 h 3589730"/>
              <a:gd name="connsiteX6" fmla="*/ 6390640 w 12263120"/>
              <a:gd name="connsiteY6" fmla="*/ 3589730 h 3589730"/>
              <a:gd name="connsiteX7" fmla="*/ 3403600 w 12263120"/>
              <a:gd name="connsiteY7" fmla="*/ 3528770 h 3589730"/>
              <a:gd name="connsiteX8" fmla="*/ 467359 w 12263120"/>
              <a:gd name="connsiteY8" fmla="*/ 1263090 h 3589730"/>
              <a:gd name="connsiteX9" fmla="*/ 0 w 12263120"/>
              <a:gd name="connsiteY9" fmla="*/ 1219606 h 3589730"/>
              <a:gd name="connsiteX10" fmla="*/ 30480 w 12263120"/>
              <a:gd name="connsiteY10" fmla="*/ 101600 h 358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63120" h="3589730">
                <a:moveTo>
                  <a:pt x="30480" y="101600"/>
                </a:moveTo>
                <a:lnTo>
                  <a:pt x="7925759" y="0"/>
                </a:lnTo>
                <a:lnTo>
                  <a:pt x="7325360" y="572210"/>
                </a:lnTo>
                <a:lnTo>
                  <a:pt x="12263120" y="612850"/>
                </a:lnTo>
                <a:lnTo>
                  <a:pt x="12253919" y="1250086"/>
                </a:lnTo>
                <a:lnTo>
                  <a:pt x="3393440" y="1283410"/>
                </a:lnTo>
                <a:lnTo>
                  <a:pt x="6390640" y="3589730"/>
                </a:lnTo>
                <a:lnTo>
                  <a:pt x="3403600" y="3528770"/>
                </a:lnTo>
                <a:lnTo>
                  <a:pt x="467359" y="1263090"/>
                </a:lnTo>
                <a:lnTo>
                  <a:pt x="0" y="1219606"/>
                </a:lnTo>
                <a:lnTo>
                  <a:pt x="30480" y="101600"/>
                </a:lnTo>
                <a:close/>
              </a:path>
            </a:pathLst>
          </a:cu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cxnSp>
        <p:nvCxnSpPr>
          <p:cNvPr id="349" name="Straight Connector 348">
            <a:extLst>
              <a:ext uri="{FF2B5EF4-FFF2-40B4-BE49-F238E27FC236}">
                <a16:creationId xmlns:a16="http://schemas.microsoft.com/office/drawing/2014/main" id="{C51C83C2-E831-4DB5-AA75-97319EB94749}"/>
              </a:ext>
            </a:extLst>
          </p:cNvPr>
          <p:cNvCxnSpPr>
            <a:cxnSpLocks/>
          </p:cNvCxnSpPr>
          <p:nvPr/>
        </p:nvCxnSpPr>
        <p:spPr>
          <a:xfrm flipH="1" flipV="1">
            <a:off x="1137920" y="3885507"/>
            <a:ext cx="3911602" cy="2962309"/>
          </a:xfrm>
          <a:prstGeom prst="line">
            <a:avLst/>
          </a:prstGeom>
          <a:ln w="762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358" name="Rectangle 357">
            <a:extLst>
              <a:ext uri="{FF2B5EF4-FFF2-40B4-BE49-F238E27FC236}">
                <a16:creationId xmlns:a16="http://schemas.microsoft.com/office/drawing/2014/main" id="{4FFF2A67-798D-4E70-B857-BDD0EBFA2CBD}"/>
              </a:ext>
            </a:extLst>
          </p:cNvPr>
          <p:cNvSpPr/>
          <p:nvPr/>
        </p:nvSpPr>
        <p:spPr>
          <a:xfrm>
            <a:off x="7315200" y="3258110"/>
            <a:ext cx="4901081" cy="623010"/>
          </a:xfrm>
          <a:custGeom>
            <a:avLst/>
            <a:gdLst>
              <a:gd name="connsiteX0" fmla="*/ 0 w 2980841"/>
              <a:gd name="connsiteY0" fmla="*/ 0 h 978610"/>
              <a:gd name="connsiteX1" fmla="*/ 2980841 w 2980841"/>
              <a:gd name="connsiteY1" fmla="*/ 0 h 978610"/>
              <a:gd name="connsiteX2" fmla="*/ 2980841 w 2980841"/>
              <a:gd name="connsiteY2" fmla="*/ 978610 h 978610"/>
              <a:gd name="connsiteX3" fmla="*/ 0 w 2980841"/>
              <a:gd name="connsiteY3" fmla="*/ 978610 h 978610"/>
              <a:gd name="connsiteX4" fmla="*/ 0 w 2980841"/>
              <a:gd name="connsiteY4" fmla="*/ 0 h 978610"/>
              <a:gd name="connsiteX0" fmla="*/ 619760 w 3600601"/>
              <a:gd name="connsiteY0" fmla="*/ 0 h 978610"/>
              <a:gd name="connsiteX1" fmla="*/ 3600601 w 3600601"/>
              <a:gd name="connsiteY1" fmla="*/ 0 h 978610"/>
              <a:gd name="connsiteX2" fmla="*/ 3600601 w 3600601"/>
              <a:gd name="connsiteY2" fmla="*/ 978610 h 978610"/>
              <a:gd name="connsiteX3" fmla="*/ 0 w 3600601"/>
              <a:gd name="connsiteY3" fmla="*/ 551890 h 978610"/>
              <a:gd name="connsiteX4" fmla="*/ 619760 w 3600601"/>
              <a:gd name="connsiteY4" fmla="*/ 0 h 978610"/>
              <a:gd name="connsiteX0" fmla="*/ 619760 w 4860441"/>
              <a:gd name="connsiteY0" fmla="*/ 0 h 623010"/>
              <a:gd name="connsiteX1" fmla="*/ 3600601 w 4860441"/>
              <a:gd name="connsiteY1" fmla="*/ 0 h 623010"/>
              <a:gd name="connsiteX2" fmla="*/ 4860441 w 4860441"/>
              <a:gd name="connsiteY2" fmla="*/ 623010 h 623010"/>
              <a:gd name="connsiteX3" fmla="*/ 0 w 4860441"/>
              <a:gd name="connsiteY3" fmla="*/ 551890 h 623010"/>
              <a:gd name="connsiteX4" fmla="*/ 619760 w 4860441"/>
              <a:gd name="connsiteY4" fmla="*/ 0 h 623010"/>
              <a:gd name="connsiteX0" fmla="*/ 619760 w 4860441"/>
              <a:gd name="connsiteY0" fmla="*/ 20320 h 643330"/>
              <a:gd name="connsiteX1" fmla="*/ 4860441 w 4860441"/>
              <a:gd name="connsiteY1" fmla="*/ 0 h 643330"/>
              <a:gd name="connsiteX2" fmla="*/ 4860441 w 4860441"/>
              <a:gd name="connsiteY2" fmla="*/ 643330 h 643330"/>
              <a:gd name="connsiteX3" fmla="*/ 0 w 4860441"/>
              <a:gd name="connsiteY3" fmla="*/ 572210 h 643330"/>
              <a:gd name="connsiteX4" fmla="*/ 619760 w 4860441"/>
              <a:gd name="connsiteY4" fmla="*/ 20320 h 643330"/>
              <a:gd name="connsiteX0" fmla="*/ 619760 w 4901081"/>
              <a:gd name="connsiteY0" fmla="*/ 0 h 623010"/>
              <a:gd name="connsiteX1" fmla="*/ 4901081 w 4901081"/>
              <a:gd name="connsiteY1" fmla="*/ 101600 h 623010"/>
              <a:gd name="connsiteX2" fmla="*/ 4860441 w 4901081"/>
              <a:gd name="connsiteY2" fmla="*/ 623010 h 623010"/>
              <a:gd name="connsiteX3" fmla="*/ 0 w 4901081"/>
              <a:gd name="connsiteY3" fmla="*/ 551890 h 623010"/>
              <a:gd name="connsiteX4" fmla="*/ 619760 w 4901081"/>
              <a:gd name="connsiteY4" fmla="*/ 0 h 623010"/>
              <a:gd name="connsiteX0" fmla="*/ 619760 w 4870601"/>
              <a:gd name="connsiteY0" fmla="*/ 50800 h 673810"/>
              <a:gd name="connsiteX1" fmla="*/ 4870601 w 4870601"/>
              <a:gd name="connsiteY1" fmla="*/ 0 h 673810"/>
              <a:gd name="connsiteX2" fmla="*/ 4860441 w 4870601"/>
              <a:gd name="connsiteY2" fmla="*/ 673810 h 673810"/>
              <a:gd name="connsiteX3" fmla="*/ 0 w 4870601"/>
              <a:gd name="connsiteY3" fmla="*/ 602690 h 673810"/>
              <a:gd name="connsiteX4" fmla="*/ 619760 w 4870601"/>
              <a:gd name="connsiteY4" fmla="*/ 50800 h 673810"/>
              <a:gd name="connsiteX0" fmla="*/ 619760 w 4901081"/>
              <a:gd name="connsiteY0" fmla="*/ 0 h 623010"/>
              <a:gd name="connsiteX1" fmla="*/ 4901081 w 4901081"/>
              <a:gd name="connsiteY1" fmla="*/ 121920 h 623010"/>
              <a:gd name="connsiteX2" fmla="*/ 4860441 w 4901081"/>
              <a:gd name="connsiteY2" fmla="*/ 623010 h 623010"/>
              <a:gd name="connsiteX3" fmla="*/ 0 w 4901081"/>
              <a:gd name="connsiteY3" fmla="*/ 551890 h 623010"/>
              <a:gd name="connsiteX4" fmla="*/ 619760 w 4901081"/>
              <a:gd name="connsiteY4" fmla="*/ 0 h 623010"/>
              <a:gd name="connsiteX0" fmla="*/ 619760 w 4860441"/>
              <a:gd name="connsiteY0" fmla="*/ 60960 h 683970"/>
              <a:gd name="connsiteX1" fmla="*/ 4829961 w 4860441"/>
              <a:gd name="connsiteY1" fmla="*/ 0 h 683970"/>
              <a:gd name="connsiteX2" fmla="*/ 4860441 w 4860441"/>
              <a:gd name="connsiteY2" fmla="*/ 683970 h 683970"/>
              <a:gd name="connsiteX3" fmla="*/ 0 w 4860441"/>
              <a:gd name="connsiteY3" fmla="*/ 612850 h 683970"/>
              <a:gd name="connsiteX4" fmla="*/ 619760 w 4860441"/>
              <a:gd name="connsiteY4" fmla="*/ 60960 h 683970"/>
              <a:gd name="connsiteX0" fmla="*/ 619760 w 4860441"/>
              <a:gd name="connsiteY0" fmla="*/ 60960 h 683970"/>
              <a:gd name="connsiteX1" fmla="*/ 4819801 w 4860441"/>
              <a:gd name="connsiteY1" fmla="*/ 0 h 683970"/>
              <a:gd name="connsiteX2" fmla="*/ 4860441 w 4860441"/>
              <a:gd name="connsiteY2" fmla="*/ 683970 h 683970"/>
              <a:gd name="connsiteX3" fmla="*/ 0 w 4860441"/>
              <a:gd name="connsiteY3" fmla="*/ 612850 h 683970"/>
              <a:gd name="connsiteX4" fmla="*/ 619760 w 4860441"/>
              <a:gd name="connsiteY4" fmla="*/ 60960 h 683970"/>
              <a:gd name="connsiteX0" fmla="*/ 619760 w 4860441"/>
              <a:gd name="connsiteY0" fmla="*/ 50800 h 673810"/>
              <a:gd name="connsiteX1" fmla="*/ 4860441 w 4860441"/>
              <a:gd name="connsiteY1" fmla="*/ 0 h 673810"/>
              <a:gd name="connsiteX2" fmla="*/ 4860441 w 4860441"/>
              <a:gd name="connsiteY2" fmla="*/ 673810 h 673810"/>
              <a:gd name="connsiteX3" fmla="*/ 0 w 4860441"/>
              <a:gd name="connsiteY3" fmla="*/ 602690 h 673810"/>
              <a:gd name="connsiteX4" fmla="*/ 619760 w 4860441"/>
              <a:gd name="connsiteY4" fmla="*/ 50800 h 673810"/>
              <a:gd name="connsiteX0" fmla="*/ 619760 w 4870601"/>
              <a:gd name="connsiteY0" fmla="*/ 0 h 623010"/>
              <a:gd name="connsiteX1" fmla="*/ 4870601 w 4870601"/>
              <a:gd name="connsiteY1" fmla="*/ 50800 h 623010"/>
              <a:gd name="connsiteX2" fmla="*/ 4860441 w 4870601"/>
              <a:gd name="connsiteY2" fmla="*/ 623010 h 623010"/>
              <a:gd name="connsiteX3" fmla="*/ 0 w 4870601"/>
              <a:gd name="connsiteY3" fmla="*/ 551890 h 623010"/>
              <a:gd name="connsiteX4" fmla="*/ 619760 w 4870601"/>
              <a:gd name="connsiteY4" fmla="*/ 0 h 623010"/>
              <a:gd name="connsiteX0" fmla="*/ 619760 w 4901081"/>
              <a:gd name="connsiteY0" fmla="*/ 0 h 623010"/>
              <a:gd name="connsiteX1" fmla="*/ 4870601 w 4901081"/>
              <a:gd name="connsiteY1" fmla="*/ 50800 h 623010"/>
              <a:gd name="connsiteX2" fmla="*/ 4901081 w 4901081"/>
              <a:gd name="connsiteY2" fmla="*/ 623010 h 623010"/>
              <a:gd name="connsiteX3" fmla="*/ 0 w 4901081"/>
              <a:gd name="connsiteY3" fmla="*/ 551890 h 623010"/>
              <a:gd name="connsiteX4" fmla="*/ 619760 w 4901081"/>
              <a:gd name="connsiteY4" fmla="*/ 0 h 62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1081" h="623010">
                <a:moveTo>
                  <a:pt x="619760" y="0"/>
                </a:moveTo>
                <a:lnTo>
                  <a:pt x="4870601" y="50800"/>
                </a:lnTo>
                <a:lnTo>
                  <a:pt x="4901081" y="623010"/>
                </a:lnTo>
                <a:lnTo>
                  <a:pt x="0" y="551890"/>
                </a:lnTo>
                <a:lnTo>
                  <a:pt x="619760" y="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6510A65E-A984-43C4-9201-A4B37EB80C52}"/>
              </a:ext>
            </a:extLst>
          </p:cNvPr>
          <p:cNvCxnSpPr>
            <a:cxnSpLocks/>
          </p:cNvCxnSpPr>
          <p:nvPr/>
        </p:nvCxnSpPr>
        <p:spPr>
          <a:xfrm>
            <a:off x="-12082" y="3831135"/>
            <a:ext cx="7170432" cy="0"/>
          </a:xfrm>
          <a:prstGeom prst="line">
            <a:avLst/>
          </a:prstGeom>
          <a:ln w="762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50400C81-E032-4F2C-BC20-053461E9BD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5119" y="2137652"/>
            <a:ext cx="3367254" cy="1517260"/>
          </a:xfrm>
          <a:prstGeom prst="rect">
            <a:avLst/>
          </a:prstGeom>
        </p:spPr>
      </p:pic>
      <p:pic>
        <p:nvPicPr>
          <p:cNvPr id="176" name="Picture 175">
            <a:extLst>
              <a:ext uri="{FF2B5EF4-FFF2-40B4-BE49-F238E27FC236}">
                <a16:creationId xmlns:a16="http://schemas.microsoft.com/office/drawing/2014/main" id="{B25CEA05-DDAE-4ECF-B51A-2158FB26FF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137476">
            <a:off x="9462486" y="2950832"/>
            <a:ext cx="937136" cy="936220"/>
          </a:xfrm>
          <a:prstGeom prst="rect">
            <a:avLst/>
          </a:prstGeom>
        </p:spPr>
      </p:pic>
      <p:pic>
        <p:nvPicPr>
          <p:cNvPr id="177" name="Picture 176">
            <a:extLst>
              <a:ext uri="{FF2B5EF4-FFF2-40B4-BE49-F238E27FC236}">
                <a16:creationId xmlns:a16="http://schemas.microsoft.com/office/drawing/2014/main" id="{7A764268-C476-49F6-B8DA-E40990359C5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137476">
            <a:off x="9381951" y="2603094"/>
            <a:ext cx="1316225" cy="1314939"/>
          </a:xfrm>
          <a:prstGeom prst="rect">
            <a:avLst/>
          </a:prstGeom>
        </p:spPr>
      </p:pic>
      <p:pic>
        <p:nvPicPr>
          <p:cNvPr id="3" name="Picture 2">
            <a:extLst>
              <a:ext uri="{FF2B5EF4-FFF2-40B4-BE49-F238E27FC236}">
                <a16:creationId xmlns:a16="http://schemas.microsoft.com/office/drawing/2014/main" id="{F6E4789D-0602-47C6-A06C-A704CFB597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1995" y="1946130"/>
            <a:ext cx="2692304" cy="2258061"/>
          </a:xfrm>
          <a:prstGeom prst="rect">
            <a:avLst/>
          </a:prstGeom>
        </p:spPr>
      </p:pic>
      <p:pic>
        <p:nvPicPr>
          <p:cNvPr id="6" name="Picture 5">
            <a:extLst>
              <a:ext uri="{FF2B5EF4-FFF2-40B4-BE49-F238E27FC236}">
                <a16:creationId xmlns:a16="http://schemas.microsoft.com/office/drawing/2014/main" id="{79B2B127-D28D-42E7-A132-BB0E58B4C2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22298" y="1758275"/>
            <a:ext cx="3140264" cy="2633770"/>
          </a:xfrm>
          <a:prstGeom prst="rect">
            <a:avLst/>
          </a:prstGeom>
        </p:spPr>
      </p:pic>
      <p:sp>
        <p:nvSpPr>
          <p:cNvPr id="13" name="TextBox 12">
            <a:extLst>
              <a:ext uri="{FF2B5EF4-FFF2-40B4-BE49-F238E27FC236}">
                <a16:creationId xmlns:a16="http://schemas.microsoft.com/office/drawing/2014/main" id="{2249283E-4314-459C-8AB4-F7AF27357642}"/>
              </a:ext>
            </a:extLst>
          </p:cNvPr>
          <p:cNvSpPr txBox="1"/>
          <p:nvPr/>
        </p:nvSpPr>
        <p:spPr>
          <a:xfrm>
            <a:off x="916246" y="241431"/>
            <a:ext cx="5179754" cy="584775"/>
          </a:xfrm>
          <a:prstGeom prst="rect">
            <a:avLst/>
          </a:prstGeom>
          <a:noFill/>
        </p:spPr>
        <p:txBody>
          <a:bodyPr wrap="square" rtlCol="0">
            <a:spAutoFit/>
          </a:bodyPr>
          <a:lstStyle/>
          <a:p>
            <a:pPr algn="ctr"/>
            <a:r>
              <a:rPr lang="en-US" sz="3200" dirty="0"/>
              <a:t>Collecting Demolition Waste</a:t>
            </a:r>
          </a:p>
        </p:txBody>
      </p:sp>
    </p:spTree>
    <p:extLst>
      <p:ext uri="{BB962C8B-B14F-4D97-AF65-F5344CB8AC3E}">
        <p14:creationId xmlns:p14="http://schemas.microsoft.com/office/powerpoint/2010/main" val="11710161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Rectangle 282">
            <a:extLst>
              <a:ext uri="{FF2B5EF4-FFF2-40B4-BE49-F238E27FC236}">
                <a16:creationId xmlns:a16="http://schemas.microsoft.com/office/drawing/2014/main" id="{04A16556-7E9E-4E97-B6D4-91176E35235F}"/>
              </a:ext>
            </a:extLst>
          </p:cNvPr>
          <p:cNvSpPr/>
          <p:nvPr/>
        </p:nvSpPr>
        <p:spPr>
          <a:xfrm>
            <a:off x="-12082" y="3261335"/>
            <a:ext cx="12273280" cy="3586480"/>
          </a:xfrm>
          <a:custGeom>
            <a:avLst/>
            <a:gdLst>
              <a:gd name="connsiteX0" fmla="*/ 0 w 3159760"/>
              <a:gd name="connsiteY0" fmla="*/ 0 h 1412240"/>
              <a:gd name="connsiteX1" fmla="*/ 3159760 w 3159760"/>
              <a:gd name="connsiteY1" fmla="*/ 0 h 1412240"/>
              <a:gd name="connsiteX2" fmla="*/ 3159760 w 3159760"/>
              <a:gd name="connsiteY2" fmla="*/ 1412240 h 1412240"/>
              <a:gd name="connsiteX3" fmla="*/ 0 w 3159760"/>
              <a:gd name="connsiteY3" fmla="*/ 1412240 h 1412240"/>
              <a:gd name="connsiteX4" fmla="*/ 0 w 3159760"/>
              <a:gd name="connsiteY4" fmla="*/ 0 h 1412240"/>
              <a:gd name="connsiteX0" fmla="*/ 0 w 3159760"/>
              <a:gd name="connsiteY0" fmla="*/ 0 h 1412240"/>
              <a:gd name="connsiteX1" fmla="*/ 2895600 w 3159760"/>
              <a:gd name="connsiteY1" fmla="*/ 447040 h 1412240"/>
              <a:gd name="connsiteX2" fmla="*/ 3159760 w 3159760"/>
              <a:gd name="connsiteY2" fmla="*/ 1412240 h 1412240"/>
              <a:gd name="connsiteX3" fmla="*/ 0 w 3159760"/>
              <a:gd name="connsiteY3" fmla="*/ 1412240 h 1412240"/>
              <a:gd name="connsiteX4" fmla="*/ 0 w 3159760"/>
              <a:gd name="connsiteY4" fmla="*/ 0 h 1412240"/>
              <a:gd name="connsiteX0" fmla="*/ 0 w 3759200"/>
              <a:gd name="connsiteY0" fmla="*/ 0 h 1412240"/>
              <a:gd name="connsiteX1" fmla="*/ 2895600 w 3759200"/>
              <a:gd name="connsiteY1" fmla="*/ 447040 h 1412240"/>
              <a:gd name="connsiteX2" fmla="*/ 3759200 w 3759200"/>
              <a:gd name="connsiteY2" fmla="*/ 802640 h 1412240"/>
              <a:gd name="connsiteX3" fmla="*/ 0 w 3759200"/>
              <a:gd name="connsiteY3" fmla="*/ 1412240 h 1412240"/>
              <a:gd name="connsiteX4" fmla="*/ 0 w 3759200"/>
              <a:gd name="connsiteY4" fmla="*/ 0 h 1412240"/>
              <a:gd name="connsiteX0" fmla="*/ 0 w 3911600"/>
              <a:gd name="connsiteY0" fmla="*/ 203200 h 965200"/>
              <a:gd name="connsiteX1" fmla="*/ 3048000 w 3911600"/>
              <a:gd name="connsiteY1" fmla="*/ 0 h 965200"/>
              <a:gd name="connsiteX2" fmla="*/ 3911600 w 3911600"/>
              <a:gd name="connsiteY2" fmla="*/ 355600 h 965200"/>
              <a:gd name="connsiteX3" fmla="*/ 152400 w 3911600"/>
              <a:gd name="connsiteY3" fmla="*/ 965200 h 965200"/>
              <a:gd name="connsiteX4" fmla="*/ 0 w 3911600"/>
              <a:gd name="connsiteY4" fmla="*/ 203200 h 965200"/>
              <a:gd name="connsiteX0" fmla="*/ 0 w 3911600"/>
              <a:gd name="connsiteY0" fmla="*/ 203200 h 853440"/>
              <a:gd name="connsiteX1" fmla="*/ 3048000 w 3911600"/>
              <a:gd name="connsiteY1" fmla="*/ 0 h 853440"/>
              <a:gd name="connsiteX2" fmla="*/ 3911600 w 3911600"/>
              <a:gd name="connsiteY2" fmla="*/ 355600 h 853440"/>
              <a:gd name="connsiteX3" fmla="*/ 762000 w 3911600"/>
              <a:gd name="connsiteY3" fmla="*/ 853440 h 853440"/>
              <a:gd name="connsiteX4" fmla="*/ 0 w 3911600"/>
              <a:gd name="connsiteY4" fmla="*/ 203200 h 853440"/>
              <a:gd name="connsiteX0" fmla="*/ 0 w 3464560"/>
              <a:gd name="connsiteY0" fmla="*/ 467360 h 853440"/>
              <a:gd name="connsiteX1" fmla="*/ 2600960 w 3464560"/>
              <a:gd name="connsiteY1" fmla="*/ 0 h 853440"/>
              <a:gd name="connsiteX2" fmla="*/ 3464560 w 3464560"/>
              <a:gd name="connsiteY2" fmla="*/ 355600 h 853440"/>
              <a:gd name="connsiteX3" fmla="*/ 314960 w 3464560"/>
              <a:gd name="connsiteY3" fmla="*/ 853440 h 853440"/>
              <a:gd name="connsiteX4" fmla="*/ 0 w 3464560"/>
              <a:gd name="connsiteY4" fmla="*/ 467360 h 853440"/>
              <a:gd name="connsiteX0" fmla="*/ 0 w 3464560"/>
              <a:gd name="connsiteY0" fmla="*/ 335280 h 721360"/>
              <a:gd name="connsiteX1" fmla="*/ 2712720 w 3464560"/>
              <a:gd name="connsiteY1" fmla="*/ 0 h 721360"/>
              <a:gd name="connsiteX2" fmla="*/ 3464560 w 3464560"/>
              <a:gd name="connsiteY2" fmla="*/ 223520 h 721360"/>
              <a:gd name="connsiteX3" fmla="*/ 314960 w 3464560"/>
              <a:gd name="connsiteY3" fmla="*/ 721360 h 721360"/>
              <a:gd name="connsiteX4" fmla="*/ 0 w 3464560"/>
              <a:gd name="connsiteY4" fmla="*/ 335280 h 721360"/>
              <a:gd name="connsiteX0" fmla="*/ 0 w 4693920"/>
              <a:gd name="connsiteY0" fmla="*/ 538480 h 924560"/>
              <a:gd name="connsiteX1" fmla="*/ 4693920 w 4693920"/>
              <a:gd name="connsiteY1" fmla="*/ 0 h 924560"/>
              <a:gd name="connsiteX2" fmla="*/ 3464560 w 4693920"/>
              <a:gd name="connsiteY2" fmla="*/ 426720 h 924560"/>
              <a:gd name="connsiteX3" fmla="*/ 314960 w 4693920"/>
              <a:gd name="connsiteY3" fmla="*/ 924560 h 924560"/>
              <a:gd name="connsiteX4" fmla="*/ 0 w 4693920"/>
              <a:gd name="connsiteY4" fmla="*/ 538480 h 924560"/>
              <a:gd name="connsiteX0" fmla="*/ 0 w 4693920"/>
              <a:gd name="connsiteY0" fmla="*/ 538480 h 924560"/>
              <a:gd name="connsiteX1" fmla="*/ 4693920 w 4693920"/>
              <a:gd name="connsiteY1" fmla="*/ 0 h 924560"/>
              <a:gd name="connsiteX2" fmla="*/ 4277360 w 4693920"/>
              <a:gd name="connsiteY2" fmla="*/ 355600 h 924560"/>
              <a:gd name="connsiteX3" fmla="*/ 314960 w 4693920"/>
              <a:gd name="connsiteY3" fmla="*/ 924560 h 924560"/>
              <a:gd name="connsiteX4" fmla="*/ 0 w 4693920"/>
              <a:gd name="connsiteY4" fmla="*/ 538480 h 924560"/>
              <a:gd name="connsiteX0" fmla="*/ 0 w 5008880"/>
              <a:gd name="connsiteY0" fmla="*/ 802640 h 1188720"/>
              <a:gd name="connsiteX1" fmla="*/ 5008880 w 5008880"/>
              <a:gd name="connsiteY1" fmla="*/ 0 h 1188720"/>
              <a:gd name="connsiteX2" fmla="*/ 4277360 w 5008880"/>
              <a:gd name="connsiteY2" fmla="*/ 619760 h 1188720"/>
              <a:gd name="connsiteX3" fmla="*/ 314960 w 5008880"/>
              <a:gd name="connsiteY3" fmla="*/ 1188720 h 1188720"/>
              <a:gd name="connsiteX4" fmla="*/ 0 w 5008880"/>
              <a:gd name="connsiteY4" fmla="*/ 802640 h 1188720"/>
              <a:gd name="connsiteX0" fmla="*/ 1188720 w 4693920"/>
              <a:gd name="connsiteY0" fmla="*/ 30480 h 1188720"/>
              <a:gd name="connsiteX1" fmla="*/ 4693920 w 4693920"/>
              <a:gd name="connsiteY1" fmla="*/ 0 h 1188720"/>
              <a:gd name="connsiteX2" fmla="*/ 3962400 w 4693920"/>
              <a:gd name="connsiteY2" fmla="*/ 619760 h 1188720"/>
              <a:gd name="connsiteX3" fmla="*/ 0 w 4693920"/>
              <a:gd name="connsiteY3" fmla="*/ 1188720 h 1188720"/>
              <a:gd name="connsiteX4" fmla="*/ 1188720 w 4693920"/>
              <a:gd name="connsiteY4" fmla="*/ 30480 h 1188720"/>
              <a:gd name="connsiteX0" fmla="*/ 467360 w 3972560"/>
              <a:gd name="connsiteY0" fmla="*/ 30480 h 690880"/>
              <a:gd name="connsiteX1" fmla="*/ 3972560 w 3972560"/>
              <a:gd name="connsiteY1" fmla="*/ 0 h 690880"/>
              <a:gd name="connsiteX2" fmla="*/ 3241040 w 3972560"/>
              <a:gd name="connsiteY2" fmla="*/ 619760 h 690880"/>
              <a:gd name="connsiteX3" fmla="*/ 0 w 3972560"/>
              <a:gd name="connsiteY3" fmla="*/ 690880 h 690880"/>
              <a:gd name="connsiteX4" fmla="*/ 467360 w 3972560"/>
              <a:gd name="connsiteY4" fmla="*/ 30480 h 690880"/>
              <a:gd name="connsiteX0" fmla="*/ 0 w 7904480"/>
              <a:gd name="connsiteY0" fmla="*/ 0 h 995680"/>
              <a:gd name="connsiteX1" fmla="*/ 7904480 w 7904480"/>
              <a:gd name="connsiteY1" fmla="*/ 304800 h 995680"/>
              <a:gd name="connsiteX2" fmla="*/ 7172960 w 7904480"/>
              <a:gd name="connsiteY2" fmla="*/ 924560 h 995680"/>
              <a:gd name="connsiteX3" fmla="*/ 3931920 w 7904480"/>
              <a:gd name="connsiteY3" fmla="*/ 995680 h 995680"/>
              <a:gd name="connsiteX4" fmla="*/ 0 w 7904480"/>
              <a:gd name="connsiteY4" fmla="*/ 0 h 995680"/>
              <a:gd name="connsiteX0" fmla="*/ 20320 w 7924800"/>
              <a:gd name="connsiteY0" fmla="*/ 0 h 1178560"/>
              <a:gd name="connsiteX1" fmla="*/ 7924800 w 7924800"/>
              <a:gd name="connsiteY1" fmla="*/ 304800 h 1178560"/>
              <a:gd name="connsiteX2" fmla="*/ 7193280 w 7924800"/>
              <a:gd name="connsiteY2" fmla="*/ 924560 h 1178560"/>
              <a:gd name="connsiteX3" fmla="*/ 0 w 7924800"/>
              <a:gd name="connsiteY3" fmla="*/ 1178560 h 1178560"/>
              <a:gd name="connsiteX4" fmla="*/ 20320 w 7924800"/>
              <a:gd name="connsiteY4" fmla="*/ 0 h 1178560"/>
              <a:gd name="connsiteX0" fmla="*/ 10160 w 7924800"/>
              <a:gd name="connsiteY0" fmla="*/ 60960 h 873760"/>
              <a:gd name="connsiteX1" fmla="*/ 7924800 w 7924800"/>
              <a:gd name="connsiteY1" fmla="*/ 0 h 873760"/>
              <a:gd name="connsiteX2" fmla="*/ 7193280 w 7924800"/>
              <a:gd name="connsiteY2" fmla="*/ 619760 h 873760"/>
              <a:gd name="connsiteX3" fmla="*/ 0 w 7924800"/>
              <a:gd name="connsiteY3" fmla="*/ 873760 h 873760"/>
              <a:gd name="connsiteX4" fmla="*/ 10160 w 7924800"/>
              <a:gd name="connsiteY4" fmla="*/ 60960 h 873760"/>
              <a:gd name="connsiteX0" fmla="*/ 10160 w 7924800"/>
              <a:gd name="connsiteY0" fmla="*/ 60960 h 3616960"/>
              <a:gd name="connsiteX1" fmla="*/ 7924800 w 7924800"/>
              <a:gd name="connsiteY1" fmla="*/ 0 h 3616960"/>
              <a:gd name="connsiteX2" fmla="*/ 3474720 w 7924800"/>
              <a:gd name="connsiteY2" fmla="*/ 3616960 h 3616960"/>
              <a:gd name="connsiteX3" fmla="*/ 0 w 7924800"/>
              <a:gd name="connsiteY3" fmla="*/ 873760 h 3616960"/>
              <a:gd name="connsiteX4" fmla="*/ 10160 w 7924800"/>
              <a:gd name="connsiteY4" fmla="*/ 60960 h 3616960"/>
              <a:gd name="connsiteX0" fmla="*/ 0 w 7914640"/>
              <a:gd name="connsiteY0" fmla="*/ 60960 h 3616960"/>
              <a:gd name="connsiteX1" fmla="*/ 7914640 w 7914640"/>
              <a:gd name="connsiteY1" fmla="*/ 0 h 3616960"/>
              <a:gd name="connsiteX2" fmla="*/ 3464560 w 7914640"/>
              <a:gd name="connsiteY2" fmla="*/ 3616960 h 3616960"/>
              <a:gd name="connsiteX3" fmla="*/ 30480 w 7914640"/>
              <a:gd name="connsiteY3" fmla="*/ 3586480 h 3616960"/>
              <a:gd name="connsiteX4" fmla="*/ 0 w 7914640"/>
              <a:gd name="connsiteY4" fmla="*/ 60960 h 3616960"/>
              <a:gd name="connsiteX0" fmla="*/ 0 w 7914640"/>
              <a:gd name="connsiteY0" fmla="*/ 60960 h 3616960"/>
              <a:gd name="connsiteX1" fmla="*/ 7914640 w 7914640"/>
              <a:gd name="connsiteY1" fmla="*/ 0 h 3616960"/>
              <a:gd name="connsiteX2" fmla="*/ 7185042 w 7914640"/>
              <a:gd name="connsiteY2" fmla="*/ 579145 h 3616960"/>
              <a:gd name="connsiteX3" fmla="*/ 3464560 w 7914640"/>
              <a:gd name="connsiteY3" fmla="*/ 3616960 h 3616960"/>
              <a:gd name="connsiteX4" fmla="*/ 30480 w 7914640"/>
              <a:gd name="connsiteY4" fmla="*/ 3586480 h 3616960"/>
              <a:gd name="connsiteX5" fmla="*/ 0 w 7914640"/>
              <a:gd name="connsiteY5" fmla="*/ 60960 h 361696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30480 w 12273280"/>
              <a:gd name="connsiteY4" fmla="*/ 3586480 h 3586480"/>
              <a:gd name="connsiteX5" fmla="*/ 0 w 12273280"/>
              <a:gd name="connsiteY5"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30480 w 12273280"/>
              <a:gd name="connsiteY4" fmla="*/ 3586480 h 3586480"/>
              <a:gd name="connsiteX5" fmla="*/ 0 w 12273280"/>
              <a:gd name="connsiteY5"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7875922 w 12273280"/>
              <a:gd name="connsiteY4" fmla="*/ 1686585 h 3586480"/>
              <a:gd name="connsiteX5" fmla="*/ 30480 w 12273280"/>
              <a:gd name="connsiteY5" fmla="*/ 3586480 h 3586480"/>
              <a:gd name="connsiteX6" fmla="*/ 0 w 12273280"/>
              <a:gd name="connsiteY6"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12183762 w 12273280"/>
              <a:gd name="connsiteY4" fmla="*/ 3545865 h 3586480"/>
              <a:gd name="connsiteX5" fmla="*/ 30480 w 12273280"/>
              <a:gd name="connsiteY5" fmla="*/ 3586480 h 3586480"/>
              <a:gd name="connsiteX6" fmla="*/ 0 w 12273280"/>
              <a:gd name="connsiteY6"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12163442 w 12273280"/>
              <a:gd name="connsiteY4" fmla="*/ 3545865 h 3586480"/>
              <a:gd name="connsiteX5" fmla="*/ 30480 w 12273280"/>
              <a:gd name="connsiteY5" fmla="*/ 3586480 h 3586480"/>
              <a:gd name="connsiteX6" fmla="*/ 0 w 12273280"/>
              <a:gd name="connsiteY6" fmla="*/ 60960 h 35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3280" h="3586480">
                <a:moveTo>
                  <a:pt x="0" y="60960"/>
                </a:moveTo>
                <a:lnTo>
                  <a:pt x="7914640" y="0"/>
                </a:lnTo>
                <a:lnTo>
                  <a:pt x="7185042" y="579145"/>
                </a:lnTo>
                <a:lnTo>
                  <a:pt x="12273280" y="629920"/>
                </a:lnTo>
                <a:lnTo>
                  <a:pt x="12163442" y="3545865"/>
                </a:lnTo>
                <a:lnTo>
                  <a:pt x="30480" y="3586480"/>
                </a:lnTo>
                <a:lnTo>
                  <a:pt x="0" y="60960"/>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45" name="Rectangle 344">
            <a:extLst>
              <a:ext uri="{FF2B5EF4-FFF2-40B4-BE49-F238E27FC236}">
                <a16:creationId xmlns:a16="http://schemas.microsoft.com/office/drawing/2014/main" id="{27866B50-D3EC-45AB-A1DF-B7D144E796E1}"/>
              </a:ext>
            </a:extLst>
          </p:cNvPr>
          <p:cNvSpPr/>
          <p:nvPr/>
        </p:nvSpPr>
        <p:spPr>
          <a:xfrm>
            <a:off x="-20319" y="3258110"/>
            <a:ext cx="12263120" cy="3589730"/>
          </a:xfrm>
          <a:custGeom>
            <a:avLst/>
            <a:gdLst>
              <a:gd name="connsiteX0" fmla="*/ 0 w 7295839"/>
              <a:gd name="connsiteY0" fmla="*/ 0 h 488086"/>
              <a:gd name="connsiteX1" fmla="*/ 7295839 w 7295839"/>
              <a:gd name="connsiteY1" fmla="*/ 0 h 488086"/>
              <a:gd name="connsiteX2" fmla="*/ 7295839 w 7295839"/>
              <a:gd name="connsiteY2" fmla="*/ 488086 h 488086"/>
              <a:gd name="connsiteX3" fmla="*/ 0 w 7295839"/>
              <a:gd name="connsiteY3" fmla="*/ 488086 h 488086"/>
              <a:gd name="connsiteX4" fmla="*/ 0 w 7295839"/>
              <a:gd name="connsiteY4" fmla="*/ 0 h 488086"/>
              <a:gd name="connsiteX0" fmla="*/ 0 w 7905439"/>
              <a:gd name="connsiteY0" fmla="*/ 101600 h 589686"/>
              <a:gd name="connsiteX1" fmla="*/ 7905439 w 7905439"/>
              <a:gd name="connsiteY1" fmla="*/ 0 h 589686"/>
              <a:gd name="connsiteX2" fmla="*/ 7295839 w 7905439"/>
              <a:gd name="connsiteY2" fmla="*/ 589686 h 589686"/>
              <a:gd name="connsiteX3" fmla="*/ 0 w 7905439"/>
              <a:gd name="connsiteY3" fmla="*/ 589686 h 589686"/>
              <a:gd name="connsiteX4" fmla="*/ 0 w 7905439"/>
              <a:gd name="connsiteY4" fmla="*/ 101600 h 589686"/>
              <a:gd name="connsiteX0" fmla="*/ 10160 w 7905439"/>
              <a:gd name="connsiteY0" fmla="*/ 101600 h 589686"/>
              <a:gd name="connsiteX1" fmla="*/ 7905439 w 7905439"/>
              <a:gd name="connsiteY1" fmla="*/ 0 h 589686"/>
              <a:gd name="connsiteX2" fmla="*/ 7295839 w 7905439"/>
              <a:gd name="connsiteY2" fmla="*/ 589686 h 589686"/>
              <a:gd name="connsiteX3" fmla="*/ 0 w 7905439"/>
              <a:gd name="connsiteY3" fmla="*/ 589686 h 589686"/>
              <a:gd name="connsiteX4" fmla="*/ 10160 w 7905439"/>
              <a:gd name="connsiteY4" fmla="*/ 101600 h 589686"/>
              <a:gd name="connsiteX0" fmla="*/ 20320 w 7915599"/>
              <a:gd name="connsiteY0" fmla="*/ 101600 h 701446"/>
              <a:gd name="connsiteX1" fmla="*/ 7915599 w 7915599"/>
              <a:gd name="connsiteY1" fmla="*/ 0 h 701446"/>
              <a:gd name="connsiteX2" fmla="*/ 7305999 w 7915599"/>
              <a:gd name="connsiteY2" fmla="*/ 589686 h 701446"/>
              <a:gd name="connsiteX3" fmla="*/ 0 w 7915599"/>
              <a:gd name="connsiteY3" fmla="*/ 701446 h 701446"/>
              <a:gd name="connsiteX4" fmla="*/ 20320 w 7915599"/>
              <a:gd name="connsiteY4" fmla="*/ 101600 h 701446"/>
              <a:gd name="connsiteX0" fmla="*/ 20320 w 7915599"/>
              <a:gd name="connsiteY0" fmla="*/ 101600 h 701446"/>
              <a:gd name="connsiteX1" fmla="*/ 7915599 w 7915599"/>
              <a:gd name="connsiteY1" fmla="*/ 0 h 701446"/>
              <a:gd name="connsiteX2" fmla="*/ 7305999 w 7915599"/>
              <a:gd name="connsiteY2" fmla="*/ 589686 h 701446"/>
              <a:gd name="connsiteX3" fmla="*/ 2245360 w 7915599"/>
              <a:gd name="connsiteY3" fmla="*/ 663650 h 701446"/>
              <a:gd name="connsiteX4" fmla="*/ 0 w 7915599"/>
              <a:gd name="connsiteY4" fmla="*/ 701446 h 701446"/>
              <a:gd name="connsiteX5" fmla="*/ 20320 w 7915599"/>
              <a:gd name="connsiteY5" fmla="*/ 101600 h 701446"/>
              <a:gd name="connsiteX0" fmla="*/ 20320 w 7915599"/>
              <a:gd name="connsiteY0" fmla="*/ 101600 h 701446"/>
              <a:gd name="connsiteX1" fmla="*/ 7915599 w 7915599"/>
              <a:gd name="connsiteY1" fmla="*/ 0 h 701446"/>
              <a:gd name="connsiteX2" fmla="*/ 7305999 w 7915599"/>
              <a:gd name="connsiteY2" fmla="*/ 589686 h 701446"/>
              <a:gd name="connsiteX3" fmla="*/ 2245360 w 7915599"/>
              <a:gd name="connsiteY3" fmla="*/ 663650 h 701446"/>
              <a:gd name="connsiteX4" fmla="*/ 1290320 w 7915599"/>
              <a:gd name="connsiteY4" fmla="*/ 663650 h 701446"/>
              <a:gd name="connsiteX5" fmla="*/ 0 w 7915599"/>
              <a:gd name="connsiteY5" fmla="*/ 701446 h 701446"/>
              <a:gd name="connsiteX6" fmla="*/ 20320 w 7915599"/>
              <a:gd name="connsiteY6" fmla="*/ 101600 h 701446"/>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0 w 7915599"/>
              <a:gd name="connsiteY5" fmla="*/ 701446 h 3650690"/>
              <a:gd name="connsiteX6" fmla="*/ 20320 w 7915599"/>
              <a:gd name="connsiteY6"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924560 w 7915599"/>
              <a:gd name="connsiteY5" fmla="*/ 22892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493520 w 7915599"/>
              <a:gd name="connsiteY3" fmla="*/ 69413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635760 w 7915599"/>
              <a:gd name="connsiteY3" fmla="*/ 95829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158240 w 7915599"/>
              <a:gd name="connsiteY3" fmla="*/ 75509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10050"/>
              <a:gd name="connsiteX1" fmla="*/ 7915599 w 7915599"/>
              <a:gd name="connsiteY1" fmla="*/ 0 h 3610050"/>
              <a:gd name="connsiteX2" fmla="*/ 7305999 w 7915599"/>
              <a:gd name="connsiteY2" fmla="*/ 589686 h 3610050"/>
              <a:gd name="connsiteX3" fmla="*/ 1158240 w 7915599"/>
              <a:gd name="connsiteY3" fmla="*/ 755090 h 3610050"/>
              <a:gd name="connsiteX4" fmla="*/ 1259840 w 7915599"/>
              <a:gd name="connsiteY4" fmla="*/ 354909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58240 w 7915599"/>
              <a:gd name="connsiteY3" fmla="*/ 75509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493520 w 7915599"/>
              <a:gd name="connsiteY3" fmla="*/ 49093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41981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2174240 w 7915599"/>
              <a:gd name="connsiteY4" fmla="*/ 358973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2174240 w 7915599"/>
              <a:gd name="connsiteY4" fmla="*/ 3589730 h 3610050"/>
              <a:gd name="connsiteX5" fmla="*/ 79248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5212080 w 7915599"/>
              <a:gd name="connsiteY4" fmla="*/ 3528770 h 3610050"/>
              <a:gd name="connsiteX5" fmla="*/ 79248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528770"/>
              <a:gd name="connsiteX1" fmla="*/ 7915599 w 7915599"/>
              <a:gd name="connsiteY1" fmla="*/ 0 h 3528770"/>
              <a:gd name="connsiteX2" fmla="*/ 7305999 w 7915599"/>
              <a:gd name="connsiteY2" fmla="*/ 589686 h 3528770"/>
              <a:gd name="connsiteX3" fmla="*/ 1117600 w 7915599"/>
              <a:gd name="connsiteY3" fmla="*/ 66365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773680 w 7915599"/>
              <a:gd name="connsiteY3" fmla="*/ 123261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936240 w 7915599"/>
              <a:gd name="connsiteY3" fmla="*/ 78557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936240 w 7915599"/>
              <a:gd name="connsiteY3" fmla="*/ 100909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6838639 w 7915599"/>
              <a:gd name="connsiteY2" fmla="*/ 1077366 h 3528770"/>
              <a:gd name="connsiteX3" fmla="*/ 2936240 w 7915599"/>
              <a:gd name="connsiteY3" fmla="*/ 100909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15200 w 7915599"/>
              <a:gd name="connsiteY2" fmla="*/ 572210 h 3528770"/>
              <a:gd name="connsiteX3" fmla="*/ 6838639 w 7915599"/>
              <a:gd name="connsiteY3" fmla="*/ 1077366 h 3528770"/>
              <a:gd name="connsiteX4" fmla="*/ 2936240 w 7915599"/>
              <a:gd name="connsiteY4" fmla="*/ 1009090 h 3528770"/>
              <a:gd name="connsiteX5" fmla="*/ 5212080 w 7915599"/>
              <a:gd name="connsiteY5" fmla="*/ 3528770 h 3528770"/>
              <a:gd name="connsiteX6" fmla="*/ 3393440 w 7915599"/>
              <a:gd name="connsiteY6" fmla="*/ 3528770 h 3528770"/>
              <a:gd name="connsiteX7" fmla="*/ 0 w 7915599"/>
              <a:gd name="connsiteY7" fmla="*/ 701446 h 3528770"/>
              <a:gd name="connsiteX8" fmla="*/ 20320 w 7915599"/>
              <a:gd name="connsiteY8" fmla="*/ 101600 h 3528770"/>
              <a:gd name="connsiteX0" fmla="*/ 20320 w 8972239"/>
              <a:gd name="connsiteY0" fmla="*/ 101600 h 3528770"/>
              <a:gd name="connsiteX1" fmla="*/ 7915599 w 8972239"/>
              <a:gd name="connsiteY1" fmla="*/ 0 h 3528770"/>
              <a:gd name="connsiteX2" fmla="*/ 7315200 w 8972239"/>
              <a:gd name="connsiteY2" fmla="*/ 572210 h 3528770"/>
              <a:gd name="connsiteX3" fmla="*/ 8972239 w 8972239"/>
              <a:gd name="connsiteY3" fmla="*/ 1189126 h 3528770"/>
              <a:gd name="connsiteX4" fmla="*/ 2936240 w 8972239"/>
              <a:gd name="connsiteY4" fmla="*/ 1009090 h 3528770"/>
              <a:gd name="connsiteX5" fmla="*/ 5212080 w 8972239"/>
              <a:gd name="connsiteY5" fmla="*/ 3528770 h 3528770"/>
              <a:gd name="connsiteX6" fmla="*/ 3393440 w 8972239"/>
              <a:gd name="connsiteY6" fmla="*/ 3528770 h 3528770"/>
              <a:gd name="connsiteX7" fmla="*/ 0 w 8972239"/>
              <a:gd name="connsiteY7" fmla="*/ 701446 h 3528770"/>
              <a:gd name="connsiteX8" fmla="*/ 20320 w 8972239"/>
              <a:gd name="connsiteY8" fmla="*/ 101600 h 3528770"/>
              <a:gd name="connsiteX0" fmla="*/ 20320 w 8972239"/>
              <a:gd name="connsiteY0" fmla="*/ 101600 h 3528770"/>
              <a:gd name="connsiteX1" fmla="*/ 7915599 w 8972239"/>
              <a:gd name="connsiteY1" fmla="*/ 0 h 3528770"/>
              <a:gd name="connsiteX2" fmla="*/ 7315200 w 8972239"/>
              <a:gd name="connsiteY2" fmla="*/ 572210 h 3528770"/>
              <a:gd name="connsiteX3" fmla="*/ 8087360 w 8972239"/>
              <a:gd name="connsiteY3" fmla="*/ 836370 h 3528770"/>
              <a:gd name="connsiteX4" fmla="*/ 8972239 w 8972239"/>
              <a:gd name="connsiteY4" fmla="*/ 1189126 h 3528770"/>
              <a:gd name="connsiteX5" fmla="*/ 2936240 w 8972239"/>
              <a:gd name="connsiteY5" fmla="*/ 1009090 h 3528770"/>
              <a:gd name="connsiteX6" fmla="*/ 5212080 w 8972239"/>
              <a:gd name="connsiteY6" fmla="*/ 3528770 h 3528770"/>
              <a:gd name="connsiteX7" fmla="*/ 3393440 w 8972239"/>
              <a:gd name="connsiteY7" fmla="*/ 3528770 h 3528770"/>
              <a:gd name="connsiteX8" fmla="*/ 0 w 8972239"/>
              <a:gd name="connsiteY8" fmla="*/ 701446 h 3528770"/>
              <a:gd name="connsiteX9" fmla="*/ 20320 w 8972239"/>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8972239 w 12252960"/>
              <a:gd name="connsiteY4" fmla="*/ 1189126 h 3528770"/>
              <a:gd name="connsiteX5" fmla="*/ 2936240 w 12252960"/>
              <a:gd name="connsiteY5" fmla="*/ 100909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12243759 w 12252960"/>
              <a:gd name="connsiteY4" fmla="*/ 1250086 h 3528770"/>
              <a:gd name="connsiteX5" fmla="*/ 2936240 w 12252960"/>
              <a:gd name="connsiteY5" fmla="*/ 100909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12243759 w 12252960"/>
              <a:gd name="connsiteY4" fmla="*/ 1250086 h 3528770"/>
              <a:gd name="connsiteX5" fmla="*/ 2651760 w 12252960"/>
              <a:gd name="connsiteY5" fmla="*/ 124277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651760 w 12252960"/>
              <a:gd name="connsiteY5" fmla="*/ 124277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952240 w 12252960"/>
              <a:gd name="connsiteY5" fmla="*/ 121229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95600 w 12252960"/>
              <a:gd name="connsiteY5" fmla="*/ 109037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281679 w 12252960"/>
              <a:gd name="connsiteY5" fmla="*/ 108021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281679 w 12252960"/>
              <a:gd name="connsiteY5" fmla="*/ 108021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956560 w 12252960"/>
              <a:gd name="connsiteY6" fmla="*/ 118181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956560 w 12252960"/>
              <a:gd name="connsiteY6" fmla="*/ 118181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956560 w 12252960"/>
              <a:gd name="connsiteY5" fmla="*/ 118181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383280 w 12252960"/>
              <a:gd name="connsiteY5" fmla="*/ 128341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701446 h 3589730"/>
              <a:gd name="connsiteX9" fmla="*/ 20320 w 12252960"/>
              <a:gd name="connsiteY9" fmla="*/ 101600 h 358973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985926 h 3589730"/>
              <a:gd name="connsiteX9" fmla="*/ 20320 w 12252960"/>
              <a:gd name="connsiteY9" fmla="*/ 101600 h 358973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985926 h 3589730"/>
              <a:gd name="connsiteX9" fmla="*/ 20320 w 12252960"/>
              <a:gd name="connsiteY9"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0 w 12232640"/>
              <a:gd name="connsiteY8" fmla="*/ 935126 h 3589730"/>
              <a:gd name="connsiteX9" fmla="*/ 0 w 12232640"/>
              <a:gd name="connsiteY9"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436879 w 12232640"/>
              <a:gd name="connsiteY8" fmla="*/ 1263090 h 3589730"/>
              <a:gd name="connsiteX9" fmla="*/ 0 w 12232640"/>
              <a:gd name="connsiteY9" fmla="*/ 935126 h 3589730"/>
              <a:gd name="connsiteX10" fmla="*/ 0 w 12232640"/>
              <a:gd name="connsiteY10"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436879 w 12232640"/>
              <a:gd name="connsiteY8" fmla="*/ 1263090 h 3589730"/>
              <a:gd name="connsiteX9" fmla="*/ 0 w 12232640"/>
              <a:gd name="connsiteY9" fmla="*/ 935126 h 3589730"/>
              <a:gd name="connsiteX10" fmla="*/ 0 w 12232640"/>
              <a:gd name="connsiteY10" fmla="*/ 101600 h 3589730"/>
              <a:gd name="connsiteX0" fmla="*/ 71120 w 12303760"/>
              <a:gd name="connsiteY0" fmla="*/ 101600 h 3589730"/>
              <a:gd name="connsiteX1" fmla="*/ 7966399 w 12303760"/>
              <a:gd name="connsiteY1" fmla="*/ 0 h 3589730"/>
              <a:gd name="connsiteX2" fmla="*/ 7366000 w 12303760"/>
              <a:gd name="connsiteY2" fmla="*/ 572210 h 3589730"/>
              <a:gd name="connsiteX3" fmla="*/ 12303760 w 12303760"/>
              <a:gd name="connsiteY3" fmla="*/ 612850 h 3589730"/>
              <a:gd name="connsiteX4" fmla="*/ 12294559 w 12303760"/>
              <a:gd name="connsiteY4" fmla="*/ 1250086 h 3589730"/>
              <a:gd name="connsiteX5" fmla="*/ 3434080 w 12303760"/>
              <a:gd name="connsiteY5" fmla="*/ 1283410 h 3589730"/>
              <a:gd name="connsiteX6" fmla="*/ 6431280 w 12303760"/>
              <a:gd name="connsiteY6" fmla="*/ 3589730 h 3589730"/>
              <a:gd name="connsiteX7" fmla="*/ 3444240 w 12303760"/>
              <a:gd name="connsiteY7" fmla="*/ 3528770 h 3589730"/>
              <a:gd name="connsiteX8" fmla="*/ 507999 w 12303760"/>
              <a:gd name="connsiteY8" fmla="*/ 1263090 h 3589730"/>
              <a:gd name="connsiteX9" fmla="*/ 0 w 12303760"/>
              <a:gd name="connsiteY9" fmla="*/ 1758086 h 3589730"/>
              <a:gd name="connsiteX10" fmla="*/ 71120 w 12303760"/>
              <a:gd name="connsiteY10" fmla="*/ 101600 h 3589730"/>
              <a:gd name="connsiteX0" fmla="*/ 50800 w 12283440"/>
              <a:gd name="connsiteY0" fmla="*/ 101600 h 3589730"/>
              <a:gd name="connsiteX1" fmla="*/ 7946079 w 12283440"/>
              <a:gd name="connsiteY1" fmla="*/ 0 h 3589730"/>
              <a:gd name="connsiteX2" fmla="*/ 7345680 w 12283440"/>
              <a:gd name="connsiteY2" fmla="*/ 572210 h 3589730"/>
              <a:gd name="connsiteX3" fmla="*/ 12283440 w 12283440"/>
              <a:gd name="connsiteY3" fmla="*/ 612850 h 3589730"/>
              <a:gd name="connsiteX4" fmla="*/ 12274239 w 12283440"/>
              <a:gd name="connsiteY4" fmla="*/ 1250086 h 3589730"/>
              <a:gd name="connsiteX5" fmla="*/ 3413760 w 12283440"/>
              <a:gd name="connsiteY5" fmla="*/ 1283410 h 3589730"/>
              <a:gd name="connsiteX6" fmla="*/ 6410960 w 12283440"/>
              <a:gd name="connsiteY6" fmla="*/ 3589730 h 3589730"/>
              <a:gd name="connsiteX7" fmla="*/ 3423920 w 12283440"/>
              <a:gd name="connsiteY7" fmla="*/ 3528770 h 3589730"/>
              <a:gd name="connsiteX8" fmla="*/ 487679 w 12283440"/>
              <a:gd name="connsiteY8" fmla="*/ 1263090 h 3589730"/>
              <a:gd name="connsiteX9" fmla="*/ 0 w 12283440"/>
              <a:gd name="connsiteY9" fmla="*/ 1361846 h 3589730"/>
              <a:gd name="connsiteX10" fmla="*/ 50800 w 12283440"/>
              <a:gd name="connsiteY10" fmla="*/ 101600 h 3589730"/>
              <a:gd name="connsiteX0" fmla="*/ 30480 w 12263120"/>
              <a:gd name="connsiteY0" fmla="*/ 101600 h 3589730"/>
              <a:gd name="connsiteX1" fmla="*/ 7925759 w 12263120"/>
              <a:gd name="connsiteY1" fmla="*/ 0 h 3589730"/>
              <a:gd name="connsiteX2" fmla="*/ 7325360 w 12263120"/>
              <a:gd name="connsiteY2" fmla="*/ 572210 h 3589730"/>
              <a:gd name="connsiteX3" fmla="*/ 12263120 w 12263120"/>
              <a:gd name="connsiteY3" fmla="*/ 612850 h 3589730"/>
              <a:gd name="connsiteX4" fmla="*/ 12253919 w 12263120"/>
              <a:gd name="connsiteY4" fmla="*/ 1250086 h 3589730"/>
              <a:gd name="connsiteX5" fmla="*/ 3393440 w 12263120"/>
              <a:gd name="connsiteY5" fmla="*/ 1283410 h 3589730"/>
              <a:gd name="connsiteX6" fmla="*/ 6390640 w 12263120"/>
              <a:gd name="connsiteY6" fmla="*/ 3589730 h 3589730"/>
              <a:gd name="connsiteX7" fmla="*/ 3403600 w 12263120"/>
              <a:gd name="connsiteY7" fmla="*/ 3528770 h 3589730"/>
              <a:gd name="connsiteX8" fmla="*/ 467359 w 12263120"/>
              <a:gd name="connsiteY8" fmla="*/ 1263090 h 3589730"/>
              <a:gd name="connsiteX9" fmla="*/ 0 w 12263120"/>
              <a:gd name="connsiteY9" fmla="*/ 1280566 h 3589730"/>
              <a:gd name="connsiteX10" fmla="*/ 30480 w 12263120"/>
              <a:gd name="connsiteY10" fmla="*/ 101600 h 3589730"/>
              <a:gd name="connsiteX0" fmla="*/ 30480 w 12263120"/>
              <a:gd name="connsiteY0" fmla="*/ 101600 h 3589730"/>
              <a:gd name="connsiteX1" fmla="*/ 7925759 w 12263120"/>
              <a:gd name="connsiteY1" fmla="*/ 0 h 3589730"/>
              <a:gd name="connsiteX2" fmla="*/ 7325360 w 12263120"/>
              <a:gd name="connsiteY2" fmla="*/ 572210 h 3589730"/>
              <a:gd name="connsiteX3" fmla="*/ 12263120 w 12263120"/>
              <a:gd name="connsiteY3" fmla="*/ 612850 h 3589730"/>
              <a:gd name="connsiteX4" fmla="*/ 12253919 w 12263120"/>
              <a:gd name="connsiteY4" fmla="*/ 1250086 h 3589730"/>
              <a:gd name="connsiteX5" fmla="*/ 3393440 w 12263120"/>
              <a:gd name="connsiteY5" fmla="*/ 1283410 h 3589730"/>
              <a:gd name="connsiteX6" fmla="*/ 6390640 w 12263120"/>
              <a:gd name="connsiteY6" fmla="*/ 3589730 h 3589730"/>
              <a:gd name="connsiteX7" fmla="*/ 3403600 w 12263120"/>
              <a:gd name="connsiteY7" fmla="*/ 3528770 h 3589730"/>
              <a:gd name="connsiteX8" fmla="*/ 467359 w 12263120"/>
              <a:gd name="connsiteY8" fmla="*/ 1263090 h 3589730"/>
              <a:gd name="connsiteX9" fmla="*/ 0 w 12263120"/>
              <a:gd name="connsiteY9" fmla="*/ 1219606 h 3589730"/>
              <a:gd name="connsiteX10" fmla="*/ 30480 w 12263120"/>
              <a:gd name="connsiteY10" fmla="*/ 101600 h 358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63120" h="3589730">
                <a:moveTo>
                  <a:pt x="30480" y="101600"/>
                </a:moveTo>
                <a:lnTo>
                  <a:pt x="7925759" y="0"/>
                </a:lnTo>
                <a:lnTo>
                  <a:pt x="7325360" y="572210"/>
                </a:lnTo>
                <a:lnTo>
                  <a:pt x="12263120" y="612850"/>
                </a:lnTo>
                <a:lnTo>
                  <a:pt x="12253919" y="1250086"/>
                </a:lnTo>
                <a:lnTo>
                  <a:pt x="3393440" y="1283410"/>
                </a:lnTo>
                <a:lnTo>
                  <a:pt x="6390640" y="3589730"/>
                </a:lnTo>
                <a:lnTo>
                  <a:pt x="3403600" y="3528770"/>
                </a:lnTo>
                <a:lnTo>
                  <a:pt x="467359" y="1263090"/>
                </a:lnTo>
                <a:lnTo>
                  <a:pt x="0" y="1219606"/>
                </a:lnTo>
                <a:lnTo>
                  <a:pt x="30480" y="101600"/>
                </a:lnTo>
                <a:close/>
              </a:path>
            </a:pathLst>
          </a:cu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cxnSp>
        <p:nvCxnSpPr>
          <p:cNvPr id="93" name="Straight Connector 92">
            <a:extLst>
              <a:ext uri="{FF2B5EF4-FFF2-40B4-BE49-F238E27FC236}">
                <a16:creationId xmlns:a16="http://schemas.microsoft.com/office/drawing/2014/main" id="{0CED645C-CD0C-4F76-B14E-70204370108B}"/>
              </a:ext>
            </a:extLst>
          </p:cNvPr>
          <p:cNvCxnSpPr>
            <a:cxnSpLocks/>
          </p:cNvCxnSpPr>
          <p:nvPr/>
        </p:nvCxnSpPr>
        <p:spPr>
          <a:xfrm>
            <a:off x="-12082" y="3831135"/>
            <a:ext cx="7170432" cy="0"/>
          </a:xfrm>
          <a:prstGeom prst="line">
            <a:avLst/>
          </a:prstGeom>
          <a:ln w="762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C51C83C2-E831-4DB5-AA75-97319EB94749}"/>
              </a:ext>
            </a:extLst>
          </p:cNvPr>
          <p:cNvCxnSpPr>
            <a:cxnSpLocks/>
          </p:cNvCxnSpPr>
          <p:nvPr/>
        </p:nvCxnSpPr>
        <p:spPr>
          <a:xfrm flipH="1" flipV="1">
            <a:off x="1137920" y="3885507"/>
            <a:ext cx="3911602" cy="2962309"/>
          </a:xfrm>
          <a:prstGeom prst="line">
            <a:avLst/>
          </a:prstGeom>
          <a:ln w="762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358" name="Rectangle 357">
            <a:extLst>
              <a:ext uri="{FF2B5EF4-FFF2-40B4-BE49-F238E27FC236}">
                <a16:creationId xmlns:a16="http://schemas.microsoft.com/office/drawing/2014/main" id="{4FFF2A67-798D-4E70-B857-BDD0EBFA2CBD}"/>
              </a:ext>
            </a:extLst>
          </p:cNvPr>
          <p:cNvSpPr/>
          <p:nvPr/>
        </p:nvSpPr>
        <p:spPr>
          <a:xfrm>
            <a:off x="7315200" y="3258110"/>
            <a:ext cx="4901081" cy="623010"/>
          </a:xfrm>
          <a:custGeom>
            <a:avLst/>
            <a:gdLst>
              <a:gd name="connsiteX0" fmla="*/ 0 w 2980841"/>
              <a:gd name="connsiteY0" fmla="*/ 0 h 978610"/>
              <a:gd name="connsiteX1" fmla="*/ 2980841 w 2980841"/>
              <a:gd name="connsiteY1" fmla="*/ 0 h 978610"/>
              <a:gd name="connsiteX2" fmla="*/ 2980841 w 2980841"/>
              <a:gd name="connsiteY2" fmla="*/ 978610 h 978610"/>
              <a:gd name="connsiteX3" fmla="*/ 0 w 2980841"/>
              <a:gd name="connsiteY3" fmla="*/ 978610 h 978610"/>
              <a:gd name="connsiteX4" fmla="*/ 0 w 2980841"/>
              <a:gd name="connsiteY4" fmla="*/ 0 h 978610"/>
              <a:gd name="connsiteX0" fmla="*/ 619760 w 3600601"/>
              <a:gd name="connsiteY0" fmla="*/ 0 h 978610"/>
              <a:gd name="connsiteX1" fmla="*/ 3600601 w 3600601"/>
              <a:gd name="connsiteY1" fmla="*/ 0 h 978610"/>
              <a:gd name="connsiteX2" fmla="*/ 3600601 w 3600601"/>
              <a:gd name="connsiteY2" fmla="*/ 978610 h 978610"/>
              <a:gd name="connsiteX3" fmla="*/ 0 w 3600601"/>
              <a:gd name="connsiteY3" fmla="*/ 551890 h 978610"/>
              <a:gd name="connsiteX4" fmla="*/ 619760 w 3600601"/>
              <a:gd name="connsiteY4" fmla="*/ 0 h 978610"/>
              <a:gd name="connsiteX0" fmla="*/ 619760 w 4860441"/>
              <a:gd name="connsiteY0" fmla="*/ 0 h 623010"/>
              <a:gd name="connsiteX1" fmla="*/ 3600601 w 4860441"/>
              <a:gd name="connsiteY1" fmla="*/ 0 h 623010"/>
              <a:gd name="connsiteX2" fmla="*/ 4860441 w 4860441"/>
              <a:gd name="connsiteY2" fmla="*/ 623010 h 623010"/>
              <a:gd name="connsiteX3" fmla="*/ 0 w 4860441"/>
              <a:gd name="connsiteY3" fmla="*/ 551890 h 623010"/>
              <a:gd name="connsiteX4" fmla="*/ 619760 w 4860441"/>
              <a:gd name="connsiteY4" fmla="*/ 0 h 623010"/>
              <a:gd name="connsiteX0" fmla="*/ 619760 w 4860441"/>
              <a:gd name="connsiteY0" fmla="*/ 20320 h 643330"/>
              <a:gd name="connsiteX1" fmla="*/ 4860441 w 4860441"/>
              <a:gd name="connsiteY1" fmla="*/ 0 h 643330"/>
              <a:gd name="connsiteX2" fmla="*/ 4860441 w 4860441"/>
              <a:gd name="connsiteY2" fmla="*/ 643330 h 643330"/>
              <a:gd name="connsiteX3" fmla="*/ 0 w 4860441"/>
              <a:gd name="connsiteY3" fmla="*/ 572210 h 643330"/>
              <a:gd name="connsiteX4" fmla="*/ 619760 w 4860441"/>
              <a:gd name="connsiteY4" fmla="*/ 20320 h 643330"/>
              <a:gd name="connsiteX0" fmla="*/ 619760 w 4901081"/>
              <a:gd name="connsiteY0" fmla="*/ 0 h 623010"/>
              <a:gd name="connsiteX1" fmla="*/ 4901081 w 4901081"/>
              <a:gd name="connsiteY1" fmla="*/ 101600 h 623010"/>
              <a:gd name="connsiteX2" fmla="*/ 4860441 w 4901081"/>
              <a:gd name="connsiteY2" fmla="*/ 623010 h 623010"/>
              <a:gd name="connsiteX3" fmla="*/ 0 w 4901081"/>
              <a:gd name="connsiteY3" fmla="*/ 551890 h 623010"/>
              <a:gd name="connsiteX4" fmla="*/ 619760 w 4901081"/>
              <a:gd name="connsiteY4" fmla="*/ 0 h 623010"/>
              <a:gd name="connsiteX0" fmla="*/ 619760 w 4870601"/>
              <a:gd name="connsiteY0" fmla="*/ 50800 h 673810"/>
              <a:gd name="connsiteX1" fmla="*/ 4870601 w 4870601"/>
              <a:gd name="connsiteY1" fmla="*/ 0 h 673810"/>
              <a:gd name="connsiteX2" fmla="*/ 4860441 w 4870601"/>
              <a:gd name="connsiteY2" fmla="*/ 673810 h 673810"/>
              <a:gd name="connsiteX3" fmla="*/ 0 w 4870601"/>
              <a:gd name="connsiteY3" fmla="*/ 602690 h 673810"/>
              <a:gd name="connsiteX4" fmla="*/ 619760 w 4870601"/>
              <a:gd name="connsiteY4" fmla="*/ 50800 h 673810"/>
              <a:gd name="connsiteX0" fmla="*/ 619760 w 4901081"/>
              <a:gd name="connsiteY0" fmla="*/ 0 h 623010"/>
              <a:gd name="connsiteX1" fmla="*/ 4901081 w 4901081"/>
              <a:gd name="connsiteY1" fmla="*/ 121920 h 623010"/>
              <a:gd name="connsiteX2" fmla="*/ 4860441 w 4901081"/>
              <a:gd name="connsiteY2" fmla="*/ 623010 h 623010"/>
              <a:gd name="connsiteX3" fmla="*/ 0 w 4901081"/>
              <a:gd name="connsiteY3" fmla="*/ 551890 h 623010"/>
              <a:gd name="connsiteX4" fmla="*/ 619760 w 4901081"/>
              <a:gd name="connsiteY4" fmla="*/ 0 h 623010"/>
              <a:gd name="connsiteX0" fmla="*/ 619760 w 4860441"/>
              <a:gd name="connsiteY0" fmla="*/ 60960 h 683970"/>
              <a:gd name="connsiteX1" fmla="*/ 4829961 w 4860441"/>
              <a:gd name="connsiteY1" fmla="*/ 0 h 683970"/>
              <a:gd name="connsiteX2" fmla="*/ 4860441 w 4860441"/>
              <a:gd name="connsiteY2" fmla="*/ 683970 h 683970"/>
              <a:gd name="connsiteX3" fmla="*/ 0 w 4860441"/>
              <a:gd name="connsiteY3" fmla="*/ 612850 h 683970"/>
              <a:gd name="connsiteX4" fmla="*/ 619760 w 4860441"/>
              <a:gd name="connsiteY4" fmla="*/ 60960 h 683970"/>
              <a:gd name="connsiteX0" fmla="*/ 619760 w 4860441"/>
              <a:gd name="connsiteY0" fmla="*/ 60960 h 683970"/>
              <a:gd name="connsiteX1" fmla="*/ 4819801 w 4860441"/>
              <a:gd name="connsiteY1" fmla="*/ 0 h 683970"/>
              <a:gd name="connsiteX2" fmla="*/ 4860441 w 4860441"/>
              <a:gd name="connsiteY2" fmla="*/ 683970 h 683970"/>
              <a:gd name="connsiteX3" fmla="*/ 0 w 4860441"/>
              <a:gd name="connsiteY3" fmla="*/ 612850 h 683970"/>
              <a:gd name="connsiteX4" fmla="*/ 619760 w 4860441"/>
              <a:gd name="connsiteY4" fmla="*/ 60960 h 683970"/>
              <a:gd name="connsiteX0" fmla="*/ 619760 w 4860441"/>
              <a:gd name="connsiteY0" fmla="*/ 50800 h 673810"/>
              <a:gd name="connsiteX1" fmla="*/ 4860441 w 4860441"/>
              <a:gd name="connsiteY1" fmla="*/ 0 h 673810"/>
              <a:gd name="connsiteX2" fmla="*/ 4860441 w 4860441"/>
              <a:gd name="connsiteY2" fmla="*/ 673810 h 673810"/>
              <a:gd name="connsiteX3" fmla="*/ 0 w 4860441"/>
              <a:gd name="connsiteY3" fmla="*/ 602690 h 673810"/>
              <a:gd name="connsiteX4" fmla="*/ 619760 w 4860441"/>
              <a:gd name="connsiteY4" fmla="*/ 50800 h 673810"/>
              <a:gd name="connsiteX0" fmla="*/ 619760 w 4870601"/>
              <a:gd name="connsiteY0" fmla="*/ 0 h 623010"/>
              <a:gd name="connsiteX1" fmla="*/ 4870601 w 4870601"/>
              <a:gd name="connsiteY1" fmla="*/ 50800 h 623010"/>
              <a:gd name="connsiteX2" fmla="*/ 4860441 w 4870601"/>
              <a:gd name="connsiteY2" fmla="*/ 623010 h 623010"/>
              <a:gd name="connsiteX3" fmla="*/ 0 w 4870601"/>
              <a:gd name="connsiteY3" fmla="*/ 551890 h 623010"/>
              <a:gd name="connsiteX4" fmla="*/ 619760 w 4870601"/>
              <a:gd name="connsiteY4" fmla="*/ 0 h 623010"/>
              <a:gd name="connsiteX0" fmla="*/ 619760 w 4901081"/>
              <a:gd name="connsiteY0" fmla="*/ 0 h 623010"/>
              <a:gd name="connsiteX1" fmla="*/ 4870601 w 4901081"/>
              <a:gd name="connsiteY1" fmla="*/ 50800 h 623010"/>
              <a:gd name="connsiteX2" fmla="*/ 4901081 w 4901081"/>
              <a:gd name="connsiteY2" fmla="*/ 623010 h 623010"/>
              <a:gd name="connsiteX3" fmla="*/ 0 w 4901081"/>
              <a:gd name="connsiteY3" fmla="*/ 551890 h 623010"/>
              <a:gd name="connsiteX4" fmla="*/ 619760 w 4901081"/>
              <a:gd name="connsiteY4" fmla="*/ 0 h 62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1081" h="623010">
                <a:moveTo>
                  <a:pt x="619760" y="0"/>
                </a:moveTo>
                <a:lnTo>
                  <a:pt x="4870601" y="50800"/>
                </a:lnTo>
                <a:lnTo>
                  <a:pt x="4901081" y="623010"/>
                </a:lnTo>
                <a:lnTo>
                  <a:pt x="0" y="551890"/>
                </a:lnTo>
                <a:lnTo>
                  <a:pt x="619760" y="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94" name="Picture 93">
            <a:extLst>
              <a:ext uri="{FF2B5EF4-FFF2-40B4-BE49-F238E27FC236}">
                <a16:creationId xmlns:a16="http://schemas.microsoft.com/office/drawing/2014/main" id="{25A307D6-228A-497F-BABB-5B4E98F372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4247973" y="2786395"/>
            <a:ext cx="3367254" cy="1517260"/>
          </a:xfrm>
          <a:prstGeom prst="rect">
            <a:avLst/>
          </a:prstGeom>
        </p:spPr>
      </p:pic>
      <p:grpSp>
        <p:nvGrpSpPr>
          <p:cNvPr id="13" name="Group 12">
            <a:extLst>
              <a:ext uri="{FF2B5EF4-FFF2-40B4-BE49-F238E27FC236}">
                <a16:creationId xmlns:a16="http://schemas.microsoft.com/office/drawing/2014/main" id="{674AF575-C8ED-4CDD-8316-469CF3805A8E}"/>
              </a:ext>
            </a:extLst>
          </p:cNvPr>
          <p:cNvGrpSpPr/>
          <p:nvPr/>
        </p:nvGrpSpPr>
        <p:grpSpPr>
          <a:xfrm>
            <a:off x="7985121" y="1758275"/>
            <a:ext cx="4360568" cy="2633770"/>
            <a:chOff x="7901994" y="1758275"/>
            <a:chExt cx="4360568" cy="2633770"/>
          </a:xfrm>
        </p:grpSpPr>
        <p:pic>
          <p:nvPicPr>
            <p:cNvPr id="258" name="Picture 257">
              <a:extLst>
                <a:ext uri="{FF2B5EF4-FFF2-40B4-BE49-F238E27FC236}">
                  <a16:creationId xmlns:a16="http://schemas.microsoft.com/office/drawing/2014/main" id="{6D772BB5-41DC-4947-A595-AA557AEE7E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137476">
              <a:off x="9463306" y="2561845"/>
              <a:ext cx="1316225" cy="1314939"/>
            </a:xfrm>
            <a:prstGeom prst="rect">
              <a:avLst/>
            </a:prstGeom>
          </p:spPr>
        </p:pic>
        <p:pic>
          <p:nvPicPr>
            <p:cNvPr id="262" name="Picture 261">
              <a:extLst>
                <a:ext uri="{FF2B5EF4-FFF2-40B4-BE49-F238E27FC236}">
                  <a16:creationId xmlns:a16="http://schemas.microsoft.com/office/drawing/2014/main" id="{14C8AEE6-6E5D-4579-ABB5-010657BAB8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22298" y="1758275"/>
              <a:ext cx="3140264" cy="2633770"/>
            </a:xfrm>
            <a:prstGeom prst="rect">
              <a:avLst/>
            </a:prstGeom>
          </p:spPr>
        </p:pic>
        <p:pic>
          <p:nvPicPr>
            <p:cNvPr id="263" name="Picture 262">
              <a:extLst>
                <a:ext uri="{FF2B5EF4-FFF2-40B4-BE49-F238E27FC236}">
                  <a16:creationId xmlns:a16="http://schemas.microsoft.com/office/drawing/2014/main" id="{0F1E540E-CA34-4489-B269-626BC199C4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1994" y="1886674"/>
              <a:ext cx="2763195" cy="2317518"/>
            </a:xfrm>
            <a:prstGeom prst="rect">
              <a:avLst/>
            </a:prstGeom>
          </p:spPr>
        </p:pic>
      </p:grpSp>
      <p:grpSp>
        <p:nvGrpSpPr>
          <p:cNvPr id="9" name="Group 8">
            <a:extLst>
              <a:ext uri="{FF2B5EF4-FFF2-40B4-BE49-F238E27FC236}">
                <a16:creationId xmlns:a16="http://schemas.microsoft.com/office/drawing/2014/main" id="{782A3F23-89B9-4BAB-BA7F-795CEA12A97A}"/>
              </a:ext>
            </a:extLst>
          </p:cNvPr>
          <p:cNvGrpSpPr/>
          <p:nvPr/>
        </p:nvGrpSpPr>
        <p:grpSpPr>
          <a:xfrm>
            <a:off x="4699795" y="1344782"/>
            <a:ext cx="3304754" cy="2393577"/>
            <a:chOff x="4699795" y="1344782"/>
            <a:chExt cx="3304754" cy="2393577"/>
          </a:xfrm>
        </p:grpSpPr>
        <p:pic>
          <p:nvPicPr>
            <p:cNvPr id="264" name="Picture 263">
              <a:extLst>
                <a:ext uri="{FF2B5EF4-FFF2-40B4-BE49-F238E27FC236}">
                  <a16:creationId xmlns:a16="http://schemas.microsoft.com/office/drawing/2014/main" id="{F765189A-CCAE-49D4-9044-F1D417F105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12245" y="1480298"/>
              <a:ext cx="2692304" cy="2258061"/>
            </a:xfrm>
            <a:prstGeom prst="rect">
              <a:avLst/>
            </a:prstGeom>
          </p:spPr>
        </p:pic>
        <p:pic>
          <p:nvPicPr>
            <p:cNvPr id="265" name="Picture 264">
              <a:extLst>
                <a:ext uri="{FF2B5EF4-FFF2-40B4-BE49-F238E27FC236}">
                  <a16:creationId xmlns:a16="http://schemas.microsoft.com/office/drawing/2014/main" id="{0B2AB139-62F0-4ED8-A5D7-8E5FFE32E8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96381" y="1458928"/>
              <a:ext cx="2692304" cy="2258061"/>
            </a:xfrm>
            <a:prstGeom prst="rect">
              <a:avLst/>
            </a:prstGeom>
          </p:spPr>
        </p:pic>
        <p:pic>
          <p:nvPicPr>
            <p:cNvPr id="268" name="Picture 267">
              <a:extLst>
                <a:ext uri="{FF2B5EF4-FFF2-40B4-BE49-F238E27FC236}">
                  <a16:creationId xmlns:a16="http://schemas.microsoft.com/office/drawing/2014/main" id="{B8C70639-9C43-4D9A-A28A-2FEC15DAA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9795" y="1344782"/>
              <a:ext cx="2692304" cy="2258061"/>
            </a:xfrm>
            <a:prstGeom prst="rect">
              <a:avLst/>
            </a:prstGeom>
          </p:spPr>
        </p:pic>
      </p:grpSp>
    </p:spTree>
    <p:extLst>
      <p:ext uri="{BB962C8B-B14F-4D97-AF65-F5344CB8AC3E}">
        <p14:creationId xmlns:p14="http://schemas.microsoft.com/office/powerpoint/2010/main" val="604248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4000"/>
                                        <p:tgtEl>
                                          <p:spTgt spid="9"/>
                                        </p:tgtEl>
                                      </p:cBhvr>
                                    </p:animEffect>
                                  </p:childTnLst>
                                </p:cTn>
                              </p:par>
                              <p:par>
                                <p:cTn id="8" presetID="22" presetClass="exit" presetSubtype="1" fill="hold" nodeType="withEffect">
                                  <p:stCondLst>
                                    <p:cond delay="0"/>
                                  </p:stCondLst>
                                  <p:childTnLst>
                                    <p:animEffect transition="out" filter="wipe(up)">
                                      <p:cBhvr>
                                        <p:cTn id="9" dur="4000"/>
                                        <p:tgtEl>
                                          <p:spTgt spid="13"/>
                                        </p:tgtEl>
                                      </p:cBhvr>
                                    </p:animEffect>
                                    <p:set>
                                      <p:cBhvr>
                                        <p:cTn id="10" dur="1" fill="hold">
                                          <p:stCondLst>
                                            <p:cond delay="39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Rectangle 282">
            <a:extLst>
              <a:ext uri="{FF2B5EF4-FFF2-40B4-BE49-F238E27FC236}">
                <a16:creationId xmlns:a16="http://schemas.microsoft.com/office/drawing/2014/main" id="{04A16556-7E9E-4E97-B6D4-91176E35235F}"/>
              </a:ext>
            </a:extLst>
          </p:cNvPr>
          <p:cNvSpPr/>
          <p:nvPr/>
        </p:nvSpPr>
        <p:spPr>
          <a:xfrm>
            <a:off x="-12082" y="3261335"/>
            <a:ext cx="12273280" cy="3586480"/>
          </a:xfrm>
          <a:custGeom>
            <a:avLst/>
            <a:gdLst>
              <a:gd name="connsiteX0" fmla="*/ 0 w 3159760"/>
              <a:gd name="connsiteY0" fmla="*/ 0 h 1412240"/>
              <a:gd name="connsiteX1" fmla="*/ 3159760 w 3159760"/>
              <a:gd name="connsiteY1" fmla="*/ 0 h 1412240"/>
              <a:gd name="connsiteX2" fmla="*/ 3159760 w 3159760"/>
              <a:gd name="connsiteY2" fmla="*/ 1412240 h 1412240"/>
              <a:gd name="connsiteX3" fmla="*/ 0 w 3159760"/>
              <a:gd name="connsiteY3" fmla="*/ 1412240 h 1412240"/>
              <a:gd name="connsiteX4" fmla="*/ 0 w 3159760"/>
              <a:gd name="connsiteY4" fmla="*/ 0 h 1412240"/>
              <a:gd name="connsiteX0" fmla="*/ 0 w 3159760"/>
              <a:gd name="connsiteY0" fmla="*/ 0 h 1412240"/>
              <a:gd name="connsiteX1" fmla="*/ 2895600 w 3159760"/>
              <a:gd name="connsiteY1" fmla="*/ 447040 h 1412240"/>
              <a:gd name="connsiteX2" fmla="*/ 3159760 w 3159760"/>
              <a:gd name="connsiteY2" fmla="*/ 1412240 h 1412240"/>
              <a:gd name="connsiteX3" fmla="*/ 0 w 3159760"/>
              <a:gd name="connsiteY3" fmla="*/ 1412240 h 1412240"/>
              <a:gd name="connsiteX4" fmla="*/ 0 w 3159760"/>
              <a:gd name="connsiteY4" fmla="*/ 0 h 1412240"/>
              <a:gd name="connsiteX0" fmla="*/ 0 w 3759200"/>
              <a:gd name="connsiteY0" fmla="*/ 0 h 1412240"/>
              <a:gd name="connsiteX1" fmla="*/ 2895600 w 3759200"/>
              <a:gd name="connsiteY1" fmla="*/ 447040 h 1412240"/>
              <a:gd name="connsiteX2" fmla="*/ 3759200 w 3759200"/>
              <a:gd name="connsiteY2" fmla="*/ 802640 h 1412240"/>
              <a:gd name="connsiteX3" fmla="*/ 0 w 3759200"/>
              <a:gd name="connsiteY3" fmla="*/ 1412240 h 1412240"/>
              <a:gd name="connsiteX4" fmla="*/ 0 w 3759200"/>
              <a:gd name="connsiteY4" fmla="*/ 0 h 1412240"/>
              <a:gd name="connsiteX0" fmla="*/ 0 w 3911600"/>
              <a:gd name="connsiteY0" fmla="*/ 203200 h 965200"/>
              <a:gd name="connsiteX1" fmla="*/ 3048000 w 3911600"/>
              <a:gd name="connsiteY1" fmla="*/ 0 h 965200"/>
              <a:gd name="connsiteX2" fmla="*/ 3911600 w 3911600"/>
              <a:gd name="connsiteY2" fmla="*/ 355600 h 965200"/>
              <a:gd name="connsiteX3" fmla="*/ 152400 w 3911600"/>
              <a:gd name="connsiteY3" fmla="*/ 965200 h 965200"/>
              <a:gd name="connsiteX4" fmla="*/ 0 w 3911600"/>
              <a:gd name="connsiteY4" fmla="*/ 203200 h 965200"/>
              <a:gd name="connsiteX0" fmla="*/ 0 w 3911600"/>
              <a:gd name="connsiteY0" fmla="*/ 203200 h 853440"/>
              <a:gd name="connsiteX1" fmla="*/ 3048000 w 3911600"/>
              <a:gd name="connsiteY1" fmla="*/ 0 h 853440"/>
              <a:gd name="connsiteX2" fmla="*/ 3911600 w 3911600"/>
              <a:gd name="connsiteY2" fmla="*/ 355600 h 853440"/>
              <a:gd name="connsiteX3" fmla="*/ 762000 w 3911600"/>
              <a:gd name="connsiteY3" fmla="*/ 853440 h 853440"/>
              <a:gd name="connsiteX4" fmla="*/ 0 w 3911600"/>
              <a:gd name="connsiteY4" fmla="*/ 203200 h 853440"/>
              <a:gd name="connsiteX0" fmla="*/ 0 w 3464560"/>
              <a:gd name="connsiteY0" fmla="*/ 467360 h 853440"/>
              <a:gd name="connsiteX1" fmla="*/ 2600960 w 3464560"/>
              <a:gd name="connsiteY1" fmla="*/ 0 h 853440"/>
              <a:gd name="connsiteX2" fmla="*/ 3464560 w 3464560"/>
              <a:gd name="connsiteY2" fmla="*/ 355600 h 853440"/>
              <a:gd name="connsiteX3" fmla="*/ 314960 w 3464560"/>
              <a:gd name="connsiteY3" fmla="*/ 853440 h 853440"/>
              <a:gd name="connsiteX4" fmla="*/ 0 w 3464560"/>
              <a:gd name="connsiteY4" fmla="*/ 467360 h 853440"/>
              <a:gd name="connsiteX0" fmla="*/ 0 w 3464560"/>
              <a:gd name="connsiteY0" fmla="*/ 335280 h 721360"/>
              <a:gd name="connsiteX1" fmla="*/ 2712720 w 3464560"/>
              <a:gd name="connsiteY1" fmla="*/ 0 h 721360"/>
              <a:gd name="connsiteX2" fmla="*/ 3464560 w 3464560"/>
              <a:gd name="connsiteY2" fmla="*/ 223520 h 721360"/>
              <a:gd name="connsiteX3" fmla="*/ 314960 w 3464560"/>
              <a:gd name="connsiteY3" fmla="*/ 721360 h 721360"/>
              <a:gd name="connsiteX4" fmla="*/ 0 w 3464560"/>
              <a:gd name="connsiteY4" fmla="*/ 335280 h 721360"/>
              <a:gd name="connsiteX0" fmla="*/ 0 w 4693920"/>
              <a:gd name="connsiteY0" fmla="*/ 538480 h 924560"/>
              <a:gd name="connsiteX1" fmla="*/ 4693920 w 4693920"/>
              <a:gd name="connsiteY1" fmla="*/ 0 h 924560"/>
              <a:gd name="connsiteX2" fmla="*/ 3464560 w 4693920"/>
              <a:gd name="connsiteY2" fmla="*/ 426720 h 924560"/>
              <a:gd name="connsiteX3" fmla="*/ 314960 w 4693920"/>
              <a:gd name="connsiteY3" fmla="*/ 924560 h 924560"/>
              <a:gd name="connsiteX4" fmla="*/ 0 w 4693920"/>
              <a:gd name="connsiteY4" fmla="*/ 538480 h 924560"/>
              <a:gd name="connsiteX0" fmla="*/ 0 w 4693920"/>
              <a:gd name="connsiteY0" fmla="*/ 538480 h 924560"/>
              <a:gd name="connsiteX1" fmla="*/ 4693920 w 4693920"/>
              <a:gd name="connsiteY1" fmla="*/ 0 h 924560"/>
              <a:gd name="connsiteX2" fmla="*/ 4277360 w 4693920"/>
              <a:gd name="connsiteY2" fmla="*/ 355600 h 924560"/>
              <a:gd name="connsiteX3" fmla="*/ 314960 w 4693920"/>
              <a:gd name="connsiteY3" fmla="*/ 924560 h 924560"/>
              <a:gd name="connsiteX4" fmla="*/ 0 w 4693920"/>
              <a:gd name="connsiteY4" fmla="*/ 538480 h 924560"/>
              <a:gd name="connsiteX0" fmla="*/ 0 w 5008880"/>
              <a:gd name="connsiteY0" fmla="*/ 802640 h 1188720"/>
              <a:gd name="connsiteX1" fmla="*/ 5008880 w 5008880"/>
              <a:gd name="connsiteY1" fmla="*/ 0 h 1188720"/>
              <a:gd name="connsiteX2" fmla="*/ 4277360 w 5008880"/>
              <a:gd name="connsiteY2" fmla="*/ 619760 h 1188720"/>
              <a:gd name="connsiteX3" fmla="*/ 314960 w 5008880"/>
              <a:gd name="connsiteY3" fmla="*/ 1188720 h 1188720"/>
              <a:gd name="connsiteX4" fmla="*/ 0 w 5008880"/>
              <a:gd name="connsiteY4" fmla="*/ 802640 h 1188720"/>
              <a:gd name="connsiteX0" fmla="*/ 1188720 w 4693920"/>
              <a:gd name="connsiteY0" fmla="*/ 30480 h 1188720"/>
              <a:gd name="connsiteX1" fmla="*/ 4693920 w 4693920"/>
              <a:gd name="connsiteY1" fmla="*/ 0 h 1188720"/>
              <a:gd name="connsiteX2" fmla="*/ 3962400 w 4693920"/>
              <a:gd name="connsiteY2" fmla="*/ 619760 h 1188720"/>
              <a:gd name="connsiteX3" fmla="*/ 0 w 4693920"/>
              <a:gd name="connsiteY3" fmla="*/ 1188720 h 1188720"/>
              <a:gd name="connsiteX4" fmla="*/ 1188720 w 4693920"/>
              <a:gd name="connsiteY4" fmla="*/ 30480 h 1188720"/>
              <a:gd name="connsiteX0" fmla="*/ 467360 w 3972560"/>
              <a:gd name="connsiteY0" fmla="*/ 30480 h 690880"/>
              <a:gd name="connsiteX1" fmla="*/ 3972560 w 3972560"/>
              <a:gd name="connsiteY1" fmla="*/ 0 h 690880"/>
              <a:gd name="connsiteX2" fmla="*/ 3241040 w 3972560"/>
              <a:gd name="connsiteY2" fmla="*/ 619760 h 690880"/>
              <a:gd name="connsiteX3" fmla="*/ 0 w 3972560"/>
              <a:gd name="connsiteY3" fmla="*/ 690880 h 690880"/>
              <a:gd name="connsiteX4" fmla="*/ 467360 w 3972560"/>
              <a:gd name="connsiteY4" fmla="*/ 30480 h 690880"/>
              <a:gd name="connsiteX0" fmla="*/ 0 w 7904480"/>
              <a:gd name="connsiteY0" fmla="*/ 0 h 995680"/>
              <a:gd name="connsiteX1" fmla="*/ 7904480 w 7904480"/>
              <a:gd name="connsiteY1" fmla="*/ 304800 h 995680"/>
              <a:gd name="connsiteX2" fmla="*/ 7172960 w 7904480"/>
              <a:gd name="connsiteY2" fmla="*/ 924560 h 995680"/>
              <a:gd name="connsiteX3" fmla="*/ 3931920 w 7904480"/>
              <a:gd name="connsiteY3" fmla="*/ 995680 h 995680"/>
              <a:gd name="connsiteX4" fmla="*/ 0 w 7904480"/>
              <a:gd name="connsiteY4" fmla="*/ 0 h 995680"/>
              <a:gd name="connsiteX0" fmla="*/ 20320 w 7924800"/>
              <a:gd name="connsiteY0" fmla="*/ 0 h 1178560"/>
              <a:gd name="connsiteX1" fmla="*/ 7924800 w 7924800"/>
              <a:gd name="connsiteY1" fmla="*/ 304800 h 1178560"/>
              <a:gd name="connsiteX2" fmla="*/ 7193280 w 7924800"/>
              <a:gd name="connsiteY2" fmla="*/ 924560 h 1178560"/>
              <a:gd name="connsiteX3" fmla="*/ 0 w 7924800"/>
              <a:gd name="connsiteY3" fmla="*/ 1178560 h 1178560"/>
              <a:gd name="connsiteX4" fmla="*/ 20320 w 7924800"/>
              <a:gd name="connsiteY4" fmla="*/ 0 h 1178560"/>
              <a:gd name="connsiteX0" fmla="*/ 10160 w 7924800"/>
              <a:gd name="connsiteY0" fmla="*/ 60960 h 873760"/>
              <a:gd name="connsiteX1" fmla="*/ 7924800 w 7924800"/>
              <a:gd name="connsiteY1" fmla="*/ 0 h 873760"/>
              <a:gd name="connsiteX2" fmla="*/ 7193280 w 7924800"/>
              <a:gd name="connsiteY2" fmla="*/ 619760 h 873760"/>
              <a:gd name="connsiteX3" fmla="*/ 0 w 7924800"/>
              <a:gd name="connsiteY3" fmla="*/ 873760 h 873760"/>
              <a:gd name="connsiteX4" fmla="*/ 10160 w 7924800"/>
              <a:gd name="connsiteY4" fmla="*/ 60960 h 873760"/>
              <a:gd name="connsiteX0" fmla="*/ 10160 w 7924800"/>
              <a:gd name="connsiteY0" fmla="*/ 60960 h 3616960"/>
              <a:gd name="connsiteX1" fmla="*/ 7924800 w 7924800"/>
              <a:gd name="connsiteY1" fmla="*/ 0 h 3616960"/>
              <a:gd name="connsiteX2" fmla="*/ 3474720 w 7924800"/>
              <a:gd name="connsiteY2" fmla="*/ 3616960 h 3616960"/>
              <a:gd name="connsiteX3" fmla="*/ 0 w 7924800"/>
              <a:gd name="connsiteY3" fmla="*/ 873760 h 3616960"/>
              <a:gd name="connsiteX4" fmla="*/ 10160 w 7924800"/>
              <a:gd name="connsiteY4" fmla="*/ 60960 h 3616960"/>
              <a:gd name="connsiteX0" fmla="*/ 0 w 7914640"/>
              <a:gd name="connsiteY0" fmla="*/ 60960 h 3616960"/>
              <a:gd name="connsiteX1" fmla="*/ 7914640 w 7914640"/>
              <a:gd name="connsiteY1" fmla="*/ 0 h 3616960"/>
              <a:gd name="connsiteX2" fmla="*/ 3464560 w 7914640"/>
              <a:gd name="connsiteY2" fmla="*/ 3616960 h 3616960"/>
              <a:gd name="connsiteX3" fmla="*/ 30480 w 7914640"/>
              <a:gd name="connsiteY3" fmla="*/ 3586480 h 3616960"/>
              <a:gd name="connsiteX4" fmla="*/ 0 w 7914640"/>
              <a:gd name="connsiteY4" fmla="*/ 60960 h 3616960"/>
              <a:gd name="connsiteX0" fmla="*/ 0 w 7914640"/>
              <a:gd name="connsiteY0" fmla="*/ 60960 h 3616960"/>
              <a:gd name="connsiteX1" fmla="*/ 7914640 w 7914640"/>
              <a:gd name="connsiteY1" fmla="*/ 0 h 3616960"/>
              <a:gd name="connsiteX2" fmla="*/ 7185042 w 7914640"/>
              <a:gd name="connsiteY2" fmla="*/ 579145 h 3616960"/>
              <a:gd name="connsiteX3" fmla="*/ 3464560 w 7914640"/>
              <a:gd name="connsiteY3" fmla="*/ 3616960 h 3616960"/>
              <a:gd name="connsiteX4" fmla="*/ 30480 w 7914640"/>
              <a:gd name="connsiteY4" fmla="*/ 3586480 h 3616960"/>
              <a:gd name="connsiteX5" fmla="*/ 0 w 7914640"/>
              <a:gd name="connsiteY5" fmla="*/ 60960 h 361696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30480 w 12273280"/>
              <a:gd name="connsiteY4" fmla="*/ 3586480 h 3586480"/>
              <a:gd name="connsiteX5" fmla="*/ 0 w 12273280"/>
              <a:gd name="connsiteY5"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30480 w 12273280"/>
              <a:gd name="connsiteY4" fmla="*/ 3586480 h 3586480"/>
              <a:gd name="connsiteX5" fmla="*/ 0 w 12273280"/>
              <a:gd name="connsiteY5"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7875922 w 12273280"/>
              <a:gd name="connsiteY4" fmla="*/ 1686585 h 3586480"/>
              <a:gd name="connsiteX5" fmla="*/ 30480 w 12273280"/>
              <a:gd name="connsiteY5" fmla="*/ 3586480 h 3586480"/>
              <a:gd name="connsiteX6" fmla="*/ 0 w 12273280"/>
              <a:gd name="connsiteY6"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12183762 w 12273280"/>
              <a:gd name="connsiteY4" fmla="*/ 3545865 h 3586480"/>
              <a:gd name="connsiteX5" fmla="*/ 30480 w 12273280"/>
              <a:gd name="connsiteY5" fmla="*/ 3586480 h 3586480"/>
              <a:gd name="connsiteX6" fmla="*/ 0 w 12273280"/>
              <a:gd name="connsiteY6" fmla="*/ 60960 h 3586480"/>
              <a:gd name="connsiteX0" fmla="*/ 0 w 12273280"/>
              <a:gd name="connsiteY0" fmla="*/ 60960 h 3586480"/>
              <a:gd name="connsiteX1" fmla="*/ 7914640 w 12273280"/>
              <a:gd name="connsiteY1" fmla="*/ 0 h 3586480"/>
              <a:gd name="connsiteX2" fmla="*/ 7185042 w 12273280"/>
              <a:gd name="connsiteY2" fmla="*/ 579145 h 3586480"/>
              <a:gd name="connsiteX3" fmla="*/ 12273280 w 12273280"/>
              <a:gd name="connsiteY3" fmla="*/ 629920 h 3586480"/>
              <a:gd name="connsiteX4" fmla="*/ 12163442 w 12273280"/>
              <a:gd name="connsiteY4" fmla="*/ 3545865 h 3586480"/>
              <a:gd name="connsiteX5" fmla="*/ 30480 w 12273280"/>
              <a:gd name="connsiteY5" fmla="*/ 3586480 h 3586480"/>
              <a:gd name="connsiteX6" fmla="*/ 0 w 12273280"/>
              <a:gd name="connsiteY6" fmla="*/ 60960 h 35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3280" h="3586480">
                <a:moveTo>
                  <a:pt x="0" y="60960"/>
                </a:moveTo>
                <a:lnTo>
                  <a:pt x="7914640" y="0"/>
                </a:lnTo>
                <a:lnTo>
                  <a:pt x="7185042" y="579145"/>
                </a:lnTo>
                <a:lnTo>
                  <a:pt x="12273280" y="629920"/>
                </a:lnTo>
                <a:lnTo>
                  <a:pt x="12163442" y="3545865"/>
                </a:lnTo>
                <a:lnTo>
                  <a:pt x="30480" y="3586480"/>
                </a:lnTo>
                <a:lnTo>
                  <a:pt x="0" y="60960"/>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45" name="Rectangle 344">
            <a:extLst>
              <a:ext uri="{FF2B5EF4-FFF2-40B4-BE49-F238E27FC236}">
                <a16:creationId xmlns:a16="http://schemas.microsoft.com/office/drawing/2014/main" id="{27866B50-D3EC-45AB-A1DF-B7D144E796E1}"/>
              </a:ext>
            </a:extLst>
          </p:cNvPr>
          <p:cNvSpPr/>
          <p:nvPr/>
        </p:nvSpPr>
        <p:spPr>
          <a:xfrm>
            <a:off x="-20319" y="3258110"/>
            <a:ext cx="12263120" cy="3589730"/>
          </a:xfrm>
          <a:custGeom>
            <a:avLst/>
            <a:gdLst>
              <a:gd name="connsiteX0" fmla="*/ 0 w 7295839"/>
              <a:gd name="connsiteY0" fmla="*/ 0 h 488086"/>
              <a:gd name="connsiteX1" fmla="*/ 7295839 w 7295839"/>
              <a:gd name="connsiteY1" fmla="*/ 0 h 488086"/>
              <a:gd name="connsiteX2" fmla="*/ 7295839 w 7295839"/>
              <a:gd name="connsiteY2" fmla="*/ 488086 h 488086"/>
              <a:gd name="connsiteX3" fmla="*/ 0 w 7295839"/>
              <a:gd name="connsiteY3" fmla="*/ 488086 h 488086"/>
              <a:gd name="connsiteX4" fmla="*/ 0 w 7295839"/>
              <a:gd name="connsiteY4" fmla="*/ 0 h 488086"/>
              <a:gd name="connsiteX0" fmla="*/ 0 w 7905439"/>
              <a:gd name="connsiteY0" fmla="*/ 101600 h 589686"/>
              <a:gd name="connsiteX1" fmla="*/ 7905439 w 7905439"/>
              <a:gd name="connsiteY1" fmla="*/ 0 h 589686"/>
              <a:gd name="connsiteX2" fmla="*/ 7295839 w 7905439"/>
              <a:gd name="connsiteY2" fmla="*/ 589686 h 589686"/>
              <a:gd name="connsiteX3" fmla="*/ 0 w 7905439"/>
              <a:gd name="connsiteY3" fmla="*/ 589686 h 589686"/>
              <a:gd name="connsiteX4" fmla="*/ 0 w 7905439"/>
              <a:gd name="connsiteY4" fmla="*/ 101600 h 589686"/>
              <a:gd name="connsiteX0" fmla="*/ 10160 w 7905439"/>
              <a:gd name="connsiteY0" fmla="*/ 101600 h 589686"/>
              <a:gd name="connsiteX1" fmla="*/ 7905439 w 7905439"/>
              <a:gd name="connsiteY1" fmla="*/ 0 h 589686"/>
              <a:gd name="connsiteX2" fmla="*/ 7295839 w 7905439"/>
              <a:gd name="connsiteY2" fmla="*/ 589686 h 589686"/>
              <a:gd name="connsiteX3" fmla="*/ 0 w 7905439"/>
              <a:gd name="connsiteY3" fmla="*/ 589686 h 589686"/>
              <a:gd name="connsiteX4" fmla="*/ 10160 w 7905439"/>
              <a:gd name="connsiteY4" fmla="*/ 101600 h 589686"/>
              <a:gd name="connsiteX0" fmla="*/ 20320 w 7915599"/>
              <a:gd name="connsiteY0" fmla="*/ 101600 h 701446"/>
              <a:gd name="connsiteX1" fmla="*/ 7915599 w 7915599"/>
              <a:gd name="connsiteY1" fmla="*/ 0 h 701446"/>
              <a:gd name="connsiteX2" fmla="*/ 7305999 w 7915599"/>
              <a:gd name="connsiteY2" fmla="*/ 589686 h 701446"/>
              <a:gd name="connsiteX3" fmla="*/ 0 w 7915599"/>
              <a:gd name="connsiteY3" fmla="*/ 701446 h 701446"/>
              <a:gd name="connsiteX4" fmla="*/ 20320 w 7915599"/>
              <a:gd name="connsiteY4" fmla="*/ 101600 h 701446"/>
              <a:gd name="connsiteX0" fmla="*/ 20320 w 7915599"/>
              <a:gd name="connsiteY0" fmla="*/ 101600 h 701446"/>
              <a:gd name="connsiteX1" fmla="*/ 7915599 w 7915599"/>
              <a:gd name="connsiteY1" fmla="*/ 0 h 701446"/>
              <a:gd name="connsiteX2" fmla="*/ 7305999 w 7915599"/>
              <a:gd name="connsiteY2" fmla="*/ 589686 h 701446"/>
              <a:gd name="connsiteX3" fmla="*/ 2245360 w 7915599"/>
              <a:gd name="connsiteY3" fmla="*/ 663650 h 701446"/>
              <a:gd name="connsiteX4" fmla="*/ 0 w 7915599"/>
              <a:gd name="connsiteY4" fmla="*/ 701446 h 701446"/>
              <a:gd name="connsiteX5" fmla="*/ 20320 w 7915599"/>
              <a:gd name="connsiteY5" fmla="*/ 101600 h 701446"/>
              <a:gd name="connsiteX0" fmla="*/ 20320 w 7915599"/>
              <a:gd name="connsiteY0" fmla="*/ 101600 h 701446"/>
              <a:gd name="connsiteX1" fmla="*/ 7915599 w 7915599"/>
              <a:gd name="connsiteY1" fmla="*/ 0 h 701446"/>
              <a:gd name="connsiteX2" fmla="*/ 7305999 w 7915599"/>
              <a:gd name="connsiteY2" fmla="*/ 589686 h 701446"/>
              <a:gd name="connsiteX3" fmla="*/ 2245360 w 7915599"/>
              <a:gd name="connsiteY3" fmla="*/ 663650 h 701446"/>
              <a:gd name="connsiteX4" fmla="*/ 1290320 w 7915599"/>
              <a:gd name="connsiteY4" fmla="*/ 663650 h 701446"/>
              <a:gd name="connsiteX5" fmla="*/ 0 w 7915599"/>
              <a:gd name="connsiteY5" fmla="*/ 701446 h 701446"/>
              <a:gd name="connsiteX6" fmla="*/ 20320 w 7915599"/>
              <a:gd name="connsiteY6" fmla="*/ 101600 h 701446"/>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0 w 7915599"/>
              <a:gd name="connsiteY5" fmla="*/ 701446 h 3650690"/>
              <a:gd name="connsiteX6" fmla="*/ 20320 w 7915599"/>
              <a:gd name="connsiteY6"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924560 w 7915599"/>
              <a:gd name="connsiteY5" fmla="*/ 22892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2245360 w 7915599"/>
              <a:gd name="connsiteY3" fmla="*/ 66365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493520 w 7915599"/>
              <a:gd name="connsiteY3" fmla="*/ 69413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635760 w 7915599"/>
              <a:gd name="connsiteY3" fmla="*/ 95829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50690"/>
              <a:gd name="connsiteX1" fmla="*/ 7915599 w 7915599"/>
              <a:gd name="connsiteY1" fmla="*/ 0 h 3650690"/>
              <a:gd name="connsiteX2" fmla="*/ 7305999 w 7915599"/>
              <a:gd name="connsiteY2" fmla="*/ 589686 h 3650690"/>
              <a:gd name="connsiteX3" fmla="*/ 1158240 w 7915599"/>
              <a:gd name="connsiteY3" fmla="*/ 755090 h 3650690"/>
              <a:gd name="connsiteX4" fmla="*/ 1676400 w 7915599"/>
              <a:gd name="connsiteY4" fmla="*/ 3650690 h 3650690"/>
              <a:gd name="connsiteX5" fmla="*/ 60960 w 7915599"/>
              <a:gd name="connsiteY5" fmla="*/ 3610050 h 3650690"/>
              <a:gd name="connsiteX6" fmla="*/ 0 w 7915599"/>
              <a:gd name="connsiteY6" fmla="*/ 701446 h 3650690"/>
              <a:gd name="connsiteX7" fmla="*/ 20320 w 7915599"/>
              <a:gd name="connsiteY7" fmla="*/ 101600 h 3650690"/>
              <a:gd name="connsiteX0" fmla="*/ 20320 w 7915599"/>
              <a:gd name="connsiteY0" fmla="*/ 101600 h 3610050"/>
              <a:gd name="connsiteX1" fmla="*/ 7915599 w 7915599"/>
              <a:gd name="connsiteY1" fmla="*/ 0 h 3610050"/>
              <a:gd name="connsiteX2" fmla="*/ 7305999 w 7915599"/>
              <a:gd name="connsiteY2" fmla="*/ 589686 h 3610050"/>
              <a:gd name="connsiteX3" fmla="*/ 1158240 w 7915599"/>
              <a:gd name="connsiteY3" fmla="*/ 755090 h 3610050"/>
              <a:gd name="connsiteX4" fmla="*/ 1259840 w 7915599"/>
              <a:gd name="connsiteY4" fmla="*/ 354909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58240 w 7915599"/>
              <a:gd name="connsiteY3" fmla="*/ 75509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493520 w 7915599"/>
              <a:gd name="connsiteY3" fmla="*/ 49093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41981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1381760 w 7915599"/>
              <a:gd name="connsiteY4" fmla="*/ 355925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2174240 w 7915599"/>
              <a:gd name="connsiteY4" fmla="*/ 3589730 h 3610050"/>
              <a:gd name="connsiteX5" fmla="*/ 6096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2174240 w 7915599"/>
              <a:gd name="connsiteY4" fmla="*/ 3589730 h 3610050"/>
              <a:gd name="connsiteX5" fmla="*/ 79248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610050"/>
              <a:gd name="connsiteX1" fmla="*/ 7915599 w 7915599"/>
              <a:gd name="connsiteY1" fmla="*/ 0 h 3610050"/>
              <a:gd name="connsiteX2" fmla="*/ 7305999 w 7915599"/>
              <a:gd name="connsiteY2" fmla="*/ 589686 h 3610050"/>
              <a:gd name="connsiteX3" fmla="*/ 1117600 w 7915599"/>
              <a:gd name="connsiteY3" fmla="*/ 663650 h 3610050"/>
              <a:gd name="connsiteX4" fmla="*/ 5212080 w 7915599"/>
              <a:gd name="connsiteY4" fmla="*/ 3528770 h 3610050"/>
              <a:gd name="connsiteX5" fmla="*/ 792480 w 7915599"/>
              <a:gd name="connsiteY5" fmla="*/ 3610050 h 3610050"/>
              <a:gd name="connsiteX6" fmla="*/ 0 w 7915599"/>
              <a:gd name="connsiteY6" fmla="*/ 701446 h 3610050"/>
              <a:gd name="connsiteX7" fmla="*/ 20320 w 7915599"/>
              <a:gd name="connsiteY7" fmla="*/ 101600 h 3610050"/>
              <a:gd name="connsiteX0" fmla="*/ 20320 w 7915599"/>
              <a:gd name="connsiteY0" fmla="*/ 101600 h 3528770"/>
              <a:gd name="connsiteX1" fmla="*/ 7915599 w 7915599"/>
              <a:gd name="connsiteY1" fmla="*/ 0 h 3528770"/>
              <a:gd name="connsiteX2" fmla="*/ 7305999 w 7915599"/>
              <a:gd name="connsiteY2" fmla="*/ 589686 h 3528770"/>
              <a:gd name="connsiteX3" fmla="*/ 1117600 w 7915599"/>
              <a:gd name="connsiteY3" fmla="*/ 66365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773680 w 7915599"/>
              <a:gd name="connsiteY3" fmla="*/ 123261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936240 w 7915599"/>
              <a:gd name="connsiteY3" fmla="*/ 78557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05999 w 7915599"/>
              <a:gd name="connsiteY2" fmla="*/ 589686 h 3528770"/>
              <a:gd name="connsiteX3" fmla="*/ 2936240 w 7915599"/>
              <a:gd name="connsiteY3" fmla="*/ 100909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6838639 w 7915599"/>
              <a:gd name="connsiteY2" fmla="*/ 1077366 h 3528770"/>
              <a:gd name="connsiteX3" fmla="*/ 2936240 w 7915599"/>
              <a:gd name="connsiteY3" fmla="*/ 1009090 h 3528770"/>
              <a:gd name="connsiteX4" fmla="*/ 5212080 w 7915599"/>
              <a:gd name="connsiteY4" fmla="*/ 3528770 h 3528770"/>
              <a:gd name="connsiteX5" fmla="*/ 3393440 w 7915599"/>
              <a:gd name="connsiteY5" fmla="*/ 3528770 h 3528770"/>
              <a:gd name="connsiteX6" fmla="*/ 0 w 7915599"/>
              <a:gd name="connsiteY6" fmla="*/ 701446 h 3528770"/>
              <a:gd name="connsiteX7" fmla="*/ 20320 w 7915599"/>
              <a:gd name="connsiteY7" fmla="*/ 101600 h 3528770"/>
              <a:gd name="connsiteX0" fmla="*/ 20320 w 7915599"/>
              <a:gd name="connsiteY0" fmla="*/ 101600 h 3528770"/>
              <a:gd name="connsiteX1" fmla="*/ 7915599 w 7915599"/>
              <a:gd name="connsiteY1" fmla="*/ 0 h 3528770"/>
              <a:gd name="connsiteX2" fmla="*/ 7315200 w 7915599"/>
              <a:gd name="connsiteY2" fmla="*/ 572210 h 3528770"/>
              <a:gd name="connsiteX3" fmla="*/ 6838639 w 7915599"/>
              <a:gd name="connsiteY3" fmla="*/ 1077366 h 3528770"/>
              <a:gd name="connsiteX4" fmla="*/ 2936240 w 7915599"/>
              <a:gd name="connsiteY4" fmla="*/ 1009090 h 3528770"/>
              <a:gd name="connsiteX5" fmla="*/ 5212080 w 7915599"/>
              <a:gd name="connsiteY5" fmla="*/ 3528770 h 3528770"/>
              <a:gd name="connsiteX6" fmla="*/ 3393440 w 7915599"/>
              <a:gd name="connsiteY6" fmla="*/ 3528770 h 3528770"/>
              <a:gd name="connsiteX7" fmla="*/ 0 w 7915599"/>
              <a:gd name="connsiteY7" fmla="*/ 701446 h 3528770"/>
              <a:gd name="connsiteX8" fmla="*/ 20320 w 7915599"/>
              <a:gd name="connsiteY8" fmla="*/ 101600 h 3528770"/>
              <a:gd name="connsiteX0" fmla="*/ 20320 w 8972239"/>
              <a:gd name="connsiteY0" fmla="*/ 101600 h 3528770"/>
              <a:gd name="connsiteX1" fmla="*/ 7915599 w 8972239"/>
              <a:gd name="connsiteY1" fmla="*/ 0 h 3528770"/>
              <a:gd name="connsiteX2" fmla="*/ 7315200 w 8972239"/>
              <a:gd name="connsiteY2" fmla="*/ 572210 h 3528770"/>
              <a:gd name="connsiteX3" fmla="*/ 8972239 w 8972239"/>
              <a:gd name="connsiteY3" fmla="*/ 1189126 h 3528770"/>
              <a:gd name="connsiteX4" fmla="*/ 2936240 w 8972239"/>
              <a:gd name="connsiteY4" fmla="*/ 1009090 h 3528770"/>
              <a:gd name="connsiteX5" fmla="*/ 5212080 w 8972239"/>
              <a:gd name="connsiteY5" fmla="*/ 3528770 h 3528770"/>
              <a:gd name="connsiteX6" fmla="*/ 3393440 w 8972239"/>
              <a:gd name="connsiteY6" fmla="*/ 3528770 h 3528770"/>
              <a:gd name="connsiteX7" fmla="*/ 0 w 8972239"/>
              <a:gd name="connsiteY7" fmla="*/ 701446 h 3528770"/>
              <a:gd name="connsiteX8" fmla="*/ 20320 w 8972239"/>
              <a:gd name="connsiteY8" fmla="*/ 101600 h 3528770"/>
              <a:gd name="connsiteX0" fmla="*/ 20320 w 8972239"/>
              <a:gd name="connsiteY0" fmla="*/ 101600 h 3528770"/>
              <a:gd name="connsiteX1" fmla="*/ 7915599 w 8972239"/>
              <a:gd name="connsiteY1" fmla="*/ 0 h 3528770"/>
              <a:gd name="connsiteX2" fmla="*/ 7315200 w 8972239"/>
              <a:gd name="connsiteY2" fmla="*/ 572210 h 3528770"/>
              <a:gd name="connsiteX3" fmla="*/ 8087360 w 8972239"/>
              <a:gd name="connsiteY3" fmla="*/ 836370 h 3528770"/>
              <a:gd name="connsiteX4" fmla="*/ 8972239 w 8972239"/>
              <a:gd name="connsiteY4" fmla="*/ 1189126 h 3528770"/>
              <a:gd name="connsiteX5" fmla="*/ 2936240 w 8972239"/>
              <a:gd name="connsiteY5" fmla="*/ 1009090 h 3528770"/>
              <a:gd name="connsiteX6" fmla="*/ 5212080 w 8972239"/>
              <a:gd name="connsiteY6" fmla="*/ 3528770 h 3528770"/>
              <a:gd name="connsiteX7" fmla="*/ 3393440 w 8972239"/>
              <a:gd name="connsiteY7" fmla="*/ 3528770 h 3528770"/>
              <a:gd name="connsiteX8" fmla="*/ 0 w 8972239"/>
              <a:gd name="connsiteY8" fmla="*/ 701446 h 3528770"/>
              <a:gd name="connsiteX9" fmla="*/ 20320 w 8972239"/>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8972239 w 12252960"/>
              <a:gd name="connsiteY4" fmla="*/ 1189126 h 3528770"/>
              <a:gd name="connsiteX5" fmla="*/ 2936240 w 12252960"/>
              <a:gd name="connsiteY5" fmla="*/ 100909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12243759 w 12252960"/>
              <a:gd name="connsiteY4" fmla="*/ 1250086 h 3528770"/>
              <a:gd name="connsiteX5" fmla="*/ 2936240 w 12252960"/>
              <a:gd name="connsiteY5" fmla="*/ 100909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28770"/>
              <a:gd name="connsiteX1" fmla="*/ 7915599 w 12252960"/>
              <a:gd name="connsiteY1" fmla="*/ 0 h 3528770"/>
              <a:gd name="connsiteX2" fmla="*/ 7315200 w 12252960"/>
              <a:gd name="connsiteY2" fmla="*/ 572210 h 3528770"/>
              <a:gd name="connsiteX3" fmla="*/ 12252960 w 12252960"/>
              <a:gd name="connsiteY3" fmla="*/ 612850 h 3528770"/>
              <a:gd name="connsiteX4" fmla="*/ 12243759 w 12252960"/>
              <a:gd name="connsiteY4" fmla="*/ 1250086 h 3528770"/>
              <a:gd name="connsiteX5" fmla="*/ 2651760 w 12252960"/>
              <a:gd name="connsiteY5" fmla="*/ 1242770 h 3528770"/>
              <a:gd name="connsiteX6" fmla="*/ 5212080 w 12252960"/>
              <a:gd name="connsiteY6" fmla="*/ 3528770 h 3528770"/>
              <a:gd name="connsiteX7" fmla="*/ 3393440 w 12252960"/>
              <a:gd name="connsiteY7" fmla="*/ 3528770 h 3528770"/>
              <a:gd name="connsiteX8" fmla="*/ 0 w 12252960"/>
              <a:gd name="connsiteY8" fmla="*/ 701446 h 3528770"/>
              <a:gd name="connsiteX9" fmla="*/ 20320 w 12252960"/>
              <a:gd name="connsiteY9" fmla="*/ 101600 h 352877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651760 w 12252960"/>
              <a:gd name="connsiteY5" fmla="*/ 124277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952240 w 12252960"/>
              <a:gd name="connsiteY5" fmla="*/ 121229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75280 w 12252960"/>
              <a:gd name="connsiteY5" fmla="*/ 110053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895600 w 12252960"/>
              <a:gd name="connsiteY5" fmla="*/ 109037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281679 w 12252960"/>
              <a:gd name="connsiteY5" fmla="*/ 108021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281679 w 12252960"/>
              <a:gd name="connsiteY5" fmla="*/ 108021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895600 w 12252960"/>
              <a:gd name="connsiteY6" fmla="*/ 109037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956560 w 12252960"/>
              <a:gd name="connsiteY6" fmla="*/ 118181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535679 w 12252960"/>
              <a:gd name="connsiteY5" fmla="*/ 907490 h 3559250"/>
              <a:gd name="connsiteX6" fmla="*/ 2956560 w 12252960"/>
              <a:gd name="connsiteY6" fmla="*/ 1181810 h 3559250"/>
              <a:gd name="connsiteX7" fmla="*/ 6228080 w 12252960"/>
              <a:gd name="connsiteY7" fmla="*/ 3559250 h 3559250"/>
              <a:gd name="connsiteX8" fmla="*/ 3393440 w 12252960"/>
              <a:gd name="connsiteY8" fmla="*/ 3528770 h 3559250"/>
              <a:gd name="connsiteX9" fmla="*/ 0 w 12252960"/>
              <a:gd name="connsiteY9" fmla="*/ 701446 h 3559250"/>
              <a:gd name="connsiteX10" fmla="*/ 20320 w 12252960"/>
              <a:gd name="connsiteY10"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2956560 w 12252960"/>
              <a:gd name="connsiteY5" fmla="*/ 118181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59250"/>
              <a:gd name="connsiteX1" fmla="*/ 7915599 w 12252960"/>
              <a:gd name="connsiteY1" fmla="*/ 0 h 3559250"/>
              <a:gd name="connsiteX2" fmla="*/ 7315200 w 12252960"/>
              <a:gd name="connsiteY2" fmla="*/ 572210 h 3559250"/>
              <a:gd name="connsiteX3" fmla="*/ 12252960 w 12252960"/>
              <a:gd name="connsiteY3" fmla="*/ 612850 h 3559250"/>
              <a:gd name="connsiteX4" fmla="*/ 12243759 w 12252960"/>
              <a:gd name="connsiteY4" fmla="*/ 1250086 h 3559250"/>
              <a:gd name="connsiteX5" fmla="*/ 3383280 w 12252960"/>
              <a:gd name="connsiteY5" fmla="*/ 1283410 h 3559250"/>
              <a:gd name="connsiteX6" fmla="*/ 6228080 w 12252960"/>
              <a:gd name="connsiteY6" fmla="*/ 3559250 h 3559250"/>
              <a:gd name="connsiteX7" fmla="*/ 3393440 w 12252960"/>
              <a:gd name="connsiteY7" fmla="*/ 3528770 h 3559250"/>
              <a:gd name="connsiteX8" fmla="*/ 0 w 12252960"/>
              <a:gd name="connsiteY8" fmla="*/ 701446 h 3559250"/>
              <a:gd name="connsiteX9" fmla="*/ 20320 w 12252960"/>
              <a:gd name="connsiteY9" fmla="*/ 101600 h 355925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701446 h 3589730"/>
              <a:gd name="connsiteX9" fmla="*/ 20320 w 12252960"/>
              <a:gd name="connsiteY9" fmla="*/ 101600 h 358973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985926 h 3589730"/>
              <a:gd name="connsiteX9" fmla="*/ 20320 w 12252960"/>
              <a:gd name="connsiteY9" fmla="*/ 101600 h 3589730"/>
              <a:gd name="connsiteX0" fmla="*/ 20320 w 12252960"/>
              <a:gd name="connsiteY0" fmla="*/ 101600 h 3589730"/>
              <a:gd name="connsiteX1" fmla="*/ 7915599 w 12252960"/>
              <a:gd name="connsiteY1" fmla="*/ 0 h 3589730"/>
              <a:gd name="connsiteX2" fmla="*/ 7315200 w 12252960"/>
              <a:gd name="connsiteY2" fmla="*/ 572210 h 3589730"/>
              <a:gd name="connsiteX3" fmla="*/ 12252960 w 12252960"/>
              <a:gd name="connsiteY3" fmla="*/ 612850 h 3589730"/>
              <a:gd name="connsiteX4" fmla="*/ 12243759 w 12252960"/>
              <a:gd name="connsiteY4" fmla="*/ 1250086 h 3589730"/>
              <a:gd name="connsiteX5" fmla="*/ 3383280 w 12252960"/>
              <a:gd name="connsiteY5" fmla="*/ 1283410 h 3589730"/>
              <a:gd name="connsiteX6" fmla="*/ 6380480 w 12252960"/>
              <a:gd name="connsiteY6" fmla="*/ 3589730 h 3589730"/>
              <a:gd name="connsiteX7" fmla="*/ 3393440 w 12252960"/>
              <a:gd name="connsiteY7" fmla="*/ 3528770 h 3589730"/>
              <a:gd name="connsiteX8" fmla="*/ 0 w 12252960"/>
              <a:gd name="connsiteY8" fmla="*/ 985926 h 3589730"/>
              <a:gd name="connsiteX9" fmla="*/ 20320 w 12252960"/>
              <a:gd name="connsiteY9"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0 w 12232640"/>
              <a:gd name="connsiteY8" fmla="*/ 935126 h 3589730"/>
              <a:gd name="connsiteX9" fmla="*/ 0 w 12232640"/>
              <a:gd name="connsiteY9"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436879 w 12232640"/>
              <a:gd name="connsiteY8" fmla="*/ 1263090 h 3589730"/>
              <a:gd name="connsiteX9" fmla="*/ 0 w 12232640"/>
              <a:gd name="connsiteY9" fmla="*/ 935126 h 3589730"/>
              <a:gd name="connsiteX10" fmla="*/ 0 w 12232640"/>
              <a:gd name="connsiteY10" fmla="*/ 101600 h 3589730"/>
              <a:gd name="connsiteX0" fmla="*/ 0 w 12232640"/>
              <a:gd name="connsiteY0" fmla="*/ 101600 h 3589730"/>
              <a:gd name="connsiteX1" fmla="*/ 7895279 w 12232640"/>
              <a:gd name="connsiteY1" fmla="*/ 0 h 3589730"/>
              <a:gd name="connsiteX2" fmla="*/ 7294880 w 12232640"/>
              <a:gd name="connsiteY2" fmla="*/ 572210 h 3589730"/>
              <a:gd name="connsiteX3" fmla="*/ 12232640 w 12232640"/>
              <a:gd name="connsiteY3" fmla="*/ 612850 h 3589730"/>
              <a:gd name="connsiteX4" fmla="*/ 12223439 w 12232640"/>
              <a:gd name="connsiteY4" fmla="*/ 1250086 h 3589730"/>
              <a:gd name="connsiteX5" fmla="*/ 3362960 w 12232640"/>
              <a:gd name="connsiteY5" fmla="*/ 1283410 h 3589730"/>
              <a:gd name="connsiteX6" fmla="*/ 6360160 w 12232640"/>
              <a:gd name="connsiteY6" fmla="*/ 3589730 h 3589730"/>
              <a:gd name="connsiteX7" fmla="*/ 3373120 w 12232640"/>
              <a:gd name="connsiteY7" fmla="*/ 3528770 h 3589730"/>
              <a:gd name="connsiteX8" fmla="*/ 436879 w 12232640"/>
              <a:gd name="connsiteY8" fmla="*/ 1263090 h 3589730"/>
              <a:gd name="connsiteX9" fmla="*/ 0 w 12232640"/>
              <a:gd name="connsiteY9" fmla="*/ 935126 h 3589730"/>
              <a:gd name="connsiteX10" fmla="*/ 0 w 12232640"/>
              <a:gd name="connsiteY10" fmla="*/ 101600 h 3589730"/>
              <a:gd name="connsiteX0" fmla="*/ 71120 w 12303760"/>
              <a:gd name="connsiteY0" fmla="*/ 101600 h 3589730"/>
              <a:gd name="connsiteX1" fmla="*/ 7966399 w 12303760"/>
              <a:gd name="connsiteY1" fmla="*/ 0 h 3589730"/>
              <a:gd name="connsiteX2" fmla="*/ 7366000 w 12303760"/>
              <a:gd name="connsiteY2" fmla="*/ 572210 h 3589730"/>
              <a:gd name="connsiteX3" fmla="*/ 12303760 w 12303760"/>
              <a:gd name="connsiteY3" fmla="*/ 612850 h 3589730"/>
              <a:gd name="connsiteX4" fmla="*/ 12294559 w 12303760"/>
              <a:gd name="connsiteY4" fmla="*/ 1250086 h 3589730"/>
              <a:gd name="connsiteX5" fmla="*/ 3434080 w 12303760"/>
              <a:gd name="connsiteY5" fmla="*/ 1283410 h 3589730"/>
              <a:gd name="connsiteX6" fmla="*/ 6431280 w 12303760"/>
              <a:gd name="connsiteY6" fmla="*/ 3589730 h 3589730"/>
              <a:gd name="connsiteX7" fmla="*/ 3444240 w 12303760"/>
              <a:gd name="connsiteY7" fmla="*/ 3528770 h 3589730"/>
              <a:gd name="connsiteX8" fmla="*/ 507999 w 12303760"/>
              <a:gd name="connsiteY8" fmla="*/ 1263090 h 3589730"/>
              <a:gd name="connsiteX9" fmla="*/ 0 w 12303760"/>
              <a:gd name="connsiteY9" fmla="*/ 1758086 h 3589730"/>
              <a:gd name="connsiteX10" fmla="*/ 71120 w 12303760"/>
              <a:gd name="connsiteY10" fmla="*/ 101600 h 3589730"/>
              <a:gd name="connsiteX0" fmla="*/ 50800 w 12283440"/>
              <a:gd name="connsiteY0" fmla="*/ 101600 h 3589730"/>
              <a:gd name="connsiteX1" fmla="*/ 7946079 w 12283440"/>
              <a:gd name="connsiteY1" fmla="*/ 0 h 3589730"/>
              <a:gd name="connsiteX2" fmla="*/ 7345680 w 12283440"/>
              <a:gd name="connsiteY2" fmla="*/ 572210 h 3589730"/>
              <a:gd name="connsiteX3" fmla="*/ 12283440 w 12283440"/>
              <a:gd name="connsiteY3" fmla="*/ 612850 h 3589730"/>
              <a:gd name="connsiteX4" fmla="*/ 12274239 w 12283440"/>
              <a:gd name="connsiteY4" fmla="*/ 1250086 h 3589730"/>
              <a:gd name="connsiteX5" fmla="*/ 3413760 w 12283440"/>
              <a:gd name="connsiteY5" fmla="*/ 1283410 h 3589730"/>
              <a:gd name="connsiteX6" fmla="*/ 6410960 w 12283440"/>
              <a:gd name="connsiteY6" fmla="*/ 3589730 h 3589730"/>
              <a:gd name="connsiteX7" fmla="*/ 3423920 w 12283440"/>
              <a:gd name="connsiteY7" fmla="*/ 3528770 h 3589730"/>
              <a:gd name="connsiteX8" fmla="*/ 487679 w 12283440"/>
              <a:gd name="connsiteY8" fmla="*/ 1263090 h 3589730"/>
              <a:gd name="connsiteX9" fmla="*/ 0 w 12283440"/>
              <a:gd name="connsiteY9" fmla="*/ 1361846 h 3589730"/>
              <a:gd name="connsiteX10" fmla="*/ 50800 w 12283440"/>
              <a:gd name="connsiteY10" fmla="*/ 101600 h 3589730"/>
              <a:gd name="connsiteX0" fmla="*/ 30480 w 12263120"/>
              <a:gd name="connsiteY0" fmla="*/ 101600 h 3589730"/>
              <a:gd name="connsiteX1" fmla="*/ 7925759 w 12263120"/>
              <a:gd name="connsiteY1" fmla="*/ 0 h 3589730"/>
              <a:gd name="connsiteX2" fmla="*/ 7325360 w 12263120"/>
              <a:gd name="connsiteY2" fmla="*/ 572210 h 3589730"/>
              <a:gd name="connsiteX3" fmla="*/ 12263120 w 12263120"/>
              <a:gd name="connsiteY3" fmla="*/ 612850 h 3589730"/>
              <a:gd name="connsiteX4" fmla="*/ 12253919 w 12263120"/>
              <a:gd name="connsiteY4" fmla="*/ 1250086 h 3589730"/>
              <a:gd name="connsiteX5" fmla="*/ 3393440 w 12263120"/>
              <a:gd name="connsiteY5" fmla="*/ 1283410 h 3589730"/>
              <a:gd name="connsiteX6" fmla="*/ 6390640 w 12263120"/>
              <a:gd name="connsiteY6" fmla="*/ 3589730 h 3589730"/>
              <a:gd name="connsiteX7" fmla="*/ 3403600 w 12263120"/>
              <a:gd name="connsiteY7" fmla="*/ 3528770 h 3589730"/>
              <a:gd name="connsiteX8" fmla="*/ 467359 w 12263120"/>
              <a:gd name="connsiteY8" fmla="*/ 1263090 h 3589730"/>
              <a:gd name="connsiteX9" fmla="*/ 0 w 12263120"/>
              <a:gd name="connsiteY9" fmla="*/ 1280566 h 3589730"/>
              <a:gd name="connsiteX10" fmla="*/ 30480 w 12263120"/>
              <a:gd name="connsiteY10" fmla="*/ 101600 h 3589730"/>
              <a:gd name="connsiteX0" fmla="*/ 30480 w 12263120"/>
              <a:gd name="connsiteY0" fmla="*/ 101600 h 3589730"/>
              <a:gd name="connsiteX1" fmla="*/ 7925759 w 12263120"/>
              <a:gd name="connsiteY1" fmla="*/ 0 h 3589730"/>
              <a:gd name="connsiteX2" fmla="*/ 7325360 w 12263120"/>
              <a:gd name="connsiteY2" fmla="*/ 572210 h 3589730"/>
              <a:gd name="connsiteX3" fmla="*/ 12263120 w 12263120"/>
              <a:gd name="connsiteY3" fmla="*/ 612850 h 3589730"/>
              <a:gd name="connsiteX4" fmla="*/ 12253919 w 12263120"/>
              <a:gd name="connsiteY4" fmla="*/ 1250086 h 3589730"/>
              <a:gd name="connsiteX5" fmla="*/ 3393440 w 12263120"/>
              <a:gd name="connsiteY5" fmla="*/ 1283410 h 3589730"/>
              <a:gd name="connsiteX6" fmla="*/ 6390640 w 12263120"/>
              <a:gd name="connsiteY6" fmla="*/ 3589730 h 3589730"/>
              <a:gd name="connsiteX7" fmla="*/ 3403600 w 12263120"/>
              <a:gd name="connsiteY7" fmla="*/ 3528770 h 3589730"/>
              <a:gd name="connsiteX8" fmla="*/ 467359 w 12263120"/>
              <a:gd name="connsiteY8" fmla="*/ 1263090 h 3589730"/>
              <a:gd name="connsiteX9" fmla="*/ 0 w 12263120"/>
              <a:gd name="connsiteY9" fmla="*/ 1219606 h 3589730"/>
              <a:gd name="connsiteX10" fmla="*/ 30480 w 12263120"/>
              <a:gd name="connsiteY10" fmla="*/ 101600 h 358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63120" h="3589730">
                <a:moveTo>
                  <a:pt x="30480" y="101600"/>
                </a:moveTo>
                <a:lnTo>
                  <a:pt x="7925759" y="0"/>
                </a:lnTo>
                <a:lnTo>
                  <a:pt x="7325360" y="572210"/>
                </a:lnTo>
                <a:lnTo>
                  <a:pt x="12263120" y="612850"/>
                </a:lnTo>
                <a:lnTo>
                  <a:pt x="12253919" y="1250086"/>
                </a:lnTo>
                <a:lnTo>
                  <a:pt x="3393440" y="1283410"/>
                </a:lnTo>
                <a:lnTo>
                  <a:pt x="6390640" y="3589730"/>
                </a:lnTo>
                <a:lnTo>
                  <a:pt x="3403600" y="3528770"/>
                </a:lnTo>
                <a:lnTo>
                  <a:pt x="467359" y="1263090"/>
                </a:lnTo>
                <a:lnTo>
                  <a:pt x="0" y="1219606"/>
                </a:lnTo>
                <a:lnTo>
                  <a:pt x="30480" y="101600"/>
                </a:lnTo>
                <a:close/>
              </a:path>
            </a:pathLst>
          </a:cu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cxnSp>
        <p:nvCxnSpPr>
          <p:cNvPr id="349" name="Straight Connector 348">
            <a:extLst>
              <a:ext uri="{FF2B5EF4-FFF2-40B4-BE49-F238E27FC236}">
                <a16:creationId xmlns:a16="http://schemas.microsoft.com/office/drawing/2014/main" id="{C51C83C2-E831-4DB5-AA75-97319EB94749}"/>
              </a:ext>
            </a:extLst>
          </p:cNvPr>
          <p:cNvCxnSpPr>
            <a:cxnSpLocks/>
          </p:cNvCxnSpPr>
          <p:nvPr/>
        </p:nvCxnSpPr>
        <p:spPr>
          <a:xfrm flipH="1" flipV="1">
            <a:off x="1137920" y="3885507"/>
            <a:ext cx="3911602" cy="2962309"/>
          </a:xfrm>
          <a:prstGeom prst="line">
            <a:avLst/>
          </a:prstGeom>
          <a:ln w="762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358" name="Rectangle 357">
            <a:extLst>
              <a:ext uri="{FF2B5EF4-FFF2-40B4-BE49-F238E27FC236}">
                <a16:creationId xmlns:a16="http://schemas.microsoft.com/office/drawing/2014/main" id="{4FFF2A67-798D-4E70-B857-BDD0EBFA2CBD}"/>
              </a:ext>
            </a:extLst>
          </p:cNvPr>
          <p:cNvSpPr/>
          <p:nvPr/>
        </p:nvSpPr>
        <p:spPr>
          <a:xfrm>
            <a:off x="7315200" y="3258110"/>
            <a:ext cx="4901081" cy="623010"/>
          </a:xfrm>
          <a:custGeom>
            <a:avLst/>
            <a:gdLst>
              <a:gd name="connsiteX0" fmla="*/ 0 w 2980841"/>
              <a:gd name="connsiteY0" fmla="*/ 0 h 978610"/>
              <a:gd name="connsiteX1" fmla="*/ 2980841 w 2980841"/>
              <a:gd name="connsiteY1" fmla="*/ 0 h 978610"/>
              <a:gd name="connsiteX2" fmla="*/ 2980841 w 2980841"/>
              <a:gd name="connsiteY2" fmla="*/ 978610 h 978610"/>
              <a:gd name="connsiteX3" fmla="*/ 0 w 2980841"/>
              <a:gd name="connsiteY3" fmla="*/ 978610 h 978610"/>
              <a:gd name="connsiteX4" fmla="*/ 0 w 2980841"/>
              <a:gd name="connsiteY4" fmla="*/ 0 h 978610"/>
              <a:gd name="connsiteX0" fmla="*/ 619760 w 3600601"/>
              <a:gd name="connsiteY0" fmla="*/ 0 h 978610"/>
              <a:gd name="connsiteX1" fmla="*/ 3600601 w 3600601"/>
              <a:gd name="connsiteY1" fmla="*/ 0 h 978610"/>
              <a:gd name="connsiteX2" fmla="*/ 3600601 w 3600601"/>
              <a:gd name="connsiteY2" fmla="*/ 978610 h 978610"/>
              <a:gd name="connsiteX3" fmla="*/ 0 w 3600601"/>
              <a:gd name="connsiteY3" fmla="*/ 551890 h 978610"/>
              <a:gd name="connsiteX4" fmla="*/ 619760 w 3600601"/>
              <a:gd name="connsiteY4" fmla="*/ 0 h 978610"/>
              <a:gd name="connsiteX0" fmla="*/ 619760 w 4860441"/>
              <a:gd name="connsiteY0" fmla="*/ 0 h 623010"/>
              <a:gd name="connsiteX1" fmla="*/ 3600601 w 4860441"/>
              <a:gd name="connsiteY1" fmla="*/ 0 h 623010"/>
              <a:gd name="connsiteX2" fmla="*/ 4860441 w 4860441"/>
              <a:gd name="connsiteY2" fmla="*/ 623010 h 623010"/>
              <a:gd name="connsiteX3" fmla="*/ 0 w 4860441"/>
              <a:gd name="connsiteY3" fmla="*/ 551890 h 623010"/>
              <a:gd name="connsiteX4" fmla="*/ 619760 w 4860441"/>
              <a:gd name="connsiteY4" fmla="*/ 0 h 623010"/>
              <a:gd name="connsiteX0" fmla="*/ 619760 w 4860441"/>
              <a:gd name="connsiteY0" fmla="*/ 20320 h 643330"/>
              <a:gd name="connsiteX1" fmla="*/ 4860441 w 4860441"/>
              <a:gd name="connsiteY1" fmla="*/ 0 h 643330"/>
              <a:gd name="connsiteX2" fmla="*/ 4860441 w 4860441"/>
              <a:gd name="connsiteY2" fmla="*/ 643330 h 643330"/>
              <a:gd name="connsiteX3" fmla="*/ 0 w 4860441"/>
              <a:gd name="connsiteY3" fmla="*/ 572210 h 643330"/>
              <a:gd name="connsiteX4" fmla="*/ 619760 w 4860441"/>
              <a:gd name="connsiteY4" fmla="*/ 20320 h 643330"/>
              <a:gd name="connsiteX0" fmla="*/ 619760 w 4901081"/>
              <a:gd name="connsiteY0" fmla="*/ 0 h 623010"/>
              <a:gd name="connsiteX1" fmla="*/ 4901081 w 4901081"/>
              <a:gd name="connsiteY1" fmla="*/ 101600 h 623010"/>
              <a:gd name="connsiteX2" fmla="*/ 4860441 w 4901081"/>
              <a:gd name="connsiteY2" fmla="*/ 623010 h 623010"/>
              <a:gd name="connsiteX3" fmla="*/ 0 w 4901081"/>
              <a:gd name="connsiteY3" fmla="*/ 551890 h 623010"/>
              <a:gd name="connsiteX4" fmla="*/ 619760 w 4901081"/>
              <a:gd name="connsiteY4" fmla="*/ 0 h 623010"/>
              <a:gd name="connsiteX0" fmla="*/ 619760 w 4870601"/>
              <a:gd name="connsiteY0" fmla="*/ 50800 h 673810"/>
              <a:gd name="connsiteX1" fmla="*/ 4870601 w 4870601"/>
              <a:gd name="connsiteY1" fmla="*/ 0 h 673810"/>
              <a:gd name="connsiteX2" fmla="*/ 4860441 w 4870601"/>
              <a:gd name="connsiteY2" fmla="*/ 673810 h 673810"/>
              <a:gd name="connsiteX3" fmla="*/ 0 w 4870601"/>
              <a:gd name="connsiteY3" fmla="*/ 602690 h 673810"/>
              <a:gd name="connsiteX4" fmla="*/ 619760 w 4870601"/>
              <a:gd name="connsiteY4" fmla="*/ 50800 h 673810"/>
              <a:gd name="connsiteX0" fmla="*/ 619760 w 4901081"/>
              <a:gd name="connsiteY0" fmla="*/ 0 h 623010"/>
              <a:gd name="connsiteX1" fmla="*/ 4901081 w 4901081"/>
              <a:gd name="connsiteY1" fmla="*/ 121920 h 623010"/>
              <a:gd name="connsiteX2" fmla="*/ 4860441 w 4901081"/>
              <a:gd name="connsiteY2" fmla="*/ 623010 h 623010"/>
              <a:gd name="connsiteX3" fmla="*/ 0 w 4901081"/>
              <a:gd name="connsiteY3" fmla="*/ 551890 h 623010"/>
              <a:gd name="connsiteX4" fmla="*/ 619760 w 4901081"/>
              <a:gd name="connsiteY4" fmla="*/ 0 h 623010"/>
              <a:gd name="connsiteX0" fmla="*/ 619760 w 4860441"/>
              <a:gd name="connsiteY0" fmla="*/ 60960 h 683970"/>
              <a:gd name="connsiteX1" fmla="*/ 4829961 w 4860441"/>
              <a:gd name="connsiteY1" fmla="*/ 0 h 683970"/>
              <a:gd name="connsiteX2" fmla="*/ 4860441 w 4860441"/>
              <a:gd name="connsiteY2" fmla="*/ 683970 h 683970"/>
              <a:gd name="connsiteX3" fmla="*/ 0 w 4860441"/>
              <a:gd name="connsiteY3" fmla="*/ 612850 h 683970"/>
              <a:gd name="connsiteX4" fmla="*/ 619760 w 4860441"/>
              <a:gd name="connsiteY4" fmla="*/ 60960 h 683970"/>
              <a:gd name="connsiteX0" fmla="*/ 619760 w 4860441"/>
              <a:gd name="connsiteY0" fmla="*/ 60960 h 683970"/>
              <a:gd name="connsiteX1" fmla="*/ 4819801 w 4860441"/>
              <a:gd name="connsiteY1" fmla="*/ 0 h 683970"/>
              <a:gd name="connsiteX2" fmla="*/ 4860441 w 4860441"/>
              <a:gd name="connsiteY2" fmla="*/ 683970 h 683970"/>
              <a:gd name="connsiteX3" fmla="*/ 0 w 4860441"/>
              <a:gd name="connsiteY3" fmla="*/ 612850 h 683970"/>
              <a:gd name="connsiteX4" fmla="*/ 619760 w 4860441"/>
              <a:gd name="connsiteY4" fmla="*/ 60960 h 683970"/>
              <a:gd name="connsiteX0" fmla="*/ 619760 w 4860441"/>
              <a:gd name="connsiteY0" fmla="*/ 50800 h 673810"/>
              <a:gd name="connsiteX1" fmla="*/ 4860441 w 4860441"/>
              <a:gd name="connsiteY1" fmla="*/ 0 h 673810"/>
              <a:gd name="connsiteX2" fmla="*/ 4860441 w 4860441"/>
              <a:gd name="connsiteY2" fmla="*/ 673810 h 673810"/>
              <a:gd name="connsiteX3" fmla="*/ 0 w 4860441"/>
              <a:gd name="connsiteY3" fmla="*/ 602690 h 673810"/>
              <a:gd name="connsiteX4" fmla="*/ 619760 w 4860441"/>
              <a:gd name="connsiteY4" fmla="*/ 50800 h 673810"/>
              <a:gd name="connsiteX0" fmla="*/ 619760 w 4870601"/>
              <a:gd name="connsiteY0" fmla="*/ 0 h 623010"/>
              <a:gd name="connsiteX1" fmla="*/ 4870601 w 4870601"/>
              <a:gd name="connsiteY1" fmla="*/ 50800 h 623010"/>
              <a:gd name="connsiteX2" fmla="*/ 4860441 w 4870601"/>
              <a:gd name="connsiteY2" fmla="*/ 623010 h 623010"/>
              <a:gd name="connsiteX3" fmla="*/ 0 w 4870601"/>
              <a:gd name="connsiteY3" fmla="*/ 551890 h 623010"/>
              <a:gd name="connsiteX4" fmla="*/ 619760 w 4870601"/>
              <a:gd name="connsiteY4" fmla="*/ 0 h 623010"/>
              <a:gd name="connsiteX0" fmla="*/ 619760 w 4901081"/>
              <a:gd name="connsiteY0" fmla="*/ 0 h 623010"/>
              <a:gd name="connsiteX1" fmla="*/ 4870601 w 4901081"/>
              <a:gd name="connsiteY1" fmla="*/ 50800 h 623010"/>
              <a:gd name="connsiteX2" fmla="*/ 4901081 w 4901081"/>
              <a:gd name="connsiteY2" fmla="*/ 623010 h 623010"/>
              <a:gd name="connsiteX3" fmla="*/ 0 w 4901081"/>
              <a:gd name="connsiteY3" fmla="*/ 551890 h 623010"/>
              <a:gd name="connsiteX4" fmla="*/ 619760 w 4901081"/>
              <a:gd name="connsiteY4" fmla="*/ 0 h 62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1081" h="623010">
                <a:moveTo>
                  <a:pt x="619760" y="0"/>
                </a:moveTo>
                <a:lnTo>
                  <a:pt x="4870601" y="50800"/>
                </a:lnTo>
                <a:lnTo>
                  <a:pt x="4901081" y="623010"/>
                </a:lnTo>
                <a:lnTo>
                  <a:pt x="0" y="551890"/>
                </a:lnTo>
                <a:lnTo>
                  <a:pt x="619760" y="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cxnSp>
        <p:nvCxnSpPr>
          <p:cNvPr id="102" name="Straight Connector 101">
            <a:extLst>
              <a:ext uri="{FF2B5EF4-FFF2-40B4-BE49-F238E27FC236}">
                <a16:creationId xmlns:a16="http://schemas.microsoft.com/office/drawing/2014/main" id="{D1055B1E-3E42-4D54-B46B-B7009524B45D}"/>
              </a:ext>
            </a:extLst>
          </p:cNvPr>
          <p:cNvCxnSpPr>
            <a:cxnSpLocks/>
          </p:cNvCxnSpPr>
          <p:nvPr/>
        </p:nvCxnSpPr>
        <p:spPr>
          <a:xfrm>
            <a:off x="-12082" y="3831135"/>
            <a:ext cx="7170432" cy="0"/>
          </a:xfrm>
          <a:prstGeom prst="line">
            <a:avLst/>
          </a:prstGeom>
          <a:ln w="762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pic>
        <p:nvPicPr>
          <p:cNvPr id="90" name="Picture 89">
            <a:extLst>
              <a:ext uri="{FF2B5EF4-FFF2-40B4-BE49-F238E27FC236}">
                <a16:creationId xmlns:a16="http://schemas.microsoft.com/office/drawing/2014/main" id="{E68A9CE0-6F0E-4F3B-B29E-FDBEB260BD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4143680" y="2786395"/>
            <a:ext cx="3367254" cy="1517260"/>
          </a:xfrm>
          <a:prstGeom prst="rect">
            <a:avLst/>
          </a:prstGeom>
        </p:spPr>
      </p:pic>
      <p:grpSp>
        <p:nvGrpSpPr>
          <p:cNvPr id="91" name="Group 90">
            <a:extLst>
              <a:ext uri="{FF2B5EF4-FFF2-40B4-BE49-F238E27FC236}">
                <a16:creationId xmlns:a16="http://schemas.microsoft.com/office/drawing/2014/main" id="{217EB4EB-4475-4DC8-A220-9FB54873CA2C}"/>
              </a:ext>
            </a:extLst>
          </p:cNvPr>
          <p:cNvGrpSpPr/>
          <p:nvPr/>
        </p:nvGrpSpPr>
        <p:grpSpPr>
          <a:xfrm>
            <a:off x="-3691858" y="1344782"/>
            <a:ext cx="3304754" cy="2393577"/>
            <a:chOff x="4699795" y="1344782"/>
            <a:chExt cx="3304754" cy="2393577"/>
          </a:xfrm>
        </p:grpSpPr>
        <p:pic>
          <p:nvPicPr>
            <p:cNvPr id="92" name="Picture 91">
              <a:extLst>
                <a:ext uri="{FF2B5EF4-FFF2-40B4-BE49-F238E27FC236}">
                  <a16:creationId xmlns:a16="http://schemas.microsoft.com/office/drawing/2014/main" id="{4CF11FD1-E21D-49C9-BF7C-F195496925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12245" y="1480298"/>
              <a:ext cx="2692304" cy="2258061"/>
            </a:xfrm>
            <a:prstGeom prst="rect">
              <a:avLst/>
            </a:prstGeom>
          </p:spPr>
        </p:pic>
        <p:pic>
          <p:nvPicPr>
            <p:cNvPr id="93" name="Picture 92">
              <a:extLst>
                <a:ext uri="{FF2B5EF4-FFF2-40B4-BE49-F238E27FC236}">
                  <a16:creationId xmlns:a16="http://schemas.microsoft.com/office/drawing/2014/main" id="{A00CB62C-C973-4A9B-A22E-F90D598A44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6381" y="1458928"/>
              <a:ext cx="2692304" cy="2258061"/>
            </a:xfrm>
            <a:prstGeom prst="rect">
              <a:avLst/>
            </a:prstGeom>
          </p:spPr>
        </p:pic>
        <p:pic>
          <p:nvPicPr>
            <p:cNvPr id="94" name="Picture 93">
              <a:extLst>
                <a:ext uri="{FF2B5EF4-FFF2-40B4-BE49-F238E27FC236}">
                  <a16:creationId xmlns:a16="http://schemas.microsoft.com/office/drawing/2014/main" id="{726CFBB3-A6CE-4314-8F75-A0D5FD3D66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9795" y="1344782"/>
              <a:ext cx="2692304" cy="2258061"/>
            </a:xfrm>
            <a:prstGeom prst="rect">
              <a:avLst/>
            </a:prstGeom>
          </p:spPr>
        </p:pic>
      </p:grpSp>
    </p:spTree>
    <p:extLst>
      <p:ext uri="{BB962C8B-B14F-4D97-AF65-F5344CB8AC3E}">
        <p14:creationId xmlns:p14="http://schemas.microsoft.com/office/powerpoint/2010/main" val="4237270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4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6320FB8-AF61-419B-8399-4CE5C3980343}"/>
              </a:ext>
            </a:extLst>
          </p:cNvPr>
          <p:cNvSpPr/>
          <p:nvPr/>
        </p:nvSpPr>
        <p:spPr>
          <a:xfrm>
            <a:off x="0" y="0"/>
            <a:ext cx="12192000" cy="68580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67043472-04EC-4B81-AC34-2B3EEDEB5BD5}"/>
              </a:ext>
            </a:extLst>
          </p:cNvPr>
          <p:cNvSpPr/>
          <p:nvPr/>
        </p:nvSpPr>
        <p:spPr>
          <a:xfrm>
            <a:off x="-10160" y="0"/>
            <a:ext cx="12202160" cy="24860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Shape 115">
            <a:extLst>
              <a:ext uri="{FF2B5EF4-FFF2-40B4-BE49-F238E27FC236}">
                <a16:creationId xmlns:a16="http://schemas.microsoft.com/office/drawing/2014/main" id="{C21B215F-7BF9-4D44-8FE1-9D9AC147BED9}"/>
              </a:ext>
            </a:extLst>
          </p:cNvPr>
          <p:cNvSpPr/>
          <p:nvPr/>
        </p:nvSpPr>
        <p:spPr>
          <a:xfrm>
            <a:off x="5957" y="2227130"/>
            <a:ext cx="5665467" cy="537029"/>
          </a:xfrm>
          <a:custGeom>
            <a:avLst/>
            <a:gdLst>
              <a:gd name="connsiteX0" fmla="*/ 217714 w 12554857"/>
              <a:gd name="connsiteY0" fmla="*/ 217715 h 537029"/>
              <a:gd name="connsiteX1" fmla="*/ 304800 w 12554857"/>
              <a:gd name="connsiteY1" fmla="*/ 130629 h 537029"/>
              <a:gd name="connsiteX2" fmla="*/ 348343 w 12554857"/>
              <a:gd name="connsiteY2" fmla="*/ 145143 h 537029"/>
              <a:gd name="connsiteX3" fmla="*/ 435428 w 12554857"/>
              <a:gd name="connsiteY3" fmla="*/ 101600 h 537029"/>
              <a:gd name="connsiteX4" fmla="*/ 478971 w 12554857"/>
              <a:gd name="connsiteY4" fmla="*/ 72572 h 537029"/>
              <a:gd name="connsiteX5" fmla="*/ 566057 w 12554857"/>
              <a:gd name="connsiteY5" fmla="*/ 87086 h 537029"/>
              <a:gd name="connsiteX6" fmla="*/ 609600 w 12554857"/>
              <a:gd name="connsiteY6" fmla="*/ 116115 h 537029"/>
              <a:gd name="connsiteX7" fmla="*/ 667657 w 12554857"/>
              <a:gd name="connsiteY7" fmla="*/ 130629 h 537029"/>
              <a:gd name="connsiteX8" fmla="*/ 754743 w 12554857"/>
              <a:gd name="connsiteY8" fmla="*/ 116115 h 537029"/>
              <a:gd name="connsiteX9" fmla="*/ 812800 w 12554857"/>
              <a:gd name="connsiteY9" fmla="*/ 87086 h 537029"/>
              <a:gd name="connsiteX10" fmla="*/ 856343 w 12554857"/>
              <a:gd name="connsiteY10" fmla="*/ 72572 h 537029"/>
              <a:gd name="connsiteX11" fmla="*/ 1016000 w 12554857"/>
              <a:gd name="connsiteY11" fmla="*/ 116115 h 537029"/>
              <a:gd name="connsiteX12" fmla="*/ 1103086 w 12554857"/>
              <a:gd name="connsiteY12" fmla="*/ 159657 h 537029"/>
              <a:gd name="connsiteX13" fmla="*/ 1146628 w 12554857"/>
              <a:gd name="connsiteY13" fmla="*/ 188686 h 537029"/>
              <a:gd name="connsiteX14" fmla="*/ 1190171 w 12554857"/>
              <a:gd name="connsiteY14" fmla="*/ 101600 h 537029"/>
              <a:gd name="connsiteX15" fmla="*/ 1233714 w 12554857"/>
              <a:gd name="connsiteY15" fmla="*/ 72572 h 537029"/>
              <a:gd name="connsiteX16" fmla="*/ 1451428 w 12554857"/>
              <a:gd name="connsiteY16" fmla="*/ 145143 h 537029"/>
              <a:gd name="connsiteX17" fmla="*/ 1524000 w 12554857"/>
              <a:gd name="connsiteY17" fmla="*/ 58057 h 537029"/>
              <a:gd name="connsiteX18" fmla="*/ 1567543 w 12554857"/>
              <a:gd name="connsiteY18" fmla="*/ 43543 h 537029"/>
              <a:gd name="connsiteX19" fmla="*/ 1640114 w 12554857"/>
              <a:gd name="connsiteY19" fmla="*/ 130629 h 537029"/>
              <a:gd name="connsiteX20" fmla="*/ 1727200 w 12554857"/>
              <a:gd name="connsiteY20" fmla="*/ 116115 h 537029"/>
              <a:gd name="connsiteX21" fmla="*/ 1886857 w 12554857"/>
              <a:gd name="connsiteY21" fmla="*/ 87086 h 537029"/>
              <a:gd name="connsiteX22" fmla="*/ 1973943 w 12554857"/>
              <a:gd name="connsiteY22" fmla="*/ 101600 h 537029"/>
              <a:gd name="connsiteX23" fmla="*/ 2017486 w 12554857"/>
              <a:gd name="connsiteY23" fmla="*/ 116115 h 537029"/>
              <a:gd name="connsiteX24" fmla="*/ 2061028 w 12554857"/>
              <a:gd name="connsiteY24" fmla="*/ 101600 h 537029"/>
              <a:gd name="connsiteX25" fmla="*/ 2119086 w 12554857"/>
              <a:gd name="connsiteY25" fmla="*/ 130629 h 537029"/>
              <a:gd name="connsiteX26" fmla="*/ 2162628 w 12554857"/>
              <a:gd name="connsiteY26" fmla="*/ 159657 h 537029"/>
              <a:gd name="connsiteX27" fmla="*/ 2307771 w 12554857"/>
              <a:gd name="connsiteY27" fmla="*/ 130629 h 537029"/>
              <a:gd name="connsiteX28" fmla="*/ 2452914 w 12554857"/>
              <a:gd name="connsiteY28" fmla="*/ 101600 h 537029"/>
              <a:gd name="connsiteX29" fmla="*/ 2540000 w 12554857"/>
              <a:gd name="connsiteY29" fmla="*/ 116115 h 537029"/>
              <a:gd name="connsiteX30" fmla="*/ 2554514 w 12554857"/>
              <a:gd name="connsiteY30" fmla="*/ 72572 h 537029"/>
              <a:gd name="connsiteX31" fmla="*/ 2598057 w 12554857"/>
              <a:gd name="connsiteY31" fmla="*/ 58057 h 537029"/>
              <a:gd name="connsiteX32" fmla="*/ 2714171 w 12554857"/>
              <a:gd name="connsiteY32" fmla="*/ 101600 h 537029"/>
              <a:gd name="connsiteX33" fmla="*/ 2757714 w 12554857"/>
              <a:gd name="connsiteY33" fmla="*/ 145143 h 537029"/>
              <a:gd name="connsiteX34" fmla="*/ 2830286 w 12554857"/>
              <a:gd name="connsiteY34" fmla="*/ 72572 h 537029"/>
              <a:gd name="connsiteX35" fmla="*/ 2902857 w 12554857"/>
              <a:gd name="connsiteY35" fmla="*/ 87086 h 537029"/>
              <a:gd name="connsiteX36" fmla="*/ 2989943 w 12554857"/>
              <a:gd name="connsiteY36" fmla="*/ 130629 h 537029"/>
              <a:gd name="connsiteX37" fmla="*/ 3062514 w 12554857"/>
              <a:gd name="connsiteY37" fmla="*/ 116115 h 537029"/>
              <a:gd name="connsiteX38" fmla="*/ 3120571 w 12554857"/>
              <a:gd name="connsiteY38" fmla="*/ 87086 h 537029"/>
              <a:gd name="connsiteX39" fmla="*/ 3352800 w 12554857"/>
              <a:gd name="connsiteY39" fmla="*/ 87086 h 537029"/>
              <a:gd name="connsiteX40" fmla="*/ 3512457 w 12554857"/>
              <a:gd name="connsiteY40" fmla="*/ 87086 h 537029"/>
              <a:gd name="connsiteX41" fmla="*/ 3556000 w 12554857"/>
              <a:gd name="connsiteY41" fmla="*/ 116115 h 537029"/>
              <a:gd name="connsiteX42" fmla="*/ 3599543 w 12554857"/>
              <a:gd name="connsiteY42" fmla="*/ 130629 h 537029"/>
              <a:gd name="connsiteX43" fmla="*/ 3730171 w 12554857"/>
              <a:gd name="connsiteY43" fmla="*/ 58057 h 537029"/>
              <a:gd name="connsiteX44" fmla="*/ 3788228 w 12554857"/>
              <a:gd name="connsiteY44" fmla="*/ 72572 h 537029"/>
              <a:gd name="connsiteX45" fmla="*/ 3889828 w 12554857"/>
              <a:gd name="connsiteY45" fmla="*/ 130629 h 537029"/>
              <a:gd name="connsiteX46" fmla="*/ 3933371 w 12554857"/>
              <a:gd name="connsiteY46" fmla="*/ 174172 h 537029"/>
              <a:gd name="connsiteX47" fmla="*/ 3991428 w 12554857"/>
              <a:gd name="connsiteY47" fmla="*/ 130629 h 537029"/>
              <a:gd name="connsiteX48" fmla="*/ 4034971 w 12554857"/>
              <a:gd name="connsiteY48" fmla="*/ 101600 h 537029"/>
              <a:gd name="connsiteX49" fmla="*/ 4093028 w 12554857"/>
              <a:gd name="connsiteY49" fmla="*/ 116115 h 537029"/>
              <a:gd name="connsiteX50" fmla="*/ 4209143 w 12554857"/>
              <a:gd name="connsiteY50" fmla="*/ 116115 h 537029"/>
              <a:gd name="connsiteX51" fmla="*/ 4296228 w 12554857"/>
              <a:gd name="connsiteY51" fmla="*/ 87086 h 537029"/>
              <a:gd name="connsiteX52" fmla="*/ 4339771 w 12554857"/>
              <a:gd name="connsiteY52" fmla="*/ 58057 h 537029"/>
              <a:gd name="connsiteX53" fmla="*/ 4470400 w 12554857"/>
              <a:gd name="connsiteY53" fmla="*/ 87086 h 537029"/>
              <a:gd name="connsiteX54" fmla="*/ 4484914 w 12554857"/>
              <a:gd name="connsiteY54" fmla="*/ 29029 h 537029"/>
              <a:gd name="connsiteX55" fmla="*/ 4586514 w 12554857"/>
              <a:gd name="connsiteY55" fmla="*/ 58057 h 537029"/>
              <a:gd name="connsiteX56" fmla="*/ 4615543 w 12554857"/>
              <a:gd name="connsiteY56" fmla="*/ 101600 h 537029"/>
              <a:gd name="connsiteX57" fmla="*/ 4659086 w 12554857"/>
              <a:gd name="connsiteY57" fmla="*/ 130629 h 537029"/>
              <a:gd name="connsiteX58" fmla="*/ 4673600 w 12554857"/>
              <a:gd name="connsiteY58" fmla="*/ 174172 h 537029"/>
              <a:gd name="connsiteX59" fmla="*/ 4746171 w 12554857"/>
              <a:gd name="connsiteY59" fmla="*/ 159657 h 537029"/>
              <a:gd name="connsiteX60" fmla="*/ 4833257 w 12554857"/>
              <a:gd name="connsiteY60" fmla="*/ 130629 h 537029"/>
              <a:gd name="connsiteX61" fmla="*/ 4978400 w 12554857"/>
              <a:gd name="connsiteY61" fmla="*/ 145143 h 537029"/>
              <a:gd name="connsiteX62" fmla="*/ 5021943 w 12554857"/>
              <a:gd name="connsiteY62" fmla="*/ 174172 h 537029"/>
              <a:gd name="connsiteX63" fmla="*/ 5268686 w 12554857"/>
              <a:gd name="connsiteY63" fmla="*/ 159657 h 537029"/>
              <a:gd name="connsiteX64" fmla="*/ 5312228 w 12554857"/>
              <a:gd name="connsiteY64" fmla="*/ 130629 h 537029"/>
              <a:gd name="connsiteX65" fmla="*/ 5442857 w 12554857"/>
              <a:gd name="connsiteY65" fmla="*/ 188686 h 537029"/>
              <a:gd name="connsiteX66" fmla="*/ 5500914 w 12554857"/>
              <a:gd name="connsiteY66" fmla="*/ 174172 h 537029"/>
              <a:gd name="connsiteX67" fmla="*/ 5529943 w 12554857"/>
              <a:gd name="connsiteY67" fmla="*/ 130629 h 537029"/>
              <a:gd name="connsiteX68" fmla="*/ 5631543 w 12554857"/>
              <a:gd name="connsiteY68" fmla="*/ 116115 h 537029"/>
              <a:gd name="connsiteX69" fmla="*/ 5718628 w 12554857"/>
              <a:gd name="connsiteY69" fmla="*/ 130629 h 537029"/>
              <a:gd name="connsiteX70" fmla="*/ 5762171 w 12554857"/>
              <a:gd name="connsiteY70" fmla="*/ 159657 h 537029"/>
              <a:gd name="connsiteX71" fmla="*/ 5878286 w 12554857"/>
              <a:gd name="connsiteY71" fmla="*/ 174172 h 537029"/>
              <a:gd name="connsiteX72" fmla="*/ 6023428 w 12554857"/>
              <a:gd name="connsiteY72" fmla="*/ 159657 h 537029"/>
              <a:gd name="connsiteX73" fmla="*/ 6066971 w 12554857"/>
              <a:gd name="connsiteY73" fmla="*/ 174172 h 537029"/>
              <a:gd name="connsiteX74" fmla="*/ 6197600 w 12554857"/>
              <a:gd name="connsiteY74" fmla="*/ 130629 h 537029"/>
              <a:gd name="connsiteX75" fmla="*/ 6241143 w 12554857"/>
              <a:gd name="connsiteY75" fmla="*/ 116115 h 537029"/>
              <a:gd name="connsiteX76" fmla="*/ 6458857 w 12554857"/>
              <a:gd name="connsiteY76" fmla="*/ 72572 h 537029"/>
              <a:gd name="connsiteX77" fmla="*/ 6531428 w 12554857"/>
              <a:gd name="connsiteY77" fmla="*/ 43543 h 537029"/>
              <a:gd name="connsiteX78" fmla="*/ 6618514 w 12554857"/>
              <a:gd name="connsiteY78" fmla="*/ 0 h 537029"/>
              <a:gd name="connsiteX79" fmla="*/ 6705600 w 12554857"/>
              <a:gd name="connsiteY79" fmla="*/ 58057 h 537029"/>
              <a:gd name="connsiteX80" fmla="*/ 6792686 w 12554857"/>
              <a:gd name="connsiteY80" fmla="*/ 116115 h 537029"/>
              <a:gd name="connsiteX81" fmla="*/ 6836228 w 12554857"/>
              <a:gd name="connsiteY81" fmla="*/ 145143 h 537029"/>
              <a:gd name="connsiteX82" fmla="*/ 6894286 w 12554857"/>
              <a:gd name="connsiteY82" fmla="*/ 130629 h 537029"/>
              <a:gd name="connsiteX83" fmla="*/ 6952343 w 12554857"/>
              <a:gd name="connsiteY83" fmla="*/ 101600 h 537029"/>
              <a:gd name="connsiteX84" fmla="*/ 6995886 w 12554857"/>
              <a:gd name="connsiteY84" fmla="*/ 87086 h 537029"/>
              <a:gd name="connsiteX85" fmla="*/ 7082971 w 12554857"/>
              <a:gd name="connsiteY85" fmla="*/ 101600 h 537029"/>
              <a:gd name="connsiteX86" fmla="*/ 7126514 w 12554857"/>
              <a:gd name="connsiteY86" fmla="*/ 130629 h 537029"/>
              <a:gd name="connsiteX87" fmla="*/ 7184571 w 12554857"/>
              <a:gd name="connsiteY87" fmla="*/ 72572 h 537029"/>
              <a:gd name="connsiteX88" fmla="*/ 7242628 w 12554857"/>
              <a:gd name="connsiteY88" fmla="*/ 58057 h 537029"/>
              <a:gd name="connsiteX89" fmla="*/ 7286171 w 12554857"/>
              <a:gd name="connsiteY89" fmla="*/ 101600 h 537029"/>
              <a:gd name="connsiteX90" fmla="*/ 7315200 w 12554857"/>
              <a:gd name="connsiteY90" fmla="*/ 145143 h 537029"/>
              <a:gd name="connsiteX91" fmla="*/ 7373257 w 12554857"/>
              <a:gd name="connsiteY91" fmla="*/ 116115 h 537029"/>
              <a:gd name="connsiteX92" fmla="*/ 7416800 w 12554857"/>
              <a:gd name="connsiteY92" fmla="*/ 101600 h 537029"/>
              <a:gd name="connsiteX93" fmla="*/ 7503886 w 12554857"/>
              <a:gd name="connsiteY93" fmla="*/ 130629 h 537029"/>
              <a:gd name="connsiteX94" fmla="*/ 7590971 w 12554857"/>
              <a:gd name="connsiteY94" fmla="*/ 159657 h 537029"/>
              <a:gd name="connsiteX95" fmla="*/ 7663543 w 12554857"/>
              <a:gd name="connsiteY95" fmla="*/ 174172 h 537029"/>
              <a:gd name="connsiteX96" fmla="*/ 7707086 w 12554857"/>
              <a:gd name="connsiteY96" fmla="*/ 145143 h 537029"/>
              <a:gd name="connsiteX97" fmla="*/ 7823200 w 12554857"/>
              <a:gd name="connsiteY97" fmla="*/ 203200 h 537029"/>
              <a:gd name="connsiteX98" fmla="*/ 7866743 w 12554857"/>
              <a:gd name="connsiteY98" fmla="*/ 159657 h 537029"/>
              <a:gd name="connsiteX99" fmla="*/ 7924800 w 12554857"/>
              <a:gd name="connsiteY99" fmla="*/ 145143 h 537029"/>
              <a:gd name="connsiteX100" fmla="*/ 7953828 w 12554857"/>
              <a:gd name="connsiteY100" fmla="*/ 188686 h 537029"/>
              <a:gd name="connsiteX101" fmla="*/ 8084457 w 12554857"/>
              <a:gd name="connsiteY101" fmla="*/ 217715 h 537029"/>
              <a:gd name="connsiteX102" fmla="*/ 8128000 w 12554857"/>
              <a:gd name="connsiteY102" fmla="*/ 275772 h 537029"/>
              <a:gd name="connsiteX103" fmla="*/ 8171543 w 12554857"/>
              <a:gd name="connsiteY103" fmla="*/ 246743 h 537029"/>
              <a:gd name="connsiteX104" fmla="*/ 8215086 w 12554857"/>
              <a:gd name="connsiteY104" fmla="*/ 290286 h 537029"/>
              <a:gd name="connsiteX105" fmla="*/ 8229600 w 12554857"/>
              <a:gd name="connsiteY105" fmla="*/ 246743 h 537029"/>
              <a:gd name="connsiteX106" fmla="*/ 8360228 w 12554857"/>
              <a:gd name="connsiteY106" fmla="*/ 130629 h 537029"/>
              <a:gd name="connsiteX107" fmla="*/ 8403771 w 12554857"/>
              <a:gd name="connsiteY107" fmla="*/ 145143 h 537029"/>
              <a:gd name="connsiteX108" fmla="*/ 8476343 w 12554857"/>
              <a:gd name="connsiteY108" fmla="*/ 232229 h 537029"/>
              <a:gd name="connsiteX109" fmla="*/ 8534400 w 12554857"/>
              <a:gd name="connsiteY109" fmla="*/ 159657 h 537029"/>
              <a:gd name="connsiteX110" fmla="*/ 8563428 w 12554857"/>
              <a:gd name="connsiteY110" fmla="*/ 203200 h 537029"/>
              <a:gd name="connsiteX111" fmla="*/ 8636000 w 12554857"/>
              <a:gd name="connsiteY111" fmla="*/ 145143 h 537029"/>
              <a:gd name="connsiteX112" fmla="*/ 8737600 w 12554857"/>
              <a:gd name="connsiteY112" fmla="*/ 101600 h 537029"/>
              <a:gd name="connsiteX113" fmla="*/ 8911771 w 12554857"/>
              <a:gd name="connsiteY113" fmla="*/ 116115 h 537029"/>
              <a:gd name="connsiteX114" fmla="*/ 8955314 w 12554857"/>
              <a:gd name="connsiteY114" fmla="*/ 159657 h 537029"/>
              <a:gd name="connsiteX115" fmla="*/ 9013371 w 12554857"/>
              <a:gd name="connsiteY115" fmla="*/ 188686 h 537029"/>
              <a:gd name="connsiteX116" fmla="*/ 9100457 w 12554857"/>
              <a:gd name="connsiteY116" fmla="*/ 174172 h 537029"/>
              <a:gd name="connsiteX117" fmla="*/ 9114971 w 12554857"/>
              <a:gd name="connsiteY117" fmla="*/ 116115 h 537029"/>
              <a:gd name="connsiteX118" fmla="*/ 9158514 w 12554857"/>
              <a:gd name="connsiteY118" fmla="*/ 101600 h 537029"/>
              <a:gd name="connsiteX119" fmla="*/ 9390743 w 12554857"/>
              <a:gd name="connsiteY119" fmla="*/ 130629 h 537029"/>
              <a:gd name="connsiteX120" fmla="*/ 9506857 w 12554857"/>
              <a:gd name="connsiteY120" fmla="*/ 101600 h 537029"/>
              <a:gd name="connsiteX121" fmla="*/ 9593943 w 12554857"/>
              <a:gd name="connsiteY121" fmla="*/ 58057 h 537029"/>
              <a:gd name="connsiteX122" fmla="*/ 9666514 w 12554857"/>
              <a:gd name="connsiteY122" fmla="*/ 87086 h 537029"/>
              <a:gd name="connsiteX123" fmla="*/ 9739086 w 12554857"/>
              <a:gd name="connsiteY123" fmla="*/ 130629 h 537029"/>
              <a:gd name="connsiteX124" fmla="*/ 9826171 w 12554857"/>
              <a:gd name="connsiteY124" fmla="*/ 174172 h 537029"/>
              <a:gd name="connsiteX125" fmla="*/ 9869714 w 12554857"/>
              <a:gd name="connsiteY125" fmla="*/ 188686 h 537029"/>
              <a:gd name="connsiteX126" fmla="*/ 9942286 w 12554857"/>
              <a:gd name="connsiteY126" fmla="*/ 174172 h 537029"/>
              <a:gd name="connsiteX127" fmla="*/ 9985828 w 12554857"/>
              <a:gd name="connsiteY127" fmla="*/ 188686 h 537029"/>
              <a:gd name="connsiteX128" fmla="*/ 10058400 w 12554857"/>
              <a:gd name="connsiteY128" fmla="*/ 159657 h 537029"/>
              <a:gd name="connsiteX129" fmla="*/ 10174514 w 12554857"/>
              <a:gd name="connsiteY129" fmla="*/ 43543 h 537029"/>
              <a:gd name="connsiteX130" fmla="*/ 10218057 w 12554857"/>
              <a:gd name="connsiteY130" fmla="*/ 29029 h 537029"/>
              <a:gd name="connsiteX131" fmla="*/ 10464800 w 12554857"/>
              <a:gd name="connsiteY131" fmla="*/ 58057 h 537029"/>
              <a:gd name="connsiteX132" fmla="*/ 10580914 w 12554857"/>
              <a:gd name="connsiteY132" fmla="*/ 72572 h 537029"/>
              <a:gd name="connsiteX133" fmla="*/ 10638971 w 12554857"/>
              <a:gd name="connsiteY133" fmla="*/ 116115 h 537029"/>
              <a:gd name="connsiteX134" fmla="*/ 10682514 w 12554857"/>
              <a:gd name="connsiteY134" fmla="*/ 72572 h 537029"/>
              <a:gd name="connsiteX135" fmla="*/ 10769600 w 12554857"/>
              <a:gd name="connsiteY135" fmla="*/ 29029 h 537029"/>
              <a:gd name="connsiteX136" fmla="*/ 10827657 w 12554857"/>
              <a:gd name="connsiteY136" fmla="*/ 58057 h 537029"/>
              <a:gd name="connsiteX137" fmla="*/ 10958286 w 12554857"/>
              <a:gd name="connsiteY137" fmla="*/ 130629 h 537029"/>
              <a:gd name="connsiteX138" fmla="*/ 11030857 w 12554857"/>
              <a:gd name="connsiteY138" fmla="*/ 116115 h 537029"/>
              <a:gd name="connsiteX139" fmla="*/ 11074400 w 12554857"/>
              <a:gd name="connsiteY139" fmla="*/ 101600 h 537029"/>
              <a:gd name="connsiteX140" fmla="*/ 11176000 w 12554857"/>
              <a:gd name="connsiteY140" fmla="*/ 130629 h 537029"/>
              <a:gd name="connsiteX141" fmla="*/ 11205028 w 12554857"/>
              <a:gd name="connsiteY141" fmla="*/ 174172 h 537029"/>
              <a:gd name="connsiteX142" fmla="*/ 11393714 w 12554857"/>
              <a:gd name="connsiteY142" fmla="*/ 116115 h 537029"/>
              <a:gd name="connsiteX143" fmla="*/ 11437257 w 12554857"/>
              <a:gd name="connsiteY143" fmla="*/ 130629 h 537029"/>
              <a:gd name="connsiteX144" fmla="*/ 11480800 w 12554857"/>
              <a:gd name="connsiteY144" fmla="*/ 159657 h 537029"/>
              <a:gd name="connsiteX145" fmla="*/ 11524343 w 12554857"/>
              <a:gd name="connsiteY145" fmla="*/ 145143 h 537029"/>
              <a:gd name="connsiteX146" fmla="*/ 11582400 w 12554857"/>
              <a:gd name="connsiteY146" fmla="*/ 159657 h 537029"/>
              <a:gd name="connsiteX147" fmla="*/ 11654971 w 12554857"/>
              <a:gd name="connsiteY147" fmla="*/ 188686 h 537029"/>
              <a:gd name="connsiteX148" fmla="*/ 11698514 w 12554857"/>
              <a:gd name="connsiteY148" fmla="*/ 203200 h 537029"/>
              <a:gd name="connsiteX149" fmla="*/ 11814628 w 12554857"/>
              <a:gd name="connsiteY149" fmla="*/ 72572 h 537029"/>
              <a:gd name="connsiteX150" fmla="*/ 11858171 w 12554857"/>
              <a:gd name="connsiteY150" fmla="*/ 58057 h 537029"/>
              <a:gd name="connsiteX151" fmla="*/ 11901714 w 12554857"/>
              <a:gd name="connsiteY151" fmla="*/ 72572 h 537029"/>
              <a:gd name="connsiteX152" fmla="*/ 11959771 w 12554857"/>
              <a:gd name="connsiteY152" fmla="*/ 58057 h 537029"/>
              <a:gd name="connsiteX153" fmla="*/ 12003314 w 12554857"/>
              <a:gd name="connsiteY153" fmla="*/ 87086 h 537029"/>
              <a:gd name="connsiteX154" fmla="*/ 12061371 w 12554857"/>
              <a:gd name="connsiteY154" fmla="*/ 174172 h 537029"/>
              <a:gd name="connsiteX155" fmla="*/ 12104914 w 12554857"/>
              <a:gd name="connsiteY155" fmla="*/ 217715 h 537029"/>
              <a:gd name="connsiteX156" fmla="*/ 12119428 w 12554857"/>
              <a:gd name="connsiteY156" fmla="*/ 145143 h 537029"/>
              <a:gd name="connsiteX157" fmla="*/ 12192000 w 12554857"/>
              <a:gd name="connsiteY157" fmla="*/ 159657 h 537029"/>
              <a:gd name="connsiteX158" fmla="*/ 12235543 w 12554857"/>
              <a:gd name="connsiteY158" fmla="*/ 72572 h 537029"/>
              <a:gd name="connsiteX159" fmla="*/ 12322628 w 12554857"/>
              <a:gd name="connsiteY159" fmla="*/ 72572 h 537029"/>
              <a:gd name="connsiteX160" fmla="*/ 12453257 w 12554857"/>
              <a:gd name="connsiteY160" fmla="*/ 87086 h 537029"/>
              <a:gd name="connsiteX161" fmla="*/ 12496800 w 12554857"/>
              <a:gd name="connsiteY161" fmla="*/ 116115 h 537029"/>
              <a:gd name="connsiteX162" fmla="*/ 12525828 w 12554857"/>
              <a:gd name="connsiteY162" fmla="*/ 203200 h 537029"/>
              <a:gd name="connsiteX163" fmla="*/ 12554857 w 12554857"/>
              <a:gd name="connsiteY163" fmla="*/ 246743 h 537029"/>
              <a:gd name="connsiteX164" fmla="*/ 12540343 w 12554857"/>
              <a:gd name="connsiteY164" fmla="*/ 304800 h 537029"/>
              <a:gd name="connsiteX165" fmla="*/ 12453257 w 12554857"/>
              <a:gd name="connsiteY165" fmla="*/ 333829 h 537029"/>
              <a:gd name="connsiteX166" fmla="*/ 12409714 w 12554857"/>
              <a:gd name="connsiteY166" fmla="*/ 362857 h 537029"/>
              <a:gd name="connsiteX167" fmla="*/ 12322628 w 12554857"/>
              <a:gd name="connsiteY167" fmla="*/ 377372 h 537029"/>
              <a:gd name="connsiteX168" fmla="*/ 11785600 w 12554857"/>
              <a:gd name="connsiteY168" fmla="*/ 391886 h 537029"/>
              <a:gd name="connsiteX169" fmla="*/ 11190514 w 12554857"/>
              <a:gd name="connsiteY169" fmla="*/ 420915 h 537029"/>
              <a:gd name="connsiteX170" fmla="*/ 11088914 w 12554857"/>
              <a:gd name="connsiteY170" fmla="*/ 435429 h 537029"/>
              <a:gd name="connsiteX171" fmla="*/ 10464800 w 12554857"/>
              <a:gd name="connsiteY171" fmla="*/ 464457 h 537029"/>
              <a:gd name="connsiteX172" fmla="*/ 10276114 w 12554857"/>
              <a:gd name="connsiteY172" fmla="*/ 493486 h 537029"/>
              <a:gd name="connsiteX173" fmla="*/ 10101943 w 12554857"/>
              <a:gd name="connsiteY173" fmla="*/ 508000 h 537029"/>
              <a:gd name="connsiteX174" fmla="*/ 9506857 w 12554857"/>
              <a:gd name="connsiteY174" fmla="*/ 537029 h 537029"/>
              <a:gd name="connsiteX175" fmla="*/ 7765143 w 12554857"/>
              <a:gd name="connsiteY175" fmla="*/ 537029 h 537029"/>
              <a:gd name="connsiteX176" fmla="*/ 2061028 w 12554857"/>
              <a:gd name="connsiteY176" fmla="*/ 522515 h 537029"/>
              <a:gd name="connsiteX177" fmla="*/ 1625600 w 12554857"/>
              <a:gd name="connsiteY177" fmla="*/ 493486 h 537029"/>
              <a:gd name="connsiteX178" fmla="*/ 1422400 w 12554857"/>
              <a:gd name="connsiteY178" fmla="*/ 478972 h 537029"/>
              <a:gd name="connsiteX179" fmla="*/ 391886 w 12554857"/>
              <a:gd name="connsiteY179" fmla="*/ 464457 h 537029"/>
              <a:gd name="connsiteX180" fmla="*/ 275771 w 12554857"/>
              <a:gd name="connsiteY180" fmla="*/ 449943 h 537029"/>
              <a:gd name="connsiteX181" fmla="*/ 43543 w 12554857"/>
              <a:gd name="connsiteY181" fmla="*/ 406400 h 537029"/>
              <a:gd name="connsiteX182" fmla="*/ 14514 w 12554857"/>
              <a:gd name="connsiteY182" fmla="*/ 362857 h 537029"/>
              <a:gd name="connsiteX183" fmla="*/ 0 w 12554857"/>
              <a:gd name="connsiteY183" fmla="*/ 319315 h 537029"/>
              <a:gd name="connsiteX184" fmla="*/ 261257 w 12554857"/>
              <a:gd name="connsiteY184" fmla="*/ 232229 h 537029"/>
              <a:gd name="connsiteX185" fmla="*/ 217714 w 12554857"/>
              <a:gd name="connsiteY185" fmla="*/ 217715 h 53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4857" h="537029">
                <a:moveTo>
                  <a:pt x="217714" y="217715"/>
                </a:moveTo>
                <a:cubicBezTo>
                  <a:pt x="224971" y="200782"/>
                  <a:pt x="248555" y="130629"/>
                  <a:pt x="304800" y="130629"/>
                </a:cubicBezTo>
                <a:cubicBezTo>
                  <a:pt x="320099" y="130629"/>
                  <a:pt x="333829" y="140305"/>
                  <a:pt x="348343" y="145143"/>
                </a:cubicBezTo>
                <a:cubicBezTo>
                  <a:pt x="473132" y="61952"/>
                  <a:pt x="315245" y="161692"/>
                  <a:pt x="435428" y="101600"/>
                </a:cubicBezTo>
                <a:cubicBezTo>
                  <a:pt x="451030" y="93799"/>
                  <a:pt x="464457" y="82248"/>
                  <a:pt x="478971" y="72572"/>
                </a:cubicBezTo>
                <a:cubicBezTo>
                  <a:pt x="508000" y="77410"/>
                  <a:pt x="538138" y="77780"/>
                  <a:pt x="566057" y="87086"/>
                </a:cubicBezTo>
                <a:cubicBezTo>
                  <a:pt x="582606" y="92602"/>
                  <a:pt x="593566" y="109243"/>
                  <a:pt x="609600" y="116115"/>
                </a:cubicBezTo>
                <a:cubicBezTo>
                  <a:pt x="627935" y="123973"/>
                  <a:pt x="648305" y="125791"/>
                  <a:pt x="667657" y="130629"/>
                </a:cubicBezTo>
                <a:cubicBezTo>
                  <a:pt x="696686" y="125791"/>
                  <a:pt x="726555" y="124571"/>
                  <a:pt x="754743" y="116115"/>
                </a:cubicBezTo>
                <a:cubicBezTo>
                  <a:pt x="775467" y="109898"/>
                  <a:pt x="792913" y="95609"/>
                  <a:pt x="812800" y="87086"/>
                </a:cubicBezTo>
                <a:cubicBezTo>
                  <a:pt x="826862" y="81059"/>
                  <a:pt x="841829" y="77410"/>
                  <a:pt x="856343" y="72572"/>
                </a:cubicBezTo>
                <a:cubicBezTo>
                  <a:pt x="966832" y="109401"/>
                  <a:pt x="913424" y="95599"/>
                  <a:pt x="1016000" y="116115"/>
                </a:cubicBezTo>
                <a:cubicBezTo>
                  <a:pt x="1140802" y="199314"/>
                  <a:pt x="982890" y="99558"/>
                  <a:pt x="1103086" y="159657"/>
                </a:cubicBezTo>
                <a:cubicBezTo>
                  <a:pt x="1118688" y="167458"/>
                  <a:pt x="1132114" y="179010"/>
                  <a:pt x="1146628" y="188686"/>
                </a:cubicBezTo>
                <a:cubicBezTo>
                  <a:pt x="1158433" y="153274"/>
                  <a:pt x="1162036" y="129735"/>
                  <a:pt x="1190171" y="101600"/>
                </a:cubicBezTo>
                <a:cubicBezTo>
                  <a:pt x="1202506" y="89265"/>
                  <a:pt x="1219200" y="82248"/>
                  <a:pt x="1233714" y="72572"/>
                </a:cubicBezTo>
                <a:cubicBezTo>
                  <a:pt x="1357253" y="154931"/>
                  <a:pt x="1286125" y="126776"/>
                  <a:pt x="1451428" y="145143"/>
                </a:cubicBezTo>
                <a:cubicBezTo>
                  <a:pt x="1472848" y="113014"/>
                  <a:pt x="1490474" y="80408"/>
                  <a:pt x="1524000" y="58057"/>
                </a:cubicBezTo>
                <a:cubicBezTo>
                  <a:pt x="1536730" y="49570"/>
                  <a:pt x="1553029" y="48381"/>
                  <a:pt x="1567543" y="43543"/>
                </a:cubicBezTo>
                <a:cubicBezTo>
                  <a:pt x="1579053" y="60808"/>
                  <a:pt x="1618248" y="125770"/>
                  <a:pt x="1640114" y="130629"/>
                </a:cubicBezTo>
                <a:cubicBezTo>
                  <a:pt x="1668842" y="137013"/>
                  <a:pt x="1698113" y="120590"/>
                  <a:pt x="1727200" y="116115"/>
                </a:cubicBezTo>
                <a:cubicBezTo>
                  <a:pt x="1862410" y="95313"/>
                  <a:pt x="1787528" y="111918"/>
                  <a:pt x="1886857" y="87086"/>
                </a:cubicBezTo>
                <a:cubicBezTo>
                  <a:pt x="1915886" y="91924"/>
                  <a:pt x="1945215" y="95216"/>
                  <a:pt x="1973943" y="101600"/>
                </a:cubicBezTo>
                <a:cubicBezTo>
                  <a:pt x="1988878" y="104919"/>
                  <a:pt x="2002186" y="116115"/>
                  <a:pt x="2017486" y="116115"/>
                </a:cubicBezTo>
                <a:cubicBezTo>
                  <a:pt x="2032785" y="116115"/>
                  <a:pt x="2046514" y="106438"/>
                  <a:pt x="2061028" y="101600"/>
                </a:cubicBezTo>
                <a:cubicBezTo>
                  <a:pt x="2080381" y="111276"/>
                  <a:pt x="2100300" y="119894"/>
                  <a:pt x="2119086" y="130629"/>
                </a:cubicBezTo>
                <a:cubicBezTo>
                  <a:pt x="2134231" y="139283"/>
                  <a:pt x="2145184" y="159657"/>
                  <a:pt x="2162628" y="159657"/>
                </a:cubicBezTo>
                <a:cubicBezTo>
                  <a:pt x="2211967" y="159657"/>
                  <a:pt x="2259277" y="139721"/>
                  <a:pt x="2307771" y="130629"/>
                </a:cubicBezTo>
                <a:cubicBezTo>
                  <a:pt x="2450111" y="103941"/>
                  <a:pt x="2342191" y="129282"/>
                  <a:pt x="2452914" y="101600"/>
                </a:cubicBezTo>
                <a:cubicBezTo>
                  <a:pt x="2481943" y="106438"/>
                  <a:pt x="2511703" y="124200"/>
                  <a:pt x="2540000" y="116115"/>
                </a:cubicBezTo>
                <a:cubicBezTo>
                  <a:pt x="2554711" y="111912"/>
                  <a:pt x="2543696" y="83390"/>
                  <a:pt x="2554514" y="72572"/>
                </a:cubicBezTo>
                <a:cubicBezTo>
                  <a:pt x="2565332" y="61754"/>
                  <a:pt x="2583543" y="62895"/>
                  <a:pt x="2598057" y="58057"/>
                </a:cubicBezTo>
                <a:cubicBezTo>
                  <a:pt x="2644806" y="69745"/>
                  <a:pt x="2673304" y="72410"/>
                  <a:pt x="2714171" y="101600"/>
                </a:cubicBezTo>
                <a:cubicBezTo>
                  <a:pt x="2730874" y="113531"/>
                  <a:pt x="2743200" y="130629"/>
                  <a:pt x="2757714" y="145143"/>
                </a:cubicBezTo>
                <a:cubicBezTo>
                  <a:pt x="2773548" y="121392"/>
                  <a:pt x="2795099" y="76970"/>
                  <a:pt x="2830286" y="72572"/>
                </a:cubicBezTo>
                <a:cubicBezTo>
                  <a:pt x="2854765" y="69512"/>
                  <a:pt x="2878667" y="82248"/>
                  <a:pt x="2902857" y="87086"/>
                </a:cubicBezTo>
                <a:cubicBezTo>
                  <a:pt x="2924873" y="101764"/>
                  <a:pt x="2959896" y="130629"/>
                  <a:pt x="2989943" y="130629"/>
                </a:cubicBezTo>
                <a:cubicBezTo>
                  <a:pt x="3014612" y="130629"/>
                  <a:pt x="3038324" y="120953"/>
                  <a:pt x="3062514" y="116115"/>
                </a:cubicBezTo>
                <a:cubicBezTo>
                  <a:pt x="3081866" y="106439"/>
                  <a:pt x="3099847" y="93303"/>
                  <a:pt x="3120571" y="87086"/>
                </a:cubicBezTo>
                <a:cubicBezTo>
                  <a:pt x="3210600" y="60077"/>
                  <a:pt x="3252751" y="77081"/>
                  <a:pt x="3352800" y="87086"/>
                </a:cubicBezTo>
                <a:cubicBezTo>
                  <a:pt x="3423829" y="69329"/>
                  <a:pt x="3425781" y="61083"/>
                  <a:pt x="3512457" y="87086"/>
                </a:cubicBezTo>
                <a:cubicBezTo>
                  <a:pt x="3529165" y="92099"/>
                  <a:pt x="3540398" y="108314"/>
                  <a:pt x="3556000" y="116115"/>
                </a:cubicBezTo>
                <a:cubicBezTo>
                  <a:pt x="3569684" y="122957"/>
                  <a:pt x="3585029" y="125791"/>
                  <a:pt x="3599543" y="130629"/>
                </a:cubicBezTo>
                <a:cubicBezTo>
                  <a:pt x="3699358" y="64085"/>
                  <a:pt x="3653531" y="83605"/>
                  <a:pt x="3730171" y="58057"/>
                </a:cubicBezTo>
                <a:cubicBezTo>
                  <a:pt x="3749523" y="62895"/>
                  <a:pt x="3769550" y="65568"/>
                  <a:pt x="3788228" y="72572"/>
                </a:cubicBezTo>
                <a:cubicBezTo>
                  <a:pt x="3814046" y="82254"/>
                  <a:pt x="3866855" y="111484"/>
                  <a:pt x="3889828" y="130629"/>
                </a:cubicBezTo>
                <a:cubicBezTo>
                  <a:pt x="3905597" y="143770"/>
                  <a:pt x="3918857" y="159658"/>
                  <a:pt x="3933371" y="174172"/>
                </a:cubicBezTo>
                <a:cubicBezTo>
                  <a:pt x="3952723" y="159658"/>
                  <a:pt x="3971743" y="144689"/>
                  <a:pt x="3991428" y="130629"/>
                </a:cubicBezTo>
                <a:cubicBezTo>
                  <a:pt x="4005623" y="120490"/>
                  <a:pt x="4017702" y="104067"/>
                  <a:pt x="4034971" y="101600"/>
                </a:cubicBezTo>
                <a:cubicBezTo>
                  <a:pt x="4054719" y="98779"/>
                  <a:pt x="4073676" y="111277"/>
                  <a:pt x="4093028" y="116115"/>
                </a:cubicBezTo>
                <a:cubicBezTo>
                  <a:pt x="4160346" y="160993"/>
                  <a:pt x="4117243" y="149533"/>
                  <a:pt x="4209143" y="116115"/>
                </a:cubicBezTo>
                <a:cubicBezTo>
                  <a:pt x="4237899" y="105658"/>
                  <a:pt x="4296228" y="87086"/>
                  <a:pt x="4296228" y="87086"/>
                </a:cubicBezTo>
                <a:cubicBezTo>
                  <a:pt x="4310742" y="77410"/>
                  <a:pt x="4322434" y="59983"/>
                  <a:pt x="4339771" y="58057"/>
                </a:cubicBezTo>
                <a:cubicBezTo>
                  <a:pt x="4378085" y="53800"/>
                  <a:pt x="4432139" y="74333"/>
                  <a:pt x="4470400" y="87086"/>
                </a:cubicBezTo>
                <a:cubicBezTo>
                  <a:pt x="4475238" y="67734"/>
                  <a:pt x="4472453" y="44606"/>
                  <a:pt x="4484914" y="29029"/>
                </a:cubicBezTo>
                <a:cubicBezTo>
                  <a:pt x="4520930" y="-15991"/>
                  <a:pt x="4564403" y="41474"/>
                  <a:pt x="4586514" y="58057"/>
                </a:cubicBezTo>
                <a:cubicBezTo>
                  <a:pt x="4596190" y="72571"/>
                  <a:pt x="4603208" y="89265"/>
                  <a:pt x="4615543" y="101600"/>
                </a:cubicBezTo>
                <a:cubicBezTo>
                  <a:pt x="4627878" y="113935"/>
                  <a:pt x="4648189" y="117007"/>
                  <a:pt x="4659086" y="130629"/>
                </a:cubicBezTo>
                <a:cubicBezTo>
                  <a:pt x="4668643" y="142576"/>
                  <a:pt x="4668762" y="159658"/>
                  <a:pt x="4673600" y="174172"/>
                </a:cubicBezTo>
                <a:cubicBezTo>
                  <a:pt x="4697790" y="169334"/>
                  <a:pt x="4722371" y="166148"/>
                  <a:pt x="4746171" y="159657"/>
                </a:cubicBezTo>
                <a:cubicBezTo>
                  <a:pt x="4775692" y="151606"/>
                  <a:pt x="4833257" y="130629"/>
                  <a:pt x="4833257" y="130629"/>
                </a:cubicBezTo>
                <a:cubicBezTo>
                  <a:pt x="4881638" y="135467"/>
                  <a:pt x="4931023" y="134210"/>
                  <a:pt x="4978400" y="145143"/>
                </a:cubicBezTo>
                <a:cubicBezTo>
                  <a:pt x="4995397" y="149065"/>
                  <a:pt x="5004521" y="173301"/>
                  <a:pt x="5021943" y="174172"/>
                </a:cubicBezTo>
                <a:lnTo>
                  <a:pt x="5268686" y="159657"/>
                </a:lnTo>
                <a:cubicBezTo>
                  <a:pt x="5283200" y="149981"/>
                  <a:pt x="5294891" y="132555"/>
                  <a:pt x="5312228" y="130629"/>
                </a:cubicBezTo>
                <a:cubicBezTo>
                  <a:pt x="5392728" y="121685"/>
                  <a:pt x="5397220" y="143049"/>
                  <a:pt x="5442857" y="188686"/>
                </a:cubicBezTo>
                <a:cubicBezTo>
                  <a:pt x="5462209" y="183848"/>
                  <a:pt x="5484316" y="185237"/>
                  <a:pt x="5500914" y="174172"/>
                </a:cubicBezTo>
                <a:cubicBezTo>
                  <a:pt x="5515428" y="164496"/>
                  <a:pt x="5514002" y="137714"/>
                  <a:pt x="5529943" y="130629"/>
                </a:cubicBezTo>
                <a:cubicBezTo>
                  <a:pt x="5561205" y="116735"/>
                  <a:pt x="5597676" y="120953"/>
                  <a:pt x="5631543" y="116115"/>
                </a:cubicBezTo>
                <a:cubicBezTo>
                  <a:pt x="5660571" y="120953"/>
                  <a:pt x="5690709" y="121323"/>
                  <a:pt x="5718628" y="130629"/>
                </a:cubicBezTo>
                <a:cubicBezTo>
                  <a:pt x="5735177" y="136145"/>
                  <a:pt x="5745342" y="155067"/>
                  <a:pt x="5762171" y="159657"/>
                </a:cubicBezTo>
                <a:cubicBezTo>
                  <a:pt x="5799803" y="169920"/>
                  <a:pt x="5839581" y="169334"/>
                  <a:pt x="5878286" y="174172"/>
                </a:cubicBezTo>
                <a:cubicBezTo>
                  <a:pt x="5976529" y="141424"/>
                  <a:pt x="5940749" y="136034"/>
                  <a:pt x="6023428" y="159657"/>
                </a:cubicBezTo>
                <a:cubicBezTo>
                  <a:pt x="6038139" y="163860"/>
                  <a:pt x="6052457" y="169334"/>
                  <a:pt x="6066971" y="174172"/>
                </a:cubicBezTo>
                <a:cubicBezTo>
                  <a:pt x="6163543" y="125885"/>
                  <a:pt x="6085055" y="158764"/>
                  <a:pt x="6197600" y="130629"/>
                </a:cubicBezTo>
                <a:cubicBezTo>
                  <a:pt x="6212443" y="126918"/>
                  <a:pt x="6226208" y="119434"/>
                  <a:pt x="6241143" y="116115"/>
                </a:cubicBezTo>
                <a:cubicBezTo>
                  <a:pt x="6313389" y="100060"/>
                  <a:pt x="6458857" y="72572"/>
                  <a:pt x="6458857" y="72572"/>
                </a:cubicBezTo>
                <a:cubicBezTo>
                  <a:pt x="6483047" y="62896"/>
                  <a:pt x="6508125" y="55195"/>
                  <a:pt x="6531428" y="43543"/>
                </a:cubicBezTo>
                <a:cubicBezTo>
                  <a:pt x="6643974" y="-12730"/>
                  <a:pt x="6509067" y="36484"/>
                  <a:pt x="6618514" y="0"/>
                </a:cubicBezTo>
                <a:cubicBezTo>
                  <a:pt x="6701788" y="27759"/>
                  <a:pt x="6624059" y="-5363"/>
                  <a:pt x="6705600" y="58057"/>
                </a:cubicBezTo>
                <a:cubicBezTo>
                  <a:pt x="6733139" y="79476"/>
                  <a:pt x="6763657" y="96762"/>
                  <a:pt x="6792686" y="116115"/>
                </a:cubicBezTo>
                <a:lnTo>
                  <a:pt x="6836228" y="145143"/>
                </a:lnTo>
                <a:cubicBezTo>
                  <a:pt x="6855581" y="140305"/>
                  <a:pt x="6875608" y="137633"/>
                  <a:pt x="6894286" y="130629"/>
                </a:cubicBezTo>
                <a:cubicBezTo>
                  <a:pt x="6914545" y="123032"/>
                  <a:pt x="6932456" y="110123"/>
                  <a:pt x="6952343" y="101600"/>
                </a:cubicBezTo>
                <a:cubicBezTo>
                  <a:pt x="6966405" y="95573"/>
                  <a:pt x="6981372" y="91924"/>
                  <a:pt x="6995886" y="87086"/>
                </a:cubicBezTo>
                <a:cubicBezTo>
                  <a:pt x="7024914" y="91924"/>
                  <a:pt x="7055052" y="92294"/>
                  <a:pt x="7082971" y="101600"/>
                </a:cubicBezTo>
                <a:cubicBezTo>
                  <a:pt x="7099520" y="107116"/>
                  <a:pt x="7109741" y="135421"/>
                  <a:pt x="7126514" y="130629"/>
                </a:cubicBezTo>
                <a:cubicBezTo>
                  <a:pt x="7152829" y="123110"/>
                  <a:pt x="7161363" y="87077"/>
                  <a:pt x="7184571" y="72572"/>
                </a:cubicBezTo>
                <a:cubicBezTo>
                  <a:pt x="7201487" y="62000"/>
                  <a:pt x="7223276" y="62895"/>
                  <a:pt x="7242628" y="58057"/>
                </a:cubicBezTo>
                <a:cubicBezTo>
                  <a:pt x="7257142" y="72571"/>
                  <a:pt x="7273030" y="85831"/>
                  <a:pt x="7286171" y="101600"/>
                </a:cubicBezTo>
                <a:cubicBezTo>
                  <a:pt x="7297338" y="115001"/>
                  <a:pt x="7297993" y="142275"/>
                  <a:pt x="7315200" y="145143"/>
                </a:cubicBezTo>
                <a:cubicBezTo>
                  <a:pt x="7336542" y="148700"/>
                  <a:pt x="7353370" y="124638"/>
                  <a:pt x="7373257" y="116115"/>
                </a:cubicBezTo>
                <a:cubicBezTo>
                  <a:pt x="7387319" y="110088"/>
                  <a:pt x="7402286" y="106438"/>
                  <a:pt x="7416800" y="101600"/>
                </a:cubicBezTo>
                <a:cubicBezTo>
                  <a:pt x="7445829" y="111276"/>
                  <a:pt x="7477938" y="114411"/>
                  <a:pt x="7503886" y="130629"/>
                </a:cubicBezTo>
                <a:cubicBezTo>
                  <a:pt x="7584072" y="180746"/>
                  <a:pt x="7470142" y="189866"/>
                  <a:pt x="7590971" y="159657"/>
                </a:cubicBezTo>
                <a:cubicBezTo>
                  <a:pt x="7615162" y="164495"/>
                  <a:pt x="7639064" y="177232"/>
                  <a:pt x="7663543" y="174172"/>
                </a:cubicBezTo>
                <a:cubicBezTo>
                  <a:pt x="7680852" y="172008"/>
                  <a:pt x="7689923" y="142023"/>
                  <a:pt x="7707086" y="145143"/>
                </a:cubicBezTo>
                <a:cubicBezTo>
                  <a:pt x="7749661" y="152884"/>
                  <a:pt x="7784495" y="183848"/>
                  <a:pt x="7823200" y="203200"/>
                </a:cubicBezTo>
                <a:cubicBezTo>
                  <a:pt x="7837714" y="188686"/>
                  <a:pt x="7855357" y="176736"/>
                  <a:pt x="7866743" y="159657"/>
                </a:cubicBezTo>
                <a:cubicBezTo>
                  <a:pt x="7900641" y="108811"/>
                  <a:pt x="7852716" y="97088"/>
                  <a:pt x="7924800" y="145143"/>
                </a:cubicBezTo>
                <a:cubicBezTo>
                  <a:pt x="7934476" y="159657"/>
                  <a:pt x="7939314" y="179010"/>
                  <a:pt x="7953828" y="188686"/>
                </a:cubicBezTo>
                <a:cubicBezTo>
                  <a:pt x="7962610" y="194540"/>
                  <a:pt x="8082861" y="217396"/>
                  <a:pt x="8084457" y="217715"/>
                </a:cubicBezTo>
                <a:cubicBezTo>
                  <a:pt x="8098971" y="237067"/>
                  <a:pt x="8105051" y="268122"/>
                  <a:pt x="8128000" y="275772"/>
                </a:cubicBezTo>
                <a:cubicBezTo>
                  <a:pt x="8144549" y="281288"/>
                  <a:pt x="8154336" y="243875"/>
                  <a:pt x="8171543" y="246743"/>
                </a:cubicBezTo>
                <a:cubicBezTo>
                  <a:pt x="8191790" y="250117"/>
                  <a:pt x="8200572" y="275772"/>
                  <a:pt x="8215086" y="290286"/>
                </a:cubicBezTo>
                <a:cubicBezTo>
                  <a:pt x="8219924" y="275772"/>
                  <a:pt x="8220207" y="258820"/>
                  <a:pt x="8229600" y="246743"/>
                </a:cubicBezTo>
                <a:cubicBezTo>
                  <a:pt x="8283134" y="177914"/>
                  <a:pt x="8302026" y="169431"/>
                  <a:pt x="8360228" y="130629"/>
                </a:cubicBezTo>
                <a:cubicBezTo>
                  <a:pt x="8374742" y="135467"/>
                  <a:pt x="8391041" y="136656"/>
                  <a:pt x="8403771" y="145143"/>
                </a:cubicBezTo>
                <a:cubicBezTo>
                  <a:pt x="8437297" y="167494"/>
                  <a:pt x="8454923" y="200100"/>
                  <a:pt x="8476343" y="232229"/>
                </a:cubicBezTo>
                <a:cubicBezTo>
                  <a:pt x="8480993" y="213628"/>
                  <a:pt x="8482344" y="138835"/>
                  <a:pt x="8534400" y="159657"/>
                </a:cubicBezTo>
                <a:cubicBezTo>
                  <a:pt x="8550596" y="166135"/>
                  <a:pt x="8553752" y="188686"/>
                  <a:pt x="8563428" y="203200"/>
                </a:cubicBezTo>
                <a:cubicBezTo>
                  <a:pt x="8648197" y="174944"/>
                  <a:pt x="8570348" y="210795"/>
                  <a:pt x="8636000" y="145143"/>
                </a:cubicBezTo>
                <a:cubicBezTo>
                  <a:pt x="8669411" y="111733"/>
                  <a:pt x="8693187" y="112704"/>
                  <a:pt x="8737600" y="101600"/>
                </a:cubicBezTo>
                <a:cubicBezTo>
                  <a:pt x="8795657" y="106438"/>
                  <a:pt x="8855480" y="101104"/>
                  <a:pt x="8911771" y="116115"/>
                </a:cubicBezTo>
                <a:cubicBezTo>
                  <a:pt x="8931604" y="121404"/>
                  <a:pt x="8938611" y="147726"/>
                  <a:pt x="8955314" y="159657"/>
                </a:cubicBezTo>
                <a:cubicBezTo>
                  <a:pt x="8972920" y="172233"/>
                  <a:pt x="8994019" y="179010"/>
                  <a:pt x="9013371" y="188686"/>
                </a:cubicBezTo>
                <a:cubicBezTo>
                  <a:pt x="9042400" y="183848"/>
                  <a:pt x="9076510" y="191277"/>
                  <a:pt x="9100457" y="174172"/>
                </a:cubicBezTo>
                <a:cubicBezTo>
                  <a:pt x="9116689" y="162578"/>
                  <a:pt x="9102510" y="131692"/>
                  <a:pt x="9114971" y="116115"/>
                </a:cubicBezTo>
                <a:cubicBezTo>
                  <a:pt x="9124528" y="104168"/>
                  <a:pt x="9144000" y="106438"/>
                  <a:pt x="9158514" y="101600"/>
                </a:cubicBezTo>
                <a:cubicBezTo>
                  <a:pt x="9245731" y="130674"/>
                  <a:pt x="9253473" y="137166"/>
                  <a:pt x="9390743" y="130629"/>
                </a:cubicBezTo>
                <a:cubicBezTo>
                  <a:pt x="9430594" y="128731"/>
                  <a:pt x="9469285" y="115019"/>
                  <a:pt x="9506857" y="101600"/>
                </a:cubicBezTo>
                <a:cubicBezTo>
                  <a:pt x="9537421" y="90684"/>
                  <a:pt x="9564914" y="72571"/>
                  <a:pt x="9593943" y="58057"/>
                </a:cubicBezTo>
                <a:cubicBezTo>
                  <a:pt x="9618133" y="67733"/>
                  <a:pt x="9646732" y="70130"/>
                  <a:pt x="9666514" y="87086"/>
                </a:cubicBezTo>
                <a:cubicBezTo>
                  <a:pt x="9736821" y="147349"/>
                  <a:pt x="9650667" y="160101"/>
                  <a:pt x="9739086" y="130629"/>
                </a:cubicBezTo>
                <a:cubicBezTo>
                  <a:pt x="9848532" y="167111"/>
                  <a:pt x="9713623" y="117898"/>
                  <a:pt x="9826171" y="174172"/>
                </a:cubicBezTo>
                <a:cubicBezTo>
                  <a:pt x="9839855" y="181014"/>
                  <a:pt x="9855200" y="183848"/>
                  <a:pt x="9869714" y="188686"/>
                </a:cubicBezTo>
                <a:cubicBezTo>
                  <a:pt x="9893905" y="183848"/>
                  <a:pt x="9917616" y="174172"/>
                  <a:pt x="9942286" y="174172"/>
                </a:cubicBezTo>
                <a:cubicBezTo>
                  <a:pt x="9957585" y="174172"/>
                  <a:pt x="9970647" y="190584"/>
                  <a:pt x="9985828" y="188686"/>
                </a:cubicBezTo>
                <a:cubicBezTo>
                  <a:pt x="10011681" y="185454"/>
                  <a:pt x="10034209" y="169333"/>
                  <a:pt x="10058400" y="159657"/>
                </a:cubicBezTo>
                <a:cubicBezTo>
                  <a:pt x="10103650" y="103094"/>
                  <a:pt x="10113475" y="78422"/>
                  <a:pt x="10174514" y="43543"/>
                </a:cubicBezTo>
                <a:cubicBezTo>
                  <a:pt x="10187798" y="35952"/>
                  <a:pt x="10203543" y="33867"/>
                  <a:pt x="10218057" y="29029"/>
                </a:cubicBezTo>
                <a:cubicBezTo>
                  <a:pt x="10334949" y="116699"/>
                  <a:pt x="10230168" y="58057"/>
                  <a:pt x="10464800" y="58057"/>
                </a:cubicBezTo>
                <a:cubicBezTo>
                  <a:pt x="10503806" y="58057"/>
                  <a:pt x="10542209" y="67734"/>
                  <a:pt x="10580914" y="72572"/>
                </a:cubicBezTo>
                <a:cubicBezTo>
                  <a:pt x="10600266" y="87086"/>
                  <a:pt x="10614781" y="116115"/>
                  <a:pt x="10638971" y="116115"/>
                </a:cubicBezTo>
                <a:cubicBezTo>
                  <a:pt x="10659497" y="116115"/>
                  <a:pt x="10666745" y="85713"/>
                  <a:pt x="10682514" y="72572"/>
                </a:cubicBezTo>
                <a:cubicBezTo>
                  <a:pt x="10720030" y="41308"/>
                  <a:pt x="10725959" y="43576"/>
                  <a:pt x="10769600" y="29029"/>
                </a:cubicBezTo>
                <a:cubicBezTo>
                  <a:pt x="10788952" y="38705"/>
                  <a:pt x="10809104" y="46925"/>
                  <a:pt x="10827657" y="58057"/>
                </a:cubicBezTo>
                <a:cubicBezTo>
                  <a:pt x="10952428" y="132920"/>
                  <a:pt x="10870701" y="101435"/>
                  <a:pt x="10958286" y="130629"/>
                </a:cubicBezTo>
                <a:cubicBezTo>
                  <a:pt x="10982476" y="125791"/>
                  <a:pt x="11006924" y="122098"/>
                  <a:pt x="11030857" y="116115"/>
                </a:cubicBezTo>
                <a:cubicBezTo>
                  <a:pt x="11045700" y="112404"/>
                  <a:pt x="11059176" y="100078"/>
                  <a:pt x="11074400" y="101600"/>
                </a:cubicBezTo>
                <a:cubicBezTo>
                  <a:pt x="11109447" y="105105"/>
                  <a:pt x="11142133" y="120953"/>
                  <a:pt x="11176000" y="130629"/>
                </a:cubicBezTo>
                <a:cubicBezTo>
                  <a:pt x="11185676" y="145143"/>
                  <a:pt x="11187644" y="172723"/>
                  <a:pt x="11205028" y="174172"/>
                </a:cubicBezTo>
                <a:cubicBezTo>
                  <a:pt x="11305981" y="182585"/>
                  <a:pt x="11330789" y="158064"/>
                  <a:pt x="11393714" y="116115"/>
                </a:cubicBezTo>
                <a:cubicBezTo>
                  <a:pt x="11408228" y="120953"/>
                  <a:pt x="11423573" y="123787"/>
                  <a:pt x="11437257" y="130629"/>
                </a:cubicBezTo>
                <a:cubicBezTo>
                  <a:pt x="11452859" y="138430"/>
                  <a:pt x="11463593" y="156789"/>
                  <a:pt x="11480800" y="159657"/>
                </a:cubicBezTo>
                <a:cubicBezTo>
                  <a:pt x="11495891" y="162172"/>
                  <a:pt x="11509829" y="149981"/>
                  <a:pt x="11524343" y="145143"/>
                </a:cubicBezTo>
                <a:cubicBezTo>
                  <a:pt x="11543695" y="149981"/>
                  <a:pt x="11563476" y="153349"/>
                  <a:pt x="11582400" y="159657"/>
                </a:cubicBezTo>
                <a:cubicBezTo>
                  <a:pt x="11607117" y="167896"/>
                  <a:pt x="11630576" y="179538"/>
                  <a:pt x="11654971" y="188686"/>
                </a:cubicBezTo>
                <a:cubicBezTo>
                  <a:pt x="11669296" y="194058"/>
                  <a:pt x="11684000" y="198362"/>
                  <a:pt x="11698514" y="203200"/>
                </a:cubicBezTo>
                <a:cubicBezTo>
                  <a:pt x="11746147" y="131751"/>
                  <a:pt x="11745193" y="112250"/>
                  <a:pt x="11814628" y="72572"/>
                </a:cubicBezTo>
                <a:cubicBezTo>
                  <a:pt x="11827912" y="64981"/>
                  <a:pt x="11843657" y="62895"/>
                  <a:pt x="11858171" y="58057"/>
                </a:cubicBezTo>
                <a:cubicBezTo>
                  <a:pt x="11872685" y="62895"/>
                  <a:pt x="11886414" y="72572"/>
                  <a:pt x="11901714" y="72572"/>
                </a:cubicBezTo>
                <a:cubicBezTo>
                  <a:pt x="11921662" y="72572"/>
                  <a:pt x="11940023" y="55236"/>
                  <a:pt x="11959771" y="58057"/>
                </a:cubicBezTo>
                <a:cubicBezTo>
                  <a:pt x="11977040" y="60524"/>
                  <a:pt x="11988800" y="77410"/>
                  <a:pt x="12003314" y="87086"/>
                </a:cubicBezTo>
                <a:cubicBezTo>
                  <a:pt x="12022666" y="116115"/>
                  <a:pt x="12039952" y="146633"/>
                  <a:pt x="12061371" y="174172"/>
                </a:cubicBezTo>
                <a:cubicBezTo>
                  <a:pt x="12073973" y="190375"/>
                  <a:pt x="12086555" y="226895"/>
                  <a:pt x="12104914" y="217715"/>
                </a:cubicBezTo>
                <a:cubicBezTo>
                  <a:pt x="12126979" y="206682"/>
                  <a:pt x="12114590" y="169334"/>
                  <a:pt x="12119428" y="145143"/>
                </a:cubicBezTo>
                <a:cubicBezTo>
                  <a:pt x="12143619" y="149981"/>
                  <a:pt x="12168279" y="166434"/>
                  <a:pt x="12192000" y="159657"/>
                </a:cubicBezTo>
                <a:cubicBezTo>
                  <a:pt x="12212731" y="153734"/>
                  <a:pt x="12230232" y="88503"/>
                  <a:pt x="12235543" y="72572"/>
                </a:cubicBezTo>
                <a:cubicBezTo>
                  <a:pt x="12338757" y="141380"/>
                  <a:pt x="12219416" y="81173"/>
                  <a:pt x="12322628" y="72572"/>
                </a:cubicBezTo>
                <a:cubicBezTo>
                  <a:pt x="12366288" y="68934"/>
                  <a:pt x="12409714" y="82248"/>
                  <a:pt x="12453257" y="87086"/>
                </a:cubicBezTo>
                <a:cubicBezTo>
                  <a:pt x="12467771" y="96762"/>
                  <a:pt x="12487555" y="101322"/>
                  <a:pt x="12496800" y="116115"/>
                </a:cubicBezTo>
                <a:cubicBezTo>
                  <a:pt x="12513017" y="142063"/>
                  <a:pt x="12508855" y="177741"/>
                  <a:pt x="12525828" y="203200"/>
                </a:cubicBezTo>
                <a:lnTo>
                  <a:pt x="12554857" y="246743"/>
                </a:lnTo>
                <a:cubicBezTo>
                  <a:pt x="12550019" y="266095"/>
                  <a:pt x="12555489" y="291818"/>
                  <a:pt x="12540343" y="304800"/>
                </a:cubicBezTo>
                <a:cubicBezTo>
                  <a:pt x="12517111" y="324714"/>
                  <a:pt x="12478717" y="316856"/>
                  <a:pt x="12453257" y="333829"/>
                </a:cubicBezTo>
                <a:cubicBezTo>
                  <a:pt x="12438743" y="343505"/>
                  <a:pt x="12426263" y="357341"/>
                  <a:pt x="12409714" y="362857"/>
                </a:cubicBezTo>
                <a:cubicBezTo>
                  <a:pt x="12381795" y="372163"/>
                  <a:pt x="12352025" y="376005"/>
                  <a:pt x="12322628" y="377372"/>
                </a:cubicBezTo>
                <a:cubicBezTo>
                  <a:pt x="12143747" y="385692"/>
                  <a:pt x="11964542" y="385004"/>
                  <a:pt x="11785600" y="391886"/>
                </a:cubicBezTo>
                <a:cubicBezTo>
                  <a:pt x="11587149" y="399519"/>
                  <a:pt x="11190514" y="420915"/>
                  <a:pt x="11190514" y="420915"/>
                </a:cubicBezTo>
                <a:cubicBezTo>
                  <a:pt x="11156647" y="425753"/>
                  <a:pt x="11123016" y="432701"/>
                  <a:pt x="11088914" y="435429"/>
                </a:cubicBezTo>
                <a:cubicBezTo>
                  <a:pt x="10940312" y="447317"/>
                  <a:pt x="10590718" y="459420"/>
                  <a:pt x="10464800" y="464457"/>
                </a:cubicBezTo>
                <a:cubicBezTo>
                  <a:pt x="10412811" y="473122"/>
                  <a:pt x="10326821" y="488149"/>
                  <a:pt x="10276114" y="493486"/>
                </a:cubicBezTo>
                <a:cubicBezTo>
                  <a:pt x="10218176" y="499585"/>
                  <a:pt x="10160108" y="504708"/>
                  <a:pt x="10101943" y="508000"/>
                </a:cubicBezTo>
                <a:lnTo>
                  <a:pt x="9506857" y="537029"/>
                </a:lnTo>
                <a:cubicBezTo>
                  <a:pt x="7021676" y="496946"/>
                  <a:pt x="10127457" y="537029"/>
                  <a:pt x="7765143" y="537029"/>
                </a:cubicBezTo>
                <a:lnTo>
                  <a:pt x="2061028" y="522515"/>
                </a:lnTo>
                <a:cubicBezTo>
                  <a:pt x="1850113" y="487360"/>
                  <a:pt x="2039664" y="515278"/>
                  <a:pt x="1625600" y="493486"/>
                </a:cubicBezTo>
                <a:cubicBezTo>
                  <a:pt x="1557788" y="489917"/>
                  <a:pt x="1490287" y="480569"/>
                  <a:pt x="1422400" y="478972"/>
                </a:cubicBezTo>
                <a:lnTo>
                  <a:pt x="391886" y="464457"/>
                </a:lnTo>
                <a:cubicBezTo>
                  <a:pt x="353181" y="459619"/>
                  <a:pt x="314601" y="453641"/>
                  <a:pt x="275771" y="449943"/>
                </a:cubicBezTo>
                <a:cubicBezTo>
                  <a:pt x="63089" y="429688"/>
                  <a:pt x="141399" y="471638"/>
                  <a:pt x="43543" y="406400"/>
                </a:cubicBezTo>
                <a:cubicBezTo>
                  <a:pt x="33867" y="391886"/>
                  <a:pt x="22315" y="378459"/>
                  <a:pt x="14514" y="362857"/>
                </a:cubicBezTo>
                <a:cubicBezTo>
                  <a:pt x="7672" y="349173"/>
                  <a:pt x="0" y="334614"/>
                  <a:pt x="0" y="319315"/>
                </a:cubicBezTo>
                <a:cubicBezTo>
                  <a:pt x="0" y="203265"/>
                  <a:pt x="229163" y="234521"/>
                  <a:pt x="261257" y="232229"/>
                </a:cubicBezTo>
                <a:cubicBezTo>
                  <a:pt x="245213" y="184096"/>
                  <a:pt x="210457" y="234648"/>
                  <a:pt x="217714" y="217715"/>
                </a:cubicBezTo>
                <a:close/>
              </a:path>
            </a:pathLst>
          </a:custGeom>
          <a:solidFill>
            <a:srgbClr val="63A6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60F5D055-2034-4D9D-8B09-E9108D512A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92721" y="-545689"/>
            <a:ext cx="3894843" cy="3540766"/>
          </a:xfrm>
          <a:prstGeom prst="rect">
            <a:avLst/>
          </a:prstGeom>
        </p:spPr>
      </p:pic>
      <p:pic>
        <p:nvPicPr>
          <p:cNvPr id="117" name="Picture 116" descr="A picture containing computer, computer, light&#10;&#10;Description automatically generated">
            <a:extLst>
              <a:ext uri="{FF2B5EF4-FFF2-40B4-BE49-F238E27FC236}">
                <a16:creationId xmlns:a16="http://schemas.microsoft.com/office/drawing/2014/main" id="{13BA6D83-705E-40E1-A4A4-39F89F701644}"/>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398318" y="1580179"/>
            <a:ext cx="674415" cy="1165792"/>
          </a:xfrm>
          <a:prstGeom prst="rect">
            <a:avLst/>
          </a:prstGeom>
        </p:spPr>
      </p:pic>
      <p:pic>
        <p:nvPicPr>
          <p:cNvPr id="119" name="Picture 118" descr="A picture containing computer, computer, light&#10;&#10;Description automatically generated">
            <a:extLst>
              <a:ext uri="{FF2B5EF4-FFF2-40B4-BE49-F238E27FC236}">
                <a16:creationId xmlns:a16="http://schemas.microsoft.com/office/drawing/2014/main" id="{1F2AB17A-5025-4711-B58F-37FFFDE9223E}"/>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569362" y="1661733"/>
            <a:ext cx="674415" cy="1165792"/>
          </a:xfrm>
          <a:prstGeom prst="rect">
            <a:avLst/>
          </a:prstGeom>
        </p:spPr>
      </p:pic>
      <p:pic>
        <p:nvPicPr>
          <p:cNvPr id="120" name="Picture 119" descr="A close up of a logo&#10;&#10;Description automatically generated">
            <a:extLst>
              <a:ext uri="{FF2B5EF4-FFF2-40B4-BE49-F238E27FC236}">
                <a16:creationId xmlns:a16="http://schemas.microsoft.com/office/drawing/2014/main" id="{14960C76-CCB3-427E-84D8-AA7E0946F824}"/>
              </a:ext>
            </a:extLst>
          </p:cNvPr>
          <p:cNvPicPr>
            <a:picLocks noChangeAspect="1"/>
          </p:cNvPicPr>
          <p:nvPr/>
        </p:nvPicPr>
        <p:blipFill rotWithShape="1">
          <a:blip r:embed="rId4">
            <a:extLst>
              <a:ext uri="{28A0092B-C50C-407E-A947-70E740481C1C}">
                <a14:useLocalDpi xmlns:a14="http://schemas.microsoft.com/office/drawing/2010/main" val="0"/>
              </a:ext>
            </a:extLst>
          </a:blip>
          <a:srcRect l="41745" t="41354" r="40020" b="39266"/>
          <a:stretch/>
        </p:blipFill>
        <p:spPr>
          <a:xfrm>
            <a:off x="2776147" y="1623307"/>
            <a:ext cx="883709" cy="1329126"/>
          </a:xfrm>
          <a:prstGeom prst="rect">
            <a:avLst/>
          </a:prstGeom>
        </p:spPr>
      </p:pic>
      <p:sp>
        <p:nvSpPr>
          <p:cNvPr id="5" name="Parallelogram 4">
            <a:extLst>
              <a:ext uri="{FF2B5EF4-FFF2-40B4-BE49-F238E27FC236}">
                <a16:creationId xmlns:a16="http://schemas.microsoft.com/office/drawing/2014/main" id="{FD7144AB-A2D2-4539-9187-87DB7A713BEE}"/>
              </a:ext>
            </a:extLst>
          </p:cNvPr>
          <p:cNvSpPr/>
          <p:nvPr/>
        </p:nvSpPr>
        <p:spPr>
          <a:xfrm>
            <a:off x="-10160" y="2430900"/>
            <a:ext cx="6786882" cy="4427100"/>
          </a:xfrm>
          <a:custGeom>
            <a:avLst/>
            <a:gdLst>
              <a:gd name="connsiteX0" fmla="*/ 0 w 5044576"/>
              <a:gd name="connsiteY0" fmla="*/ 2222380 h 2222380"/>
              <a:gd name="connsiteX1" fmla="*/ 555595 w 5044576"/>
              <a:gd name="connsiteY1" fmla="*/ 0 h 2222380"/>
              <a:gd name="connsiteX2" fmla="*/ 5044576 w 5044576"/>
              <a:gd name="connsiteY2" fmla="*/ 0 h 2222380"/>
              <a:gd name="connsiteX3" fmla="*/ 4488981 w 5044576"/>
              <a:gd name="connsiteY3" fmla="*/ 2222380 h 2222380"/>
              <a:gd name="connsiteX4" fmla="*/ 0 w 5044576"/>
              <a:gd name="connsiteY4" fmla="*/ 2222380 h 2222380"/>
              <a:gd name="connsiteX0" fmla="*/ 0 w 5056475"/>
              <a:gd name="connsiteY0" fmla="*/ 3431420 h 3431420"/>
              <a:gd name="connsiteX1" fmla="*/ 5056475 w 5056475"/>
              <a:gd name="connsiteY1" fmla="*/ 0 h 3431420"/>
              <a:gd name="connsiteX2" fmla="*/ 5044576 w 5056475"/>
              <a:gd name="connsiteY2" fmla="*/ 1209040 h 3431420"/>
              <a:gd name="connsiteX3" fmla="*/ 4488981 w 5056475"/>
              <a:gd name="connsiteY3" fmla="*/ 3431420 h 3431420"/>
              <a:gd name="connsiteX4" fmla="*/ 0 w 5056475"/>
              <a:gd name="connsiteY4" fmla="*/ 3431420 h 3431420"/>
              <a:gd name="connsiteX0" fmla="*/ 0 w 5776096"/>
              <a:gd name="connsiteY0" fmla="*/ 3431420 h 3431420"/>
              <a:gd name="connsiteX1" fmla="*/ 5056475 w 5776096"/>
              <a:gd name="connsiteY1" fmla="*/ 0 h 3431420"/>
              <a:gd name="connsiteX2" fmla="*/ 5776096 w 5776096"/>
              <a:gd name="connsiteY2" fmla="*/ 589280 h 3431420"/>
              <a:gd name="connsiteX3" fmla="*/ 4488981 w 5776096"/>
              <a:gd name="connsiteY3" fmla="*/ 3431420 h 3431420"/>
              <a:gd name="connsiteX4" fmla="*/ 0 w 5776096"/>
              <a:gd name="connsiteY4" fmla="*/ 3431420 h 3431420"/>
              <a:gd name="connsiteX0" fmla="*/ 0 w 5776096"/>
              <a:gd name="connsiteY0" fmla="*/ 3431420 h 3583820"/>
              <a:gd name="connsiteX1" fmla="*/ 5056475 w 5776096"/>
              <a:gd name="connsiteY1" fmla="*/ 0 h 3583820"/>
              <a:gd name="connsiteX2" fmla="*/ 5776096 w 5776096"/>
              <a:gd name="connsiteY2" fmla="*/ 589280 h 3583820"/>
              <a:gd name="connsiteX3" fmla="*/ 800901 w 5776096"/>
              <a:gd name="connsiteY3" fmla="*/ 3583820 h 3583820"/>
              <a:gd name="connsiteX4" fmla="*/ 0 w 5776096"/>
              <a:gd name="connsiteY4" fmla="*/ 3431420 h 3583820"/>
              <a:gd name="connsiteX0" fmla="*/ 0 w 5979296"/>
              <a:gd name="connsiteY0" fmla="*/ 2862460 h 3583820"/>
              <a:gd name="connsiteX1" fmla="*/ 5259675 w 5979296"/>
              <a:gd name="connsiteY1" fmla="*/ 0 h 3583820"/>
              <a:gd name="connsiteX2" fmla="*/ 5979296 w 5979296"/>
              <a:gd name="connsiteY2" fmla="*/ 589280 h 3583820"/>
              <a:gd name="connsiteX3" fmla="*/ 1004101 w 5979296"/>
              <a:gd name="connsiteY3" fmla="*/ 3583820 h 3583820"/>
              <a:gd name="connsiteX4" fmla="*/ 0 w 5979296"/>
              <a:gd name="connsiteY4" fmla="*/ 2862460 h 3583820"/>
              <a:gd name="connsiteX0" fmla="*/ 0 w 5979296"/>
              <a:gd name="connsiteY0" fmla="*/ 2862460 h 3472060"/>
              <a:gd name="connsiteX1" fmla="*/ 5259675 w 5979296"/>
              <a:gd name="connsiteY1" fmla="*/ 0 h 3472060"/>
              <a:gd name="connsiteX2" fmla="*/ 5979296 w 5979296"/>
              <a:gd name="connsiteY2" fmla="*/ 589280 h 3472060"/>
              <a:gd name="connsiteX3" fmla="*/ 567221 w 5979296"/>
              <a:gd name="connsiteY3" fmla="*/ 3472060 h 3472060"/>
              <a:gd name="connsiteX4" fmla="*/ 0 w 5979296"/>
              <a:gd name="connsiteY4" fmla="*/ 2862460 h 3472060"/>
              <a:gd name="connsiteX0" fmla="*/ 0 w 6568576"/>
              <a:gd name="connsiteY0" fmla="*/ 2862460 h 3472060"/>
              <a:gd name="connsiteX1" fmla="*/ 5259675 w 6568576"/>
              <a:gd name="connsiteY1" fmla="*/ 0 h 3472060"/>
              <a:gd name="connsiteX2" fmla="*/ 6568576 w 6568576"/>
              <a:gd name="connsiteY2" fmla="*/ 1270000 h 3472060"/>
              <a:gd name="connsiteX3" fmla="*/ 567221 w 6568576"/>
              <a:gd name="connsiteY3" fmla="*/ 3472060 h 3472060"/>
              <a:gd name="connsiteX4" fmla="*/ 0 w 6568576"/>
              <a:gd name="connsiteY4" fmla="*/ 2862460 h 3472060"/>
              <a:gd name="connsiteX0" fmla="*/ 0 w 6568576"/>
              <a:gd name="connsiteY0" fmla="*/ 2171580 h 2781180"/>
              <a:gd name="connsiteX1" fmla="*/ 5869275 w 6568576"/>
              <a:gd name="connsiteY1" fmla="*/ 0 h 2781180"/>
              <a:gd name="connsiteX2" fmla="*/ 6568576 w 6568576"/>
              <a:gd name="connsiteY2" fmla="*/ 579120 h 2781180"/>
              <a:gd name="connsiteX3" fmla="*/ 567221 w 6568576"/>
              <a:gd name="connsiteY3" fmla="*/ 2781180 h 2781180"/>
              <a:gd name="connsiteX4" fmla="*/ 0 w 6568576"/>
              <a:gd name="connsiteY4" fmla="*/ 2171580 h 2781180"/>
              <a:gd name="connsiteX0" fmla="*/ 0 w 6568576"/>
              <a:gd name="connsiteY0" fmla="*/ 2171580 h 2781180"/>
              <a:gd name="connsiteX1" fmla="*/ 5869275 w 6568576"/>
              <a:gd name="connsiteY1" fmla="*/ 0 h 2781180"/>
              <a:gd name="connsiteX2" fmla="*/ 6568576 w 6568576"/>
              <a:gd name="connsiteY2" fmla="*/ 579120 h 2781180"/>
              <a:gd name="connsiteX3" fmla="*/ 567221 w 6568576"/>
              <a:gd name="connsiteY3" fmla="*/ 2781180 h 2781180"/>
              <a:gd name="connsiteX4" fmla="*/ 269375 w 6568576"/>
              <a:gd name="connsiteY4" fmla="*/ 2466220 h 2781180"/>
              <a:gd name="connsiteX5" fmla="*/ 0 w 6568576"/>
              <a:gd name="connsiteY5" fmla="*/ 2171580 h 2781180"/>
              <a:gd name="connsiteX0" fmla="*/ 0 w 6568576"/>
              <a:gd name="connsiteY0" fmla="*/ 2171580 h 2923420"/>
              <a:gd name="connsiteX1" fmla="*/ 5869275 w 6568576"/>
              <a:gd name="connsiteY1" fmla="*/ 0 h 2923420"/>
              <a:gd name="connsiteX2" fmla="*/ 6568576 w 6568576"/>
              <a:gd name="connsiteY2" fmla="*/ 579120 h 2923420"/>
              <a:gd name="connsiteX3" fmla="*/ 567221 w 6568576"/>
              <a:gd name="connsiteY3" fmla="*/ 2781180 h 2923420"/>
              <a:gd name="connsiteX4" fmla="*/ 35695 w 6568576"/>
              <a:gd name="connsiteY4" fmla="*/ 2923420 h 2923420"/>
              <a:gd name="connsiteX5" fmla="*/ 0 w 6568576"/>
              <a:gd name="connsiteY5"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567221 w 6568576"/>
              <a:gd name="connsiteY3" fmla="*/ 2781180 h 2923420"/>
              <a:gd name="connsiteX4" fmla="*/ 35695 w 6568576"/>
              <a:gd name="connsiteY4" fmla="*/ 2923420 h 2923420"/>
              <a:gd name="connsiteX5" fmla="*/ 0 w 6568576"/>
              <a:gd name="connsiteY5"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993941 w 6568576"/>
              <a:gd name="connsiteY3" fmla="*/ 2577980 h 2923420"/>
              <a:gd name="connsiteX4" fmla="*/ 35695 w 6568576"/>
              <a:gd name="connsiteY4" fmla="*/ 2923420 h 2923420"/>
              <a:gd name="connsiteX5" fmla="*/ 0 w 6568576"/>
              <a:gd name="connsiteY5"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993941 w 6568576"/>
              <a:gd name="connsiteY3" fmla="*/ 2577980 h 2923420"/>
              <a:gd name="connsiteX4" fmla="*/ 553855 w 6568576"/>
              <a:gd name="connsiteY4" fmla="*/ 2740540 h 2923420"/>
              <a:gd name="connsiteX5" fmla="*/ 35695 w 6568576"/>
              <a:gd name="connsiteY5" fmla="*/ 2923420 h 2923420"/>
              <a:gd name="connsiteX6" fmla="*/ 0 w 6568576"/>
              <a:gd name="connsiteY6"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993941 w 6568576"/>
              <a:gd name="connsiteY3" fmla="*/ 2577980 h 2923420"/>
              <a:gd name="connsiteX4" fmla="*/ 533535 w 6568576"/>
              <a:gd name="connsiteY4" fmla="*/ 2842140 h 2923420"/>
              <a:gd name="connsiteX5" fmla="*/ 35695 w 6568576"/>
              <a:gd name="connsiteY5" fmla="*/ 2923420 h 2923420"/>
              <a:gd name="connsiteX6" fmla="*/ 0 w 6568576"/>
              <a:gd name="connsiteY6"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1156501 w 6568576"/>
              <a:gd name="connsiteY3" fmla="*/ 2628780 h 2923420"/>
              <a:gd name="connsiteX4" fmla="*/ 533535 w 6568576"/>
              <a:gd name="connsiteY4" fmla="*/ 2842140 h 2923420"/>
              <a:gd name="connsiteX5" fmla="*/ 35695 w 6568576"/>
              <a:gd name="connsiteY5" fmla="*/ 2923420 h 2923420"/>
              <a:gd name="connsiteX6" fmla="*/ 0 w 6568576"/>
              <a:gd name="connsiteY6"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1156501 w 6568576"/>
              <a:gd name="connsiteY3" fmla="*/ 2628780 h 2923420"/>
              <a:gd name="connsiteX4" fmla="*/ 533535 w 6568576"/>
              <a:gd name="connsiteY4" fmla="*/ 2842140 h 2923420"/>
              <a:gd name="connsiteX5" fmla="*/ 35695 w 6568576"/>
              <a:gd name="connsiteY5" fmla="*/ 2923420 h 2923420"/>
              <a:gd name="connsiteX6" fmla="*/ 0 w 6568576"/>
              <a:gd name="connsiteY6"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1156501 w 6568576"/>
              <a:gd name="connsiteY3" fmla="*/ 2628780 h 2923420"/>
              <a:gd name="connsiteX4" fmla="*/ 35695 w 6568576"/>
              <a:gd name="connsiteY4" fmla="*/ 2923420 h 2923420"/>
              <a:gd name="connsiteX5" fmla="*/ 0 w 6568576"/>
              <a:gd name="connsiteY5"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35695 w 6568576"/>
              <a:gd name="connsiteY3" fmla="*/ 2923420 h 2923420"/>
              <a:gd name="connsiteX4" fmla="*/ 0 w 6568576"/>
              <a:gd name="connsiteY4" fmla="*/ 2171580 h 2923420"/>
              <a:gd name="connsiteX0" fmla="*/ 0 w 7797936"/>
              <a:gd name="connsiteY0" fmla="*/ 2171580 h 2923420"/>
              <a:gd name="connsiteX1" fmla="*/ 5869275 w 7797936"/>
              <a:gd name="connsiteY1" fmla="*/ 0 h 2923420"/>
              <a:gd name="connsiteX2" fmla="*/ 7797936 w 7797936"/>
              <a:gd name="connsiteY2" fmla="*/ 274320 h 2923420"/>
              <a:gd name="connsiteX3" fmla="*/ 35695 w 7797936"/>
              <a:gd name="connsiteY3" fmla="*/ 2923420 h 2923420"/>
              <a:gd name="connsiteX4" fmla="*/ 0 w 7797936"/>
              <a:gd name="connsiteY4" fmla="*/ 2171580 h 2923420"/>
              <a:gd name="connsiteX0" fmla="*/ 0 w 7797936"/>
              <a:gd name="connsiteY0" fmla="*/ 2293500 h 3045340"/>
              <a:gd name="connsiteX1" fmla="*/ 6803995 w 7797936"/>
              <a:gd name="connsiteY1" fmla="*/ 0 h 3045340"/>
              <a:gd name="connsiteX2" fmla="*/ 7797936 w 7797936"/>
              <a:gd name="connsiteY2" fmla="*/ 396240 h 3045340"/>
              <a:gd name="connsiteX3" fmla="*/ 35695 w 7797936"/>
              <a:gd name="connsiteY3" fmla="*/ 3045340 h 3045340"/>
              <a:gd name="connsiteX4" fmla="*/ 0 w 7797936"/>
              <a:gd name="connsiteY4" fmla="*/ 2293500 h 3045340"/>
              <a:gd name="connsiteX0" fmla="*/ 0 w 7797936"/>
              <a:gd name="connsiteY0" fmla="*/ 2283340 h 3035180"/>
              <a:gd name="connsiteX1" fmla="*/ 7098635 w 7797936"/>
              <a:gd name="connsiteY1" fmla="*/ 0 h 3035180"/>
              <a:gd name="connsiteX2" fmla="*/ 7797936 w 7797936"/>
              <a:gd name="connsiteY2" fmla="*/ 386080 h 3035180"/>
              <a:gd name="connsiteX3" fmla="*/ 35695 w 7797936"/>
              <a:gd name="connsiteY3" fmla="*/ 3035180 h 3035180"/>
              <a:gd name="connsiteX4" fmla="*/ 0 w 7797936"/>
              <a:gd name="connsiteY4" fmla="*/ 2283340 h 3035180"/>
              <a:gd name="connsiteX0" fmla="*/ 0 w 7797936"/>
              <a:gd name="connsiteY0" fmla="*/ 3553340 h 4305180"/>
              <a:gd name="connsiteX1" fmla="*/ 3949035 w 7797936"/>
              <a:gd name="connsiteY1" fmla="*/ 0 h 4305180"/>
              <a:gd name="connsiteX2" fmla="*/ 7797936 w 7797936"/>
              <a:gd name="connsiteY2" fmla="*/ 1656080 h 4305180"/>
              <a:gd name="connsiteX3" fmla="*/ 35695 w 7797936"/>
              <a:gd name="connsiteY3" fmla="*/ 4305180 h 4305180"/>
              <a:gd name="connsiteX4" fmla="*/ 0 w 7797936"/>
              <a:gd name="connsiteY4" fmla="*/ 3553340 h 4305180"/>
              <a:gd name="connsiteX0" fmla="*/ 0 w 5400176"/>
              <a:gd name="connsiteY0" fmla="*/ 3553340 h 4305180"/>
              <a:gd name="connsiteX1" fmla="*/ 3949035 w 5400176"/>
              <a:gd name="connsiteY1" fmla="*/ 0 h 4305180"/>
              <a:gd name="connsiteX2" fmla="*/ 5400176 w 5400176"/>
              <a:gd name="connsiteY2" fmla="*/ 233680 h 4305180"/>
              <a:gd name="connsiteX3" fmla="*/ 35695 w 5400176"/>
              <a:gd name="connsiteY3" fmla="*/ 4305180 h 4305180"/>
              <a:gd name="connsiteX4" fmla="*/ 0 w 5400176"/>
              <a:gd name="connsiteY4" fmla="*/ 3553340 h 4305180"/>
              <a:gd name="connsiteX0" fmla="*/ 0 w 5838795"/>
              <a:gd name="connsiteY0" fmla="*/ 3726060 h 4477900"/>
              <a:gd name="connsiteX1" fmla="*/ 5838795 w 5838795"/>
              <a:gd name="connsiteY1" fmla="*/ 0 h 4477900"/>
              <a:gd name="connsiteX2" fmla="*/ 5400176 w 5838795"/>
              <a:gd name="connsiteY2" fmla="*/ 406400 h 4477900"/>
              <a:gd name="connsiteX3" fmla="*/ 35695 w 5838795"/>
              <a:gd name="connsiteY3" fmla="*/ 4477900 h 4477900"/>
              <a:gd name="connsiteX4" fmla="*/ 0 w 5838795"/>
              <a:gd name="connsiteY4" fmla="*/ 3726060 h 4477900"/>
              <a:gd name="connsiteX0" fmla="*/ 0 w 6781936"/>
              <a:gd name="connsiteY0" fmla="*/ 3726060 h 4477900"/>
              <a:gd name="connsiteX1" fmla="*/ 5838795 w 6781936"/>
              <a:gd name="connsiteY1" fmla="*/ 0 h 4477900"/>
              <a:gd name="connsiteX2" fmla="*/ 6781936 w 6781936"/>
              <a:gd name="connsiteY2" fmla="*/ 81280 h 4477900"/>
              <a:gd name="connsiteX3" fmla="*/ 35695 w 6781936"/>
              <a:gd name="connsiteY3" fmla="*/ 4477900 h 4477900"/>
              <a:gd name="connsiteX4" fmla="*/ 0 w 6781936"/>
              <a:gd name="connsiteY4" fmla="*/ 3726060 h 4477900"/>
              <a:gd name="connsiteX0" fmla="*/ 0 w 6781936"/>
              <a:gd name="connsiteY0" fmla="*/ 3726060 h 4427100"/>
              <a:gd name="connsiteX1" fmla="*/ 5838795 w 6781936"/>
              <a:gd name="connsiteY1" fmla="*/ 0 h 4427100"/>
              <a:gd name="connsiteX2" fmla="*/ 6781936 w 6781936"/>
              <a:gd name="connsiteY2" fmla="*/ 81280 h 4427100"/>
              <a:gd name="connsiteX3" fmla="*/ 1569855 w 6781936"/>
              <a:gd name="connsiteY3" fmla="*/ 4427100 h 4427100"/>
              <a:gd name="connsiteX4" fmla="*/ 0 w 6781936"/>
              <a:gd name="connsiteY4" fmla="*/ 3726060 h 4427100"/>
              <a:gd name="connsiteX0" fmla="*/ 0 w 6781936"/>
              <a:gd name="connsiteY0" fmla="*/ 3726060 h 4427100"/>
              <a:gd name="connsiteX1" fmla="*/ 5838795 w 6781936"/>
              <a:gd name="connsiteY1" fmla="*/ 0 h 4427100"/>
              <a:gd name="connsiteX2" fmla="*/ 6781936 w 6781936"/>
              <a:gd name="connsiteY2" fmla="*/ 81280 h 4427100"/>
              <a:gd name="connsiteX3" fmla="*/ 1569855 w 6781936"/>
              <a:gd name="connsiteY3" fmla="*/ 4427100 h 4427100"/>
              <a:gd name="connsiteX4" fmla="*/ 645294 w 6781936"/>
              <a:gd name="connsiteY4" fmla="*/ 4041020 h 4427100"/>
              <a:gd name="connsiteX5" fmla="*/ 0 w 6781936"/>
              <a:gd name="connsiteY5" fmla="*/ 3726060 h 4427100"/>
              <a:gd name="connsiteX0" fmla="*/ 4946 w 6786882"/>
              <a:gd name="connsiteY0" fmla="*/ 3726060 h 4427100"/>
              <a:gd name="connsiteX1" fmla="*/ 5843741 w 6786882"/>
              <a:gd name="connsiteY1" fmla="*/ 0 h 4427100"/>
              <a:gd name="connsiteX2" fmla="*/ 6786882 w 6786882"/>
              <a:gd name="connsiteY2" fmla="*/ 81280 h 4427100"/>
              <a:gd name="connsiteX3" fmla="*/ 1574801 w 6786882"/>
              <a:gd name="connsiteY3" fmla="*/ 4427100 h 4427100"/>
              <a:gd name="connsiteX4" fmla="*/ 0 w 6786882"/>
              <a:gd name="connsiteY4" fmla="*/ 4386460 h 4427100"/>
              <a:gd name="connsiteX5" fmla="*/ 4946 w 6786882"/>
              <a:gd name="connsiteY5" fmla="*/ 3726060 h 44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86882" h="4427100">
                <a:moveTo>
                  <a:pt x="4946" y="3726060"/>
                </a:moveTo>
                <a:lnTo>
                  <a:pt x="5843741" y="0"/>
                </a:lnTo>
                <a:lnTo>
                  <a:pt x="6786882" y="81280"/>
                </a:lnTo>
                <a:lnTo>
                  <a:pt x="1574801" y="4427100"/>
                </a:lnTo>
                <a:lnTo>
                  <a:pt x="0" y="4386460"/>
                </a:lnTo>
                <a:cubicBezTo>
                  <a:pt x="1649" y="4166327"/>
                  <a:pt x="3297" y="3946193"/>
                  <a:pt x="4946" y="3726060"/>
                </a:cubicBezTo>
                <a:close/>
              </a:path>
            </a:pathLst>
          </a:cu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15" name="Picture 114" descr="A picture containing computer, computer, light&#10;&#10;Description automatically generated">
            <a:extLst>
              <a:ext uri="{FF2B5EF4-FFF2-40B4-BE49-F238E27FC236}">
                <a16:creationId xmlns:a16="http://schemas.microsoft.com/office/drawing/2014/main" id="{B57A2630-6C4B-4C51-8E60-2BFDD04709FA}"/>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6995192" y="1702077"/>
            <a:ext cx="627737" cy="1085105"/>
          </a:xfrm>
          <a:prstGeom prst="rect">
            <a:avLst/>
          </a:prstGeom>
        </p:spPr>
      </p:pic>
      <p:cxnSp>
        <p:nvCxnSpPr>
          <p:cNvPr id="7" name="Straight Connector 6">
            <a:extLst>
              <a:ext uri="{FF2B5EF4-FFF2-40B4-BE49-F238E27FC236}">
                <a16:creationId xmlns:a16="http://schemas.microsoft.com/office/drawing/2014/main" id="{AA377E8B-C4B3-4E50-8C4B-E656A82E83C5}"/>
              </a:ext>
            </a:extLst>
          </p:cNvPr>
          <p:cNvCxnSpPr>
            <a:cxnSpLocks/>
          </p:cNvCxnSpPr>
          <p:nvPr/>
        </p:nvCxnSpPr>
        <p:spPr>
          <a:xfrm flipV="1">
            <a:off x="295102" y="2459996"/>
            <a:ext cx="5932978" cy="4398004"/>
          </a:xfrm>
          <a:prstGeom prst="line">
            <a:avLst/>
          </a:prstGeom>
          <a:ln w="19050">
            <a:solidFill>
              <a:schemeClr val="accent4"/>
            </a:solidFill>
            <a:prstDash val="lgDash"/>
          </a:ln>
        </p:spPr>
        <p:style>
          <a:lnRef idx="1">
            <a:schemeClr val="accent1"/>
          </a:lnRef>
          <a:fillRef idx="0">
            <a:schemeClr val="accent1"/>
          </a:fillRef>
          <a:effectRef idx="0">
            <a:schemeClr val="accent1"/>
          </a:effectRef>
          <a:fontRef idx="minor">
            <a:schemeClr val="tx1"/>
          </a:fontRef>
        </p:style>
      </p:cxnSp>
      <p:pic>
        <p:nvPicPr>
          <p:cNvPr id="124" name="Picture 123" descr="A picture containing computer, computer, light&#10;&#10;Description automatically generated">
            <a:extLst>
              <a:ext uri="{FF2B5EF4-FFF2-40B4-BE49-F238E27FC236}">
                <a16:creationId xmlns:a16="http://schemas.microsoft.com/office/drawing/2014/main" id="{DF16640E-B077-4189-A5C3-9784722E5A45}"/>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398318" y="1598467"/>
            <a:ext cx="674415" cy="1165792"/>
          </a:xfrm>
          <a:prstGeom prst="rect">
            <a:avLst/>
          </a:prstGeom>
        </p:spPr>
      </p:pic>
      <p:pic>
        <p:nvPicPr>
          <p:cNvPr id="126" name="Picture 125" descr="A picture containing computer, computer, light&#10;&#10;Description automatically generated">
            <a:extLst>
              <a:ext uri="{FF2B5EF4-FFF2-40B4-BE49-F238E27FC236}">
                <a16:creationId xmlns:a16="http://schemas.microsoft.com/office/drawing/2014/main" id="{F79415B4-BDCF-49B1-8DBF-0D2ADE6BD51B}"/>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69510" y="3010020"/>
            <a:ext cx="940269" cy="1625347"/>
          </a:xfrm>
          <a:prstGeom prst="rect">
            <a:avLst/>
          </a:prstGeom>
        </p:spPr>
      </p:pic>
      <p:pic>
        <p:nvPicPr>
          <p:cNvPr id="127" name="Picture 126" descr="A picture containing computer, computer, light&#10;&#10;Description automatically generated">
            <a:extLst>
              <a:ext uri="{FF2B5EF4-FFF2-40B4-BE49-F238E27FC236}">
                <a16:creationId xmlns:a16="http://schemas.microsoft.com/office/drawing/2014/main" id="{C1DC63B3-FA72-423B-8864-2D48F1729415}"/>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408907" y="3277571"/>
            <a:ext cx="971879" cy="1679988"/>
          </a:xfrm>
          <a:prstGeom prst="rect">
            <a:avLst/>
          </a:prstGeom>
        </p:spPr>
      </p:pic>
      <p:pic>
        <p:nvPicPr>
          <p:cNvPr id="128" name="Picture 127" descr="A picture containing computer, computer, light&#10;&#10;Description automatically generated">
            <a:extLst>
              <a:ext uri="{FF2B5EF4-FFF2-40B4-BE49-F238E27FC236}">
                <a16:creationId xmlns:a16="http://schemas.microsoft.com/office/drawing/2014/main" id="{87F12EF8-A90E-46CB-AF84-9D5DC7086D6F}"/>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3977672" y="1834157"/>
            <a:ext cx="627737" cy="1085105"/>
          </a:xfrm>
          <a:prstGeom prst="rect">
            <a:avLst/>
          </a:prstGeom>
        </p:spPr>
      </p:pic>
      <p:pic>
        <p:nvPicPr>
          <p:cNvPr id="200" name="Picture 199" descr="A picture containing computer, computer, light&#10;&#10;Description automatically generated">
            <a:extLst>
              <a:ext uri="{FF2B5EF4-FFF2-40B4-BE49-F238E27FC236}">
                <a16:creationId xmlns:a16="http://schemas.microsoft.com/office/drawing/2014/main" id="{9A9936B7-41D2-427B-B3AC-5E657AD15931}"/>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408907" y="3277571"/>
            <a:ext cx="971879" cy="1679988"/>
          </a:xfrm>
          <a:prstGeom prst="rect">
            <a:avLst/>
          </a:prstGeom>
        </p:spPr>
      </p:pic>
      <p:sp>
        <p:nvSpPr>
          <p:cNvPr id="214" name="Freeform: Shape 213">
            <a:extLst>
              <a:ext uri="{FF2B5EF4-FFF2-40B4-BE49-F238E27FC236}">
                <a16:creationId xmlns:a16="http://schemas.microsoft.com/office/drawing/2014/main" id="{376EFEDE-6E0D-4B5B-AFE6-718F85FB1EE6}"/>
              </a:ext>
            </a:extLst>
          </p:cNvPr>
          <p:cNvSpPr/>
          <p:nvPr/>
        </p:nvSpPr>
        <p:spPr>
          <a:xfrm>
            <a:off x="-27555" y="2430900"/>
            <a:ext cx="5390622" cy="537029"/>
          </a:xfrm>
          <a:custGeom>
            <a:avLst/>
            <a:gdLst>
              <a:gd name="connsiteX0" fmla="*/ 217714 w 12554857"/>
              <a:gd name="connsiteY0" fmla="*/ 217715 h 537029"/>
              <a:gd name="connsiteX1" fmla="*/ 304800 w 12554857"/>
              <a:gd name="connsiteY1" fmla="*/ 130629 h 537029"/>
              <a:gd name="connsiteX2" fmla="*/ 348343 w 12554857"/>
              <a:gd name="connsiteY2" fmla="*/ 145143 h 537029"/>
              <a:gd name="connsiteX3" fmla="*/ 435428 w 12554857"/>
              <a:gd name="connsiteY3" fmla="*/ 101600 h 537029"/>
              <a:gd name="connsiteX4" fmla="*/ 478971 w 12554857"/>
              <a:gd name="connsiteY4" fmla="*/ 72572 h 537029"/>
              <a:gd name="connsiteX5" fmla="*/ 566057 w 12554857"/>
              <a:gd name="connsiteY5" fmla="*/ 87086 h 537029"/>
              <a:gd name="connsiteX6" fmla="*/ 609600 w 12554857"/>
              <a:gd name="connsiteY6" fmla="*/ 116115 h 537029"/>
              <a:gd name="connsiteX7" fmla="*/ 667657 w 12554857"/>
              <a:gd name="connsiteY7" fmla="*/ 130629 h 537029"/>
              <a:gd name="connsiteX8" fmla="*/ 754743 w 12554857"/>
              <a:gd name="connsiteY8" fmla="*/ 116115 h 537029"/>
              <a:gd name="connsiteX9" fmla="*/ 812800 w 12554857"/>
              <a:gd name="connsiteY9" fmla="*/ 87086 h 537029"/>
              <a:gd name="connsiteX10" fmla="*/ 856343 w 12554857"/>
              <a:gd name="connsiteY10" fmla="*/ 72572 h 537029"/>
              <a:gd name="connsiteX11" fmla="*/ 1016000 w 12554857"/>
              <a:gd name="connsiteY11" fmla="*/ 116115 h 537029"/>
              <a:gd name="connsiteX12" fmla="*/ 1103086 w 12554857"/>
              <a:gd name="connsiteY12" fmla="*/ 159657 h 537029"/>
              <a:gd name="connsiteX13" fmla="*/ 1146628 w 12554857"/>
              <a:gd name="connsiteY13" fmla="*/ 188686 h 537029"/>
              <a:gd name="connsiteX14" fmla="*/ 1190171 w 12554857"/>
              <a:gd name="connsiteY14" fmla="*/ 101600 h 537029"/>
              <a:gd name="connsiteX15" fmla="*/ 1233714 w 12554857"/>
              <a:gd name="connsiteY15" fmla="*/ 72572 h 537029"/>
              <a:gd name="connsiteX16" fmla="*/ 1451428 w 12554857"/>
              <a:gd name="connsiteY16" fmla="*/ 145143 h 537029"/>
              <a:gd name="connsiteX17" fmla="*/ 1524000 w 12554857"/>
              <a:gd name="connsiteY17" fmla="*/ 58057 h 537029"/>
              <a:gd name="connsiteX18" fmla="*/ 1567543 w 12554857"/>
              <a:gd name="connsiteY18" fmla="*/ 43543 h 537029"/>
              <a:gd name="connsiteX19" fmla="*/ 1640114 w 12554857"/>
              <a:gd name="connsiteY19" fmla="*/ 130629 h 537029"/>
              <a:gd name="connsiteX20" fmla="*/ 1727200 w 12554857"/>
              <a:gd name="connsiteY20" fmla="*/ 116115 h 537029"/>
              <a:gd name="connsiteX21" fmla="*/ 1886857 w 12554857"/>
              <a:gd name="connsiteY21" fmla="*/ 87086 h 537029"/>
              <a:gd name="connsiteX22" fmla="*/ 1973943 w 12554857"/>
              <a:gd name="connsiteY22" fmla="*/ 101600 h 537029"/>
              <a:gd name="connsiteX23" fmla="*/ 2017486 w 12554857"/>
              <a:gd name="connsiteY23" fmla="*/ 116115 h 537029"/>
              <a:gd name="connsiteX24" fmla="*/ 2061028 w 12554857"/>
              <a:gd name="connsiteY24" fmla="*/ 101600 h 537029"/>
              <a:gd name="connsiteX25" fmla="*/ 2119086 w 12554857"/>
              <a:gd name="connsiteY25" fmla="*/ 130629 h 537029"/>
              <a:gd name="connsiteX26" fmla="*/ 2162628 w 12554857"/>
              <a:gd name="connsiteY26" fmla="*/ 159657 h 537029"/>
              <a:gd name="connsiteX27" fmla="*/ 2307771 w 12554857"/>
              <a:gd name="connsiteY27" fmla="*/ 130629 h 537029"/>
              <a:gd name="connsiteX28" fmla="*/ 2452914 w 12554857"/>
              <a:gd name="connsiteY28" fmla="*/ 101600 h 537029"/>
              <a:gd name="connsiteX29" fmla="*/ 2540000 w 12554857"/>
              <a:gd name="connsiteY29" fmla="*/ 116115 h 537029"/>
              <a:gd name="connsiteX30" fmla="*/ 2554514 w 12554857"/>
              <a:gd name="connsiteY30" fmla="*/ 72572 h 537029"/>
              <a:gd name="connsiteX31" fmla="*/ 2598057 w 12554857"/>
              <a:gd name="connsiteY31" fmla="*/ 58057 h 537029"/>
              <a:gd name="connsiteX32" fmla="*/ 2714171 w 12554857"/>
              <a:gd name="connsiteY32" fmla="*/ 101600 h 537029"/>
              <a:gd name="connsiteX33" fmla="*/ 2757714 w 12554857"/>
              <a:gd name="connsiteY33" fmla="*/ 145143 h 537029"/>
              <a:gd name="connsiteX34" fmla="*/ 2830286 w 12554857"/>
              <a:gd name="connsiteY34" fmla="*/ 72572 h 537029"/>
              <a:gd name="connsiteX35" fmla="*/ 2902857 w 12554857"/>
              <a:gd name="connsiteY35" fmla="*/ 87086 h 537029"/>
              <a:gd name="connsiteX36" fmla="*/ 2989943 w 12554857"/>
              <a:gd name="connsiteY36" fmla="*/ 130629 h 537029"/>
              <a:gd name="connsiteX37" fmla="*/ 3062514 w 12554857"/>
              <a:gd name="connsiteY37" fmla="*/ 116115 h 537029"/>
              <a:gd name="connsiteX38" fmla="*/ 3120571 w 12554857"/>
              <a:gd name="connsiteY38" fmla="*/ 87086 h 537029"/>
              <a:gd name="connsiteX39" fmla="*/ 3352800 w 12554857"/>
              <a:gd name="connsiteY39" fmla="*/ 87086 h 537029"/>
              <a:gd name="connsiteX40" fmla="*/ 3512457 w 12554857"/>
              <a:gd name="connsiteY40" fmla="*/ 87086 h 537029"/>
              <a:gd name="connsiteX41" fmla="*/ 3556000 w 12554857"/>
              <a:gd name="connsiteY41" fmla="*/ 116115 h 537029"/>
              <a:gd name="connsiteX42" fmla="*/ 3599543 w 12554857"/>
              <a:gd name="connsiteY42" fmla="*/ 130629 h 537029"/>
              <a:gd name="connsiteX43" fmla="*/ 3730171 w 12554857"/>
              <a:gd name="connsiteY43" fmla="*/ 58057 h 537029"/>
              <a:gd name="connsiteX44" fmla="*/ 3788228 w 12554857"/>
              <a:gd name="connsiteY44" fmla="*/ 72572 h 537029"/>
              <a:gd name="connsiteX45" fmla="*/ 3889828 w 12554857"/>
              <a:gd name="connsiteY45" fmla="*/ 130629 h 537029"/>
              <a:gd name="connsiteX46" fmla="*/ 3933371 w 12554857"/>
              <a:gd name="connsiteY46" fmla="*/ 174172 h 537029"/>
              <a:gd name="connsiteX47" fmla="*/ 3991428 w 12554857"/>
              <a:gd name="connsiteY47" fmla="*/ 130629 h 537029"/>
              <a:gd name="connsiteX48" fmla="*/ 4034971 w 12554857"/>
              <a:gd name="connsiteY48" fmla="*/ 101600 h 537029"/>
              <a:gd name="connsiteX49" fmla="*/ 4093028 w 12554857"/>
              <a:gd name="connsiteY49" fmla="*/ 116115 h 537029"/>
              <a:gd name="connsiteX50" fmla="*/ 4209143 w 12554857"/>
              <a:gd name="connsiteY50" fmla="*/ 116115 h 537029"/>
              <a:gd name="connsiteX51" fmla="*/ 4296228 w 12554857"/>
              <a:gd name="connsiteY51" fmla="*/ 87086 h 537029"/>
              <a:gd name="connsiteX52" fmla="*/ 4339771 w 12554857"/>
              <a:gd name="connsiteY52" fmla="*/ 58057 h 537029"/>
              <a:gd name="connsiteX53" fmla="*/ 4470400 w 12554857"/>
              <a:gd name="connsiteY53" fmla="*/ 87086 h 537029"/>
              <a:gd name="connsiteX54" fmla="*/ 4484914 w 12554857"/>
              <a:gd name="connsiteY54" fmla="*/ 29029 h 537029"/>
              <a:gd name="connsiteX55" fmla="*/ 4586514 w 12554857"/>
              <a:gd name="connsiteY55" fmla="*/ 58057 h 537029"/>
              <a:gd name="connsiteX56" fmla="*/ 4615543 w 12554857"/>
              <a:gd name="connsiteY56" fmla="*/ 101600 h 537029"/>
              <a:gd name="connsiteX57" fmla="*/ 4659086 w 12554857"/>
              <a:gd name="connsiteY57" fmla="*/ 130629 h 537029"/>
              <a:gd name="connsiteX58" fmla="*/ 4673600 w 12554857"/>
              <a:gd name="connsiteY58" fmla="*/ 174172 h 537029"/>
              <a:gd name="connsiteX59" fmla="*/ 4746171 w 12554857"/>
              <a:gd name="connsiteY59" fmla="*/ 159657 h 537029"/>
              <a:gd name="connsiteX60" fmla="*/ 4833257 w 12554857"/>
              <a:gd name="connsiteY60" fmla="*/ 130629 h 537029"/>
              <a:gd name="connsiteX61" fmla="*/ 4978400 w 12554857"/>
              <a:gd name="connsiteY61" fmla="*/ 145143 h 537029"/>
              <a:gd name="connsiteX62" fmla="*/ 5021943 w 12554857"/>
              <a:gd name="connsiteY62" fmla="*/ 174172 h 537029"/>
              <a:gd name="connsiteX63" fmla="*/ 5268686 w 12554857"/>
              <a:gd name="connsiteY63" fmla="*/ 159657 h 537029"/>
              <a:gd name="connsiteX64" fmla="*/ 5312228 w 12554857"/>
              <a:gd name="connsiteY64" fmla="*/ 130629 h 537029"/>
              <a:gd name="connsiteX65" fmla="*/ 5442857 w 12554857"/>
              <a:gd name="connsiteY65" fmla="*/ 188686 h 537029"/>
              <a:gd name="connsiteX66" fmla="*/ 5500914 w 12554857"/>
              <a:gd name="connsiteY66" fmla="*/ 174172 h 537029"/>
              <a:gd name="connsiteX67" fmla="*/ 5529943 w 12554857"/>
              <a:gd name="connsiteY67" fmla="*/ 130629 h 537029"/>
              <a:gd name="connsiteX68" fmla="*/ 5631543 w 12554857"/>
              <a:gd name="connsiteY68" fmla="*/ 116115 h 537029"/>
              <a:gd name="connsiteX69" fmla="*/ 5718628 w 12554857"/>
              <a:gd name="connsiteY69" fmla="*/ 130629 h 537029"/>
              <a:gd name="connsiteX70" fmla="*/ 5762171 w 12554857"/>
              <a:gd name="connsiteY70" fmla="*/ 159657 h 537029"/>
              <a:gd name="connsiteX71" fmla="*/ 5878286 w 12554857"/>
              <a:gd name="connsiteY71" fmla="*/ 174172 h 537029"/>
              <a:gd name="connsiteX72" fmla="*/ 6023428 w 12554857"/>
              <a:gd name="connsiteY72" fmla="*/ 159657 h 537029"/>
              <a:gd name="connsiteX73" fmla="*/ 6066971 w 12554857"/>
              <a:gd name="connsiteY73" fmla="*/ 174172 h 537029"/>
              <a:gd name="connsiteX74" fmla="*/ 6197600 w 12554857"/>
              <a:gd name="connsiteY74" fmla="*/ 130629 h 537029"/>
              <a:gd name="connsiteX75" fmla="*/ 6241143 w 12554857"/>
              <a:gd name="connsiteY75" fmla="*/ 116115 h 537029"/>
              <a:gd name="connsiteX76" fmla="*/ 6458857 w 12554857"/>
              <a:gd name="connsiteY76" fmla="*/ 72572 h 537029"/>
              <a:gd name="connsiteX77" fmla="*/ 6531428 w 12554857"/>
              <a:gd name="connsiteY77" fmla="*/ 43543 h 537029"/>
              <a:gd name="connsiteX78" fmla="*/ 6618514 w 12554857"/>
              <a:gd name="connsiteY78" fmla="*/ 0 h 537029"/>
              <a:gd name="connsiteX79" fmla="*/ 6705600 w 12554857"/>
              <a:gd name="connsiteY79" fmla="*/ 58057 h 537029"/>
              <a:gd name="connsiteX80" fmla="*/ 6792686 w 12554857"/>
              <a:gd name="connsiteY80" fmla="*/ 116115 h 537029"/>
              <a:gd name="connsiteX81" fmla="*/ 6836228 w 12554857"/>
              <a:gd name="connsiteY81" fmla="*/ 145143 h 537029"/>
              <a:gd name="connsiteX82" fmla="*/ 6894286 w 12554857"/>
              <a:gd name="connsiteY82" fmla="*/ 130629 h 537029"/>
              <a:gd name="connsiteX83" fmla="*/ 6952343 w 12554857"/>
              <a:gd name="connsiteY83" fmla="*/ 101600 h 537029"/>
              <a:gd name="connsiteX84" fmla="*/ 6995886 w 12554857"/>
              <a:gd name="connsiteY84" fmla="*/ 87086 h 537029"/>
              <a:gd name="connsiteX85" fmla="*/ 7082971 w 12554857"/>
              <a:gd name="connsiteY85" fmla="*/ 101600 h 537029"/>
              <a:gd name="connsiteX86" fmla="*/ 7126514 w 12554857"/>
              <a:gd name="connsiteY86" fmla="*/ 130629 h 537029"/>
              <a:gd name="connsiteX87" fmla="*/ 7184571 w 12554857"/>
              <a:gd name="connsiteY87" fmla="*/ 72572 h 537029"/>
              <a:gd name="connsiteX88" fmla="*/ 7242628 w 12554857"/>
              <a:gd name="connsiteY88" fmla="*/ 58057 h 537029"/>
              <a:gd name="connsiteX89" fmla="*/ 7286171 w 12554857"/>
              <a:gd name="connsiteY89" fmla="*/ 101600 h 537029"/>
              <a:gd name="connsiteX90" fmla="*/ 7315200 w 12554857"/>
              <a:gd name="connsiteY90" fmla="*/ 145143 h 537029"/>
              <a:gd name="connsiteX91" fmla="*/ 7373257 w 12554857"/>
              <a:gd name="connsiteY91" fmla="*/ 116115 h 537029"/>
              <a:gd name="connsiteX92" fmla="*/ 7416800 w 12554857"/>
              <a:gd name="connsiteY92" fmla="*/ 101600 h 537029"/>
              <a:gd name="connsiteX93" fmla="*/ 7503886 w 12554857"/>
              <a:gd name="connsiteY93" fmla="*/ 130629 h 537029"/>
              <a:gd name="connsiteX94" fmla="*/ 7590971 w 12554857"/>
              <a:gd name="connsiteY94" fmla="*/ 159657 h 537029"/>
              <a:gd name="connsiteX95" fmla="*/ 7663543 w 12554857"/>
              <a:gd name="connsiteY95" fmla="*/ 174172 h 537029"/>
              <a:gd name="connsiteX96" fmla="*/ 7707086 w 12554857"/>
              <a:gd name="connsiteY96" fmla="*/ 145143 h 537029"/>
              <a:gd name="connsiteX97" fmla="*/ 7823200 w 12554857"/>
              <a:gd name="connsiteY97" fmla="*/ 203200 h 537029"/>
              <a:gd name="connsiteX98" fmla="*/ 7866743 w 12554857"/>
              <a:gd name="connsiteY98" fmla="*/ 159657 h 537029"/>
              <a:gd name="connsiteX99" fmla="*/ 7924800 w 12554857"/>
              <a:gd name="connsiteY99" fmla="*/ 145143 h 537029"/>
              <a:gd name="connsiteX100" fmla="*/ 7953828 w 12554857"/>
              <a:gd name="connsiteY100" fmla="*/ 188686 h 537029"/>
              <a:gd name="connsiteX101" fmla="*/ 8084457 w 12554857"/>
              <a:gd name="connsiteY101" fmla="*/ 217715 h 537029"/>
              <a:gd name="connsiteX102" fmla="*/ 8128000 w 12554857"/>
              <a:gd name="connsiteY102" fmla="*/ 275772 h 537029"/>
              <a:gd name="connsiteX103" fmla="*/ 8171543 w 12554857"/>
              <a:gd name="connsiteY103" fmla="*/ 246743 h 537029"/>
              <a:gd name="connsiteX104" fmla="*/ 8215086 w 12554857"/>
              <a:gd name="connsiteY104" fmla="*/ 290286 h 537029"/>
              <a:gd name="connsiteX105" fmla="*/ 8229600 w 12554857"/>
              <a:gd name="connsiteY105" fmla="*/ 246743 h 537029"/>
              <a:gd name="connsiteX106" fmla="*/ 8360228 w 12554857"/>
              <a:gd name="connsiteY106" fmla="*/ 130629 h 537029"/>
              <a:gd name="connsiteX107" fmla="*/ 8403771 w 12554857"/>
              <a:gd name="connsiteY107" fmla="*/ 145143 h 537029"/>
              <a:gd name="connsiteX108" fmla="*/ 8476343 w 12554857"/>
              <a:gd name="connsiteY108" fmla="*/ 232229 h 537029"/>
              <a:gd name="connsiteX109" fmla="*/ 8534400 w 12554857"/>
              <a:gd name="connsiteY109" fmla="*/ 159657 h 537029"/>
              <a:gd name="connsiteX110" fmla="*/ 8563428 w 12554857"/>
              <a:gd name="connsiteY110" fmla="*/ 203200 h 537029"/>
              <a:gd name="connsiteX111" fmla="*/ 8636000 w 12554857"/>
              <a:gd name="connsiteY111" fmla="*/ 145143 h 537029"/>
              <a:gd name="connsiteX112" fmla="*/ 8737600 w 12554857"/>
              <a:gd name="connsiteY112" fmla="*/ 101600 h 537029"/>
              <a:gd name="connsiteX113" fmla="*/ 8911771 w 12554857"/>
              <a:gd name="connsiteY113" fmla="*/ 116115 h 537029"/>
              <a:gd name="connsiteX114" fmla="*/ 8955314 w 12554857"/>
              <a:gd name="connsiteY114" fmla="*/ 159657 h 537029"/>
              <a:gd name="connsiteX115" fmla="*/ 9013371 w 12554857"/>
              <a:gd name="connsiteY115" fmla="*/ 188686 h 537029"/>
              <a:gd name="connsiteX116" fmla="*/ 9100457 w 12554857"/>
              <a:gd name="connsiteY116" fmla="*/ 174172 h 537029"/>
              <a:gd name="connsiteX117" fmla="*/ 9114971 w 12554857"/>
              <a:gd name="connsiteY117" fmla="*/ 116115 h 537029"/>
              <a:gd name="connsiteX118" fmla="*/ 9158514 w 12554857"/>
              <a:gd name="connsiteY118" fmla="*/ 101600 h 537029"/>
              <a:gd name="connsiteX119" fmla="*/ 9390743 w 12554857"/>
              <a:gd name="connsiteY119" fmla="*/ 130629 h 537029"/>
              <a:gd name="connsiteX120" fmla="*/ 9506857 w 12554857"/>
              <a:gd name="connsiteY120" fmla="*/ 101600 h 537029"/>
              <a:gd name="connsiteX121" fmla="*/ 9593943 w 12554857"/>
              <a:gd name="connsiteY121" fmla="*/ 58057 h 537029"/>
              <a:gd name="connsiteX122" fmla="*/ 9666514 w 12554857"/>
              <a:gd name="connsiteY122" fmla="*/ 87086 h 537029"/>
              <a:gd name="connsiteX123" fmla="*/ 9739086 w 12554857"/>
              <a:gd name="connsiteY123" fmla="*/ 130629 h 537029"/>
              <a:gd name="connsiteX124" fmla="*/ 9826171 w 12554857"/>
              <a:gd name="connsiteY124" fmla="*/ 174172 h 537029"/>
              <a:gd name="connsiteX125" fmla="*/ 9869714 w 12554857"/>
              <a:gd name="connsiteY125" fmla="*/ 188686 h 537029"/>
              <a:gd name="connsiteX126" fmla="*/ 9942286 w 12554857"/>
              <a:gd name="connsiteY126" fmla="*/ 174172 h 537029"/>
              <a:gd name="connsiteX127" fmla="*/ 9985828 w 12554857"/>
              <a:gd name="connsiteY127" fmla="*/ 188686 h 537029"/>
              <a:gd name="connsiteX128" fmla="*/ 10058400 w 12554857"/>
              <a:gd name="connsiteY128" fmla="*/ 159657 h 537029"/>
              <a:gd name="connsiteX129" fmla="*/ 10174514 w 12554857"/>
              <a:gd name="connsiteY129" fmla="*/ 43543 h 537029"/>
              <a:gd name="connsiteX130" fmla="*/ 10218057 w 12554857"/>
              <a:gd name="connsiteY130" fmla="*/ 29029 h 537029"/>
              <a:gd name="connsiteX131" fmla="*/ 10464800 w 12554857"/>
              <a:gd name="connsiteY131" fmla="*/ 58057 h 537029"/>
              <a:gd name="connsiteX132" fmla="*/ 10580914 w 12554857"/>
              <a:gd name="connsiteY132" fmla="*/ 72572 h 537029"/>
              <a:gd name="connsiteX133" fmla="*/ 10638971 w 12554857"/>
              <a:gd name="connsiteY133" fmla="*/ 116115 h 537029"/>
              <a:gd name="connsiteX134" fmla="*/ 10682514 w 12554857"/>
              <a:gd name="connsiteY134" fmla="*/ 72572 h 537029"/>
              <a:gd name="connsiteX135" fmla="*/ 10769600 w 12554857"/>
              <a:gd name="connsiteY135" fmla="*/ 29029 h 537029"/>
              <a:gd name="connsiteX136" fmla="*/ 10827657 w 12554857"/>
              <a:gd name="connsiteY136" fmla="*/ 58057 h 537029"/>
              <a:gd name="connsiteX137" fmla="*/ 10958286 w 12554857"/>
              <a:gd name="connsiteY137" fmla="*/ 130629 h 537029"/>
              <a:gd name="connsiteX138" fmla="*/ 11030857 w 12554857"/>
              <a:gd name="connsiteY138" fmla="*/ 116115 h 537029"/>
              <a:gd name="connsiteX139" fmla="*/ 11074400 w 12554857"/>
              <a:gd name="connsiteY139" fmla="*/ 101600 h 537029"/>
              <a:gd name="connsiteX140" fmla="*/ 11176000 w 12554857"/>
              <a:gd name="connsiteY140" fmla="*/ 130629 h 537029"/>
              <a:gd name="connsiteX141" fmla="*/ 11205028 w 12554857"/>
              <a:gd name="connsiteY141" fmla="*/ 174172 h 537029"/>
              <a:gd name="connsiteX142" fmla="*/ 11393714 w 12554857"/>
              <a:gd name="connsiteY142" fmla="*/ 116115 h 537029"/>
              <a:gd name="connsiteX143" fmla="*/ 11437257 w 12554857"/>
              <a:gd name="connsiteY143" fmla="*/ 130629 h 537029"/>
              <a:gd name="connsiteX144" fmla="*/ 11480800 w 12554857"/>
              <a:gd name="connsiteY144" fmla="*/ 159657 h 537029"/>
              <a:gd name="connsiteX145" fmla="*/ 11524343 w 12554857"/>
              <a:gd name="connsiteY145" fmla="*/ 145143 h 537029"/>
              <a:gd name="connsiteX146" fmla="*/ 11582400 w 12554857"/>
              <a:gd name="connsiteY146" fmla="*/ 159657 h 537029"/>
              <a:gd name="connsiteX147" fmla="*/ 11654971 w 12554857"/>
              <a:gd name="connsiteY147" fmla="*/ 188686 h 537029"/>
              <a:gd name="connsiteX148" fmla="*/ 11698514 w 12554857"/>
              <a:gd name="connsiteY148" fmla="*/ 203200 h 537029"/>
              <a:gd name="connsiteX149" fmla="*/ 11814628 w 12554857"/>
              <a:gd name="connsiteY149" fmla="*/ 72572 h 537029"/>
              <a:gd name="connsiteX150" fmla="*/ 11858171 w 12554857"/>
              <a:gd name="connsiteY150" fmla="*/ 58057 h 537029"/>
              <a:gd name="connsiteX151" fmla="*/ 11901714 w 12554857"/>
              <a:gd name="connsiteY151" fmla="*/ 72572 h 537029"/>
              <a:gd name="connsiteX152" fmla="*/ 11959771 w 12554857"/>
              <a:gd name="connsiteY152" fmla="*/ 58057 h 537029"/>
              <a:gd name="connsiteX153" fmla="*/ 12003314 w 12554857"/>
              <a:gd name="connsiteY153" fmla="*/ 87086 h 537029"/>
              <a:gd name="connsiteX154" fmla="*/ 12061371 w 12554857"/>
              <a:gd name="connsiteY154" fmla="*/ 174172 h 537029"/>
              <a:gd name="connsiteX155" fmla="*/ 12104914 w 12554857"/>
              <a:gd name="connsiteY155" fmla="*/ 217715 h 537029"/>
              <a:gd name="connsiteX156" fmla="*/ 12119428 w 12554857"/>
              <a:gd name="connsiteY156" fmla="*/ 145143 h 537029"/>
              <a:gd name="connsiteX157" fmla="*/ 12192000 w 12554857"/>
              <a:gd name="connsiteY157" fmla="*/ 159657 h 537029"/>
              <a:gd name="connsiteX158" fmla="*/ 12235543 w 12554857"/>
              <a:gd name="connsiteY158" fmla="*/ 72572 h 537029"/>
              <a:gd name="connsiteX159" fmla="*/ 12322628 w 12554857"/>
              <a:gd name="connsiteY159" fmla="*/ 72572 h 537029"/>
              <a:gd name="connsiteX160" fmla="*/ 12453257 w 12554857"/>
              <a:gd name="connsiteY160" fmla="*/ 87086 h 537029"/>
              <a:gd name="connsiteX161" fmla="*/ 12496800 w 12554857"/>
              <a:gd name="connsiteY161" fmla="*/ 116115 h 537029"/>
              <a:gd name="connsiteX162" fmla="*/ 12525828 w 12554857"/>
              <a:gd name="connsiteY162" fmla="*/ 203200 h 537029"/>
              <a:gd name="connsiteX163" fmla="*/ 12554857 w 12554857"/>
              <a:gd name="connsiteY163" fmla="*/ 246743 h 537029"/>
              <a:gd name="connsiteX164" fmla="*/ 12540343 w 12554857"/>
              <a:gd name="connsiteY164" fmla="*/ 304800 h 537029"/>
              <a:gd name="connsiteX165" fmla="*/ 12453257 w 12554857"/>
              <a:gd name="connsiteY165" fmla="*/ 333829 h 537029"/>
              <a:gd name="connsiteX166" fmla="*/ 12409714 w 12554857"/>
              <a:gd name="connsiteY166" fmla="*/ 362857 h 537029"/>
              <a:gd name="connsiteX167" fmla="*/ 12322628 w 12554857"/>
              <a:gd name="connsiteY167" fmla="*/ 377372 h 537029"/>
              <a:gd name="connsiteX168" fmla="*/ 11785600 w 12554857"/>
              <a:gd name="connsiteY168" fmla="*/ 391886 h 537029"/>
              <a:gd name="connsiteX169" fmla="*/ 11190514 w 12554857"/>
              <a:gd name="connsiteY169" fmla="*/ 420915 h 537029"/>
              <a:gd name="connsiteX170" fmla="*/ 11088914 w 12554857"/>
              <a:gd name="connsiteY170" fmla="*/ 435429 h 537029"/>
              <a:gd name="connsiteX171" fmla="*/ 10464800 w 12554857"/>
              <a:gd name="connsiteY171" fmla="*/ 464457 h 537029"/>
              <a:gd name="connsiteX172" fmla="*/ 10276114 w 12554857"/>
              <a:gd name="connsiteY172" fmla="*/ 493486 h 537029"/>
              <a:gd name="connsiteX173" fmla="*/ 10101943 w 12554857"/>
              <a:gd name="connsiteY173" fmla="*/ 508000 h 537029"/>
              <a:gd name="connsiteX174" fmla="*/ 9506857 w 12554857"/>
              <a:gd name="connsiteY174" fmla="*/ 537029 h 537029"/>
              <a:gd name="connsiteX175" fmla="*/ 7765143 w 12554857"/>
              <a:gd name="connsiteY175" fmla="*/ 537029 h 537029"/>
              <a:gd name="connsiteX176" fmla="*/ 2061028 w 12554857"/>
              <a:gd name="connsiteY176" fmla="*/ 522515 h 537029"/>
              <a:gd name="connsiteX177" fmla="*/ 1625600 w 12554857"/>
              <a:gd name="connsiteY177" fmla="*/ 493486 h 537029"/>
              <a:gd name="connsiteX178" fmla="*/ 1422400 w 12554857"/>
              <a:gd name="connsiteY178" fmla="*/ 478972 h 537029"/>
              <a:gd name="connsiteX179" fmla="*/ 391886 w 12554857"/>
              <a:gd name="connsiteY179" fmla="*/ 464457 h 537029"/>
              <a:gd name="connsiteX180" fmla="*/ 275771 w 12554857"/>
              <a:gd name="connsiteY180" fmla="*/ 449943 h 537029"/>
              <a:gd name="connsiteX181" fmla="*/ 43543 w 12554857"/>
              <a:gd name="connsiteY181" fmla="*/ 406400 h 537029"/>
              <a:gd name="connsiteX182" fmla="*/ 14514 w 12554857"/>
              <a:gd name="connsiteY182" fmla="*/ 362857 h 537029"/>
              <a:gd name="connsiteX183" fmla="*/ 0 w 12554857"/>
              <a:gd name="connsiteY183" fmla="*/ 319315 h 537029"/>
              <a:gd name="connsiteX184" fmla="*/ 261257 w 12554857"/>
              <a:gd name="connsiteY184" fmla="*/ 232229 h 537029"/>
              <a:gd name="connsiteX185" fmla="*/ 217714 w 12554857"/>
              <a:gd name="connsiteY185" fmla="*/ 217715 h 53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4857" h="537029">
                <a:moveTo>
                  <a:pt x="217714" y="217715"/>
                </a:moveTo>
                <a:cubicBezTo>
                  <a:pt x="224971" y="200782"/>
                  <a:pt x="248555" y="130629"/>
                  <a:pt x="304800" y="130629"/>
                </a:cubicBezTo>
                <a:cubicBezTo>
                  <a:pt x="320099" y="130629"/>
                  <a:pt x="333829" y="140305"/>
                  <a:pt x="348343" y="145143"/>
                </a:cubicBezTo>
                <a:cubicBezTo>
                  <a:pt x="473132" y="61952"/>
                  <a:pt x="315245" y="161692"/>
                  <a:pt x="435428" y="101600"/>
                </a:cubicBezTo>
                <a:cubicBezTo>
                  <a:pt x="451030" y="93799"/>
                  <a:pt x="464457" y="82248"/>
                  <a:pt x="478971" y="72572"/>
                </a:cubicBezTo>
                <a:cubicBezTo>
                  <a:pt x="508000" y="77410"/>
                  <a:pt x="538138" y="77780"/>
                  <a:pt x="566057" y="87086"/>
                </a:cubicBezTo>
                <a:cubicBezTo>
                  <a:pt x="582606" y="92602"/>
                  <a:pt x="593566" y="109243"/>
                  <a:pt x="609600" y="116115"/>
                </a:cubicBezTo>
                <a:cubicBezTo>
                  <a:pt x="627935" y="123973"/>
                  <a:pt x="648305" y="125791"/>
                  <a:pt x="667657" y="130629"/>
                </a:cubicBezTo>
                <a:cubicBezTo>
                  <a:pt x="696686" y="125791"/>
                  <a:pt x="726555" y="124571"/>
                  <a:pt x="754743" y="116115"/>
                </a:cubicBezTo>
                <a:cubicBezTo>
                  <a:pt x="775467" y="109898"/>
                  <a:pt x="792913" y="95609"/>
                  <a:pt x="812800" y="87086"/>
                </a:cubicBezTo>
                <a:cubicBezTo>
                  <a:pt x="826862" y="81059"/>
                  <a:pt x="841829" y="77410"/>
                  <a:pt x="856343" y="72572"/>
                </a:cubicBezTo>
                <a:cubicBezTo>
                  <a:pt x="966832" y="109401"/>
                  <a:pt x="913424" y="95599"/>
                  <a:pt x="1016000" y="116115"/>
                </a:cubicBezTo>
                <a:cubicBezTo>
                  <a:pt x="1140802" y="199314"/>
                  <a:pt x="982890" y="99558"/>
                  <a:pt x="1103086" y="159657"/>
                </a:cubicBezTo>
                <a:cubicBezTo>
                  <a:pt x="1118688" y="167458"/>
                  <a:pt x="1132114" y="179010"/>
                  <a:pt x="1146628" y="188686"/>
                </a:cubicBezTo>
                <a:cubicBezTo>
                  <a:pt x="1158433" y="153274"/>
                  <a:pt x="1162036" y="129735"/>
                  <a:pt x="1190171" y="101600"/>
                </a:cubicBezTo>
                <a:cubicBezTo>
                  <a:pt x="1202506" y="89265"/>
                  <a:pt x="1219200" y="82248"/>
                  <a:pt x="1233714" y="72572"/>
                </a:cubicBezTo>
                <a:cubicBezTo>
                  <a:pt x="1357253" y="154931"/>
                  <a:pt x="1286125" y="126776"/>
                  <a:pt x="1451428" y="145143"/>
                </a:cubicBezTo>
                <a:cubicBezTo>
                  <a:pt x="1472848" y="113014"/>
                  <a:pt x="1490474" y="80408"/>
                  <a:pt x="1524000" y="58057"/>
                </a:cubicBezTo>
                <a:cubicBezTo>
                  <a:pt x="1536730" y="49570"/>
                  <a:pt x="1553029" y="48381"/>
                  <a:pt x="1567543" y="43543"/>
                </a:cubicBezTo>
                <a:cubicBezTo>
                  <a:pt x="1579053" y="60808"/>
                  <a:pt x="1618248" y="125770"/>
                  <a:pt x="1640114" y="130629"/>
                </a:cubicBezTo>
                <a:cubicBezTo>
                  <a:pt x="1668842" y="137013"/>
                  <a:pt x="1698113" y="120590"/>
                  <a:pt x="1727200" y="116115"/>
                </a:cubicBezTo>
                <a:cubicBezTo>
                  <a:pt x="1862410" y="95313"/>
                  <a:pt x="1787528" y="111918"/>
                  <a:pt x="1886857" y="87086"/>
                </a:cubicBezTo>
                <a:cubicBezTo>
                  <a:pt x="1915886" y="91924"/>
                  <a:pt x="1945215" y="95216"/>
                  <a:pt x="1973943" y="101600"/>
                </a:cubicBezTo>
                <a:cubicBezTo>
                  <a:pt x="1988878" y="104919"/>
                  <a:pt x="2002186" y="116115"/>
                  <a:pt x="2017486" y="116115"/>
                </a:cubicBezTo>
                <a:cubicBezTo>
                  <a:pt x="2032785" y="116115"/>
                  <a:pt x="2046514" y="106438"/>
                  <a:pt x="2061028" y="101600"/>
                </a:cubicBezTo>
                <a:cubicBezTo>
                  <a:pt x="2080381" y="111276"/>
                  <a:pt x="2100300" y="119894"/>
                  <a:pt x="2119086" y="130629"/>
                </a:cubicBezTo>
                <a:cubicBezTo>
                  <a:pt x="2134231" y="139283"/>
                  <a:pt x="2145184" y="159657"/>
                  <a:pt x="2162628" y="159657"/>
                </a:cubicBezTo>
                <a:cubicBezTo>
                  <a:pt x="2211967" y="159657"/>
                  <a:pt x="2259277" y="139721"/>
                  <a:pt x="2307771" y="130629"/>
                </a:cubicBezTo>
                <a:cubicBezTo>
                  <a:pt x="2450111" y="103941"/>
                  <a:pt x="2342191" y="129282"/>
                  <a:pt x="2452914" y="101600"/>
                </a:cubicBezTo>
                <a:cubicBezTo>
                  <a:pt x="2481943" y="106438"/>
                  <a:pt x="2511703" y="124200"/>
                  <a:pt x="2540000" y="116115"/>
                </a:cubicBezTo>
                <a:cubicBezTo>
                  <a:pt x="2554711" y="111912"/>
                  <a:pt x="2543696" y="83390"/>
                  <a:pt x="2554514" y="72572"/>
                </a:cubicBezTo>
                <a:cubicBezTo>
                  <a:pt x="2565332" y="61754"/>
                  <a:pt x="2583543" y="62895"/>
                  <a:pt x="2598057" y="58057"/>
                </a:cubicBezTo>
                <a:cubicBezTo>
                  <a:pt x="2644806" y="69745"/>
                  <a:pt x="2673304" y="72410"/>
                  <a:pt x="2714171" y="101600"/>
                </a:cubicBezTo>
                <a:cubicBezTo>
                  <a:pt x="2730874" y="113531"/>
                  <a:pt x="2743200" y="130629"/>
                  <a:pt x="2757714" y="145143"/>
                </a:cubicBezTo>
                <a:cubicBezTo>
                  <a:pt x="2773548" y="121392"/>
                  <a:pt x="2795099" y="76970"/>
                  <a:pt x="2830286" y="72572"/>
                </a:cubicBezTo>
                <a:cubicBezTo>
                  <a:pt x="2854765" y="69512"/>
                  <a:pt x="2878667" y="82248"/>
                  <a:pt x="2902857" y="87086"/>
                </a:cubicBezTo>
                <a:cubicBezTo>
                  <a:pt x="2924873" y="101764"/>
                  <a:pt x="2959896" y="130629"/>
                  <a:pt x="2989943" y="130629"/>
                </a:cubicBezTo>
                <a:cubicBezTo>
                  <a:pt x="3014612" y="130629"/>
                  <a:pt x="3038324" y="120953"/>
                  <a:pt x="3062514" y="116115"/>
                </a:cubicBezTo>
                <a:cubicBezTo>
                  <a:pt x="3081866" y="106439"/>
                  <a:pt x="3099847" y="93303"/>
                  <a:pt x="3120571" y="87086"/>
                </a:cubicBezTo>
                <a:cubicBezTo>
                  <a:pt x="3210600" y="60077"/>
                  <a:pt x="3252751" y="77081"/>
                  <a:pt x="3352800" y="87086"/>
                </a:cubicBezTo>
                <a:cubicBezTo>
                  <a:pt x="3423829" y="69329"/>
                  <a:pt x="3425781" y="61083"/>
                  <a:pt x="3512457" y="87086"/>
                </a:cubicBezTo>
                <a:cubicBezTo>
                  <a:pt x="3529165" y="92099"/>
                  <a:pt x="3540398" y="108314"/>
                  <a:pt x="3556000" y="116115"/>
                </a:cubicBezTo>
                <a:cubicBezTo>
                  <a:pt x="3569684" y="122957"/>
                  <a:pt x="3585029" y="125791"/>
                  <a:pt x="3599543" y="130629"/>
                </a:cubicBezTo>
                <a:cubicBezTo>
                  <a:pt x="3699358" y="64085"/>
                  <a:pt x="3653531" y="83605"/>
                  <a:pt x="3730171" y="58057"/>
                </a:cubicBezTo>
                <a:cubicBezTo>
                  <a:pt x="3749523" y="62895"/>
                  <a:pt x="3769550" y="65568"/>
                  <a:pt x="3788228" y="72572"/>
                </a:cubicBezTo>
                <a:cubicBezTo>
                  <a:pt x="3814046" y="82254"/>
                  <a:pt x="3866855" y="111484"/>
                  <a:pt x="3889828" y="130629"/>
                </a:cubicBezTo>
                <a:cubicBezTo>
                  <a:pt x="3905597" y="143770"/>
                  <a:pt x="3918857" y="159658"/>
                  <a:pt x="3933371" y="174172"/>
                </a:cubicBezTo>
                <a:cubicBezTo>
                  <a:pt x="3952723" y="159658"/>
                  <a:pt x="3971743" y="144689"/>
                  <a:pt x="3991428" y="130629"/>
                </a:cubicBezTo>
                <a:cubicBezTo>
                  <a:pt x="4005623" y="120490"/>
                  <a:pt x="4017702" y="104067"/>
                  <a:pt x="4034971" y="101600"/>
                </a:cubicBezTo>
                <a:cubicBezTo>
                  <a:pt x="4054719" y="98779"/>
                  <a:pt x="4073676" y="111277"/>
                  <a:pt x="4093028" y="116115"/>
                </a:cubicBezTo>
                <a:cubicBezTo>
                  <a:pt x="4160346" y="160993"/>
                  <a:pt x="4117243" y="149533"/>
                  <a:pt x="4209143" y="116115"/>
                </a:cubicBezTo>
                <a:cubicBezTo>
                  <a:pt x="4237899" y="105658"/>
                  <a:pt x="4296228" y="87086"/>
                  <a:pt x="4296228" y="87086"/>
                </a:cubicBezTo>
                <a:cubicBezTo>
                  <a:pt x="4310742" y="77410"/>
                  <a:pt x="4322434" y="59983"/>
                  <a:pt x="4339771" y="58057"/>
                </a:cubicBezTo>
                <a:cubicBezTo>
                  <a:pt x="4378085" y="53800"/>
                  <a:pt x="4432139" y="74333"/>
                  <a:pt x="4470400" y="87086"/>
                </a:cubicBezTo>
                <a:cubicBezTo>
                  <a:pt x="4475238" y="67734"/>
                  <a:pt x="4472453" y="44606"/>
                  <a:pt x="4484914" y="29029"/>
                </a:cubicBezTo>
                <a:cubicBezTo>
                  <a:pt x="4520930" y="-15991"/>
                  <a:pt x="4564403" y="41474"/>
                  <a:pt x="4586514" y="58057"/>
                </a:cubicBezTo>
                <a:cubicBezTo>
                  <a:pt x="4596190" y="72571"/>
                  <a:pt x="4603208" y="89265"/>
                  <a:pt x="4615543" y="101600"/>
                </a:cubicBezTo>
                <a:cubicBezTo>
                  <a:pt x="4627878" y="113935"/>
                  <a:pt x="4648189" y="117007"/>
                  <a:pt x="4659086" y="130629"/>
                </a:cubicBezTo>
                <a:cubicBezTo>
                  <a:pt x="4668643" y="142576"/>
                  <a:pt x="4668762" y="159658"/>
                  <a:pt x="4673600" y="174172"/>
                </a:cubicBezTo>
                <a:cubicBezTo>
                  <a:pt x="4697790" y="169334"/>
                  <a:pt x="4722371" y="166148"/>
                  <a:pt x="4746171" y="159657"/>
                </a:cubicBezTo>
                <a:cubicBezTo>
                  <a:pt x="4775692" y="151606"/>
                  <a:pt x="4833257" y="130629"/>
                  <a:pt x="4833257" y="130629"/>
                </a:cubicBezTo>
                <a:cubicBezTo>
                  <a:pt x="4881638" y="135467"/>
                  <a:pt x="4931023" y="134210"/>
                  <a:pt x="4978400" y="145143"/>
                </a:cubicBezTo>
                <a:cubicBezTo>
                  <a:pt x="4995397" y="149065"/>
                  <a:pt x="5004521" y="173301"/>
                  <a:pt x="5021943" y="174172"/>
                </a:cubicBezTo>
                <a:lnTo>
                  <a:pt x="5268686" y="159657"/>
                </a:lnTo>
                <a:cubicBezTo>
                  <a:pt x="5283200" y="149981"/>
                  <a:pt x="5294891" y="132555"/>
                  <a:pt x="5312228" y="130629"/>
                </a:cubicBezTo>
                <a:cubicBezTo>
                  <a:pt x="5392728" y="121685"/>
                  <a:pt x="5397220" y="143049"/>
                  <a:pt x="5442857" y="188686"/>
                </a:cubicBezTo>
                <a:cubicBezTo>
                  <a:pt x="5462209" y="183848"/>
                  <a:pt x="5484316" y="185237"/>
                  <a:pt x="5500914" y="174172"/>
                </a:cubicBezTo>
                <a:cubicBezTo>
                  <a:pt x="5515428" y="164496"/>
                  <a:pt x="5514002" y="137714"/>
                  <a:pt x="5529943" y="130629"/>
                </a:cubicBezTo>
                <a:cubicBezTo>
                  <a:pt x="5561205" y="116735"/>
                  <a:pt x="5597676" y="120953"/>
                  <a:pt x="5631543" y="116115"/>
                </a:cubicBezTo>
                <a:cubicBezTo>
                  <a:pt x="5660571" y="120953"/>
                  <a:pt x="5690709" y="121323"/>
                  <a:pt x="5718628" y="130629"/>
                </a:cubicBezTo>
                <a:cubicBezTo>
                  <a:pt x="5735177" y="136145"/>
                  <a:pt x="5745342" y="155067"/>
                  <a:pt x="5762171" y="159657"/>
                </a:cubicBezTo>
                <a:cubicBezTo>
                  <a:pt x="5799803" y="169920"/>
                  <a:pt x="5839581" y="169334"/>
                  <a:pt x="5878286" y="174172"/>
                </a:cubicBezTo>
                <a:cubicBezTo>
                  <a:pt x="5976529" y="141424"/>
                  <a:pt x="5940749" y="136034"/>
                  <a:pt x="6023428" y="159657"/>
                </a:cubicBezTo>
                <a:cubicBezTo>
                  <a:pt x="6038139" y="163860"/>
                  <a:pt x="6052457" y="169334"/>
                  <a:pt x="6066971" y="174172"/>
                </a:cubicBezTo>
                <a:cubicBezTo>
                  <a:pt x="6163543" y="125885"/>
                  <a:pt x="6085055" y="158764"/>
                  <a:pt x="6197600" y="130629"/>
                </a:cubicBezTo>
                <a:cubicBezTo>
                  <a:pt x="6212443" y="126918"/>
                  <a:pt x="6226208" y="119434"/>
                  <a:pt x="6241143" y="116115"/>
                </a:cubicBezTo>
                <a:cubicBezTo>
                  <a:pt x="6313389" y="100060"/>
                  <a:pt x="6458857" y="72572"/>
                  <a:pt x="6458857" y="72572"/>
                </a:cubicBezTo>
                <a:cubicBezTo>
                  <a:pt x="6483047" y="62896"/>
                  <a:pt x="6508125" y="55195"/>
                  <a:pt x="6531428" y="43543"/>
                </a:cubicBezTo>
                <a:cubicBezTo>
                  <a:pt x="6643974" y="-12730"/>
                  <a:pt x="6509067" y="36484"/>
                  <a:pt x="6618514" y="0"/>
                </a:cubicBezTo>
                <a:cubicBezTo>
                  <a:pt x="6701788" y="27759"/>
                  <a:pt x="6624059" y="-5363"/>
                  <a:pt x="6705600" y="58057"/>
                </a:cubicBezTo>
                <a:cubicBezTo>
                  <a:pt x="6733139" y="79476"/>
                  <a:pt x="6763657" y="96762"/>
                  <a:pt x="6792686" y="116115"/>
                </a:cubicBezTo>
                <a:lnTo>
                  <a:pt x="6836228" y="145143"/>
                </a:lnTo>
                <a:cubicBezTo>
                  <a:pt x="6855581" y="140305"/>
                  <a:pt x="6875608" y="137633"/>
                  <a:pt x="6894286" y="130629"/>
                </a:cubicBezTo>
                <a:cubicBezTo>
                  <a:pt x="6914545" y="123032"/>
                  <a:pt x="6932456" y="110123"/>
                  <a:pt x="6952343" y="101600"/>
                </a:cubicBezTo>
                <a:cubicBezTo>
                  <a:pt x="6966405" y="95573"/>
                  <a:pt x="6981372" y="91924"/>
                  <a:pt x="6995886" y="87086"/>
                </a:cubicBezTo>
                <a:cubicBezTo>
                  <a:pt x="7024914" y="91924"/>
                  <a:pt x="7055052" y="92294"/>
                  <a:pt x="7082971" y="101600"/>
                </a:cubicBezTo>
                <a:cubicBezTo>
                  <a:pt x="7099520" y="107116"/>
                  <a:pt x="7109741" y="135421"/>
                  <a:pt x="7126514" y="130629"/>
                </a:cubicBezTo>
                <a:cubicBezTo>
                  <a:pt x="7152829" y="123110"/>
                  <a:pt x="7161363" y="87077"/>
                  <a:pt x="7184571" y="72572"/>
                </a:cubicBezTo>
                <a:cubicBezTo>
                  <a:pt x="7201487" y="62000"/>
                  <a:pt x="7223276" y="62895"/>
                  <a:pt x="7242628" y="58057"/>
                </a:cubicBezTo>
                <a:cubicBezTo>
                  <a:pt x="7257142" y="72571"/>
                  <a:pt x="7273030" y="85831"/>
                  <a:pt x="7286171" y="101600"/>
                </a:cubicBezTo>
                <a:cubicBezTo>
                  <a:pt x="7297338" y="115001"/>
                  <a:pt x="7297993" y="142275"/>
                  <a:pt x="7315200" y="145143"/>
                </a:cubicBezTo>
                <a:cubicBezTo>
                  <a:pt x="7336542" y="148700"/>
                  <a:pt x="7353370" y="124638"/>
                  <a:pt x="7373257" y="116115"/>
                </a:cubicBezTo>
                <a:cubicBezTo>
                  <a:pt x="7387319" y="110088"/>
                  <a:pt x="7402286" y="106438"/>
                  <a:pt x="7416800" y="101600"/>
                </a:cubicBezTo>
                <a:cubicBezTo>
                  <a:pt x="7445829" y="111276"/>
                  <a:pt x="7477938" y="114411"/>
                  <a:pt x="7503886" y="130629"/>
                </a:cubicBezTo>
                <a:cubicBezTo>
                  <a:pt x="7584072" y="180746"/>
                  <a:pt x="7470142" y="189866"/>
                  <a:pt x="7590971" y="159657"/>
                </a:cubicBezTo>
                <a:cubicBezTo>
                  <a:pt x="7615162" y="164495"/>
                  <a:pt x="7639064" y="177232"/>
                  <a:pt x="7663543" y="174172"/>
                </a:cubicBezTo>
                <a:cubicBezTo>
                  <a:pt x="7680852" y="172008"/>
                  <a:pt x="7689923" y="142023"/>
                  <a:pt x="7707086" y="145143"/>
                </a:cubicBezTo>
                <a:cubicBezTo>
                  <a:pt x="7749661" y="152884"/>
                  <a:pt x="7784495" y="183848"/>
                  <a:pt x="7823200" y="203200"/>
                </a:cubicBezTo>
                <a:cubicBezTo>
                  <a:pt x="7837714" y="188686"/>
                  <a:pt x="7855357" y="176736"/>
                  <a:pt x="7866743" y="159657"/>
                </a:cubicBezTo>
                <a:cubicBezTo>
                  <a:pt x="7900641" y="108811"/>
                  <a:pt x="7852716" y="97088"/>
                  <a:pt x="7924800" y="145143"/>
                </a:cubicBezTo>
                <a:cubicBezTo>
                  <a:pt x="7934476" y="159657"/>
                  <a:pt x="7939314" y="179010"/>
                  <a:pt x="7953828" y="188686"/>
                </a:cubicBezTo>
                <a:cubicBezTo>
                  <a:pt x="7962610" y="194540"/>
                  <a:pt x="8082861" y="217396"/>
                  <a:pt x="8084457" y="217715"/>
                </a:cubicBezTo>
                <a:cubicBezTo>
                  <a:pt x="8098971" y="237067"/>
                  <a:pt x="8105051" y="268122"/>
                  <a:pt x="8128000" y="275772"/>
                </a:cubicBezTo>
                <a:cubicBezTo>
                  <a:pt x="8144549" y="281288"/>
                  <a:pt x="8154336" y="243875"/>
                  <a:pt x="8171543" y="246743"/>
                </a:cubicBezTo>
                <a:cubicBezTo>
                  <a:pt x="8191790" y="250117"/>
                  <a:pt x="8200572" y="275772"/>
                  <a:pt x="8215086" y="290286"/>
                </a:cubicBezTo>
                <a:cubicBezTo>
                  <a:pt x="8219924" y="275772"/>
                  <a:pt x="8220207" y="258820"/>
                  <a:pt x="8229600" y="246743"/>
                </a:cubicBezTo>
                <a:cubicBezTo>
                  <a:pt x="8283134" y="177914"/>
                  <a:pt x="8302026" y="169431"/>
                  <a:pt x="8360228" y="130629"/>
                </a:cubicBezTo>
                <a:cubicBezTo>
                  <a:pt x="8374742" y="135467"/>
                  <a:pt x="8391041" y="136656"/>
                  <a:pt x="8403771" y="145143"/>
                </a:cubicBezTo>
                <a:cubicBezTo>
                  <a:pt x="8437297" y="167494"/>
                  <a:pt x="8454923" y="200100"/>
                  <a:pt x="8476343" y="232229"/>
                </a:cubicBezTo>
                <a:cubicBezTo>
                  <a:pt x="8480993" y="213628"/>
                  <a:pt x="8482344" y="138835"/>
                  <a:pt x="8534400" y="159657"/>
                </a:cubicBezTo>
                <a:cubicBezTo>
                  <a:pt x="8550596" y="166135"/>
                  <a:pt x="8553752" y="188686"/>
                  <a:pt x="8563428" y="203200"/>
                </a:cubicBezTo>
                <a:cubicBezTo>
                  <a:pt x="8648197" y="174944"/>
                  <a:pt x="8570348" y="210795"/>
                  <a:pt x="8636000" y="145143"/>
                </a:cubicBezTo>
                <a:cubicBezTo>
                  <a:pt x="8669411" y="111733"/>
                  <a:pt x="8693187" y="112704"/>
                  <a:pt x="8737600" y="101600"/>
                </a:cubicBezTo>
                <a:cubicBezTo>
                  <a:pt x="8795657" y="106438"/>
                  <a:pt x="8855480" y="101104"/>
                  <a:pt x="8911771" y="116115"/>
                </a:cubicBezTo>
                <a:cubicBezTo>
                  <a:pt x="8931604" y="121404"/>
                  <a:pt x="8938611" y="147726"/>
                  <a:pt x="8955314" y="159657"/>
                </a:cubicBezTo>
                <a:cubicBezTo>
                  <a:pt x="8972920" y="172233"/>
                  <a:pt x="8994019" y="179010"/>
                  <a:pt x="9013371" y="188686"/>
                </a:cubicBezTo>
                <a:cubicBezTo>
                  <a:pt x="9042400" y="183848"/>
                  <a:pt x="9076510" y="191277"/>
                  <a:pt x="9100457" y="174172"/>
                </a:cubicBezTo>
                <a:cubicBezTo>
                  <a:pt x="9116689" y="162578"/>
                  <a:pt x="9102510" y="131692"/>
                  <a:pt x="9114971" y="116115"/>
                </a:cubicBezTo>
                <a:cubicBezTo>
                  <a:pt x="9124528" y="104168"/>
                  <a:pt x="9144000" y="106438"/>
                  <a:pt x="9158514" y="101600"/>
                </a:cubicBezTo>
                <a:cubicBezTo>
                  <a:pt x="9245731" y="130674"/>
                  <a:pt x="9253473" y="137166"/>
                  <a:pt x="9390743" y="130629"/>
                </a:cubicBezTo>
                <a:cubicBezTo>
                  <a:pt x="9430594" y="128731"/>
                  <a:pt x="9469285" y="115019"/>
                  <a:pt x="9506857" y="101600"/>
                </a:cubicBezTo>
                <a:cubicBezTo>
                  <a:pt x="9537421" y="90684"/>
                  <a:pt x="9564914" y="72571"/>
                  <a:pt x="9593943" y="58057"/>
                </a:cubicBezTo>
                <a:cubicBezTo>
                  <a:pt x="9618133" y="67733"/>
                  <a:pt x="9646732" y="70130"/>
                  <a:pt x="9666514" y="87086"/>
                </a:cubicBezTo>
                <a:cubicBezTo>
                  <a:pt x="9736821" y="147349"/>
                  <a:pt x="9650667" y="160101"/>
                  <a:pt x="9739086" y="130629"/>
                </a:cubicBezTo>
                <a:cubicBezTo>
                  <a:pt x="9848532" y="167111"/>
                  <a:pt x="9713623" y="117898"/>
                  <a:pt x="9826171" y="174172"/>
                </a:cubicBezTo>
                <a:cubicBezTo>
                  <a:pt x="9839855" y="181014"/>
                  <a:pt x="9855200" y="183848"/>
                  <a:pt x="9869714" y="188686"/>
                </a:cubicBezTo>
                <a:cubicBezTo>
                  <a:pt x="9893905" y="183848"/>
                  <a:pt x="9917616" y="174172"/>
                  <a:pt x="9942286" y="174172"/>
                </a:cubicBezTo>
                <a:cubicBezTo>
                  <a:pt x="9957585" y="174172"/>
                  <a:pt x="9970647" y="190584"/>
                  <a:pt x="9985828" y="188686"/>
                </a:cubicBezTo>
                <a:cubicBezTo>
                  <a:pt x="10011681" y="185454"/>
                  <a:pt x="10034209" y="169333"/>
                  <a:pt x="10058400" y="159657"/>
                </a:cubicBezTo>
                <a:cubicBezTo>
                  <a:pt x="10103650" y="103094"/>
                  <a:pt x="10113475" y="78422"/>
                  <a:pt x="10174514" y="43543"/>
                </a:cubicBezTo>
                <a:cubicBezTo>
                  <a:pt x="10187798" y="35952"/>
                  <a:pt x="10203543" y="33867"/>
                  <a:pt x="10218057" y="29029"/>
                </a:cubicBezTo>
                <a:cubicBezTo>
                  <a:pt x="10334949" y="116699"/>
                  <a:pt x="10230168" y="58057"/>
                  <a:pt x="10464800" y="58057"/>
                </a:cubicBezTo>
                <a:cubicBezTo>
                  <a:pt x="10503806" y="58057"/>
                  <a:pt x="10542209" y="67734"/>
                  <a:pt x="10580914" y="72572"/>
                </a:cubicBezTo>
                <a:cubicBezTo>
                  <a:pt x="10600266" y="87086"/>
                  <a:pt x="10614781" y="116115"/>
                  <a:pt x="10638971" y="116115"/>
                </a:cubicBezTo>
                <a:cubicBezTo>
                  <a:pt x="10659497" y="116115"/>
                  <a:pt x="10666745" y="85713"/>
                  <a:pt x="10682514" y="72572"/>
                </a:cubicBezTo>
                <a:cubicBezTo>
                  <a:pt x="10720030" y="41308"/>
                  <a:pt x="10725959" y="43576"/>
                  <a:pt x="10769600" y="29029"/>
                </a:cubicBezTo>
                <a:cubicBezTo>
                  <a:pt x="10788952" y="38705"/>
                  <a:pt x="10809104" y="46925"/>
                  <a:pt x="10827657" y="58057"/>
                </a:cubicBezTo>
                <a:cubicBezTo>
                  <a:pt x="10952428" y="132920"/>
                  <a:pt x="10870701" y="101435"/>
                  <a:pt x="10958286" y="130629"/>
                </a:cubicBezTo>
                <a:cubicBezTo>
                  <a:pt x="10982476" y="125791"/>
                  <a:pt x="11006924" y="122098"/>
                  <a:pt x="11030857" y="116115"/>
                </a:cubicBezTo>
                <a:cubicBezTo>
                  <a:pt x="11045700" y="112404"/>
                  <a:pt x="11059176" y="100078"/>
                  <a:pt x="11074400" y="101600"/>
                </a:cubicBezTo>
                <a:cubicBezTo>
                  <a:pt x="11109447" y="105105"/>
                  <a:pt x="11142133" y="120953"/>
                  <a:pt x="11176000" y="130629"/>
                </a:cubicBezTo>
                <a:cubicBezTo>
                  <a:pt x="11185676" y="145143"/>
                  <a:pt x="11187644" y="172723"/>
                  <a:pt x="11205028" y="174172"/>
                </a:cubicBezTo>
                <a:cubicBezTo>
                  <a:pt x="11305981" y="182585"/>
                  <a:pt x="11330789" y="158064"/>
                  <a:pt x="11393714" y="116115"/>
                </a:cubicBezTo>
                <a:cubicBezTo>
                  <a:pt x="11408228" y="120953"/>
                  <a:pt x="11423573" y="123787"/>
                  <a:pt x="11437257" y="130629"/>
                </a:cubicBezTo>
                <a:cubicBezTo>
                  <a:pt x="11452859" y="138430"/>
                  <a:pt x="11463593" y="156789"/>
                  <a:pt x="11480800" y="159657"/>
                </a:cubicBezTo>
                <a:cubicBezTo>
                  <a:pt x="11495891" y="162172"/>
                  <a:pt x="11509829" y="149981"/>
                  <a:pt x="11524343" y="145143"/>
                </a:cubicBezTo>
                <a:cubicBezTo>
                  <a:pt x="11543695" y="149981"/>
                  <a:pt x="11563476" y="153349"/>
                  <a:pt x="11582400" y="159657"/>
                </a:cubicBezTo>
                <a:cubicBezTo>
                  <a:pt x="11607117" y="167896"/>
                  <a:pt x="11630576" y="179538"/>
                  <a:pt x="11654971" y="188686"/>
                </a:cubicBezTo>
                <a:cubicBezTo>
                  <a:pt x="11669296" y="194058"/>
                  <a:pt x="11684000" y="198362"/>
                  <a:pt x="11698514" y="203200"/>
                </a:cubicBezTo>
                <a:cubicBezTo>
                  <a:pt x="11746147" y="131751"/>
                  <a:pt x="11745193" y="112250"/>
                  <a:pt x="11814628" y="72572"/>
                </a:cubicBezTo>
                <a:cubicBezTo>
                  <a:pt x="11827912" y="64981"/>
                  <a:pt x="11843657" y="62895"/>
                  <a:pt x="11858171" y="58057"/>
                </a:cubicBezTo>
                <a:cubicBezTo>
                  <a:pt x="11872685" y="62895"/>
                  <a:pt x="11886414" y="72572"/>
                  <a:pt x="11901714" y="72572"/>
                </a:cubicBezTo>
                <a:cubicBezTo>
                  <a:pt x="11921662" y="72572"/>
                  <a:pt x="11940023" y="55236"/>
                  <a:pt x="11959771" y="58057"/>
                </a:cubicBezTo>
                <a:cubicBezTo>
                  <a:pt x="11977040" y="60524"/>
                  <a:pt x="11988800" y="77410"/>
                  <a:pt x="12003314" y="87086"/>
                </a:cubicBezTo>
                <a:cubicBezTo>
                  <a:pt x="12022666" y="116115"/>
                  <a:pt x="12039952" y="146633"/>
                  <a:pt x="12061371" y="174172"/>
                </a:cubicBezTo>
                <a:cubicBezTo>
                  <a:pt x="12073973" y="190375"/>
                  <a:pt x="12086555" y="226895"/>
                  <a:pt x="12104914" y="217715"/>
                </a:cubicBezTo>
                <a:cubicBezTo>
                  <a:pt x="12126979" y="206682"/>
                  <a:pt x="12114590" y="169334"/>
                  <a:pt x="12119428" y="145143"/>
                </a:cubicBezTo>
                <a:cubicBezTo>
                  <a:pt x="12143619" y="149981"/>
                  <a:pt x="12168279" y="166434"/>
                  <a:pt x="12192000" y="159657"/>
                </a:cubicBezTo>
                <a:cubicBezTo>
                  <a:pt x="12212731" y="153734"/>
                  <a:pt x="12230232" y="88503"/>
                  <a:pt x="12235543" y="72572"/>
                </a:cubicBezTo>
                <a:cubicBezTo>
                  <a:pt x="12338757" y="141380"/>
                  <a:pt x="12219416" y="81173"/>
                  <a:pt x="12322628" y="72572"/>
                </a:cubicBezTo>
                <a:cubicBezTo>
                  <a:pt x="12366288" y="68934"/>
                  <a:pt x="12409714" y="82248"/>
                  <a:pt x="12453257" y="87086"/>
                </a:cubicBezTo>
                <a:cubicBezTo>
                  <a:pt x="12467771" y="96762"/>
                  <a:pt x="12487555" y="101322"/>
                  <a:pt x="12496800" y="116115"/>
                </a:cubicBezTo>
                <a:cubicBezTo>
                  <a:pt x="12513017" y="142063"/>
                  <a:pt x="12508855" y="177741"/>
                  <a:pt x="12525828" y="203200"/>
                </a:cubicBezTo>
                <a:lnTo>
                  <a:pt x="12554857" y="246743"/>
                </a:lnTo>
                <a:cubicBezTo>
                  <a:pt x="12550019" y="266095"/>
                  <a:pt x="12555489" y="291818"/>
                  <a:pt x="12540343" y="304800"/>
                </a:cubicBezTo>
                <a:cubicBezTo>
                  <a:pt x="12517111" y="324714"/>
                  <a:pt x="12478717" y="316856"/>
                  <a:pt x="12453257" y="333829"/>
                </a:cubicBezTo>
                <a:cubicBezTo>
                  <a:pt x="12438743" y="343505"/>
                  <a:pt x="12426263" y="357341"/>
                  <a:pt x="12409714" y="362857"/>
                </a:cubicBezTo>
                <a:cubicBezTo>
                  <a:pt x="12381795" y="372163"/>
                  <a:pt x="12352025" y="376005"/>
                  <a:pt x="12322628" y="377372"/>
                </a:cubicBezTo>
                <a:cubicBezTo>
                  <a:pt x="12143747" y="385692"/>
                  <a:pt x="11964542" y="385004"/>
                  <a:pt x="11785600" y="391886"/>
                </a:cubicBezTo>
                <a:cubicBezTo>
                  <a:pt x="11587149" y="399519"/>
                  <a:pt x="11190514" y="420915"/>
                  <a:pt x="11190514" y="420915"/>
                </a:cubicBezTo>
                <a:cubicBezTo>
                  <a:pt x="11156647" y="425753"/>
                  <a:pt x="11123016" y="432701"/>
                  <a:pt x="11088914" y="435429"/>
                </a:cubicBezTo>
                <a:cubicBezTo>
                  <a:pt x="10940312" y="447317"/>
                  <a:pt x="10590718" y="459420"/>
                  <a:pt x="10464800" y="464457"/>
                </a:cubicBezTo>
                <a:cubicBezTo>
                  <a:pt x="10412811" y="473122"/>
                  <a:pt x="10326821" y="488149"/>
                  <a:pt x="10276114" y="493486"/>
                </a:cubicBezTo>
                <a:cubicBezTo>
                  <a:pt x="10218176" y="499585"/>
                  <a:pt x="10160108" y="504708"/>
                  <a:pt x="10101943" y="508000"/>
                </a:cubicBezTo>
                <a:lnTo>
                  <a:pt x="9506857" y="537029"/>
                </a:lnTo>
                <a:cubicBezTo>
                  <a:pt x="7021676" y="496946"/>
                  <a:pt x="10127457" y="537029"/>
                  <a:pt x="7765143" y="537029"/>
                </a:cubicBezTo>
                <a:lnTo>
                  <a:pt x="2061028" y="522515"/>
                </a:lnTo>
                <a:cubicBezTo>
                  <a:pt x="1850113" y="487360"/>
                  <a:pt x="2039664" y="515278"/>
                  <a:pt x="1625600" y="493486"/>
                </a:cubicBezTo>
                <a:cubicBezTo>
                  <a:pt x="1557788" y="489917"/>
                  <a:pt x="1490287" y="480569"/>
                  <a:pt x="1422400" y="478972"/>
                </a:cubicBezTo>
                <a:lnTo>
                  <a:pt x="391886" y="464457"/>
                </a:lnTo>
                <a:cubicBezTo>
                  <a:pt x="353181" y="459619"/>
                  <a:pt x="314601" y="453641"/>
                  <a:pt x="275771" y="449943"/>
                </a:cubicBezTo>
                <a:cubicBezTo>
                  <a:pt x="63089" y="429688"/>
                  <a:pt x="141399" y="471638"/>
                  <a:pt x="43543" y="406400"/>
                </a:cubicBezTo>
                <a:cubicBezTo>
                  <a:pt x="33867" y="391886"/>
                  <a:pt x="22315" y="378459"/>
                  <a:pt x="14514" y="362857"/>
                </a:cubicBezTo>
                <a:cubicBezTo>
                  <a:pt x="7672" y="349173"/>
                  <a:pt x="0" y="334614"/>
                  <a:pt x="0" y="319315"/>
                </a:cubicBezTo>
                <a:cubicBezTo>
                  <a:pt x="0" y="203265"/>
                  <a:pt x="229163" y="234521"/>
                  <a:pt x="261257" y="232229"/>
                </a:cubicBezTo>
                <a:cubicBezTo>
                  <a:pt x="245213" y="184096"/>
                  <a:pt x="210457" y="234648"/>
                  <a:pt x="217714" y="217715"/>
                </a:cubicBezTo>
                <a:close/>
              </a:path>
            </a:pathLst>
          </a:custGeom>
          <a:solidFill>
            <a:srgbClr val="63A6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Freeform: Shape 214">
            <a:extLst>
              <a:ext uri="{FF2B5EF4-FFF2-40B4-BE49-F238E27FC236}">
                <a16:creationId xmlns:a16="http://schemas.microsoft.com/office/drawing/2014/main" id="{FA077203-5669-4519-88CD-14980FAEC9BC}"/>
              </a:ext>
            </a:extLst>
          </p:cNvPr>
          <p:cNvSpPr/>
          <p:nvPr/>
        </p:nvSpPr>
        <p:spPr>
          <a:xfrm>
            <a:off x="6578101" y="2401787"/>
            <a:ext cx="5476801" cy="537029"/>
          </a:xfrm>
          <a:custGeom>
            <a:avLst/>
            <a:gdLst>
              <a:gd name="connsiteX0" fmla="*/ 217714 w 12554857"/>
              <a:gd name="connsiteY0" fmla="*/ 217715 h 537029"/>
              <a:gd name="connsiteX1" fmla="*/ 304800 w 12554857"/>
              <a:gd name="connsiteY1" fmla="*/ 130629 h 537029"/>
              <a:gd name="connsiteX2" fmla="*/ 348343 w 12554857"/>
              <a:gd name="connsiteY2" fmla="*/ 145143 h 537029"/>
              <a:gd name="connsiteX3" fmla="*/ 435428 w 12554857"/>
              <a:gd name="connsiteY3" fmla="*/ 101600 h 537029"/>
              <a:gd name="connsiteX4" fmla="*/ 478971 w 12554857"/>
              <a:gd name="connsiteY4" fmla="*/ 72572 h 537029"/>
              <a:gd name="connsiteX5" fmla="*/ 566057 w 12554857"/>
              <a:gd name="connsiteY5" fmla="*/ 87086 h 537029"/>
              <a:gd name="connsiteX6" fmla="*/ 609600 w 12554857"/>
              <a:gd name="connsiteY6" fmla="*/ 116115 h 537029"/>
              <a:gd name="connsiteX7" fmla="*/ 667657 w 12554857"/>
              <a:gd name="connsiteY7" fmla="*/ 130629 h 537029"/>
              <a:gd name="connsiteX8" fmla="*/ 754743 w 12554857"/>
              <a:gd name="connsiteY8" fmla="*/ 116115 h 537029"/>
              <a:gd name="connsiteX9" fmla="*/ 812800 w 12554857"/>
              <a:gd name="connsiteY9" fmla="*/ 87086 h 537029"/>
              <a:gd name="connsiteX10" fmla="*/ 856343 w 12554857"/>
              <a:gd name="connsiteY10" fmla="*/ 72572 h 537029"/>
              <a:gd name="connsiteX11" fmla="*/ 1016000 w 12554857"/>
              <a:gd name="connsiteY11" fmla="*/ 116115 h 537029"/>
              <a:gd name="connsiteX12" fmla="*/ 1103086 w 12554857"/>
              <a:gd name="connsiteY12" fmla="*/ 159657 h 537029"/>
              <a:gd name="connsiteX13" fmla="*/ 1146628 w 12554857"/>
              <a:gd name="connsiteY13" fmla="*/ 188686 h 537029"/>
              <a:gd name="connsiteX14" fmla="*/ 1190171 w 12554857"/>
              <a:gd name="connsiteY14" fmla="*/ 101600 h 537029"/>
              <a:gd name="connsiteX15" fmla="*/ 1233714 w 12554857"/>
              <a:gd name="connsiteY15" fmla="*/ 72572 h 537029"/>
              <a:gd name="connsiteX16" fmla="*/ 1451428 w 12554857"/>
              <a:gd name="connsiteY16" fmla="*/ 145143 h 537029"/>
              <a:gd name="connsiteX17" fmla="*/ 1524000 w 12554857"/>
              <a:gd name="connsiteY17" fmla="*/ 58057 h 537029"/>
              <a:gd name="connsiteX18" fmla="*/ 1567543 w 12554857"/>
              <a:gd name="connsiteY18" fmla="*/ 43543 h 537029"/>
              <a:gd name="connsiteX19" fmla="*/ 1640114 w 12554857"/>
              <a:gd name="connsiteY19" fmla="*/ 130629 h 537029"/>
              <a:gd name="connsiteX20" fmla="*/ 1727200 w 12554857"/>
              <a:gd name="connsiteY20" fmla="*/ 116115 h 537029"/>
              <a:gd name="connsiteX21" fmla="*/ 1886857 w 12554857"/>
              <a:gd name="connsiteY21" fmla="*/ 87086 h 537029"/>
              <a:gd name="connsiteX22" fmla="*/ 1973943 w 12554857"/>
              <a:gd name="connsiteY22" fmla="*/ 101600 h 537029"/>
              <a:gd name="connsiteX23" fmla="*/ 2017486 w 12554857"/>
              <a:gd name="connsiteY23" fmla="*/ 116115 h 537029"/>
              <a:gd name="connsiteX24" fmla="*/ 2061028 w 12554857"/>
              <a:gd name="connsiteY24" fmla="*/ 101600 h 537029"/>
              <a:gd name="connsiteX25" fmla="*/ 2119086 w 12554857"/>
              <a:gd name="connsiteY25" fmla="*/ 130629 h 537029"/>
              <a:gd name="connsiteX26" fmla="*/ 2162628 w 12554857"/>
              <a:gd name="connsiteY26" fmla="*/ 159657 h 537029"/>
              <a:gd name="connsiteX27" fmla="*/ 2307771 w 12554857"/>
              <a:gd name="connsiteY27" fmla="*/ 130629 h 537029"/>
              <a:gd name="connsiteX28" fmla="*/ 2452914 w 12554857"/>
              <a:gd name="connsiteY28" fmla="*/ 101600 h 537029"/>
              <a:gd name="connsiteX29" fmla="*/ 2540000 w 12554857"/>
              <a:gd name="connsiteY29" fmla="*/ 116115 h 537029"/>
              <a:gd name="connsiteX30" fmla="*/ 2554514 w 12554857"/>
              <a:gd name="connsiteY30" fmla="*/ 72572 h 537029"/>
              <a:gd name="connsiteX31" fmla="*/ 2598057 w 12554857"/>
              <a:gd name="connsiteY31" fmla="*/ 58057 h 537029"/>
              <a:gd name="connsiteX32" fmla="*/ 2714171 w 12554857"/>
              <a:gd name="connsiteY32" fmla="*/ 101600 h 537029"/>
              <a:gd name="connsiteX33" fmla="*/ 2757714 w 12554857"/>
              <a:gd name="connsiteY33" fmla="*/ 145143 h 537029"/>
              <a:gd name="connsiteX34" fmla="*/ 2830286 w 12554857"/>
              <a:gd name="connsiteY34" fmla="*/ 72572 h 537029"/>
              <a:gd name="connsiteX35" fmla="*/ 2902857 w 12554857"/>
              <a:gd name="connsiteY35" fmla="*/ 87086 h 537029"/>
              <a:gd name="connsiteX36" fmla="*/ 2989943 w 12554857"/>
              <a:gd name="connsiteY36" fmla="*/ 130629 h 537029"/>
              <a:gd name="connsiteX37" fmla="*/ 3062514 w 12554857"/>
              <a:gd name="connsiteY37" fmla="*/ 116115 h 537029"/>
              <a:gd name="connsiteX38" fmla="*/ 3120571 w 12554857"/>
              <a:gd name="connsiteY38" fmla="*/ 87086 h 537029"/>
              <a:gd name="connsiteX39" fmla="*/ 3352800 w 12554857"/>
              <a:gd name="connsiteY39" fmla="*/ 87086 h 537029"/>
              <a:gd name="connsiteX40" fmla="*/ 3512457 w 12554857"/>
              <a:gd name="connsiteY40" fmla="*/ 87086 h 537029"/>
              <a:gd name="connsiteX41" fmla="*/ 3556000 w 12554857"/>
              <a:gd name="connsiteY41" fmla="*/ 116115 h 537029"/>
              <a:gd name="connsiteX42" fmla="*/ 3599543 w 12554857"/>
              <a:gd name="connsiteY42" fmla="*/ 130629 h 537029"/>
              <a:gd name="connsiteX43" fmla="*/ 3730171 w 12554857"/>
              <a:gd name="connsiteY43" fmla="*/ 58057 h 537029"/>
              <a:gd name="connsiteX44" fmla="*/ 3788228 w 12554857"/>
              <a:gd name="connsiteY44" fmla="*/ 72572 h 537029"/>
              <a:gd name="connsiteX45" fmla="*/ 3889828 w 12554857"/>
              <a:gd name="connsiteY45" fmla="*/ 130629 h 537029"/>
              <a:gd name="connsiteX46" fmla="*/ 3933371 w 12554857"/>
              <a:gd name="connsiteY46" fmla="*/ 174172 h 537029"/>
              <a:gd name="connsiteX47" fmla="*/ 3991428 w 12554857"/>
              <a:gd name="connsiteY47" fmla="*/ 130629 h 537029"/>
              <a:gd name="connsiteX48" fmla="*/ 4034971 w 12554857"/>
              <a:gd name="connsiteY48" fmla="*/ 101600 h 537029"/>
              <a:gd name="connsiteX49" fmla="*/ 4093028 w 12554857"/>
              <a:gd name="connsiteY49" fmla="*/ 116115 h 537029"/>
              <a:gd name="connsiteX50" fmla="*/ 4209143 w 12554857"/>
              <a:gd name="connsiteY50" fmla="*/ 116115 h 537029"/>
              <a:gd name="connsiteX51" fmla="*/ 4296228 w 12554857"/>
              <a:gd name="connsiteY51" fmla="*/ 87086 h 537029"/>
              <a:gd name="connsiteX52" fmla="*/ 4339771 w 12554857"/>
              <a:gd name="connsiteY52" fmla="*/ 58057 h 537029"/>
              <a:gd name="connsiteX53" fmla="*/ 4470400 w 12554857"/>
              <a:gd name="connsiteY53" fmla="*/ 87086 h 537029"/>
              <a:gd name="connsiteX54" fmla="*/ 4484914 w 12554857"/>
              <a:gd name="connsiteY54" fmla="*/ 29029 h 537029"/>
              <a:gd name="connsiteX55" fmla="*/ 4586514 w 12554857"/>
              <a:gd name="connsiteY55" fmla="*/ 58057 h 537029"/>
              <a:gd name="connsiteX56" fmla="*/ 4615543 w 12554857"/>
              <a:gd name="connsiteY56" fmla="*/ 101600 h 537029"/>
              <a:gd name="connsiteX57" fmla="*/ 4659086 w 12554857"/>
              <a:gd name="connsiteY57" fmla="*/ 130629 h 537029"/>
              <a:gd name="connsiteX58" fmla="*/ 4673600 w 12554857"/>
              <a:gd name="connsiteY58" fmla="*/ 174172 h 537029"/>
              <a:gd name="connsiteX59" fmla="*/ 4746171 w 12554857"/>
              <a:gd name="connsiteY59" fmla="*/ 159657 h 537029"/>
              <a:gd name="connsiteX60" fmla="*/ 4833257 w 12554857"/>
              <a:gd name="connsiteY60" fmla="*/ 130629 h 537029"/>
              <a:gd name="connsiteX61" fmla="*/ 4978400 w 12554857"/>
              <a:gd name="connsiteY61" fmla="*/ 145143 h 537029"/>
              <a:gd name="connsiteX62" fmla="*/ 5021943 w 12554857"/>
              <a:gd name="connsiteY62" fmla="*/ 174172 h 537029"/>
              <a:gd name="connsiteX63" fmla="*/ 5268686 w 12554857"/>
              <a:gd name="connsiteY63" fmla="*/ 159657 h 537029"/>
              <a:gd name="connsiteX64" fmla="*/ 5312228 w 12554857"/>
              <a:gd name="connsiteY64" fmla="*/ 130629 h 537029"/>
              <a:gd name="connsiteX65" fmla="*/ 5442857 w 12554857"/>
              <a:gd name="connsiteY65" fmla="*/ 188686 h 537029"/>
              <a:gd name="connsiteX66" fmla="*/ 5500914 w 12554857"/>
              <a:gd name="connsiteY66" fmla="*/ 174172 h 537029"/>
              <a:gd name="connsiteX67" fmla="*/ 5529943 w 12554857"/>
              <a:gd name="connsiteY67" fmla="*/ 130629 h 537029"/>
              <a:gd name="connsiteX68" fmla="*/ 5631543 w 12554857"/>
              <a:gd name="connsiteY68" fmla="*/ 116115 h 537029"/>
              <a:gd name="connsiteX69" fmla="*/ 5718628 w 12554857"/>
              <a:gd name="connsiteY69" fmla="*/ 130629 h 537029"/>
              <a:gd name="connsiteX70" fmla="*/ 5762171 w 12554857"/>
              <a:gd name="connsiteY70" fmla="*/ 159657 h 537029"/>
              <a:gd name="connsiteX71" fmla="*/ 5878286 w 12554857"/>
              <a:gd name="connsiteY71" fmla="*/ 174172 h 537029"/>
              <a:gd name="connsiteX72" fmla="*/ 6023428 w 12554857"/>
              <a:gd name="connsiteY72" fmla="*/ 159657 h 537029"/>
              <a:gd name="connsiteX73" fmla="*/ 6066971 w 12554857"/>
              <a:gd name="connsiteY73" fmla="*/ 174172 h 537029"/>
              <a:gd name="connsiteX74" fmla="*/ 6197600 w 12554857"/>
              <a:gd name="connsiteY74" fmla="*/ 130629 h 537029"/>
              <a:gd name="connsiteX75" fmla="*/ 6241143 w 12554857"/>
              <a:gd name="connsiteY75" fmla="*/ 116115 h 537029"/>
              <a:gd name="connsiteX76" fmla="*/ 6458857 w 12554857"/>
              <a:gd name="connsiteY76" fmla="*/ 72572 h 537029"/>
              <a:gd name="connsiteX77" fmla="*/ 6531428 w 12554857"/>
              <a:gd name="connsiteY77" fmla="*/ 43543 h 537029"/>
              <a:gd name="connsiteX78" fmla="*/ 6618514 w 12554857"/>
              <a:gd name="connsiteY78" fmla="*/ 0 h 537029"/>
              <a:gd name="connsiteX79" fmla="*/ 6705600 w 12554857"/>
              <a:gd name="connsiteY79" fmla="*/ 58057 h 537029"/>
              <a:gd name="connsiteX80" fmla="*/ 6792686 w 12554857"/>
              <a:gd name="connsiteY80" fmla="*/ 116115 h 537029"/>
              <a:gd name="connsiteX81" fmla="*/ 6836228 w 12554857"/>
              <a:gd name="connsiteY81" fmla="*/ 145143 h 537029"/>
              <a:gd name="connsiteX82" fmla="*/ 6894286 w 12554857"/>
              <a:gd name="connsiteY82" fmla="*/ 130629 h 537029"/>
              <a:gd name="connsiteX83" fmla="*/ 6952343 w 12554857"/>
              <a:gd name="connsiteY83" fmla="*/ 101600 h 537029"/>
              <a:gd name="connsiteX84" fmla="*/ 6995886 w 12554857"/>
              <a:gd name="connsiteY84" fmla="*/ 87086 h 537029"/>
              <a:gd name="connsiteX85" fmla="*/ 7082971 w 12554857"/>
              <a:gd name="connsiteY85" fmla="*/ 101600 h 537029"/>
              <a:gd name="connsiteX86" fmla="*/ 7126514 w 12554857"/>
              <a:gd name="connsiteY86" fmla="*/ 130629 h 537029"/>
              <a:gd name="connsiteX87" fmla="*/ 7184571 w 12554857"/>
              <a:gd name="connsiteY87" fmla="*/ 72572 h 537029"/>
              <a:gd name="connsiteX88" fmla="*/ 7242628 w 12554857"/>
              <a:gd name="connsiteY88" fmla="*/ 58057 h 537029"/>
              <a:gd name="connsiteX89" fmla="*/ 7286171 w 12554857"/>
              <a:gd name="connsiteY89" fmla="*/ 101600 h 537029"/>
              <a:gd name="connsiteX90" fmla="*/ 7315200 w 12554857"/>
              <a:gd name="connsiteY90" fmla="*/ 145143 h 537029"/>
              <a:gd name="connsiteX91" fmla="*/ 7373257 w 12554857"/>
              <a:gd name="connsiteY91" fmla="*/ 116115 h 537029"/>
              <a:gd name="connsiteX92" fmla="*/ 7416800 w 12554857"/>
              <a:gd name="connsiteY92" fmla="*/ 101600 h 537029"/>
              <a:gd name="connsiteX93" fmla="*/ 7503886 w 12554857"/>
              <a:gd name="connsiteY93" fmla="*/ 130629 h 537029"/>
              <a:gd name="connsiteX94" fmla="*/ 7590971 w 12554857"/>
              <a:gd name="connsiteY94" fmla="*/ 159657 h 537029"/>
              <a:gd name="connsiteX95" fmla="*/ 7663543 w 12554857"/>
              <a:gd name="connsiteY95" fmla="*/ 174172 h 537029"/>
              <a:gd name="connsiteX96" fmla="*/ 7707086 w 12554857"/>
              <a:gd name="connsiteY96" fmla="*/ 145143 h 537029"/>
              <a:gd name="connsiteX97" fmla="*/ 7823200 w 12554857"/>
              <a:gd name="connsiteY97" fmla="*/ 203200 h 537029"/>
              <a:gd name="connsiteX98" fmla="*/ 7866743 w 12554857"/>
              <a:gd name="connsiteY98" fmla="*/ 159657 h 537029"/>
              <a:gd name="connsiteX99" fmla="*/ 7924800 w 12554857"/>
              <a:gd name="connsiteY99" fmla="*/ 145143 h 537029"/>
              <a:gd name="connsiteX100" fmla="*/ 7953828 w 12554857"/>
              <a:gd name="connsiteY100" fmla="*/ 188686 h 537029"/>
              <a:gd name="connsiteX101" fmla="*/ 8084457 w 12554857"/>
              <a:gd name="connsiteY101" fmla="*/ 217715 h 537029"/>
              <a:gd name="connsiteX102" fmla="*/ 8128000 w 12554857"/>
              <a:gd name="connsiteY102" fmla="*/ 275772 h 537029"/>
              <a:gd name="connsiteX103" fmla="*/ 8171543 w 12554857"/>
              <a:gd name="connsiteY103" fmla="*/ 246743 h 537029"/>
              <a:gd name="connsiteX104" fmla="*/ 8215086 w 12554857"/>
              <a:gd name="connsiteY104" fmla="*/ 290286 h 537029"/>
              <a:gd name="connsiteX105" fmla="*/ 8229600 w 12554857"/>
              <a:gd name="connsiteY105" fmla="*/ 246743 h 537029"/>
              <a:gd name="connsiteX106" fmla="*/ 8360228 w 12554857"/>
              <a:gd name="connsiteY106" fmla="*/ 130629 h 537029"/>
              <a:gd name="connsiteX107" fmla="*/ 8403771 w 12554857"/>
              <a:gd name="connsiteY107" fmla="*/ 145143 h 537029"/>
              <a:gd name="connsiteX108" fmla="*/ 8476343 w 12554857"/>
              <a:gd name="connsiteY108" fmla="*/ 232229 h 537029"/>
              <a:gd name="connsiteX109" fmla="*/ 8534400 w 12554857"/>
              <a:gd name="connsiteY109" fmla="*/ 159657 h 537029"/>
              <a:gd name="connsiteX110" fmla="*/ 8563428 w 12554857"/>
              <a:gd name="connsiteY110" fmla="*/ 203200 h 537029"/>
              <a:gd name="connsiteX111" fmla="*/ 8636000 w 12554857"/>
              <a:gd name="connsiteY111" fmla="*/ 145143 h 537029"/>
              <a:gd name="connsiteX112" fmla="*/ 8737600 w 12554857"/>
              <a:gd name="connsiteY112" fmla="*/ 101600 h 537029"/>
              <a:gd name="connsiteX113" fmla="*/ 8911771 w 12554857"/>
              <a:gd name="connsiteY113" fmla="*/ 116115 h 537029"/>
              <a:gd name="connsiteX114" fmla="*/ 8955314 w 12554857"/>
              <a:gd name="connsiteY114" fmla="*/ 159657 h 537029"/>
              <a:gd name="connsiteX115" fmla="*/ 9013371 w 12554857"/>
              <a:gd name="connsiteY115" fmla="*/ 188686 h 537029"/>
              <a:gd name="connsiteX116" fmla="*/ 9100457 w 12554857"/>
              <a:gd name="connsiteY116" fmla="*/ 174172 h 537029"/>
              <a:gd name="connsiteX117" fmla="*/ 9114971 w 12554857"/>
              <a:gd name="connsiteY117" fmla="*/ 116115 h 537029"/>
              <a:gd name="connsiteX118" fmla="*/ 9158514 w 12554857"/>
              <a:gd name="connsiteY118" fmla="*/ 101600 h 537029"/>
              <a:gd name="connsiteX119" fmla="*/ 9390743 w 12554857"/>
              <a:gd name="connsiteY119" fmla="*/ 130629 h 537029"/>
              <a:gd name="connsiteX120" fmla="*/ 9506857 w 12554857"/>
              <a:gd name="connsiteY120" fmla="*/ 101600 h 537029"/>
              <a:gd name="connsiteX121" fmla="*/ 9593943 w 12554857"/>
              <a:gd name="connsiteY121" fmla="*/ 58057 h 537029"/>
              <a:gd name="connsiteX122" fmla="*/ 9666514 w 12554857"/>
              <a:gd name="connsiteY122" fmla="*/ 87086 h 537029"/>
              <a:gd name="connsiteX123" fmla="*/ 9739086 w 12554857"/>
              <a:gd name="connsiteY123" fmla="*/ 130629 h 537029"/>
              <a:gd name="connsiteX124" fmla="*/ 9826171 w 12554857"/>
              <a:gd name="connsiteY124" fmla="*/ 174172 h 537029"/>
              <a:gd name="connsiteX125" fmla="*/ 9869714 w 12554857"/>
              <a:gd name="connsiteY125" fmla="*/ 188686 h 537029"/>
              <a:gd name="connsiteX126" fmla="*/ 9942286 w 12554857"/>
              <a:gd name="connsiteY126" fmla="*/ 174172 h 537029"/>
              <a:gd name="connsiteX127" fmla="*/ 9985828 w 12554857"/>
              <a:gd name="connsiteY127" fmla="*/ 188686 h 537029"/>
              <a:gd name="connsiteX128" fmla="*/ 10058400 w 12554857"/>
              <a:gd name="connsiteY128" fmla="*/ 159657 h 537029"/>
              <a:gd name="connsiteX129" fmla="*/ 10174514 w 12554857"/>
              <a:gd name="connsiteY129" fmla="*/ 43543 h 537029"/>
              <a:gd name="connsiteX130" fmla="*/ 10218057 w 12554857"/>
              <a:gd name="connsiteY130" fmla="*/ 29029 h 537029"/>
              <a:gd name="connsiteX131" fmla="*/ 10464800 w 12554857"/>
              <a:gd name="connsiteY131" fmla="*/ 58057 h 537029"/>
              <a:gd name="connsiteX132" fmla="*/ 10580914 w 12554857"/>
              <a:gd name="connsiteY132" fmla="*/ 72572 h 537029"/>
              <a:gd name="connsiteX133" fmla="*/ 10638971 w 12554857"/>
              <a:gd name="connsiteY133" fmla="*/ 116115 h 537029"/>
              <a:gd name="connsiteX134" fmla="*/ 10682514 w 12554857"/>
              <a:gd name="connsiteY134" fmla="*/ 72572 h 537029"/>
              <a:gd name="connsiteX135" fmla="*/ 10769600 w 12554857"/>
              <a:gd name="connsiteY135" fmla="*/ 29029 h 537029"/>
              <a:gd name="connsiteX136" fmla="*/ 10827657 w 12554857"/>
              <a:gd name="connsiteY136" fmla="*/ 58057 h 537029"/>
              <a:gd name="connsiteX137" fmla="*/ 10958286 w 12554857"/>
              <a:gd name="connsiteY137" fmla="*/ 130629 h 537029"/>
              <a:gd name="connsiteX138" fmla="*/ 11030857 w 12554857"/>
              <a:gd name="connsiteY138" fmla="*/ 116115 h 537029"/>
              <a:gd name="connsiteX139" fmla="*/ 11074400 w 12554857"/>
              <a:gd name="connsiteY139" fmla="*/ 101600 h 537029"/>
              <a:gd name="connsiteX140" fmla="*/ 11176000 w 12554857"/>
              <a:gd name="connsiteY140" fmla="*/ 130629 h 537029"/>
              <a:gd name="connsiteX141" fmla="*/ 11205028 w 12554857"/>
              <a:gd name="connsiteY141" fmla="*/ 174172 h 537029"/>
              <a:gd name="connsiteX142" fmla="*/ 11393714 w 12554857"/>
              <a:gd name="connsiteY142" fmla="*/ 116115 h 537029"/>
              <a:gd name="connsiteX143" fmla="*/ 11437257 w 12554857"/>
              <a:gd name="connsiteY143" fmla="*/ 130629 h 537029"/>
              <a:gd name="connsiteX144" fmla="*/ 11480800 w 12554857"/>
              <a:gd name="connsiteY144" fmla="*/ 159657 h 537029"/>
              <a:gd name="connsiteX145" fmla="*/ 11524343 w 12554857"/>
              <a:gd name="connsiteY145" fmla="*/ 145143 h 537029"/>
              <a:gd name="connsiteX146" fmla="*/ 11582400 w 12554857"/>
              <a:gd name="connsiteY146" fmla="*/ 159657 h 537029"/>
              <a:gd name="connsiteX147" fmla="*/ 11654971 w 12554857"/>
              <a:gd name="connsiteY147" fmla="*/ 188686 h 537029"/>
              <a:gd name="connsiteX148" fmla="*/ 11698514 w 12554857"/>
              <a:gd name="connsiteY148" fmla="*/ 203200 h 537029"/>
              <a:gd name="connsiteX149" fmla="*/ 11814628 w 12554857"/>
              <a:gd name="connsiteY149" fmla="*/ 72572 h 537029"/>
              <a:gd name="connsiteX150" fmla="*/ 11858171 w 12554857"/>
              <a:gd name="connsiteY150" fmla="*/ 58057 h 537029"/>
              <a:gd name="connsiteX151" fmla="*/ 11901714 w 12554857"/>
              <a:gd name="connsiteY151" fmla="*/ 72572 h 537029"/>
              <a:gd name="connsiteX152" fmla="*/ 11959771 w 12554857"/>
              <a:gd name="connsiteY152" fmla="*/ 58057 h 537029"/>
              <a:gd name="connsiteX153" fmla="*/ 12003314 w 12554857"/>
              <a:gd name="connsiteY153" fmla="*/ 87086 h 537029"/>
              <a:gd name="connsiteX154" fmla="*/ 12061371 w 12554857"/>
              <a:gd name="connsiteY154" fmla="*/ 174172 h 537029"/>
              <a:gd name="connsiteX155" fmla="*/ 12104914 w 12554857"/>
              <a:gd name="connsiteY155" fmla="*/ 217715 h 537029"/>
              <a:gd name="connsiteX156" fmla="*/ 12119428 w 12554857"/>
              <a:gd name="connsiteY156" fmla="*/ 145143 h 537029"/>
              <a:gd name="connsiteX157" fmla="*/ 12192000 w 12554857"/>
              <a:gd name="connsiteY157" fmla="*/ 159657 h 537029"/>
              <a:gd name="connsiteX158" fmla="*/ 12235543 w 12554857"/>
              <a:gd name="connsiteY158" fmla="*/ 72572 h 537029"/>
              <a:gd name="connsiteX159" fmla="*/ 12322628 w 12554857"/>
              <a:gd name="connsiteY159" fmla="*/ 72572 h 537029"/>
              <a:gd name="connsiteX160" fmla="*/ 12453257 w 12554857"/>
              <a:gd name="connsiteY160" fmla="*/ 87086 h 537029"/>
              <a:gd name="connsiteX161" fmla="*/ 12496800 w 12554857"/>
              <a:gd name="connsiteY161" fmla="*/ 116115 h 537029"/>
              <a:gd name="connsiteX162" fmla="*/ 12525828 w 12554857"/>
              <a:gd name="connsiteY162" fmla="*/ 203200 h 537029"/>
              <a:gd name="connsiteX163" fmla="*/ 12554857 w 12554857"/>
              <a:gd name="connsiteY163" fmla="*/ 246743 h 537029"/>
              <a:gd name="connsiteX164" fmla="*/ 12540343 w 12554857"/>
              <a:gd name="connsiteY164" fmla="*/ 304800 h 537029"/>
              <a:gd name="connsiteX165" fmla="*/ 12453257 w 12554857"/>
              <a:gd name="connsiteY165" fmla="*/ 333829 h 537029"/>
              <a:gd name="connsiteX166" fmla="*/ 12409714 w 12554857"/>
              <a:gd name="connsiteY166" fmla="*/ 362857 h 537029"/>
              <a:gd name="connsiteX167" fmla="*/ 12322628 w 12554857"/>
              <a:gd name="connsiteY167" fmla="*/ 377372 h 537029"/>
              <a:gd name="connsiteX168" fmla="*/ 11785600 w 12554857"/>
              <a:gd name="connsiteY168" fmla="*/ 391886 h 537029"/>
              <a:gd name="connsiteX169" fmla="*/ 11190514 w 12554857"/>
              <a:gd name="connsiteY169" fmla="*/ 420915 h 537029"/>
              <a:gd name="connsiteX170" fmla="*/ 11088914 w 12554857"/>
              <a:gd name="connsiteY170" fmla="*/ 435429 h 537029"/>
              <a:gd name="connsiteX171" fmla="*/ 10464800 w 12554857"/>
              <a:gd name="connsiteY171" fmla="*/ 464457 h 537029"/>
              <a:gd name="connsiteX172" fmla="*/ 10276114 w 12554857"/>
              <a:gd name="connsiteY172" fmla="*/ 493486 h 537029"/>
              <a:gd name="connsiteX173" fmla="*/ 10101943 w 12554857"/>
              <a:gd name="connsiteY173" fmla="*/ 508000 h 537029"/>
              <a:gd name="connsiteX174" fmla="*/ 9506857 w 12554857"/>
              <a:gd name="connsiteY174" fmla="*/ 537029 h 537029"/>
              <a:gd name="connsiteX175" fmla="*/ 7765143 w 12554857"/>
              <a:gd name="connsiteY175" fmla="*/ 537029 h 537029"/>
              <a:gd name="connsiteX176" fmla="*/ 2061028 w 12554857"/>
              <a:gd name="connsiteY176" fmla="*/ 522515 h 537029"/>
              <a:gd name="connsiteX177" fmla="*/ 1625600 w 12554857"/>
              <a:gd name="connsiteY177" fmla="*/ 493486 h 537029"/>
              <a:gd name="connsiteX178" fmla="*/ 1422400 w 12554857"/>
              <a:gd name="connsiteY178" fmla="*/ 478972 h 537029"/>
              <a:gd name="connsiteX179" fmla="*/ 391886 w 12554857"/>
              <a:gd name="connsiteY179" fmla="*/ 464457 h 537029"/>
              <a:gd name="connsiteX180" fmla="*/ 275771 w 12554857"/>
              <a:gd name="connsiteY180" fmla="*/ 449943 h 537029"/>
              <a:gd name="connsiteX181" fmla="*/ 43543 w 12554857"/>
              <a:gd name="connsiteY181" fmla="*/ 406400 h 537029"/>
              <a:gd name="connsiteX182" fmla="*/ 14514 w 12554857"/>
              <a:gd name="connsiteY182" fmla="*/ 362857 h 537029"/>
              <a:gd name="connsiteX183" fmla="*/ 0 w 12554857"/>
              <a:gd name="connsiteY183" fmla="*/ 319315 h 537029"/>
              <a:gd name="connsiteX184" fmla="*/ 261257 w 12554857"/>
              <a:gd name="connsiteY184" fmla="*/ 232229 h 537029"/>
              <a:gd name="connsiteX185" fmla="*/ 217714 w 12554857"/>
              <a:gd name="connsiteY185" fmla="*/ 217715 h 53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4857" h="537029">
                <a:moveTo>
                  <a:pt x="217714" y="217715"/>
                </a:moveTo>
                <a:cubicBezTo>
                  <a:pt x="224971" y="200782"/>
                  <a:pt x="248555" y="130629"/>
                  <a:pt x="304800" y="130629"/>
                </a:cubicBezTo>
                <a:cubicBezTo>
                  <a:pt x="320099" y="130629"/>
                  <a:pt x="333829" y="140305"/>
                  <a:pt x="348343" y="145143"/>
                </a:cubicBezTo>
                <a:cubicBezTo>
                  <a:pt x="473132" y="61952"/>
                  <a:pt x="315245" y="161692"/>
                  <a:pt x="435428" y="101600"/>
                </a:cubicBezTo>
                <a:cubicBezTo>
                  <a:pt x="451030" y="93799"/>
                  <a:pt x="464457" y="82248"/>
                  <a:pt x="478971" y="72572"/>
                </a:cubicBezTo>
                <a:cubicBezTo>
                  <a:pt x="508000" y="77410"/>
                  <a:pt x="538138" y="77780"/>
                  <a:pt x="566057" y="87086"/>
                </a:cubicBezTo>
                <a:cubicBezTo>
                  <a:pt x="582606" y="92602"/>
                  <a:pt x="593566" y="109243"/>
                  <a:pt x="609600" y="116115"/>
                </a:cubicBezTo>
                <a:cubicBezTo>
                  <a:pt x="627935" y="123973"/>
                  <a:pt x="648305" y="125791"/>
                  <a:pt x="667657" y="130629"/>
                </a:cubicBezTo>
                <a:cubicBezTo>
                  <a:pt x="696686" y="125791"/>
                  <a:pt x="726555" y="124571"/>
                  <a:pt x="754743" y="116115"/>
                </a:cubicBezTo>
                <a:cubicBezTo>
                  <a:pt x="775467" y="109898"/>
                  <a:pt x="792913" y="95609"/>
                  <a:pt x="812800" y="87086"/>
                </a:cubicBezTo>
                <a:cubicBezTo>
                  <a:pt x="826862" y="81059"/>
                  <a:pt x="841829" y="77410"/>
                  <a:pt x="856343" y="72572"/>
                </a:cubicBezTo>
                <a:cubicBezTo>
                  <a:pt x="966832" y="109401"/>
                  <a:pt x="913424" y="95599"/>
                  <a:pt x="1016000" y="116115"/>
                </a:cubicBezTo>
                <a:cubicBezTo>
                  <a:pt x="1140802" y="199314"/>
                  <a:pt x="982890" y="99558"/>
                  <a:pt x="1103086" y="159657"/>
                </a:cubicBezTo>
                <a:cubicBezTo>
                  <a:pt x="1118688" y="167458"/>
                  <a:pt x="1132114" y="179010"/>
                  <a:pt x="1146628" y="188686"/>
                </a:cubicBezTo>
                <a:cubicBezTo>
                  <a:pt x="1158433" y="153274"/>
                  <a:pt x="1162036" y="129735"/>
                  <a:pt x="1190171" y="101600"/>
                </a:cubicBezTo>
                <a:cubicBezTo>
                  <a:pt x="1202506" y="89265"/>
                  <a:pt x="1219200" y="82248"/>
                  <a:pt x="1233714" y="72572"/>
                </a:cubicBezTo>
                <a:cubicBezTo>
                  <a:pt x="1357253" y="154931"/>
                  <a:pt x="1286125" y="126776"/>
                  <a:pt x="1451428" y="145143"/>
                </a:cubicBezTo>
                <a:cubicBezTo>
                  <a:pt x="1472848" y="113014"/>
                  <a:pt x="1490474" y="80408"/>
                  <a:pt x="1524000" y="58057"/>
                </a:cubicBezTo>
                <a:cubicBezTo>
                  <a:pt x="1536730" y="49570"/>
                  <a:pt x="1553029" y="48381"/>
                  <a:pt x="1567543" y="43543"/>
                </a:cubicBezTo>
                <a:cubicBezTo>
                  <a:pt x="1579053" y="60808"/>
                  <a:pt x="1618248" y="125770"/>
                  <a:pt x="1640114" y="130629"/>
                </a:cubicBezTo>
                <a:cubicBezTo>
                  <a:pt x="1668842" y="137013"/>
                  <a:pt x="1698113" y="120590"/>
                  <a:pt x="1727200" y="116115"/>
                </a:cubicBezTo>
                <a:cubicBezTo>
                  <a:pt x="1862410" y="95313"/>
                  <a:pt x="1787528" y="111918"/>
                  <a:pt x="1886857" y="87086"/>
                </a:cubicBezTo>
                <a:cubicBezTo>
                  <a:pt x="1915886" y="91924"/>
                  <a:pt x="1945215" y="95216"/>
                  <a:pt x="1973943" y="101600"/>
                </a:cubicBezTo>
                <a:cubicBezTo>
                  <a:pt x="1988878" y="104919"/>
                  <a:pt x="2002186" y="116115"/>
                  <a:pt x="2017486" y="116115"/>
                </a:cubicBezTo>
                <a:cubicBezTo>
                  <a:pt x="2032785" y="116115"/>
                  <a:pt x="2046514" y="106438"/>
                  <a:pt x="2061028" y="101600"/>
                </a:cubicBezTo>
                <a:cubicBezTo>
                  <a:pt x="2080381" y="111276"/>
                  <a:pt x="2100300" y="119894"/>
                  <a:pt x="2119086" y="130629"/>
                </a:cubicBezTo>
                <a:cubicBezTo>
                  <a:pt x="2134231" y="139283"/>
                  <a:pt x="2145184" y="159657"/>
                  <a:pt x="2162628" y="159657"/>
                </a:cubicBezTo>
                <a:cubicBezTo>
                  <a:pt x="2211967" y="159657"/>
                  <a:pt x="2259277" y="139721"/>
                  <a:pt x="2307771" y="130629"/>
                </a:cubicBezTo>
                <a:cubicBezTo>
                  <a:pt x="2450111" y="103941"/>
                  <a:pt x="2342191" y="129282"/>
                  <a:pt x="2452914" y="101600"/>
                </a:cubicBezTo>
                <a:cubicBezTo>
                  <a:pt x="2481943" y="106438"/>
                  <a:pt x="2511703" y="124200"/>
                  <a:pt x="2540000" y="116115"/>
                </a:cubicBezTo>
                <a:cubicBezTo>
                  <a:pt x="2554711" y="111912"/>
                  <a:pt x="2543696" y="83390"/>
                  <a:pt x="2554514" y="72572"/>
                </a:cubicBezTo>
                <a:cubicBezTo>
                  <a:pt x="2565332" y="61754"/>
                  <a:pt x="2583543" y="62895"/>
                  <a:pt x="2598057" y="58057"/>
                </a:cubicBezTo>
                <a:cubicBezTo>
                  <a:pt x="2644806" y="69745"/>
                  <a:pt x="2673304" y="72410"/>
                  <a:pt x="2714171" y="101600"/>
                </a:cubicBezTo>
                <a:cubicBezTo>
                  <a:pt x="2730874" y="113531"/>
                  <a:pt x="2743200" y="130629"/>
                  <a:pt x="2757714" y="145143"/>
                </a:cubicBezTo>
                <a:cubicBezTo>
                  <a:pt x="2773548" y="121392"/>
                  <a:pt x="2795099" y="76970"/>
                  <a:pt x="2830286" y="72572"/>
                </a:cubicBezTo>
                <a:cubicBezTo>
                  <a:pt x="2854765" y="69512"/>
                  <a:pt x="2878667" y="82248"/>
                  <a:pt x="2902857" y="87086"/>
                </a:cubicBezTo>
                <a:cubicBezTo>
                  <a:pt x="2924873" y="101764"/>
                  <a:pt x="2959896" y="130629"/>
                  <a:pt x="2989943" y="130629"/>
                </a:cubicBezTo>
                <a:cubicBezTo>
                  <a:pt x="3014612" y="130629"/>
                  <a:pt x="3038324" y="120953"/>
                  <a:pt x="3062514" y="116115"/>
                </a:cubicBezTo>
                <a:cubicBezTo>
                  <a:pt x="3081866" y="106439"/>
                  <a:pt x="3099847" y="93303"/>
                  <a:pt x="3120571" y="87086"/>
                </a:cubicBezTo>
                <a:cubicBezTo>
                  <a:pt x="3210600" y="60077"/>
                  <a:pt x="3252751" y="77081"/>
                  <a:pt x="3352800" y="87086"/>
                </a:cubicBezTo>
                <a:cubicBezTo>
                  <a:pt x="3423829" y="69329"/>
                  <a:pt x="3425781" y="61083"/>
                  <a:pt x="3512457" y="87086"/>
                </a:cubicBezTo>
                <a:cubicBezTo>
                  <a:pt x="3529165" y="92099"/>
                  <a:pt x="3540398" y="108314"/>
                  <a:pt x="3556000" y="116115"/>
                </a:cubicBezTo>
                <a:cubicBezTo>
                  <a:pt x="3569684" y="122957"/>
                  <a:pt x="3585029" y="125791"/>
                  <a:pt x="3599543" y="130629"/>
                </a:cubicBezTo>
                <a:cubicBezTo>
                  <a:pt x="3699358" y="64085"/>
                  <a:pt x="3653531" y="83605"/>
                  <a:pt x="3730171" y="58057"/>
                </a:cubicBezTo>
                <a:cubicBezTo>
                  <a:pt x="3749523" y="62895"/>
                  <a:pt x="3769550" y="65568"/>
                  <a:pt x="3788228" y="72572"/>
                </a:cubicBezTo>
                <a:cubicBezTo>
                  <a:pt x="3814046" y="82254"/>
                  <a:pt x="3866855" y="111484"/>
                  <a:pt x="3889828" y="130629"/>
                </a:cubicBezTo>
                <a:cubicBezTo>
                  <a:pt x="3905597" y="143770"/>
                  <a:pt x="3918857" y="159658"/>
                  <a:pt x="3933371" y="174172"/>
                </a:cubicBezTo>
                <a:cubicBezTo>
                  <a:pt x="3952723" y="159658"/>
                  <a:pt x="3971743" y="144689"/>
                  <a:pt x="3991428" y="130629"/>
                </a:cubicBezTo>
                <a:cubicBezTo>
                  <a:pt x="4005623" y="120490"/>
                  <a:pt x="4017702" y="104067"/>
                  <a:pt x="4034971" y="101600"/>
                </a:cubicBezTo>
                <a:cubicBezTo>
                  <a:pt x="4054719" y="98779"/>
                  <a:pt x="4073676" y="111277"/>
                  <a:pt x="4093028" y="116115"/>
                </a:cubicBezTo>
                <a:cubicBezTo>
                  <a:pt x="4160346" y="160993"/>
                  <a:pt x="4117243" y="149533"/>
                  <a:pt x="4209143" y="116115"/>
                </a:cubicBezTo>
                <a:cubicBezTo>
                  <a:pt x="4237899" y="105658"/>
                  <a:pt x="4296228" y="87086"/>
                  <a:pt x="4296228" y="87086"/>
                </a:cubicBezTo>
                <a:cubicBezTo>
                  <a:pt x="4310742" y="77410"/>
                  <a:pt x="4322434" y="59983"/>
                  <a:pt x="4339771" y="58057"/>
                </a:cubicBezTo>
                <a:cubicBezTo>
                  <a:pt x="4378085" y="53800"/>
                  <a:pt x="4432139" y="74333"/>
                  <a:pt x="4470400" y="87086"/>
                </a:cubicBezTo>
                <a:cubicBezTo>
                  <a:pt x="4475238" y="67734"/>
                  <a:pt x="4472453" y="44606"/>
                  <a:pt x="4484914" y="29029"/>
                </a:cubicBezTo>
                <a:cubicBezTo>
                  <a:pt x="4520930" y="-15991"/>
                  <a:pt x="4564403" y="41474"/>
                  <a:pt x="4586514" y="58057"/>
                </a:cubicBezTo>
                <a:cubicBezTo>
                  <a:pt x="4596190" y="72571"/>
                  <a:pt x="4603208" y="89265"/>
                  <a:pt x="4615543" y="101600"/>
                </a:cubicBezTo>
                <a:cubicBezTo>
                  <a:pt x="4627878" y="113935"/>
                  <a:pt x="4648189" y="117007"/>
                  <a:pt x="4659086" y="130629"/>
                </a:cubicBezTo>
                <a:cubicBezTo>
                  <a:pt x="4668643" y="142576"/>
                  <a:pt x="4668762" y="159658"/>
                  <a:pt x="4673600" y="174172"/>
                </a:cubicBezTo>
                <a:cubicBezTo>
                  <a:pt x="4697790" y="169334"/>
                  <a:pt x="4722371" y="166148"/>
                  <a:pt x="4746171" y="159657"/>
                </a:cubicBezTo>
                <a:cubicBezTo>
                  <a:pt x="4775692" y="151606"/>
                  <a:pt x="4833257" y="130629"/>
                  <a:pt x="4833257" y="130629"/>
                </a:cubicBezTo>
                <a:cubicBezTo>
                  <a:pt x="4881638" y="135467"/>
                  <a:pt x="4931023" y="134210"/>
                  <a:pt x="4978400" y="145143"/>
                </a:cubicBezTo>
                <a:cubicBezTo>
                  <a:pt x="4995397" y="149065"/>
                  <a:pt x="5004521" y="173301"/>
                  <a:pt x="5021943" y="174172"/>
                </a:cubicBezTo>
                <a:lnTo>
                  <a:pt x="5268686" y="159657"/>
                </a:lnTo>
                <a:cubicBezTo>
                  <a:pt x="5283200" y="149981"/>
                  <a:pt x="5294891" y="132555"/>
                  <a:pt x="5312228" y="130629"/>
                </a:cubicBezTo>
                <a:cubicBezTo>
                  <a:pt x="5392728" y="121685"/>
                  <a:pt x="5397220" y="143049"/>
                  <a:pt x="5442857" y="188686"/>
                </a:cubicBezTo>
                <a:cubicBezTo>
                  <a:pt x="5462209" y="183848"/>
                  <a:pt x="5484316" y="185237"/>
                  <a:pt x="5500914" y="174172"/>
                </a:cubicBezTo>
                <a:cubicBezTo>
                  <a:pt x="5515428" y="164496"/>
                  <a:pt x="5514002" y="137714"/>
                  <a:pt x="5529943" y="130629"/>
                </a:cubicBezTo>
                <a:cubicBezTo>
                  <a:pt x="5561205" y="116735"/>
                  <a:pt x="5597676" y="120953"/>
                  <a:pt x="5631543" y="116115"/>
                </a:cubicBezTo>
                <a:cubicBezTo>
                  <a:pt x="5660571" y="120953"/>
                  <a:pt x="5690709" y="121323"/>
                  <a:pt x="5718628" y="130629"/>
                </a:cubicBezTo>
                <a:cubicBezTo>
                  <a:pt x="5735177" y="136145"/>
                  <a:pt x="5745342" y="155067"/>
                  <a:pt x="5762171" y="159657"/>
                </a:cubicBezTo>
                <a:cubicBezTo>
                  <a:pt x="5799803" y="169920"/>
                  <a:pt x="5839581" y="169334"/>
                  <a:pt x="5878286" y="174172"/>
                </a:cubicBezTo>
                <a:cubicBezTo>
                  <a:pt x="5976529" y="141424"/>
                  <a:pt x="5940749" y="136034"/>
                  <a:pt x="6023428" y="159657"/>
                </a:cubicBezTo>
                <a:cubicBezTo>
                  <a:pt x="6038139" y="163860"/>
                  <a:pt x="6052457" y="169334"/>
                  <a:pt x="6066971" y="174172"/>
                </a:cubicBezTo>
                <a:cubicBezTo>
                  <a:pt x="6163543" y="125885"/>
                  <a:pt x="6085055" y="158764"/>
                  <a:pt x="6197600" y="130629"/>
                </a:cubicBezTo>
                <a:cubicBezTo>
                  <a:pt x="6212443" y="126918"/>
                  <a:pt x="6226208" y="119434"/>
                  <a:pt x="6241143" y="116115"/>
                </a:cubicBezTo>
                <a:cubicBezTo>
                  <a:pt x="6313389" y="100060"/>
                  <a:pt x="6458857" y="72572"/>
                  <a:pt x="6458857" y="72572"/>
                </a:cubicBezTo>
                <a:cubicBezTo>
                  <a:pt x="6483047" y="62896"/>
                  <a:pt x="6508125" y="55195"/>
                  <a:pt x="6531428" y="43543"/>
                </a:cubicBezTo>
                <a:cubicBezTo>
                  <a:pt x="6643974" y="-12730"/>
                  <a:pt x="6509067" y="36484"/>
                  <a:pt x="6618514" y="0"/>
                </a:cubicBezTo>
                <a:cubicBezTo>
                  <a:pt x="6701788" y="27759"/>
                  <a:pt x="6624059" y="-5363"/>
                  <a:pt x="6705600" y="58057"/>
                </a:cubicBezTo>
                <a:cubicBezTo>
                  <a:pt x="6733139" y="79476"/>
                  <a:pt x="6763657" y="96762"/>
                  <a:pt x="6792686" y="116115"/>
                </a:cubicBezTo>
                <a:lnTo>
                  <a:pt x="6836228" y="145143"/>
                </a:lnTo>
                <a:cubicBezTo>
                  <a:pt x="6855581" y="140305"/>
                  <a:pt x="6875608" y="137633"/>
                  <a:pt x="6894286" y="130629"/>
                </a:cubicBezTo>
                <a:cubicBezTo>
                  <a:pt x="6914545" y="123032"/>
                  <a:pt x="6932456" y="110123"/>
                  <a:pt x="6952343" y="101600"/>
                </a:cubicBezTo>
                <a:cubicBezTo>
                  <a:pt x="6966405" y="95573"/>
                  <a:pt x="6981372" y="91924"/>
                  <a:pt x="6995886" y="87086"/>
                </a:cubicBezTo>
                <a:cubicBezTo>
                  <a:pt x="7024914" y="91924"/>
                  <a:pt x="7055052" y="92294"/>
                  <a:pt x="7082971" y="101600"/>
                </a:cubicBezTo>
                <a:cubicBezTo>
                  <a:pt x="7099520" y="107116"/>
                  <a:pt x="7109741" y="135421"/>
                  <a:pt x="7126514" y="130629"/>
                </a:cubicBezTo>
                <a:cubicBezTo>
                  <a:pt x="7152829" y="123110"/>
                  <a:pt x="7161363" y="87077"/>
                  <a:pt x="7184571" y="72572"/>
                </a:cubicBezTo>
                <a:cubicBezTo>
                  <a:pt x="7201487" y="62000"/>
                  <a:pt x="7223276" y="62895"/>
                  <a:pt x="7242628" y="58057"/>
                </a:cubicBezTo>
                <a:cubicBezTo>
                  <a:pt x="7257142" y="72571"/>
                  <a:pt x="7273030" y="85831"/>
                  <a:pt x="7286171" y="101600"/>
                </a:cubicBezTo>
                <a:cubicBezTo>
                  <a:pt x="7297338" y="115001"/>
                  <a:pt x="7297993" y="142275"/>
                  <a:pt x="7315200" y="145143"/>
                </a:cubicBezTo>
                <a:cubicBezTo>
                  <a:pt x="7336542" y="148700"/>
                  <a:pt x="7353370" y="124638"/>
                  <a:pt x="7373257" y="116115"/>
                </a:cubicBezTo>
                <a:cubicBezTo>
                  <a:pt x="7387319" y="110088"/>
                  <a:pt x="7402286" y="106438"/>
                  <a:pt x="7416800" y="101600"/>
                </a:cubicBezTo>
                <a:cubicBezTo>
                  <a:pt x="7445829" y="111276"/>
                  <a:pt x="7477938" y="114411"/>
                  <a:pt x="7503886" y="130629"/>
                </a:cubicBezTo>
                <a:cubicBezTo>
                  <a:pt x="7584072" y="180746"/>
                  <a:pt x="7470142" y="189866"/>
                  <a:pt x="7590971" y="159657"/>
                </a:cubicBezTo>
                <a:cubicBezTo>
                  <a:pt x="7615162" y="164495"/>
                  <a:pt x="7639064" y="177232"/>
                  <a:pt x="7663543" y="174172"/>
                </a:cubicBezTo>
                <a:cubicBezTo>
                  <a:pt x="7680852" y="172008"/>
                  <a:pt x="7689923" y="142023"/>
                  <a:pt x="7707086" y="145143"/>
                </a:cubicBezTo>
                <a:cubicBezTo>
                  <a:pt x="7749661" y="152884"/>
                  <a:pt x="7784495" y="183848"/>
                  <a:pt x="7823200" y="203200"/>
                </a:cubicBezTo>
                <a:cubicBezTo>
                  <a:pt x="7837714" y="188686"/>
                  <a:pt x="7855357" y="176736"/>
                  <a:pt x="7866743" y="159657"/>
                </a:cubicBezTo>
                <a:cubicBezTo>
                  <a:pt x="7900641" y="108811"/>
                  <a:pt x="7852716" y="97088"/>
                  <a:pt x="7924800" y="145143"/>
                </a:cubicBezTo>
                <a:cubicBezTo>
                  <a:pt x="7934476" y="159657"/>
                  <a:pt x="7939314" y="179010"/>
                  <a:pt x="7953828" y="188686"/>
                </a:cubicBezTo>
                <a:cubicBezTo>
                  <a:pt x="7962610" y="194540"/>
                  <a:pt x="8082861" y="217396"/>
                  <a:pt x="8084457" y="217715"/>
                </a:cubicBezTo>
                <a:cubicBezTo>
                  <a:pt x="8098971" y="237067"/>
                  <a:pt x="8105051" y="268122"/>
                  <a:pt x="8128000" y="275772"/>
                </a:cubicBezTo>
                <a:cubicBezTo>
                  <a:pt x="8144549" y="281288"/>
                  <a:pt x="8154336" y="243875"/>
                  <a:pt x="8171543" y="246743"/>
                </a:cubicBezTo>
                <a:cubicBezTo>
                  <a:pt x="8191790" y="250117"/>
                  <a:pt x="8200572" y="275772"/>
                  <a:pt x="8215086" y="290286"/>
                </a:cubicBezTo>
                <a:cubicBezTo>
                  <a:pt x="8219924" y="275772"/>
                  <a:pt x="8220207" y="258820"/>
                  <a:pt x="8229600" y="246743"/>
                </a:cubicBezTo>
                <a:cubicBezTo>
                  <a:pt x="8283134" y="177914"/>
                  <a:pt x="8302026" y="169431"/>
                  <a:pt x="8360228" y="130629"/>
                </a:cubicBezTo>
                <a:cubicBezTo>
                  <a:pt x="8374742" y="135467"/>
                  <a:pt x="8391041" y="136656"/>
                  <a:pt x="8403771" y="145143"/>
                </a:cubicBezTo>
                <a:cubicBezTo>
                  <a:pt x="8437297" y="167494"/>
                  <a:pt x="8454923" y="200100"/>
                  <a:pt x="8476343" y="232229"/>
                </a:cubicBezTo>
                <a:cubicBezTo>
                  <a:pt x="8480993" y="213628"/>
                  <a:pt x="8482344" y="138835"/>
                  <a:pt x="8534400" y="159657"/>
                </a:cubicBezTo>
                <a:cubicBezTo>
                  <a:pt x="8550596" y="166135"/>
                  <a:pt x="8553752" y="188686"/>
                  <a:pt x="8563428" y="203200"/>
                </a:cubicBezTo>
                <a:cubicBezTo>
                  <a:pt x="8648197" y="174944"/>
                  <a:pt x="8570348" y="210795"/>
                  <a:pt x="8636000" y="145143"/>
                </a:cubicBezTo>
                <a:cubicBezTo>
                  <a:pt x="8669411" y="111733"/>
                  <a:pt x="8693187" y="112704"/>
                  <a:pt x="8737600" y="101600"/>
                </a:cubicBezTo>
                <a:cubicBezTo>
                  <a:pt x="8795657" y="106438"/>
                  <a:pt x="8855480" y="101104"/>
                  <a:pt x="8911771" y="116115"/>
                </a:cubicBezTo>
                <a:cubicBezTo>
                  <a:pt x="8931604" y="121404"/>
                  <a:pt x="8938611" y="147726"/>
                  <a:pt x="8955314" y="159657"/>
                </a:cubicBezTo>
                <a:cubicBezTo>
                  <a:pt x="8972920" y="172233"/>
                  <a:pt x="8994019" y="179010"/>
                  <a:pt x="9013371" y="188686"/>
                </a:cubicBezTo>
                <a:cubicBezTo>
                  <a:pt x="9042400" y="183848"/>
                  <a:pt x="9076510" y="191277"/>
                  <a:pt x="9100457" y="174172"/>
                </a:cubicBezTo>
                <a:cubicBezTo>
                  <a:pt x="9116689" y="162578"/>
                  <a:pt x="9102510" y="131692"/>
                  <a:pt x="9114971" y="116115"/>
                </a:cubicBezTo>
                <a:cubicBezTo>
                  <a:pt x="9124528" y="104168"/>
                  <a:pt x="9144000" y="106438"/>
                  <a:pt x="9158514" y="101600"/>
                </a:cubicBezTo>
                <a:cubicBezTo>
                  <a:pt x="9245731" y="130674"/>
                  <a:pt x="9253473" y="137166"/>
                  <a:pt x="9390743" y="130629"/>
                </a:cubicBezTo>
                <a:cubicBezTo>
                  <a:pt x="9430594" y="128731"/>
                  <a:pt x="9469285" y="115019"/>
                  <a:pt x="9506857" y="101600"/>
                </a:cubicBezTo>
                <a:cubicBezTo>
                  <a:pt x="9537421" y="90684"/>
                  <a:pt x="9564914" y="72571"/>
                  <a:pt x="9593943" y="58057"/>
                </a:cubicBezTo>
                <a:cubicBezTo>
                  <a:pt x="9618133" y="67733"/>
                  <a:pt x="9646732" y="70130"/>
                  <a:pt x="9666514" y="87086"/>
                </a:cubicBezTo>
                <a:cubicBezTo>
                  <a:pt x="9736821" y="147349"/>
                  <a:pt x="9650667" y="160101"/>
                  <a:pt x="9739086" y="130629"/>
                </a:cubicBezTo>
                <a:cubicBezTo>
                  <a:pt x="9848532" y="167111"/>
                  <a:pt x="9713623" y="117898"/>
                  <a:pt x="9826171" y="174172"/>
                </a:cubicBezTo>
                <a:cubicBezTo>
                  <a:pt x="9839855" y="181014"/>
                  <a:pt x="9855200" y="183848"/>
                  <a:pt x="9869714" y="188686"/>
                </a:cubicBezTo>
                <a:cubicBezTo>
                  <a:pt x="9893905" y="183848"/>
                  <a:pt x="9917616" y="174172"/>
                  <a:pt x="9942286" y="174172"/>
                </a:cubicBezTo>
                <a:cubicBezTo>
                  <a:pt x="9957585" y="174172"/>
                  <a:pt x="9970647" y="190584"/>
                  <a:pt x="9985828" y="188686"/>
                </a:cubicBezTo>
                <a:cubicBezTo>
                  <a:pt x="10011681" y="185454"/>
                  <a:pt x="10034209" y="169333"/>
                  <a:pt x="10058400" y="159657"/>
                </a:cubicBezTo>
                <a:cubicBezTo>
                  <a:pt x="10103650" y="103094"/>
                  <a:pt x="10113475" y="78422"/>
                  <a:pt x="10174514" y="43543"/>
                </a:cubicBezTo>
                <a:cubicBezTo>
                  <a:pt x="10187798" y="35952"/>
                  <a:pt x="10203543" y="33867"/>
                  <a:pt x="10218057" y="29029"/>
                </a:cubicBezTo>
                <a:cubicBezTo>
                  <a:pt x="10334949" y="116699"/>
                  <a:pt x="10230168" y="58057"/>
                  <a:pt x="10464800" y="58057"/>
                </a:cubicBezTo>
                <a:cubicBezTo>
                  <a:pt x="10503806" y="58057"/>
                  <a:pt x="10542209" y="67734"/>
                  <a:pt x="10580914" y="72572"/>
                </a:cubicBezTo>
                <a:cubicBezTo>
                  <a:pt x="10600266" y="87086"/>
                  <a:pt x="10614781" y="116115"/>
                  <a:pt x="10638971" y="116115"/>
                </a:cubicBezTo>
                <a:cubicBezTo>
                  <a:pt x="10659497" y="116115"/>
                  <a:pt x="10666745" y="85713"/>
                  <a:pt x="10682514" y="72572"/>
                </a:cubicBezTo>
                <a:cubicBezTo>
                  <a:pt x="10720030" y="41308"/>
                  <a:pt x="10725959" y="43576"/>
                  <a:pt x="10769600" y="29029"/>
                </a:cubicBezTo>
                <a:cubicBezTo>
                  <a:pt x="10788952" y="38705"/>
                  <a:pt x="10809104" y="46925"/>
                  <a:pt x="10827657" y="58057"/>
                </a:cubicBezTo>
                <a:cubicBezTo>
                  <a:pt x="10952428" y="132920"/>
                  <a:pt x="10870701" y="101435"/>
                  <a:pt x="10958286" y="130629"/>
                </a:cubicBezTo>
                <a:cubicBezTo>
                  <a:pt x="10982476" y="125791"/>
                  <a:pt x="11006924" y="122098"/>
                  <a:pt x="11030857" y="116115"/>
                </a:cubicBezTo>
                <a:cubicBezTo>
                  <a:pt x="11045700" y="112404"/>
                  <a:pt x="11059176" y="100078"/>
                  <a:pt x="11074400" y="101600"/>
                </a:cubicBezTo>
                <a:cubicBezTo>
                  <a:pt x="11109447" y="105105"/>
                  <a:pt x="11142133" y="120953"/>
                  <a:pt x="11176000" y="130629"/>
                </a:cubicBezTo>
                <a:cubicBezTo>
                  <a:pt x="11185676" y="145143"/>
                  <a:pt x="11187644" y="172723"/>
                  <a:pt x="11205028" y="174172"/>
                </a:cubicBezTo>
                <a:cubicBezTo>
                  <a:pt x="11305981" y="182585"/>
                  <a:pt x="11330789" y="158064"/>
                  <a:pt x="11393714" y="116115"/>
                </a:cubicBezTo>
                <a:cubicBezTo>
                  <a:pt x="11408228" y="120953"/>
                  <a:pt x="11423573" y="123787"/>
                  <a:pt x="11437257" y="130629"/>
                </a:cubicBezTo>
                <a:cubicBezTo>
                  <a:pt x="11452859" y="138430"/>
                  <a:pt x="11463593" y="156789"/>
                  <a:pt x="11480800" y="159657"/>
                </a:cubicBezTo>
                <a:cubicBezTo>
                  <a:pt x="11495891" y="162172"/>
                  <a:pt x="11509829" y="149981"/>
                  <a:pt x="11524343" y="145143"/>
                </a:cubicBezTo>
                <a:cubicBezTo>
                  <a:pt x="11543695" y="149981"/>
                  <a:pt x="11563476" y="153349"/>
                  <a:pt x="11582400" y="159657"/>
                </a:cubicBezTo>
                <a:cubicBezTo>
                  <a:pt x="11607117" y="167896"/>
                  <a:pt x="11630576" y="179538"/>
                  <a:pt x="11654971" y="188686"/>
                </a:cubicBezTo>
                <a:cubicBezTo>
                  <a:pt x="11669296" y="194058"/>
                  <a:pt x="11684000" y="198362"/>
                  <a:pt x="11698514" y="203200"/>
                </a:cubicBezTo>
                <a:cubicBezTo>
                  <a:pt x="11746147" y="131751"/>
                  <a:pt x="11745193" y="112250"/>
                  <a:pt x="11814628" y="72572"/>
                </a:cubicBezTo>
                <a:cubicBezTo>
                  <a:pt x="11827912" y="64981"/>
                  <a:pt x="11843657" y="62895"/>
                  <a:pt x="11858171" y="58057"/>
                </a:cubicBezTo>
                <a:cubicBezTo>
                  <a:pt x="11872685" y="62895"/>
                  <a:pt x="11886414" y="72572"/>
                  <a:pt x="11901714" y="72572"/>
                </a:cubicBezTo>
                <a:cubicBezTo>
                  <a:pt x="11921662" y="72572"/>
                  <a:pt x="11940023" y="55236"/>
                  <a:pt x="11959771" y="58057"/>
                </a:cubicBezTo>
                <a:cubicBezTo>
                  <a:pt x="11977040" y="60524"/>
                  <a:pt x="11988800" y="77410"/>
                  <a:pt x="12003314" y="87086"/>
                </a:cubicBezTo>
                <a:cubicBezTo>
                  <a:pt x="12022666" y="116115"/>
                  <a:pt x="12039952" y="146633"/>
                  <a:pt x="12061371" y="174172"/>
                </a:cubicBezTo>
                <a:cubicBezTo>
                  <a:pt x="12073973" y="190375"/>
                  <a:pt x="12086555" y="226895"/>
                  <a:pt x="12104914" y="217715"/>
                </a:cubicBezTo>
                <a:cubicBezTo>
                  <a:pt x="12126979" y="206682"/>
                  <a:pt x="12114590" y="169334"/>
                  <a:pt x="12119428" y="145143"/>
                </a:cubicBezTo>
                <a:cubicBezTo>
                  <a:pt x="12143619" y="149981"/>
                  <a:pt x="12168279" y="166434"/>
                  <a:pt x="12192000" y="159657"/>
                </a:cubicBezTo>
                <a:cubicBezTo>
                  <a:pt x="12212731" y="153734"/>
                  <a:pt x="12230232" y="88503"/>
                  <a:pt x="12235543" y="72572"/>
                </a:cubicBezTo>
                <a:cubicBezTo>
                  <a:pt x="12338757" y="141380"/>
                  <a:pt x="12219416" y="81173"/>
                  <a:pt x="12322628" y="72572"/>
                </a:cubicBezTo>
                <a:cubicBezTo>
                  <a:pt x="12366288" y="68934"/>
                  <a:pt x="12409714" y="82248"/>
                  <a:pt x="12453257" y="87086"/>
                </a:cubicBezTo>
                <a:cubicBezTo>
                  <a:pt x="12467771" y="96762"/>
                  <a:pt x="12487555" y="101322"/>
                  <a:pt x="12496800" y="116115"/>
                </a:cubicBezTo>
                <a:cubicBezTo>
                  <a:pt x="12513017" y="142063"/>
                  <a:pt x="12508855" y="177741"/>
                  <a:pt x="12525828" y="203200"/>
                </a:cubicBezTo>
                <a:lnTo>
                  <a:pt x="12554857" y="246743"/>
                </a:lnTo>
                <a:cubicBezTo>
                  <a:pt x="12550019" y="266095"/>
                  <a:pt x="12555489" y="291818"/>
                  <a:pt x="12540343" y="304800"/>
                </a:cubicBezTo>
                <a:cubicBezTo>
                  <a:pt x="12517111" y="324714"/>
                  <a:pt x="12478717" y="316856"/>
                  <a:pt x="12453257" y="333829"/>
                </a:cubicBezTo>
                <a:cubicBezTo>
                  <a:pt x="12438743" y="343505"/>
                  <a:pt x="12426263" y="357341"/>
                  <a:pt x="12409714" y="362857"/>
                </a:cubicBezTo>
                <a:cubicBezTo>
                  <a:pt x="12381795" y="372163"/>
                  <a:pt x="12352025" y="376005"/>
                  <a:pt x="12322628" y="377372"/>
                </a:cubicBezTo>
                <a:cubicBezTo>
                  <a:pt x="12143747" y="385692"/>
                  <a:pt x="11964542" y="385004"/>
                  <a:pt x="11785600" y="391886"/>
                </a:cubicBezTo>
                <a:cubicBezTo>
                  <a:pt x="11587149" y="399519"/>
                  <a:pt x="11190514" y="420915"/>
                  <a:pt x="11190514" y="420915"/>
                </a:cubicBezTo>
                <a:cubicBezTo>
                  <a:pt x="11156647" y="425753"/>
                  <a:pt x="11123016" y="432701"/>
                  <a:pt x="11088914" y="435429"/>
                </a:cubicBezTo>
                <a:cubicBezTo>
                  <a:pt x="10940312" y="447317"/>
                  <a:pt x="10590718" y="459420"/>
                  <a:pt x="10464800" y="464457"/>
                </a:cubicBezTo>
                <a:cubicBezTo>
                  <a:pt x="10412811" y="473122"/>
                  <a:pt x="10326821" y="488149"/>
                  <a:pt x="10276114" y="493486"/>
                </a:cubicBezTo>
                <a:cubicBezTo>
                  <a:pt x="10218176" y="499585"/>
                  <a:pt x="10160108" y="504708"/>
                  <a:pt x="10101943" y="508000"/>
                </a:cubicBezTo>
                <a:lnTo>
                  <a:pt x="9506857" y="537029"/>
                </a:lnTo>
                <a:cubicBezTo>
                  <a:pt x="7021676" y="496946"/>
                  <a:pt x="10127457" y="537029"/>
                  <a:pt x="7765143" y="537029"/>
                </a:cubicBezTo>
                <a:lnTo>
                  <a:pt x="2061028" y="522515"/>
                </a:lnTo>
                <a:cubicBezTo>
                  <a:pt x="1850113" y="487360"/>
                  <a:pt x="2039664" y="515278"/>
                  <a:pt x="1625600" y="493486"/>
                </a:cubicBezTo>
                <a:cubicBezTo>
                  <a:pt x="1557788" y="489917"/>
                  <a:pt x="1490287" y="480569"/>
                  <a:pt x="1422400" y="478972"/>
                </a:cubicBezTo>
                <a:lnTo>
                  <a:pt x="391886" y="464457"/>
                </a:lnTo>
                <a:cubicBezTo>
                  <a:pt x="353181" y="459619"/>
                  <a:pt x="314601" y="453641"/>
                  <a:pt x="275771" y="449943"/>
                </a:cubicBezTo>
                <a:cubicBezTo>
                  <a:pt x="63089" y="429688"/>
                  <a:pt x="141399" y="471638"/>
                  <a:pt x="43543" y="406400"/>
                </a:cubicBezTo>
                <a:cubicBezTo>
                  <a:pt x="33867" y="391886"/>
                  <a:pt x="22315" y="378459"/>
                  <a:pt x="14514" y="362857"/>
                </a:cubicBezTo>
                <a:cubicBezTo>
                  <a:pt x="7672" y="349173"/>
                  <a:pt x="0" y="334614"/>
                  <a:pt x="0" y="319315"/>
                </a:cubicBezTo>
                <a:cubicBezTo>
                  <a:pt x="0" y="203265"/>
                  <a:pt x="229163" y="234521"/>
                  <a:pt x="261257" y="232229"/>
                </a:cubicBezTo>
                <a:cubicBezTo>
                  <a:pt x="245213" y="184096"/>
                  <a:pt x="210457" y="234648"/>
                  <a:pt x="217714" y="217715"/>
                </a:cubicBezTo>
                <a:close/>
              </a:path>
            </a:pathLst>
          </a:custGeom>
          <a:solidFill>
            <a:srgbClr val="63A6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0" name="Freeform: Shape 449">
            <a:extLst>
              <a:ext uri="{FF2B5EF4-FFF2-40B4-BE49-F238E27FC236}">
                <a16:creationId xmlns:a16="http://schemas.microsoft.com/office/drawing/2014/main" id="{374B1FC8-F2F9-413C-B9B4-F908993924CB}"/>
              </a:ext>
            </a:extLst>
          </p:cNvPr>
          <p:cNvSpPr/>
          <p:nvPr/>
        </p:nvSpPr>
        <p:spPr>
          <a:xfrm>
            <a:off x="5648106" y="3090009"/>
            <a:ext cx="6624639" cy="906902"/>
          </a:xfrm>
          <a:custGeom>
            <a:avLst/>
            <a:gdLst>
              <a:gd name="connsiteX0" fmla="*/ 217714 w 12554857"/>
              <a:gd name="connsiteY0" fmla="*/ 217715 h 537029"/>
              <a:gd name="connsiteX1" fmla="*/ 304800 w 12554857"/>
              <a:gd name="connsiteY1" fmla="*/ 130629 h 537029"/>
              <a:gd name="connsiteX2" fmla="*/ 348343 w 12554857"/>
              <a:gd name="connsiteY2" fmla="*/ 145143 h 537029"/>
              <a:gd name="connsiteX3" fmla="*/ 435428 w 12554857"/>
              <a:gd name="connsiteY3" fmla="*/ 101600 h 537029"/>
              <a:gd name="connsiteX4" fmla="*/ 478971 w 12554857"/>
              <a:gd name="connsiteY4" fmla="*/ 72572 h 537029"/>
              <a:gd name="connsiteX5" fmla="*/ 566057 w 12554857"/>
              <a:gd name="connsiteY5" fmla="*/ 87086 h 537029"/>
              <a:gd name="connsiteX6" fmla="*/ 609600 w 12554857"/>
              <a:gd name="connsiteY6" fmla="*/ 116115 h 537029"/>
              <a:gd name="connsiteX7" fmla="*/ 667657 w 12554857"/>
              <a:gd name="connsiteY7" fmla="*/ 130629 h 537029"/>
              <a:gd name="connsiteX8" fmla="*/ 754743 w 12554857"/>
              <a:gd name="connsiteY8" fmla="*/ 116115 h 537029"/>
              <a:gd name="connsiteX9" fmla="*/ 812800 w 12554857"/>
              <a:gd name="connsiteY9" fmla="*/ 87086 h 537029"/>
              <a:gd name="connsiteX10" fmla="*/ 856343 w 12554857"/>
              <a:gd name="connsiteY10" fmla="*/ 72572 h 537029"/>
              <a:gd name="connsiteX11" fmla="*/ 1016000 w 12554857"/>
              <a:gd name="connsiteY11" fmla="*/ 116115 h 537029"/>
              <a:gd name="connsiteX12" fmla="*/ 1103086 w 12554857"/>
              <a:gd name="connsiteY12" fmla="*/ 159657 h 537029"/>
              <a:gd name="connsiteX13" fmla="*/ 1146628 w 12554857"/>
              <a:gd name="connsiteY13" fmla="*/ 188686 h 537029"/>
              <a:gd name="connsiteX14" fmla="*/ 1190171 w 12554857"/>
              <a:gd name="connsiteY14" fmla="*/ 101600 h 537029"/>
              <a:gd name="connsiteX15" fmla="*/ 1233714 w 12554857"/>
              <a:gd name="connsiteY15" fmla="*/ 72572 h 537029"/>
              <a:gd name="connsiteX16" fmla="*/ 1451428 w 12554857"/>
              <a:gd name="connsiteY16" fmla="*/ 145143 h 537029"/>
              <a:gd name="connsiteX17" fmla="*/ 1524000 w 12554857"/>
              <a:gd name="connsiteY17" fmla="*/ 58057 h 537029"/>
              <a:gd name="connsiteX18" fmla="*/ 1567543 w 12554857"/>
              <a:gd name="connsiteY18" fmla="*/ 43543 h 537029"/>
              <a:gd name="connsiteX19" fmla="*/ 1640114 w 12554857"/>
              <a:gd name="connsiteY19" fmla="*/ 130629 h 537029"/>
              <a:gd name="connsiteX20" fmla="*/ 1727200 w 12554857"/>
              <a:gd name="connsiteY20" fmla="*/ 116115 h 537029"/>
              <a:gd name="connsiteX21" fmla="*/ 1886857 w 12554857"/>
              <a:gd name="connsiteY21" fmla="*/ 87086 h 537029"/>
              <a:gd name="connsiteX22" fmla="*/ 1973943 w 12554857"/>
              <a:gd name="connsiteY22" fmla="*/ 101600 h 537029"/>
              <a:gd name="connsiteX23" fmla="*/ 2017486 w 12554857"/>
              <a:gd name="connsiteY23" fmla="*/ 116115 h 537029"/>
              <a:gd name="connsiteX24" fmla="*/ 2061028 w 12554857"/>
              <a:gd name="connsiteY24" fmla="*/ 101600 h 537029"/>
              <a:gd name="connsiteX25" fmla="*/ 2119086 w 12554857"/>
              <a:gd name="connsiteY25" fmla="*/ 130629 h 537029"/>
              <a:gd name="connsiteX26" fmla="*/ 2162628 w 12554857"/>
              <a:gd name="connsiteY26" fmla="*/ 159657 h 537029"/>
              <a:gd name="connsiteX27" fmla="*/ 2307771 w 12554857"/>
              <a:gd name="connsiteY27" fmla="*/ 130629 h 537029"/>
              <a:gd name="connsiteX28" fmla="*/ 2452914 w 12554857"/>
              <a:gd name="connsiteY28" fmla="*/ 101600 h 537029"/>
              <a:gd name="connsiteX29" fmla="*/ 2540000 w 12554857"/>
              <a:gd name="connsiteY29" fmla="*/ 116115 h 537029"/>
              <a:gd name="connsiteX30" fmla="*/ 2554514 w 12554857"/>
              <a:gd name="connsiteY30" fmla="*/ 72572 h 537029"/>
              <a:gd name="connsiteX31" fmla="*/ 2598057 w 12554857"/>
              <a:gd name="connsiteY31" fmla="*/ 58057 h 537029"/>
              <a:gd name="connsiteX32" fmla="*/ 2714171 w 12554857"/>
              <a:gd name="connsiteY32" fmla="*/ 101600 h 537029"/>
              <a:gd name="connsiteX33" fmla="*/ 2757714 w 12554857"/>
              <a:gd name="connsiteY33" fmla="*/ 145143 h 537029"/>
              <a:gd name="connsiteX34" fmla="*/ 2830286 w 12554857"/>
              <a:gd name="connsiteY34" fmla="*/ 72572 h 537029"/>
              <a:gd name="connsiteX35" fmla="*/ 2902857 w 12554857"/>
              <a:gd name="connsiteY35" fmla="*/ 87086 h 537029"/>
              <a:gd name="connsiteX36" fmla="*/ 2989943 w 12554857"/>
              <a:gd name="connsiteY36" fmla="*/ 130629 h 537029"/>
              <a:gd name="connsiteX37" fmla="*/ 3062514 w 12554857"/>
              <a:gd name="connsiteY37" fmla="*/ 116115 h 537029"/>
              <a:gd name="connsiteX38" fmla="*/ 3120571 w 12554857"/>
              <a:gd name="connsiteY38" fmla="*/ 87086 h 537029"/>
              <a:gd name="connsiteX39" fmla="*/ 3352800 w 12554857"/>
              <a:gd name="connsiteY39" fmla="*/ 87086 h 537029"/>
              <a:gd name="connsiteX40" fmla="*/ 3512457 w 12554857"/>
              <a:gd name="connsiteY40" fmla="*/ 87086 h 537029"/>
              <a:gd name="connsiteX41" fmla="*/ 3556000 w 12554857"/>
              <a:gd name="connsiteY41" fmla="*/ 116115 h 537029"/>
              <a:gd name="connsiteX42" fmla="*/ 3599543 w 12554857"/>
              <a:gd name="connsiteY42" fmla="*/ 130629 h 537029"/>
              <a:gd name="connsiteX43" fmla="*/ 3730171 w 12554857"/>
              <a:gd name="connsiteY43" fmla="*/ 58057 h 537029"/>
              <a:gd name="connsiteX44" fmla="*/ 3788228 w 12554857"/>
              <a:gd name="connsiteY44" fmla="*/ 72572 h 537029"/>
              <a:gd name="connsiteX45" fmla="*/ 3889828 w 12554857"/>
              <a:gd name="connsiteY45" fmla="*/ 130629 h 537029"/>
              <a:gd name="connsiteX46" fmla="*/ 3933371 w 12554857"/>
              <a:gd name="connsiteY46" fmla="*/ 174172 h 537029"/>
              <a:gd name="connsiteX47" fmla="*/ 3991428 w 12554857"/>
              <a:gd name="connsiteY47" fmla="*/ 130629 h 537029"/>
              <a:gd name="connsiteX48" fmla="*/ 4034971 w 12554857"/>
              <a:gd name="connsiteY48" fmla="*/ 101600 h 537029"/>
              <a:gd name="connsiteX49" fmla="*/ 4093028 w 12554857"/>
              <a:gd name="connsiteY49" fmla="*/ 116115 h 537029"/>
              <a:gd name="connsiteX50" fmla="*/ 4209143 w 12554857"/>
              <a:gd name="connsiteY50" fmla="*/ 116115 h 537029"/>
              <a:gd name="connsiteX51" fmla="*/ 4296228 w 12554857"/>
              <a:gd name="connsiteY51" fmla="*/ 87086 h 537029"/>
              <a:gd name="connsiteX52" fmla="*/ 4339771 w 12554857"/>
              <a:gd name="connsiteY52" fmla="*/ 58057 h 537029"/>
              <a:gd name="connsiteX53" fmla="*/ 4470400 w 12554857"/>
              <a:gd name="connsiteY53" fmla="*/ 87086 h 537029"/>
              <a:gd name="connsiteX54" fmla="*/ 4484914 w 12554857"/>
              <a:gd name="connsiteY54" fmla="*/ 29029 h 537029"/>
              <a:gd name="connsiteX55" fmla="*/ 4586514 w 12554857"/>
              <a:gd name="connsiteY55" fmla="*/ 58057 h 537029"/>
              <a:gd name="connsiteX56" fmla="*/ 4615543 w 12554857"/>
              <a:gd name="connsiteY56" fmla="*/ 101600 h 537029"/>
              <a:gd name="connsiteX57" fmla="*/ 4659086 w 12554857"/>
              <a:gd name="connsiteY57" fmla="*/ 130629 h 537029"/>
              <a:gd name="connsiteX58" fmla="*/ 4673600 w 12554857"/>
              <a:gd name="connsiteY58" fmla="*/ 174172 h 537029"/>
              <a:gd name="connsiteX59" fmla="*/ 4746171 w 12554857"/>
              <a:gd name="connsiteY59" fmla="*/ 159657 h 537029"/>
              <a:gd name="connsiteX60" fmla="*/ 4833257 w 12554857"/>
              <a:gd name="connsiteY60" fmla="*/ 130629 h 537029"/>
              <a:gd name="connsiteX61" fmla="*/ 4978400 w 12554857"/>
              <a:gd name="connsiteY61" fmla="*/ 145143 h 537029"/>
              <a:gd name="connsiteX62" fmla="*/ 5021943 w 12554857"/>
              <a:gd name="connsiteY62" fmla="*/ 174172 h 537029"/>
              <a:gd name="connsiteX63" fmla="*/ 5268686 w 12554857"/>
              <a:gd name="connsiteY63" fmla="*/ 159657 h 537029"/>
              <a:gd name="connsiteX64" fmla="*/ 5312228 w 12554857"/>
              <a:gd name="connsiteY64" fmla="*/ 130629 h 537029"/>
              <a:gd name="connsiteX65" fmla="*/ 5442857 w 12554857"/>
              <a:gd name="connsiteY65" fmla="*/ 188686 h 537029"/>
              <a:gd name="connsiteX66" fmla="*/ 5500914 w 12554857"/>
              <a:gd name="connsiteY66" fmla="*/ 174172 h 537029"/>
              <a:gd name="connsiteX67" fmla="*/ 5529943 w 12554857"/>
              <a:gd name="connsiteY67" fmla="*/ 130629 h 537029"/>
              <a:gd name="connsiteX68" fmla="*/ 5631543 w 12554857"/>
              <a:gd name="connsiteY68" fmla="*/ 116115 h 537029"/>
              <a:gd name="connsiteX69" fmla="*/ 5718628 w 12554857"/>
              <a:gd name="connsiteY69" fmla="*/ 130629 h 537029"/>
              <a:gd name="connsiteX70" fmla="*/ 5762171 w 12554857"/>
              <a:gd name="connsiteY70" fmla="*/ 159657 h 537029"/>
              <a:gd name="connsiteX71" fmla="*/ 5878286 w 12554857"/>
              <a:gd name="connsiteY71" fmla="*/ 174172 h 537029"/>
              <a:gd name="connsiteX72" fmla="*/ 6023428 w 12554857"/>
              <a:gd name="connsiteY72" fmla="*/ 159657 h 537029"/>
              <a:gd name="connsiteX73" fmla="*/ 6066971 w 12554857"/>
              <a:gd name="connsiteY73" fmla="*/ 174172 h 537029"/>
              <a:gd name="connsiteX74" fmla="*/ 6197600 w 12554857"/>
              <a:gd name="connsiteY74" fmla="*/ 130629 h 537029"/>
              <a:gd name="connsiteX75" fmla="*/ 6241143 w 12554857"/>
              <a:gd name="connsiteY75" fmla="*/ 116115 h 537029"/>
              <a:gd name="connsiteX76" fmla="*/ 6458857 w 12554857"/>
              <a:gd name="connsiteY76" fmla="*/ 72572 h 537029"/>
              <a:gd name="connsiteX77" fmla="*/ 6531428 w 12554857"/>
              <a:gd name="connsiteY77" fmla="*/ 43543 h 537029"/>
              <a:gd name="connsiteX78" fmla="*/ 6618514 w 12554857"/>
              <a:gd name="connsiteY78" fmla="*/ 0 h 537029"/>
              <a:gd name="connsiteX79" fmla="*/ 6705600 w 12554857"/>
              <a:gd name="connsiteY79" fmla="*/ 58057 h 537029"/>
              <a:gd name="connsiteX80" fmla="*/ 6792686 w 12554857"/>
              <a:gd name="connsiteY80" fmla="*/ 116115 h 537029"/>
              <a:gd name="connsiteX81" fmla="*/ 6836228 w 12554857"/>
              <a:gd name="connsiteY81" fmla="*/ 145143 h 537029"/>
              <a:gd name="connsiteX82" fmla="*/ 6894286 w 12554857"/>
              <a:gd name="connsiteY82" fmla="*/ 130629 h 537029"/>
              <a:gd name="connsiteX83" fmla="*/ 6952343 w 12554857"/>
              <a:gd name="connsiteY83" fmla="*/ 101600 h 537029"/>
              <a:gd name="connsiteX84" fmla="*/ 6995886 w 12554857"/>
              <a:gd name="connsiteY84" fmla="*/ 87086 h 537029"/>
              <a:gd name="connsiteX85" fmla="*/ 7082971 w 12554857"/>
              <a:gd name="connsiteY85" fmla="*/ 101600 h 537029"/>
              <a:gd name="connsiteX86" fmla="*/ 7126514 w 12554857"/>
              <a:gd name="connsiteY86" fmla="*/ 130629 h 537029"/>
              <a:gd name="connsiteX87" fmla="*/ 7184571 w 12554857"/>
              <a:gd name="connsiteY87" fmla="*/ 72572 h 537029"/>
              <a:gd name="connsiteX88" fmla="*/ 7242628 w 12554857"/>
              <a:gd name="connsiteY88" fmla="*/ 58057 h 537029"/>
              <a:gd name="connsiteX89" fmla="*/ 7286171 w 12554857"/>
              <a:gd name="connsiteY89" fmla="*/ 101600 h 537029"/>
              <a:gd name="connsiteX90" fmla="*/ 7315200 w 12554857"/>
              <a:gd name="connsiteY90" fmla="*/ 145143 h 537029"/>
              <a:gd name="connsiteX91" fmla="*/ 7373257 w 12554857"/>
              <a:gd name="connsiteY91" fmla="*/ 116115 h 537029"/>
              <a:gd name="connsiteX92" fmla="*/ 7416800 w 12554857"/>
              <a:gd name="connsiteY92" fmla="*/ 101600 h 537029"/>
              <a:gd name="connsiteX93" fmla="*/ 7503886 w 12554857"/>
              <a:gd name="connsiteY93" fmla="*/ 130629 h 537029"/>
              <a:gd name="connsiteX94" fmla="*/ 7590971 w 12554857"/>
              <a:gd name="connsiteY94" fmla="*/ 159657 h 537029"/>
              <a:gd name="connsiteX95" fmla="*/ 7663543 w 12554857"/>
              <a:gd name="connsiteY95" fmla="*/ 174172 h 537029"/>
              <a:gd name="connsiteX96" fmla="*/ 7707086 w 12554857"/>
              <a:gd name="connsiteY96" fmla="*/ 145143 h 537029"/>
              <a:gd name="connsiteX97" fmla="*/ 7823200 w 12554857"/>
              <a:gd name="connsiteY97" fmla="*/ 203200 h 537029"/>
              <a:gd name="connsiteX98" fmla="*/ 7866743 w 12554857"/>
              <a:gd name="connsiteY98" fmla="*/ 159657 h 537029"/>
              <a:gd name="connsiteX99" fmla="*/ 7924800 w 12554857"/>
              <a:gd name="connsiteY99" fmla="*/ 145143 h 537029"/>
              <a:gd name="connsiteX100" fmla="*/ 7953828 w 12554857"/>
              <a:gd name="connsiteY100" fmla="*/ 188686 h 537029"/>
              <a:gd name="connsiteX101" fmla="*/ 8084457 w 12554857"/>
              <a:gd name="connsiteY101" fmla="*/ 217715 h 537029"/>
              <a:gd name="connsiteX102" fmla="*/ 8128000 w 12554857"/>
              <a:gd name="connsiteY102" fmla="*/ 275772 h 537029"/>
              <a:gd name="connsiteX103" fmla="*/ 8171543 w 12554857"/>
              <a:gd name="connsiteY103" fmla="*/ 246743 h 537029"/>
              <a:gd name="connsiteX104" fmla="*/ 8215086 w 12554857"/>
              <a:gd name="connsiteY104" fmla="*/ 290286 h 537029"/>
              <a:gd name="connsiteX105" fmla="*/ 8229600 w 12554857"/>
              <a:gd name="connsiteY105" fmla="*/ 246743 h 537029"/>
              <a:gd name="connsiteX106" fmla="*/ 8360228 w 12554857"/>
              <a:gd name="connsiteY106" fmla="*/ 130629 h 537029"/>
              <a:gd name="connsiteX107" fmla="*/ 8403771 w 12554857"/>
              <a:gd name="connsiteY107" fmla="*/ 145143 h 537029"/>
              <a:gd name="connsiteX108" fmla="*/ 8476343 w 12554857"/>
              <a:gd name="connsiteY108" fmla="*/ 232229 h 537029"/>
              <a:gd name="connsiteX109" fmla="*/ 8534400 w 12554857"/>
              <a:gd name="connsiteY109" fmla="*/ 159657 h 537029"/>
              <a:gd name="connsiteX110" fmla="*/ 8563428 w 12554857"/>
              <a:gd name="connsiteY110" fmla="*/ 203200 h 537029"/>
              <a:gd name="connsiteX111" fmla="*/ 8636000 w 12554857"/>
              <a:gd name="connsiteY111" fmla="*/ 145143 h 537029"/>
              <a:gd name="connsiteX112" fmla="*/ 8737600 w 12554857"/>
              <a:gd name="connsiteY112" fmla="*/ 101600 h 537029"/>
              <a:gd name="connsiteX113" fmla="*/ 8911771 w 12554857"/>
              <a:gd name="connsiteY113" fmla="*/ 116115 h 537029"/>
              <a:gd name="connsiteX114" fmla="*/ 8955314 w 12554857"/>
              <a:gd name="connsiteY114" fmla="*/ 159657 h 537029"/>
              <a:gd name="connsiteX115" fmla="*/ 9013371 w 12554857"/>
              <a:gd name="connsiteY115" fmla="*/ 188686 h 537029"/>
              <a:gd name="connsiteX116" fmla="*/ 9100457 w 12554857"/>
              <a:gd name="connsiteY116" fmla="*/ 174172 h 537029"/>
              <a:gd name="connsiteX117" fmla="*/ 9114971 w 12554857"/>
              <a:gd name="connsiteY117" fmla="*/ 116115 h 537029"/>
              <a:gd name="connsiteX118" fmla="*/ 9158514 w 12554857"/>
              <a:gd name="connsiteY118" fmla="*/ 101600 h 537029"/>
              <a:gd name="connsiteX119" fmla="*/ 9390743 w 12554857"/>
              <a:gd name="connsiteY119" fmla="*/ 130629 h 537029"/>
              <a:gd name="connsiteX120" fmla="*/ 9506857 w 12554857"/>
              <a:gd name="connsiteY120" fmla="*/ 101600 h 537029"/>
              <a:gd name="connsiteX121" fmla="*/ 9593943 w 12554857"/>
              <a:gd name="connsiteY121" fmla="*/ 58057 h 537029"/>
              <a:gd name="connsiteX122" fmla="*/ 9666514 w 12554857"/>
              <a:gd name="connsiteY122" fmla="*/ 87086 h 537029"/>
              <a:gd name="connsiteX123" fmla="*/ 9739086 w 12554857"/>
              <a:gd name="connsiteY123" fmla="*/ 130629 h 537029"/>
              <a:gd name="connsiteX124" fmla="*/ 9826171 w 12554857"/>
              <a:gd name="connsiteY124" fmla="*/ 174172 h 537029"/>
              <a:gd name="connsiteX125" fmla="*/ 9869714 w 12554857"/>
              <a:gd name="connsiteY125" fmla="*/ 188686 h 537029"/>
              <a:gd name="connsiteX126" fmla="*/ 9942286 w 12554857"/>
              <a:gd name="connsiteY126" fmla="*/ 174172 h 537029"/>
              <a:gd name="connsiteX127" fmla="*/ 9985828 w 12554857"/>
              <a:gd name="connsiteY127" fmla="*/ 188686 h 537029"/>
              <a:gd name="connsiteX128" fmla="*/ 10058400 w 12554857"/>
              <a:gd name="connsiteY128" fmla="*/ 159657 h 537029"/>
              <a:gd name="connsiteX129" fmla="*/ 10174514 w 12554857"/>
              <a:gd name="connsiteY129" fmla="*/ 43543 h 537029"/>
              <a:gd name="connsiteX130" fmla="*/ 10218057 w 12554857"/>
              <a:gd name="connsiteY130" fmla="*/ 29029 h 537029"/>
              <a:gd name="connsiteX131" fmla="*/ 10464800 w 12554857"/>
              <a:gd name="connsiteY131" fmla="*/ 58057 h 537029"/>
              <a:gd name="connsiteX132" fmla="*/ 10580914 w 12554857"/>
              <a:gd name="connsiteY132" fmla="*/ 72572 h 537029"/>
              <a:gd name="connsiteX133" fmla="*/ 10638971 w 12554857"/>
              <a:gd name="connsiteY133" fmla="*/ 116115 h 537029"/>
              <a:gd name="connsiteX134" fmla="*/ 10682514 w 12554857"/>
              <a:gd name="connsiteY134" fmla="*/ 72572 h 537029"/>
              <a:gd name="connsiteX135" fmla="*/ 10769600 w 12554857"/>
              <a:gd name="connsiteY135" fmla="*/ 29029 h 537029"/>
              <a:gd name="connsiteX136" fmla="*/ 10827657 w 12554857"/>
              <a:gd name="connsiteY136" fmla="*/ 58057 h 537029"/>
              <a:gd name="connsiteX137" fmla="*/ 10958286 w 12554857"/>
              <a:gd name="connsiteY137" fmla="*/ 130629 h 537029"/>
              <a:gd name="connsiteX138" fmla="*/ 11030857 w 12554857"/>
              <a:gd name="connsiteY138" fmla="*/ 116115 h 537029"/>
              <a:gd name="connsiteX139" fmla="*/ 11074400 w 12554857"/>
              <a:gd name="connsiteY139" fmla="*/ 101600 h 537029"/>
              <a:gd name="connsiteX140" fmla="*/ 11176000 w 12554857"/>
              <a:gd name="connsiteY140" fmla="*/ 130629 h 537029"/>
              <a:gd name="connsiteX141" fmla="*/ 11205028 w 12554857"/>
              <a:gd name="connsiteY141" fmla="*/ 174172 h 537029"/>
              <a:gd name="connsiteX142" fmla="*/ 11393714 w 12554857"/>
              <a:gd name="connsiteY142" fmla="*/ 116115 h 537029"/>
              <a:gd name="connsiteX143" fmla="*/ 11437257 w 12554857"/>
              <a:gd name="connsiteY143" fmla="*/ 130629 h 537029"/>
              <a:gd name="connsiteX144" fmla="*/ 11480800 w 12554857"/>
              <a:gd name="connsiteY144" fmla="*/ 159657 h 537029"/>
              <a:gd name="connsiteX145" fmla="*/ 11524343 w 12554857"/>
              <a:gd name="connsiteY145" fmla="*/ 145143 h 537029"/>
              <a:gd name="connsiteX146" fmla="*/ 11582400 w 12554857"/>
              <a:gd name="connsiteY146" fmla="*/ 159657 h 537029"/>
              <a:gd name="connsiteX147" fmla="*/ 11654971 w 12554857"/>
              <a:gd name="connsiteY147" fmla="*/ 188686 h 537029"/>
              <a:gd name="connsiteX148" fmla="*/ 11698514 w 12554857"/>
              <a:gd name="connsiteY148" fmla="*/ 203200 h 537029"/>
              <a:gd name="connsiteX149" fmla="*/ 11814628 w 12554857"/>
              <a:gd name="connsiteY149" fmla="*/ 72572 h 537029"/>
              <a:gd name="connsiteX150" fmla="*/ 11858171 w 12554857"/>
              <a:gd name="connsiteY150" fmla="*/ 58057 h 537029"/>
              <a:gd name="connsiteX151" fmla="*/ 11901714 w 12554857"/>
              <a:gd name="connsiteY151" fmla="*/ 72572 h 537029"/>
              <a:gd name="connsiteX152" fmla="*/ 11959771 w 12554857"/>
              <a:gd name="connsiteY152" fmla="*/ 58057 h 537029"/>
              <a:gd name="connsiteX153" fmla="*/ 12003314 w 12554857"/>
              <a:gd name="connsiteY153" fmla="*/ 87086 h 537029"/>
              <a:gd name="connsiteX154" fmla="*/ 12061371 w 12554857"/>
              <a:gd name="connsiteY154" fmla="*/ 174172 h 537029"/>
              <a:gd name="connsiteX155" fmla="*/ 12104914 w 12554857"/>
              <a:gd name="connsiteY155" fmla="*/ 217715 h 537029"/>
              <a:gd name="connsiteX156" fmla="*/ 12119428 w 12554857"/>
              <a:gd name="connsiteY156" fmla="*/ 145143 h 537029"/>
              <a:gd name="connsiteX157" fmla="*/ 12192000 w 12554857"/>
              <a:gd name="connsiteY157" fmla="*/ 159657 h 537029"/>
              <a:gd name="connsiteX158" fmla="*/ 12235543 w 12554857"/>
              <a:gd name="connsiteY158" fmla="*/ 72572 h 537029"/>
              <a:gd name="connsiteX159" fmla="*/ 12322628 w 12554857"/>
              <a:gd name="connsiteY159" fmla="*/ 72572 h 537029"/>
              <a:gd name="connsiteX160" fmla="*/ 12453257 w 12554857"/>
              <a:gd name="connsiteY160" fmla="*/ 87086 h 537029"/>
              <a:gd name="connsiteX161" fmla="*/ 12496800 w 12554857"/>
              <a:gd name="connsiteY161" fmla="*/ 116115 h 537029"/>
              <a:gd name="connsiteX162" fmla="*/ 12525828 w 12554857"/>
              <a:gd name="connsiteY162" fmla="*/ 203200 h 537029"/>
              <a:gd name="connsiteX163" fmla="*/ 12554857 w 12554857"/>
              <a:gd name="connsiteY163" fmla="*/ 246743 h 537029"/>
              <a:gd name="connsiteX164" fmla="*/ 12540343 w 12554857"/>
              <a:gd name="connsiteY164" fmla="*/ 304800 h 537029"/>
              <a:gd name="connsiteX165" fmla="*/ 12453257 w 12554857"/>
              <a:gd name="connsiteY165" fmla="*/ 333829 h 537029"/>
              <a:gd name="connsiteX166" fmla="*/ 12409714 w 12554857"/>
              <a:gd name="connsiteY166" fmla="*/ 362857 h 537029"/>
              <a:gd name="connsiteX167" fmla="*/ 12322628 w 12554857"/>
              <a:gd name="connsiteY167" fmla="*/ 377372 h 537029"/>
              <a:gd name="connsiteX168" fmla="*/ 11785600 w 12554857"/>
              <a:gd name="connsiteY168" fmla="*/ 391886 h 537029"/>
              <a:gd name="connsiteX169" fmla="*/ 11190514 w 12554857"/>
              <a:gd name="connsiteY169" fmla="*/ 420915 h 537029"/>
              <a:gd name="connsiteX170" fmla="*/ 11088914 w 12554857"/>
              <a:gd name="connsiteY170" fmla="*/ 435429 h 537029"/>
              <a:gd name="connsiteX171" fmla="*/ 10464800 w 12554857"/>
              <a:gd name="connsiteY171" fmla="*/ 464457 h 537029"/>
              <a:gd name="connsiteX172" fmla="*/ 10276114 w 12554857"/>
              <a:gd name="connsiteY172" fmla="*/ 493486 h 537029"/>
              <a:gd name="connsiteX173" fmla="*/ 10101943 w 12554857"/>
              <a:gd name="connsiteY173" fmla="*/ 508000 h 537029"/>
              <a:gd name="connsiteX174" fmla="*/ 9506857 w 12554857"/>
              <a:gd name="connsiteY174" fmla="*/ 537029 h 537029"/>
              <a:gd name="connsiteX175" fmla="*/ 7765143 w 12554857"/>
              <a:gd name="connsiteY175" fmla="*/ 537029 h 537029"/>
              <a:gd name="connsiteX176" fmla="*/ 2061028 w 12554857"/>
              <a:gd name="connsiteY176" fmla="*/ 522515 h 537029"/>
              <a:gd name="connsiteX177" fmla="*/ 1625600 w 12554857"/>
              <a:gd name="connsiteY177" fmla="*/ 493486 h 537029"/>
              <a:gd name="connsiteX178" fmla="*/ 1422400 w 12554857"/>
              <a:gd name="connsiteY178" fmla="*/ 478972 h 537029"/>
              <a:gd name="connsiteX179" fmla="*/ 391886 w 12554857"/>
              <a:gd name="connsiteY179" fmla="*/ 464457 h 537029"/>
              <a:gd name="connsiteX180" fmla="*/ 275771 w 12554857"/>
              <a:gd name="connsiteY180" fmla="*/ 449943 h 537029"/>
              <a:gd name="connsiteX181" fmla="*/ 43543 w 12554857"/>
              <a:gd name="connsiteY181" fmla="*/ 406400 h 537029"/>
              <a:gd name="connsiteX182" fmla="*/ 14514 w 12554857"/>
              <a:gd name="connsiteY182" fmla="*/ 362857 h 537029"/>
              <a:gd name="connsiteX183" fmla="*/ 0 w 12554857"/>
              <a:gd name="connsiteY183" fmla="*/ 319315 h 537029"/>
              <a:gd name="connsiteX184" fmla="*/ 261257 w 12554857"/>
              <a:gd name="connsiteY184" fmla="*/ 232229 h 537029"/>
              <a:gd name="connsiteX185" fmla="*/ 217714 w 12554857"/>
              <a:gd name="connsiteY185" fmla="*/ 217715 h 53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4857" h="537029">
                <a:moveTo>
                  <a:pt x="217714" y="217715"/>
                </a:moveTo>
                <a:cubicBezTo>
                  <a:pt x="224971" y="200782"/>
                  <a:pt x="248555" y="130629"/>
                  <a:pt x="304800" y="130629"/>
                </a:cubicBezTo>
                <a:cubicBezTo>
                  <a:pt x="320099" y="130629"/>
                  <a:pt x="333829" y="140305"/>
                  <a:pt x="348343" y="145143"/>
                </a:cubicBezTo>
                <a:cubicBezTo>
                  <a:pt x="473132" y="61952"/>
                  <a:pt x="315245" y="161692"/>
                  <a:pt x="435428" y="101600"/>
                </a:cubicBezTo>
                <a:cubicBezTo>
                  <a:pt x="451030" y="93799"/>
                  <a:pt x="464457" y="82248"/>
                  <a:pt x="478971" y="72572"/>
                </a:cubicBezTo>
                <a:cubicBezTo>
                  <a:pt x="508000" y="77410"/>
                  <a:pt x="538138" y="77780"/>
                  <a:pt x="566057" y="87086"/>
                </a:cubicBezTo>
                <a:cubicBezTo>
                  <a:pt x="582606" y="92602"/>
                  <a:pt x="593566" y="109243"/>
                  <a:pt x="609600" y="116115"/>
                </a:cubicBezTo>
                <a:cubicBezTo>
                  <a:pt x="627935" y="123973"/>
                  <a:pt x="648305" y="125791"/>
                  <a:pt x="667657" y="130629"/>
                </a:cubicBezTo>
                <a:cubicBezTo>
                  <a:pt x="696686" y="125791"/>
                  <a:pt x="726555" y="124571"/>
                  <a:pt x="754743" y="116115"/>
                </a:cubicBezTo>
                <a:cubicBezTo>
                  <a:pt x="775467" y="109898"/>
                  <a:pt x="792913" y="95609"/>
                  <a:pt x="812800" y="87086"/>
                </a:cubicBezTo>
                <a:cubicBezTo>
                  <a:pt x="826862" y="81059"/>
                  <a:pt x="841829" y="77410"/>
                  <a:pt x="856343" y="72572"/>
                </a:cubicBezTo>
                <a:cubicBezTo>
                  <a:pt x="966832" y="109401"/>
                  <a:pt x="913424" y="95599"/>
                  <a:pt x="1016000" y="116115"/>
                </a:cubicBezTo>
                <a:cubicBezTo>
                  <a:pt x="1140802" y="199314"/>
                  <a:pt x="982890" y="99558"/>
                  <a:pt x="1103086" y="159657"/>
                </a:cubicBezTo>
                <a:cubicBezTo>
                  <a:pt x="1118688" y="167458"/>
                  <a:pt x="1132114" y="179010"/>
                  <a:pt x="1146628" y="188686"/>
                </a:cubicBezTo>
                <a:cubicBezTo>
                  <a:pt x="1158433" y="153274"/>
                  <a:pt x="1162036" y="129735"/>
                  <a:pt x="1190171" y="101600"/>
                </a:cubicBezTo>
                <a:cubicBezTo>
                  <a:pt x="1202506" y="89265"/>
                  <a:pt x="1219200" y="82248"/>
                  <a:pt x="1233714" y="72572"/>
                </a:cubicBezTo>
                <a:cubicBezTo>
                  <a:pt x="1357253" y="154931"/>
                  <a:pt x="1286125" y="126776"/>
                  <a:pt x="1451428" y="145143"/>
                </a:cubicBezTo>
                <a:cubicBezTo>
                  <a:pt x="1472848" y="113014"/>
                  <a:pt x="1490474" y="80408"/>
                  <a:pt x="1524000" y="58057"/>
                </a:cubicBezTo>
                <a:cubicBezTo>
                  <a:pt x="1536730" y="49570"/>
                  <a:pt x="1553029" y="48381"/>
                  <a:pt x="1567543" y="43543"/>
                </a:cubicBezTo>
                <a:cubicBezTo>
                  <a:pt x="1579053" y="60808"/>
                  <a:pt x="1618248" y="125770"/>
                  <a:pt x="1640114" y="130629"/>
                </a:cubicBezTo>
                <a:cubicBezTo>
                  <a:pt x="1668842" y="137013"/>
                  <a:pt x="1698113" y="120590"/>
                  <a:pt x="1727200" y="116115"/>
                </a:cubicBezTo>
                <a:cubicBezTo>
                  <a:pt x="1862410" y="95313"/>
                  <a:pt x="1787528" y="111918"/>
                  <a:pt x="1886857" y="87086"/>
                </a:cubicBezTo>
                <a:cubicBezTo>
                  <a:pt x="1915886" y="91924"/>
                  <a:pt x="1945215" y="95216"/>
                  <a:pt x="1973943" y="101600"/>
                </a:cubicBezTo>
                <a:cubicBezTo>
                  <a:pt x="1988878" y="104919"/>
                  <a:pt x="2002186" y="116115"/>
                  <a:pt x="2017486" y="116115"/>
                </a:cubicBezTo>
                <a:cubicBezTo>
                  <a:pt x="2032785" y="116115"/>
                  <a:pt x="2046514" y="106438"/>
                  <a:pt x="2061028" y="101600"/>
                </a:cubicBezTo>
                <a:cubicBezTo>
                  <a:pt x="2080381" y="111276"/>
                  <a:pt x="2100300" y="119894"/>
                  <a:pt x="2119086" y="130629"/>
                </a:cubicBezTo>
                <a:cubicBezTo>
                  <a:pt x="2134231" y="139283"/>
                  <a:pt x="2145184" y="159657"/>
                  <a:pt x="2162628" y="159657"/>
                </a:cubicBezTo>
                <a:cubicBezTo>
                  <a:pt x="2211967" y="159657"/>
                  <a:pt x="2259277" y="139721"/>
                  <a:pt x="2307771" y="130629"/>
                </a:cubicBezTo>
                <a:cubicBezTo>
                  <a:pt x="2450111" y="103941"/>
                  <a:pt x="2342191" y="129282"/>
                  <a:pt x="2452914" y="101600"/>
                </a:cubicBezTo>
                <a:cubicBezTo>
                  <a:pt x="2481943" y="106438"/>
                  <a:pt x="2511703" y="124200"/>
                  <a:pt x="2540000" y="116115"/>
                </a:cubicBezTo>
                <a:cubicBezTo>
                  <a:pt x="2554711" y="111912"/>
                  <a:pt x="2543696" y="83390"/>
                  <a:pt x="2554514" y="72572"/>
                </a:cubicBezTo>
                <a:cubicBezTo>
                  <a:pt x="2565332" y="61754"/>
                  <a:pt x="2583543" y="62895"/>
                  <a:pt x="2598057" y="58057"/>
                </a:cubicBezTo>
                <a:cubicBezTo>
                  <a:pt x="2644806" y="69745"/>
                  <a:pt x="2673304" y="72410"/>
                  <a:pt x="2714171" y="101600"/>
                </a:cubicBezTo>
                <a:cubicBezTo>
                  <a:pt x="2730874" y="113531"/>
                  <a:pt x="2743200" y="130629"/>
                  <a:pt x="2757714" y="145143"/>
                </a:cubicBezTo>
                <a:cubicBezTo>
                  <a:pt x="2773548" y="121392"/>
                  <a:pt x="2795099" y="76970"/>
                  <a:pt x="2830286" y="72572"/>
                </a:cubicBezTo>
                <a:cubicBezTo>
                  <a:pt x="2854765" y="69512"/>
                  <a:pt x="2878667" y="82248"/>
                  <a:pt x="2902857" y="87086"/>
                </a:cubicBezTo>
                <a:cubicBezTo>
                  <a:pt x="2924873" y="101764"/>
                  <a:pt x="2959896" y="130629"/>
                  <a:pt x="2989943" y="130629"/>
                </a:cubicBezTo>
                <a:cubicBezTo>
                  <a:pt x="3014612" y="130629"/>
                  <a:pt x="3038324" y="120953"/>
                  <a:pt x="3062514" y="116115"/>
                </a:cubicBezTo>
                <a:cubicBezTo>
                  <a:pt x="3081866" y="106439"/>
                  <a:pt x="3099847" y="93303"/>
                  <a:pt x="3120571" y="87086"/>
                </a:cubicBezTo>
                <a:cubicBezTo>
                  <a:pt x="3210600" y="60077"/>
                  <a:pt x="3252751" y="77081"/>
                  <a:pt x="3352800" y="87086"/>
                </a:cubicBezTo>
                <a:cubicBezTo>
                  <a:pt x="3423829" y="69329"/>
                  <a:pt x="3425781" y="61083"/>
                  <a:pt x="3512457" y="87086"/>
                </a:cubicBezTo>
                <a:cubicBezTo>
                  <a:pt x="3529165" y="92099"/>
                  <a:pt x="3540398" y="108314"/>
                  <a:pt x="3556000" y="116115"/>
                </a:cubicBezTo>
                <a:cubicBezTo>
                  <a:pt x="3569684" y="122957"/>
                  <a:pt x="3585029" y="125791"/>
                  <a:pt x="3599543" y="130629"/>
                </a:cubicBezTo>
                <a:cubicBezTo>
                  <a:pt x="3699358" y="64085"/>
                  <a:pt x="3653531" y="83605"/>
                  <a:pt x="3730171" y="58057"/>
                </a:cubicBezTo>
                <a:cubicBezTo>
                  <a:pt x="3749523" y="62895"/>
                  <a:pt x="3769550" y="65568"/>
                  <a:pt x="3788228" y="72572"/>
                </a:cubicBezTo>
                <a:cubicBezTo>
                  <a:pt x="3814046" y="82254"/>
                  <a:pt x="3866855" y="111484"/>
                  <a:pt x="3889828" y="130629"/>
                </a:cubicBezTo>
                <a:cubicBezTo>
                  <a:pt x="3905597" y="143770"/>
                  <a:pt x="3918857" y="159658"/>
                  <a:pt x="3933371" y="174172"/>
                </a:cubicBezTo>
                <a:cubicBezTo>
                  <a:pt x="3952723" y="159658"/>
                  <a:pt x="3971743" y="144689"/>
                  <a:pt x="3991428" y="130629"/>
                </a:cubicBezTo>
                <a:cubicBezTo>
                  <a:pt x="4005623" y="120490"/>
                  <a:pt x="4017702" y="104067"/>
                  <a:pt x="4034971" y="101600"/>
                </a:cubicBezTo>
                <a:cubicBezTo>
                  <a:pt x="4054719" y="98779"/>
                  <a:pt x="4073676" y="111277"/>
                  <a:pt x="4093028" y="116115"/>
                </a:cubicBezTo>
                <a:cubicBezTo>
                  <a:pt x="4160346" y="160993"/>
                  <a:pt x="4117243" y="149533"/>
                  <a:pt x="4209143" y="116115"/>
                </a:cubicBezTo>
                <a:cubicBezTo>
                  <a:pt x="4237899" y="105658"/>
                  <a:pt x="4296228" y="87086"/>
                  <a:pt x="4296228" y="87086"/>
                </a:cubicBezTo>
                <a:cubicBezTo>
                  <a:pt x="4310742" y="77410"/>
                  <a:pt x="4322434" y="59983"/>
                  <a:pt x="4339771" y="58057"/>
                </a:cubicBezTo>
                <a:cubicBezTo>
                  <a:pt x="4378085" y="53800"/>
                  <a:pt x="4432139" y="74333"/>
                  <a:pt x="4470400" y="87086"/>
                </a:cubicBezTo>
                <a:cubicBezTo>
                  <a:pt x="4475238" y="67734"/>
                  <a:pt x="4472453" y="44606"/>
                  <a:pt x="4484914" y="29029"/>
                </a:cubicBezTo>
                <a:cubicBezTo>
                  <a:pt x="4520930" y="-15991"/>
                  <a:pt x="4564403" y="41474"/>
                  <a:pt x="4586514" y="58057"/>
                </a:cubicBezTo>
                <a:cubicBezTo>
                  <a:pt x="4596190" y="72571"/>
                  <a:pt x="4603208" y="89265"/>
                  <a:pt x="4615543" y="101600"/>
                </a:cubicBezTo>
                <a:cubicBezTo>
                  <a:pt x="4627878" y="113935"/>
                  <a:pt x="4648189" y="117007"/>
                  <a:pt x="4659086" y="130629"/>
                </a:cubicBezTo>
                <a:cubicBezTo>
                  <a:pt x="4668643" y="142576"/>
                  <a:pt x="4668762" y="159658"/>
                  <a:pt x="4673600" y="174172"/>
                </a:cubicBezTo>
                <a:cubicBezTo>
                  <a:pt x="4697790" y="169334"/>
                  <a:pt x="4722371" y="166148"/>
                  <a:pt x="4746171" y="159657"/>
                </a:cubicBezTo>
                <a:cubicBezTo>
                  <a:pt x="4775692" y="151606"/>
                  <a:pt x="4833257" y="130629"/>
                  <a:pt x="4833257" y="130629"/>
                </a:cubicBezTo>
                <a:cubicBezTo>
                  <a:pt x="4881638" y="135467"/>
                  <a:pt x="4931023" y="134210"/>
                  <a:pt x="4978400" y="145143"/>
                </a:cubicBezTo>
                <a:cubicBezTo>
                  <a:pt x="4995397" y="149065"/>
                  <a:pt x="5004521" y="173301"/>
                  <a:pt x="5021943" y="174172"/>
                </a:cubicBezTo>
                <a:lnTo>
                  <a:pt x="5268686" y="159657"/>
                </a:lnTo>
                <a:cubicBezTo>
                  <a:pt x="5283200" y="149981"/>
                  <a:pt x="5294891" y="132555"/>
                  <a:pt x="5312228" y="130629"/>
                </a:cubicBezTo>
                <a:cubicBezTo>
                  <a:pt x="5392728" y="121685"/>
                  <a:pt x="5397220" y="143049"/>
                  <a:pt x="5442857" y="188686"/>
                </a:cubicBezTo>
                <a:cubicBezTo>
                  <a:pt x="5462209" y="183848"/>
                  <a:pt x="5484316" y="185237"/>
                  <a:pt x="5500914" y="174172"/>
                </a:cubicBezTo>
                <a:cubicBezTo>
                  <a:pt x="5515428" y="164496"/>
                  <a:pt x="5514002" y="137714"/>
                  <a:pt x="5529943" y="130629"/>
                </a:cubicBezTo>
                <a:cubicBezTo>
                  <a:pt x="5561205" y="116735"/>
                  <a:pt x="5597676" y="120953"/>
                  <a:pt x="5631543" y="116115"/>
                </a:cubicBezTo>
                <a:cubicBezTo>
                  <a:pt x="5660571" y="120953"/>
                  <a:pt x="5690709" y="121323"/>
                  <a:pt x="5718628" y="130629"/>
                </a:cubicBezTo>
                <a:cubicBezTo>
                  <a:pt x="5735177" y="136145"/>
                  <a:pt x="5745342" y="155067"/>
                  <a:pt x="5762171" y="159657"/>
                </a:cubicBezTo>
                <a:cubicBezTo>
                  <a:pt x="5799803" y="169920"/>
                  <a:pt x="5839581" y="169334"/>
                  <a:pt x="5878286" y="174172"/>
                </a:cubicBezTo>
                <a:cubicBezTo>
                  <a:pt x="5976529" y="141424"/>
                  <a:pt x="5940749" y="136034"/>
                  <a:pt x="6023428" y="159657"/>
                </a:cubicBezTo>
                <a:cubicBezTo>
                  <a:pt x="6038139" y="163860"/>
                  <a:pt x="6052457" y="169334"/>
                  <a:pt x="6066971" y="174172"/>
                </a:cubicBezTo>
                <a:cubicBezTo>
                  <a:pt x="6163543" y="125885"/>
                  <a:pt x="6085055" y="158764"/>
                  <a:pt x="6197600" y="130629"/>
                </a:cubicBezTo>
                <a:cubicBezTo>
                  <a:pt x="6212443" y="126918"/>
                  <a:pt x="6226208" y="119434"/>
                  <a:pt x="6241143" y="116115"/>
                </a:cubicBezTo>
                <a:cubicBezTo>
                  <a:pt x="6313389" y="100060"/>
                  <a:pt x="6458857" y="72572"/>
                  <a:pt x="6458857" y="72572"/>
                </a:cubicBezTo>
                <a:cubicBezTo>
                  <a:pt x="6483047" y="62896"/>
                  <a:pt x="6508125" y="55195"/>
                  <a:pt x="6531428" y="43543"/>
                </a:cubicBezTo>
                <a:cubicBezTo>
                  <a:pt x="6643974" y="-12730"/>
                  <a:pt x="6509067" y="36484"/>
                  <a:pt x="6618514" y="0"/>
                </a:cubicBezTo>
                <a:cubicBezTo>
                  <a:pt x="6701788" y="27759"/>
                  <a:pt x="6624059" y="-5363"/>
                  <a:pt x="6705600" y="58057"/>
                </a:cubicBezTo>
                <a:cubicBezTo>
                  <a:pt x="6733139" y="79476"/>
                  <a:pt x="6763657" y="96762"/>
                  <a:pt x="6792686" y="116115"/>
                </a:cubicBezTo>
                <a:lnTo>
                  <a:pt x="6836228" y="145143"/>
                </a:lnTo>
                <a:cubicBezTo>
                  <a:pt x="6855581" y="140305"/>
                  <a:pt x="6875608" y="137633"/>
                  <a:pt x="6894286" y="130629"/>
                </a:cubicBezTo>
                <a:cubicBezTo>
                  <a:pt x="6914545" y="123032"/>
                  <a:pt x="6932456" y="110123"/>
                  <a:pt x="6952343" y="101600"/>
                </a:cubicBezTo>
                <a:cubicBezTo>
                  <a:pt x="6966405" y="95573"/>
                  <a:pt x="6981372" y="91924"/>
                  <a:pt x="6995886" y="87086"/>
                </a:cubicBezTo>
                <a:cubicBezTo>
                  <a:pt x="7024914" y="91924"/>
                  <a:pt x="7055052" y="92294"/>
                  <a:pt x="7082971" y="101600"/>
                </a:cubicBezTo>
                <a:cubicBezTo>
                  <a:pt x="7099520" y="107116"/>
                  <a:pt x="7109741" y="135421"/>
                  <a:pt x="7126514" y="130629"/>
                </a:cubicBezTo>
                <a:cubicBezTo>
                  <a:pt x="7152829" y="123110"/>
                  <a:pt x="7161363" y="87077"/>
                  <a:pt x="7184571" y="72572"/>
                </a:cubicBezTo>
                <a:cubicBezTo>
                  <a:pt x="7201487" y="62000"/>
                  <a:pt x="7223276" y="62895"/>
                  <a:pt x="7242628" y="58057"/>
                </a:cubicBezTo>
                <a:cubicBezTo>
                  <a:pt x="7257142" y="72571"/>
                  <a:pt x="7273030" y="85831"/>
                  <a:pt x="7286171" y="101600"/>
                </a:cubicBezTo>
                <a:cubicBezTo>
                  <a:pt x="7297338" y="115001"/>
                  <a:pt x="7297993" y="142275"/>
                  <a:pt x="7315200" y="145143"/>
                </a:cubicBezTo>
                <a:cubicBezTo>
                  <a:pt x="7336542" y="148700"/>
                  <a:pt x="7353370" y="124638"/>
                  <a:pt x="7373257" y="116115"/>
                </a:cubicBezTo>
                <a:cubicBezTo>
                  <a:pt x="7387319" y="110088"/>
                  <a:pt x="7402286" y="106438"/>
                  <a:pt x="7416800" y="101600"/>
                </a:cubicBezTo>
                <a:cubicBezTo>
                  <a:pt x="7445829" y="111276"/>
                  <a:pt x="7477938" y="114411"/>
                  <a:pt x="7503886" y="130629"/>
                </a:cubicBezTo>
                <a:cubicBezTo>
                  <a:pt x="7584072" y="180746"/>
                  <a:pt x="7470142" y="189866"/>
                  <a:pt x="7590971" y="159657"/>
                </a:cubicBezTo>
                <a:cubicBezTo>
                  <a:pt x="7615162" y="164495"/>
                  <a:pt x="7639064" y="177232"/>
                  <a:pt x="7663543" y="174172"/>
                </a:cubicBezTo>
                <a:cubicBezTo>
                  <a:pt x="7680852" y="172008"/>
                  <a:pt x="7689923" y="142023"/>
                  <a:pt x="7707086" y="145143"/>
                </a:cubicBezTo>
                <a:cubicBezTo>
                  <a:pt x="7749661" y="152884"/>
                  <a:pt x="7784495" y="183848"/>
                  <a:pt x="7823200" y="203200"/>
                </a:cubicBezTo>
                <a:cubicBezTo>
                  <a:pt x="7837714" y="188686"/>
                  <a:pt x="7855357" y="176736"/>
                  <a:pt x="7866743" y="159657"/>
                </a:cubicBezTo>
                <a:cubicBezTo>
                  <a:pt x="7900641" y="108811"/>
                  <a:pt x="7852716" y="97088"/>
                  <a:pt x="7924800" y="145143"/>
                </a:cubicBezTo>
                <a:cubicBezTo>
                  <a:pt x="7934476" y="159657"/>
                  <a:pt x="7939314" y="179010"/>
                  <a:pt x="7953828" y="188686"/>
                </a:cubicBezTo>
                <a:cubicBezTo>
                  <a:pt x="7962610" y="194540"/>
                  <a:pt x="8082861" y="217396"/>
                  <a:pt x="8084457" y="217715"/>
                </a:cubicBezTo>
                <a:cubicBezTo>
                  <a:pt x="8098971" y="237067"/>
                  <a:pt x="8105051" y="268122"/>
                  <a:pt x="8128000" y="275772"/>
                </a:cubicBezTo>
                <a:cubicBezTo>
                  <a:pt x="8144549" y="281288"/>
                  <a:pt x="8154336" y="243875"/>
                  <a:pt x="8171543" y="246743"/>
                </a:cubicBezTo>
                <a:cubicBezTo>
                  <a:pt x="8191790" y="250117"/>
                  <a:pt x="8200572" y="275772"/>
                  <a:pt x="8215086" y="290286"/>
                </a:cubicBezTo>
                <a:cubicBezTo>
                  <a:pt x="8219924" y="275772"/>
                  <a:pt x="8220207" y="258820"/>
                  <a:pt x="8229600" y="246743"/>
                </a:cubicBezTo>
                <a:cubicBezTo>
                  <a:pt x="8283134" y="177914"/>
                  <a:pt x="8302026" y="169431"/>
                  <a:pt x="8360228" y="130629"/>
                </a:cubicBezTo>
                <a:cubicBezTo>
                  <a:pt x="8374742" y="135467"/>
                  <a:pt x="8391041" y="136656"/>
                  <a:pt x="8403771" y="145143"/>
                </a:cubicBezTo>
                <a:cubicBezTo>
                  <a:pt x="8437297" y="167494"/>
                  <a:pt x="8454923" y="200100"/>
                  <a:pt x="8476343" y="232229"/>
                </a:cubicBezTo>
                <a:cubicBezTo>
                  <a:pt x="8480993" y="213628"/>
                  <a:pt x="8482344" y="138835"/>
                  <a:pt x="8534400" y="159657"/>
                </a:cubicBezTo>
                <a:cubicBezTo>
                  <a:pt x="8550596" y="166135"/>
                  <a:pt x="8553752" y="188686"/>
                  <a:pt x="8563428" y="203200"/>
                </a:cubicBezTo>
                <a:cubicBezTo>
                  <a:pt x="8648197" y="174944"/>
                  <a:pt x="8570348" y="210795"/>
                  <a:pt x="8636000" y="145143"/>
                </a:cubicBezTo>
                <a:cubicBezTo>
                  <a:pt x="8669411" y="111733"/>
                  <a:pt x="8693187" y="112704"/>
                  <a:pt x="8737600" y="101600"/>
                </a:cubicBezTo>
                <a:cubicBezTo>
                  <a:pt x="8795657" y="106438"/>
                  <a:pt x="8855480" y="101104"/>
                  <a:pt x="8911771" y="116115"/>
                </a:cubicBezTo>
                <a:cubicBezTo>
                  <a:pt x="8931604" y="121404"/>
                  <a:pt x="8938611" y="147726"/>
                  <a:pt x="8955314" y="159657"/>
                </a:cubicBezTo>
                <a:cubicBezTo>
                  <a:pt x="8972920" y="172233"/>
                  <a:pt x="8994019" y="179010"/>
                  <a:pt x="9013371" y="188686"/>
                </a:cubicBezTo>
                <a:cubicBezTo>
                  <a:pt x="9042400" y="183848"/>
                  <a:pt x="9076510" y="191277"/>
                  <a:pt x="9100457" y="174172"/>
                </a:cubicBezTo>
                <a:cubicBezTo>
                  <a:pt x="9116689" y="162578"/>
                  <a:pt x="9102510" y="131692"/>
                  <a:pt x="9114971" y="116115"/>
                </a:cubicBezTo>
                <a:cubicBezTo>
                  <a:pt x="9124528" y="104168"/>
                  <a:pt x="9144000" y="106438"/>
                  <a:pt x="9158514" y="101600"/>
                </a:cubicBezTo>
                <a:cubicBezTo>
                  <a:pt x="9245731" y="130674"/>
                  <a:pt x="9253473" y="137166"/>
                  <a:pt x="9390743" y="130629"/>
                </a:cubicBezTo>
                <a:cubicBezTo>
                  <a:pt x="9430594" y="128731"/>
                  <a:pt x="9469285" y="115019"/>
                  <a:pt x="9506857" y="101600"/>
                </a:cubicBezTo>
                <a:cubicBezTo>
                  <a:pt x="9537421" y="90684"/>
                  <a:pt x="9564914" y="72571"/>
                  <a:pt x="9593943" y="58057"/>
                </a:cubicBezTo>
                <a:cubicBezTo>
                  <a:pt x="9618133" y="67733"/>
                  <a:pt x="9646732" y="70130"/>
                  <a:pt x="9666514" y="87086"/>
                </a:cubicBezTo>
                <a:cubicBezTo>
                  <a:pt x="9736821" y="147349"/>
                  <a:pt x="9650667" y="160101"/>
                  <a:pt x="9739086" y="130629"/>
                </a:cubicBezTo>
                <a:cubicBezTo>
                  <a:pt x="9848532" y="167111"/>
                  <a:pt x="9713623" y="117898"/>
                  <a:pt x="9826171" y="174172"/>
                </a:cubicBezTo>
                <a:cubicBezTo>
                  <a:pt x="9839855" y="181014"/>
                  <a:pt x="9855200" y="183848"/>
                  <a:pt x="9869714" y="188686"/>
                </a:cubicBezTo>
                <a:cubicBezTo>
                  <a:pt x="9893905" y="183848"/>
                  <a:pt x="9917616" y="174172"/>
                  <a:pt x="9942286" y="174172"/>
                </a:cubicBezTo>
                <a:cubicBezTo>
                  <a:pt x="9957585" y="174172"/>
                  <a:pt x="9970647" y="190584"/>
                  <a:pt x="9985828" y="188686"/>
                </a:cubicBezTo>
                <a:cubicBezTo>
                  <a:pt x="10011681" y="185454"/>
                  <a:pt x="10034209" y="169333"/>
                  <a:pt x="10058400" y="159657"/>
                </a:cubicBezTo>
                <a:cubicBezTo>
                  <a:pt x="10103650" y="103094"/>
                  <a:pt x="10113475" y="78422"/>
                  <a:pt x="10174514" y="43543"/>
                </a:cubicBezTo>
                <a:cubicBezTo>
                  <a:pt x="10187798" y="35952"/>
                  <a:pt x="10203543" y="33867"/>
                  <a:pt x="10218057" y="29029"/>
                </a:cubicBezTo>
                <a:cubicBezTo>
                  <a:pt x="10334949" y="116699"/>
                  <a:pt x="10230168" y="58057"/>
                  <a:pt x="10464800" y="58057"/>
                </a:cubicBezTo>
                <a:cubicBezTo>
                  <a:pt x="10503806" y="58057"/>
                  <a:pt x="10542209" y="67734"/>
                  <a:pt x="10580914" y="72572"/>
                </a:cubicBezTo>
                <a:cubicBezTo>
                  <a:pt x="10600266" y="87086"/>
                  <a:pt x="10614781" y="116115"/>
                  <a:pt x="10638971" y="116115"/>
                </a:cubicBezTo>
                <a:cubicBezTo>
                  <a:pt x="10659497" y="116115"/>
                  <a:pt x="10666745" y="85713"/>
                  <a:pt x="10682514" y="72572"/>
                </a:cubicBezTo>
                <a:cubicBezTo>
                  <a:pt x="10720030" y="41308"/>
                  <a:pt x="10725959" y="43576"/>
                  <a:pt x="10769600" y="29029"/>
                </a:cubicBezTo>
                <a:cubicBezTo>
                  <a:pt x="10788952" y="38705"/>
                  <a:pt x="10809104" y="46925"/>
                  <a:pt x="10827657" y="58057"/>
                </a:cubicBezTo>
                <a:cubicBezTo>
                  <a:pt x="10952428" y="132920"/>
                  <a:pt x="10870701" y="101435"/>
                  <a:pt x="10958286" y="130629"/>
                </a:cubicBezTo>
                <a:cubicBezTo>
                  <a:pt x="10982476" y="125791"/>
                  <a:pt x="11006924" y="122098"/>
                  <a:pt x="11030857" y="116115"/>
                </a:cubicBezTo>
                <a:cubicBezTo>
                  <a:pt x="11045700" y="112404"/>
                  <a:pt x="11059176" y="100078"/>
                  <a:pt x="11074400" y="101600"/>
                </a:cubicBezTo>
                <a:cubicBezTo>
                  <a:pt x="11109447" y="105105"/>
                  <a:pt x="11142133" y="120953"/>
                  <a:pt x="11176000" y="130629"/>
                </a:cubicBezTo>
                <a:cubicBezTo>
                  <a:pt x="11185676" y="145143"/>
                  <a:pt x="11187644" y="172723"/>
                  <a:pt x="11205028" y="174172"/>
                </a:cubicBezTo>
                <a:cubicBezTo>
                  <a:pt x="11305981" y="182585"/>
                  <a:pt x="11330789" y="158064"/>
                  <a:pt x="11393714" y="116115"/>
                </a:cubicBezTo>
                <a:cubicBezTo>
                  <a:pt x="11408228" y="120953"/>
                  <a:pt x="11423573" y="123787"/>
                  <a:pt x="11437257" y="130629"/>
                </a:cubicBezTo>
                <a:cubicBezTo>
                  <a:pt x="11452859" y="138430"/>
                  <a:pt x="11463593" y="156789"/>
                  <a:pt x="11480800" y="159657"/>
                </a:cubicBezTo>
                <a:cubicBezTo>
                  <a:pt x="11495891" y="162172"/>
                  <a:pt x="11509829" y="149981"/>
                  <a:pt x="11524343" y="145143"/>
                </a:cubicBezTo>
                <a:cubicBezTo>
                  <a:pt x="11543695" y="149981"/>
                  <a:pt x="11563476" y="153349"/>
                  <a:pt x="11582400" y="159657"/>
                </a:cubicBezTo>
                <a:cubicBezTo>
                  <a:pt x="11607117" y="167896"/>
                  <a:pt x="11630576" y="179538"/>
                  <a:pt x="11654971" y="188686"/>
                </a:cubicBezTo>
                <a:cubicBezTo>
                  <a:pt x="11669296" y="194058"/>
                  <a:pt x="11684000" y="198362"/>
                  <a:pt x="11698514" y="203200"/>
                </a:cubicBezTo>
                <a:cubicBezTo>
                  <a:pt x="11746147" y="131751"/>
                  <a:pt x="11745193" y="112250"/>
                  <a:pt x="11814628" y="72572"/>
                </a:cubicBezTo>
                <a:cubicBezTo>
                  <a:pt x="11827912" y="64981"/>
                  <a:pt x="11843657" y="62895"/>
                  <a:pt x="11858171" y="58057"/>
                </a:cubicBezTo>
                <a:cubicBezTo>
                  <a:pt x="11872685" y="62895"/>
                  <a:pt x="11886414" y="72572"/>
                  <a:pt x="11901714" y="72572"/>
                </a:cubicBezTo>
                <a:cubicBezTo>
                  <a:pt x="11921662" y="72572"/>
                  <a:pt x="11940023" y="55236"/>
                  <a:pt x="11959771" y="58057"/>
                </a:cubicBezTo>
                <a:cubicBezTo>
                  <a:pt x="11977040" y="60524"/>
                  <a:pt x="11988800" y="77410"/>
                  <a:pt x="12003314" y="87086"/>
                </a:cubicBezTo>
                <a:cubicBezTo>
                  <a:pt x="12022666" y="116115"/>
                  <a:pt x="12039952" y="146633"/>
                  <a:pt x="12061371" y="174172"/>
                </a:cubicBezTo>
                <a:cubicBezTo>
                  <a:pt x="12073973" y="190375"/>
                  <a:pt x="12086555" y="226895"/>
                  <a:pt x="12104914" y="217715"/>
                </a:cubicBezTo>
                <a:cubicBezTo>
                  <a:pt x="12126979" y="206682"/>
                  <a:pt x="12114590" y="169334"/>
                  <a:pt x="12119428" y="145143"/>
                </a:cubicBezTo>
                <a:cubicBezTo>
                  <a:pt x="12143619" y="149981"/>
                  <a:pt x="12168279" y="166434"/>
                  <a:pt x="12192000" y="159657"/>
                </a:cubicBezTo>
                <a:cubicBezTo>
                  <a:pt x="12212731" y="153734"/>
                  <a:pt x="12230232" y="88503"/>
                  <a:pt x="12235543" y="72572"/>
                </a:cubicBezTo>
                <a:cubicBezTo>
                  <a:pt x="12338757" y="141380"/>
                  <a:pt x="12219416" y="81173"/>
                  <a:pt x="12322628" y="72572"/>
                </a:cubicBezTo>
                <a:cubicBezTo>
                  <a:pt x="12366288" y="68934"/>
                  <a:pt x="12409714" y="82248"/>
                  <a:pt x="12453257" y="87086"/>
                </a:cubicBezTo>
                <a:cubicBezTo>
                  <a:pt x="12467771" y="96762"/>
                  <a:pt x="12487555" y="101322"/>
                  <a:pt x="12496800" y="116115"/>
                </a:cubicBezTo>
                <a:cubicBezTo>
                  <a:pt x="12513017" y="142063"/>
                  <a:pt x="12508855" y="177741"/>
                  <a:pt x="12525828" y="203200"/>
                </a:cubicBezTo>
                <a:lnTo>
                  <a:pt x="12554857" y="246743"/>
                </a:lnTo>
                <a:cubicBezTo>
                  <a:pt x="12550019" y="266095"/>
                  <a:pt x="12555489" y="291818"/>
                  <a:pt x="12540343" y="304800"/>
                </a:cubicBezTo>
                <a:cubicBezTo>
                  <a:pt x="12517111" y="324714"/>
                  <a:pt x="12478717" y="316856"/>
                  <a:pt x="12453257" y="333829"/>
                </a:cubicBezTo>
                <a:cubicBezTo>
                  <a:pt x="12438743" y="343505"/>
                  <a:pt x="12426263" y="357341"/>
                  <a:pt x="12409714" y="362857"/>
                </a:cubicBezTo>
                <a:cubicBezTo>
                  <a:pt x="12381795" y="372163"/>
                  <a:pt x="12352025" y="376005"/>
                  <a:pt x="12322628" y="377372"/>
                </a:cubicBezTo>
                <a:cubicBezTo>
                  <a:pt x="12143747" y="385692"/>
                  <a:pt x="11964542" y="385004"/>
                  <a:pt x="11785600" y="391886"/>
                </a:cubicBezTo>
                <a:cubicBezTo>
                  <a:pt x="11587149" y="399519"/>
                  <a:pt x="11190514" y="420915"/>
                  <a:pt x="11190514" y="420915"/>
                </a:cubicBezTo>
                <a:cubicBezTo>
                  <a:pt x="11156647" y="425753"/>
                  <a:pt x="11123016" y="432701"/>
                  <a:pt x="11088914" y="435429"/>
                </a:cubicBezTo>
                <a:cubicBezTo>
                  <a:pt x="10940312" y="447317"/>
                  <a:pt x="10590718" y="459420"/>
                  <a:pt x="10464800" y="464457"/>
                </a:cubicBezTo>
                <a:cubicBezTo>
                  <a:pt x="10412811" y="473122"/>
                  <a:pt x="10326821" y="488149"/>
                  <a:pt x="10276114" y="493486"/>
                </a:cubicBezTo>
                <a:cubicBezTo>
                  <a:pt x="10218176" y="499585"/>
                  <a:pt x="10160108" y="504708"/>
                  <a:pt x="10101943" y="508000"/>
                </a:cubicBezTo>
                <a:lnTo>
                  <a:pt x="9506857" y="537029"/>
                </a:lnTo>
                <a:cubicBezTo>
                  <a:pt x="7021676" y="496946"/>
                  <a:pt x="10127457" y="537029"/>
                  <a:pt x="7765143" y="537029"/>
                </a:cubicBezTo>
                <a:lnTo>
                  <a:pt x="2061028" y="522515"/>
                </a:lnTo>
                <a:cubicBezTo>
                  <a:pt x="1850113" y="487360"/>
                  <a:pt x="2039664" y="515278"/>
                  <a:pt x="1625600" y="493486"/>
                </a:cubicBezTo>
                <a:cubicBezTo>
                  <a:pt x="1557788" y="489917"/>
                  <a:pt x="1490287" y="480569"/>
                  <a:pt x="1422400" y="478972"/>
                </a:cubicBezTo>
                <a:lnTo>
                  <a:pt x="391886" y="464457"/>
                </a:lnTo>
                <a:cubicBezTo>
                  <a:pt x="353181" y="459619"/>
                  <a:pt x="314601" y="453641"/>
                  <a:pt x="275771" y="449943"/>
                </a:cubicBezTo>
                <a:cubicBezTo>
                  <a:pt x="63089" y="429688"/>
                  <a:pt x="141399" y="471638"/>
                  <a:pt x="43543" y="406400"/>
                </a:cubicBezTo>
                <a:cubicBezTo>
                  <a:pt x="33867" y="391886"/>
                  <a:pt x="22315" y="378459"/>
                  <a:pt x="14514" y="362857"/>
                </a:cubicBezTo>
                <a:cubicBezTo>
                  <a:pt x="7672" y="349173"/>
                  <a:pt x="0" y="334614"/>
                  <a:pt x="0" y="319315"/>
                </a:cubicBezTo>
                <a:cubicBezTo>
                  <a:pt x="0" y="203265"/>
                  <a:pt x="229163" y="234521"/>
                  <a:pt x="261257" y="232229"/>
                </a:cubicBezTo>
                <a:cubicBezTo>
                  <a:pt x="245213" y="184096"/>
                  <a:pt x="210457" y="234648"/>
                  <a:pt x="217714" y="217715"/>
                </a:cubicBezTo>
                <a:close/>
              </a:path>
            </a:pathLst>
          </a:custGeom>
          <a:solidFill>
            <a:srgbClr val="63A6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9" name="Picture 198" descr="A picture containing computer, computer, light&#10;&#10;Description automatically generated">
            <a:extLst>
              <a:ext uri="{FF2B5EF4-FFF2-40B4-BE49-F238E27FC236}">
                <a16:creationId xmlns:a16="http://schemas.microsoft.com/office/drawing/2014/main" id="{30DF462C-06AC-48C5-BC86-94CA66BE80A5}"/>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69510" y="3010020"/>
            <a:ext cx="940269" cy="1625347"/>
          </a:xfrm>
          <a:prstGeom prst="rect">
            <a:avLst/>
          </a:prstGeom>
        </p:spPr>
      </p:pic>
      <p:pic>
        <p:nvPicPr>
          <p:cNvPr id="201" name="Picture 200" descr="A picture containing computer, computer, light&#10;&#10;Description automatically generated">
            <a:extLst>
              <a:ext uri="{FF2B5EF4-FFF2-40B4-BE49-F238E27FC236}">
                <a16:creationId xmlns:a16="http://schemas.microsoft.com/office/drawing/2014/main" id="{8E226EF1-1BE4-4369-B978-0593C478D819}"/>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926926" y="2706060"/>
            <a:ext cx="674415" cy="1165792"/>
          </a:xfrm>
          <a:prstGeom prst="rect">
            <a:avLst/>
          </a:prstGeom>
        </p:spPr>
      </p:pic>
      <p:pic>
        <p:nvPicPr>
          <p:cNvPr id="202" name="Picture 201" descr="A picture containing computer, computer, light&#10;&#10;Description automatically generated">
            <a:extLst>
              <a:ext uri="{FF2B5EF4-FFF2-40B4-BE49-F238E27FC236}">
                <a16:creationId xmlns:a16="http://schemas.microsoft.com/office/drawing/2014/main" id="{FABEC5C1-263C-4053-81AF-27B8575AB7E4}"/>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23939" y="2340117"/>
            <a:ext cx="674415" cy="1165792"/>
          </a:xfrm>
          <a:prstGeom prst="rect">
            <a:avLst/>
          </a:prstGeom>
        </p:spPr>
      </p:pic>
      <p:pic>
        <p:nvPicPr>
          <p:cNvPr id="203" name="Picture 202" descr="A picture containing computer, computer, light&#10;&#10;Description automatically generated">
            <a:extLst>
              <a:ext uri="{FF2B5EF4-FFF2-40B4-BE49-F238E27FC236}">
                <a16:creationId xmlns:a16="http://schemas.microsoft.com/office/drawing/2014/main" id="{C90BDE18-3C7D-445E-9195-5103BC44E992}"/>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710248" y="4566829"/>
            <a:ext cx="1300246" cy="2247602"/>
          </a:xfrm>
          <a:prstGeom prst="rect">
            <a:avLst/>
          </a:prstGeom>
        </p:spPr>
      </p:pic>
      <p:pic>
        <p:nvPicPr>
          <p:cNvPr id="204" name="Picture 203" descr="A picture containing computer, computer, light&#10;&#10;Description automatically generated">
            <a:extLst>
              <a:ext uri="{FF2B5EF4-FFF2-40B4-BE49-F238E27FC236}">
                <a16:creationId xmlns:a16="http://schemas.microsoft.com/office/drawing/2014/main" id="{467607A5-FA8A-4E58-A3AE-A4A47DF6E75C}"/>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4021330" y="3499445"/>
            <a:ext cx="1300246" cy="2247602"/>
          </a:xfrm>
          <a:prstGeom prst="rect">
            <a:avLst/>
          </a:prstGeom>
        </p:spPr>
      </p:pic>
      <p:pic>
        <p:nvPicPr>
          <p:cNvPr id="205" name="Picture 204" descr="A picture containing computer, computer, light&#10;&#10;Description automatically generated">
            <a:extLst>
              <a:ext uri="{FF2B5EF4-FFF2-40B4-BE49-F238E27FC236}">
                <a16:creationId xmlns:a16="http://schemas.microsoft.com/office/drawing/2014/main" id="{767BD79E-70D3-47E5-81C1-2BC3BAF5E3A2}"/>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5005316" y="2412255"/>
            <a:ext cx="1300246" cy="2247602"/>
          </a:xfrm>
          <a:prstGeom prst="rect">
            <a:avLst/>
          </a:prstGeom>
        </p:spPr>
      </p:pic>
      <p:pic>
        <p:nvPicPr>
          <p:cNvPr id="206" name="Picture 205" descr="A picture containing computer, computer, light&#10;&#10;Description automatically generated">
            <a:extLst>
              <a:ext uri="{FF2B5EF4-FFF2-40B4-BE49-F238E27FC236}">
                <a16:creationId xmlns:a16="http://schemas.microsoft.com/office/drawing/2014/main" id="{AB3EFAF8-7B23-453C-B7E9-798F68F5F58B}"/>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6135195" y="1904862"/>
            <a:ext cx="838829" cy="1449997"/>
          </a:xfrm>
          <a:prstGeom prst="rect">
            <a:avLst/>
          </a:prstGeom>
        </p:spPr>
      </p:pic>
      <p:pic>
        <p:nvPicPr>
          <p:cNvPr id="207" name="Picture 206" descr="A picture containing computer, computer, light&#10;&#10;Description automatically generated">
            <a:extLst>
              <a:ext uri="{FF2B5EF4-FFF2-40B4-BE49-F238E27FC236}">
                <a16:creationId xmlns:a16="http://schemas.microsoft.com/office/drawing/2014/main" id="{ECFF8DFD-E6E4-47DA-8F0F-FE3641E82E11}"/>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3628122" y="2390464"/>
            <a:ext cx="674415" cy="1165792"/>
          </a:xfrm>
          <a:prstGeom prst="rect">
            <a:avLst/>
          </a:prstGeom>
        </p:spPr>
      </p:pic>
      <p:pic>
        <p:nvPicPr>
          <p:cNvPr id="208" name="Picture 207" descr="A picture containing computer, computer, light&#10;&#10;Description automatically generated">
            <a:extLst>
              <a:ext uri="{FF2B5EF4-FFF2-40B4-BE49-F238E27FC236}">
                <a16:creationId xmlns:a16="http://schemas.microsoft.com/office/drawing/2014/main" id="{33619D9F-C24F-4A99-A08F-33E51F3C62C6}"/>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871772" y="2452489"/>
            <a:ext cx="674415" cy="1165792"/>
          </a:xfrm>
          <a:prstGeom prst="rect">
            <a:avLst/>
          </a:prstGeom>
        </p:spPr>
      </p:pic>
      <p:pic>
        <p:nvPicPr>
          <p:cNvPr id="209" name="Picture 208" descr="A picture containing computer, computer, light&#10;&#10;Description automatically generated">
            <a:extLst>
              <a:ext uri="{FF2B5EF4-FFF2-40B4-BE49-F238E27FC236}">
                <a16:creationId xmlns:a16="http://schemas.microsoft.com/office/drawing/2014/main" id="{5B6DC347-E4CD-4C13-A373-41DEB449CDB6}"/>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542277" y="2588803"/>
            <a:ext cx="674415" cy="1165792"/>
          </a:xfrm>
          <a:prstGeom prst="rect">
            <a:avLst/>
          </a:prstGeom>
        </p:spPr>
      </p:pic>
      <p:pic>
        <p:nvPicPr>
          <p:cNvPr id="210" name="Picture 209" descr="A picture containing computer, computer, light&#10;&#10;Description automatically generated">
            <a:extLst>
              <a:ext uri="{FF2B5EF4-FFF2-40B4-BE49-F238E27FC236}">
                <a16:creationId xmlns:a16="http://schemas.microsoft.com/office/drawing/2014/main" id="{CBFA428B-9570-42A3-B184-223A95FBAD57}"/>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0042636" y="2307190"/>
            <a:ext cx="674415" cy="1165792"/>
          </a:xfrm>
          <a:prstGeom prst="rect">
            <a:avLst/>
          </a:prstGeom>
        </p:spPr>
      </p:pic>
      <p:pic>
        <p:nvPicPr>
          <p:cNvPr id="211" name="Picture 210" descr="A picture containing computer, computer, light&#10;&#10;Description automatically generated">
            <a:extLst>
              <a:ext uri="{FF2B5EF4-FFF2-40B4-BE49-F238E27FC236}">
                <a16:creationId xmlns:a16="http://schemas.microsoft.com/office/drawing/2014/main" id="{27010044-08C0-4418-AE1C-C4C40E197E1F}"/>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8435864" y="2204286"/>
            <a:ext cx="674415" cy="1165792"/>
          </a:xfrm>
          <a:prstGeom prst="rect">
            <a:avLst/>
          </a:prstGeom>
        </p:spPr>
      </p:pic>
      <p:grpSp>
        <p:nvGrpSpPr>
          <p:cNvPr id="4" name="Group 3">
            <a:extLst>
              <a:ext uri="{FF2B5EF4-FFF2-40B4-BE49-F238E27FC236}">
                <a16:creationId xmlns:a16="http://schemas.microsoft.com/office/drawing/2014/main" id="{6D1D1748-7505-49AC-B419-7E1E6874495C}"/>
              </a:ext>
            </a:extLst>
          </p:cNvPr>
          <p:cNvGrpSpPr/>
          <p:nvPr/>
        </p:nvGrpSpPr>
        <p:grpSpPr>
          <a:xfrm>
            <a:off x="-811627" y="3411110"/>
            <a:ext cx="4028319" cy="3400471"/>
            <a:chOff x="-811627" y="3411110"/>
            <a:chExt cx="4028319" cy="3400471"/>
          </a:xfrm>
        </p:grpSpPr>
        <p:pic>
          <p:nvPicPr>
            <p:cNvPr id="25" name="Picture 24">
              <a:extLst>
                <a:ext uri="{FF2B5EF4-FFF2-40B4-BE49-F238E27FC236}">
                  <a16:creationId xmlns:a16="http://schemas.microsoft.com/office/drawing/2014/main" id="{78BAC35E-672F-4B37-A7AD-E628A4F27E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9003" y="4040929"/>
              <a:ext cx="3975695" cy="2770652"/>
            </a:xfrm>
            <a:prstGeom prst="rect">
              <a:avLst/>
            </a:prstGeom>
          </p:spPr>
        </p:pic>
        <p:grpSp>
          <p:nvGrpSpPr>
            <p:cNvPr id="2" name="Group 1">
              <a:extLst>
                <a:ext uri="{FF2B5EF4-FFF2-40B4-BE49-F238E27FC236}">
                  <a16:creationId xmlns:a16="http://schemas.microsoft.com/office/drawing/2014/main" id="{75B102EB-9759-4A3F-B65D-874BA0A8FA1E}"/>
                </a:ext>
              </a:extLst>
            </p:cNvPr>
            <p:cNvGrpSpPr/>
            <p:nvPr/>
          </p:nvGrpSpPr>
          <p:grpSpPr>
            <a:xfrm>
              <a:off x="-811627" y="3411110"/>
              <a:ext cx="3491982" cy="2700092"/>
              <a:chOff x="-811627" y="3411110"/>
              <a:chExt cx="3491982" cy="2700092"/>
            </a:xfrm>
          </p:grpSpPr>
          <p:pic>
            <p:nvPicPr>
              <p:cNvPr id="213" name="Picture 212">
                <a:extLst>
                  <a:ext uri="{FF2B5EF4-FFF2-40B4-BE49-F238E27FC236}">
                    <a16:creationId xmlns:a16="http://schemas.microsoft.com/office/drawing/2014/main" id="{6445974D-E6CF-43A7-A0DC-F60F2927D0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949" y="3411110"/>
                <a:ext cx="2692304" cy="2258061"/>
              </a:xfrm>
              <a:prstGeom prst="rect">
                <a:avLst/>
              </a:prstGeom>
            </p:spPr>
          </p:pic>
          <p:pic>
            <p:nvPicPr>
              <p:cNvPr id="216" name="Picture 215">
                <a:extLst>
                  <a:ext uri="{FF2B5EF4-FFF2-40B4-BE49-F238E27FC236}">
                    <a16:creationId xmlns:a16="http://schemas.microsoft.com/office/drawing/2014/main" id="{EAAEB00C-1C2B-4184-9ABA-0034D461FC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1627" y="3853141"/>
                <a:ext cx="2692304" cy="2258061"/>
              </a:xfrm>
              <a:prstGeom prst="rect">
                <a:avLst/>
              </a:prstGeom>
            </p:spPr>
          </p:pic>
          <p:pic>
            <p:nvPicPr>
              <p:cNvPr id="277" name="Picture 276">
                <a:extLst>
                  <a:ext uri="{FF2B5EF4-FFF2-40B4-BE49-F238E27FC236}">
                    <a16:creationId xmlns:a16="http://schemas.microsoft.com/office/drawing/2014/main" id="{7E41E4A8-D9BF-44D6-97EE-999D35DE1F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3491" y="3613578"/>
                <a:ext cx="2692304" cy="2258061"/>
              </a:xfrm>
              <a:prstGeom prst="rect">
                <a:avLst/>
              </a:prstGeom>
            </p:spPr>
          </p:pic>
        </p:grpSp>
      </p:grpSp>
      <p:sp>
        <p:nvSpPr>
          <p:cNvPr id="39" name="TextBox 38">
            <a:extLst>
              <a:ext uri="{FF2B5EF4-FFF2-40B4-BE49-F238E27FC236}">
                <a16:creationId xmlns:a16="http://schemas.microsoft.com/office/drawing/2014/main" id="{20B174F5-189F-49B1-BD3E-FC9E48628F0F}"/>
              </a:ext>
            </a:extLst>
          </p:cNvPr>
          <p:cNvSpPr txBox="1"/>
          <p:nvPr/>
        </p:nvSpPr>
        <p:spPr>
          <a:xfrm>
            <a:off x="601985" y="239468"/>
            <a:ext cx="6372039" cy="584775"/>
          </a:xfrm>
          <a:prstGeom prst="rect">
            <a:avLst/>
          </a:prstGeom>
          <a:noFill/>
        </p:spPr>
        <p:txBody>
          <a:bodyPr wrap="square" rtlCol="0">
            <a:spAutoFit/>
          </a:bodyPr>
          <a:lstStyle/>
          <a:p>
            <a:pPr algn="ctr"/>
            <a:r>
              <a:rPr lang="en-US" sz="3200" dirty="0"/>
              <a:t>Visiting C And D Waste Recycle Plant</a:t>
            </a:r>
          </a:p>
        </p:txBody>
      </p:sp>
      <p:sp>
        <p:nvSpPr>
          <p:cNvPr id="46" name="Right Triangle 45">
            <a:extLst>
              <a:ext uri="{FF2B5EF4-FFF2-40B4-BE49-F238E27FC236}">
                <a16:creationId xmlns:a16="http://schemas.microsoft.com/office/drawing/2014/main" id="{6964B4C7-6C0B-4BCE-BD24-C11CEE7B8E97}"/>
              </a:ext>
            </a:extLst>
          </p:cNvPr>
          <p:cNvSpPr/>
          <p:nvPr/>
        </p:nvSpPr>
        <p:spPr>
          <a:xfrm flipH="1" flipV="1">
            <a:off x="7162373" y="2428042"/>
            <a:ext cx="349272" cy="206557"/>
          </a:xfrm>
          <a:prstGeom prst="rtTriangle">
            <a:avLst/>
          </a:prstGeom>
          <a:solidFill>
            <a:schemeClr val="tx1">
              <a:alpha val="82000"/>
            </a:scheme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ight Triangle 49">
            <a:extLst>
              <a:ext uri="{FF2B5EF4-FFF2-40B4-BE49-F238E27FC236}">
                <a16:creationId xmlns:a16="http://schemas.microsoft.com/office/drawing/2014/main" id="{D6373DA9-AFCC-4D31-BDA5-9E3FFEA8255E}"/>
              </a:ext>
            </a:extLst>
          </p:cNvPr>
          <p:cNvSpPr/>
          <p:nvPr/>
        </p:nvSpPr>
        <p:spPr>
          <a:xfrm flipH="1" flipV="1">
            <a:off x="9717965" y="2463121"/>
            <a:ext cx="349272" cy="206557"/>
          </a:xfrm>
          <a:prstGeom prst="rtTriangle">
            <a:avLst/>
          </a:prstGeom>
          <a:solidFill>
            <a:schemeClr val="tx1">
              <a:alpha val="82000"/>
            </a:scheme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7F62E84D-42AB-4362-8F16-338310B1C60B}"/>
              </a:ext>
            </a:extLst>
          </p:cNvPr>
          <p:cNvSpPr/>
          <p:nvPr/>
        </p:nvSpPr>
        <p:spPr>
          <a:xfrm>
            <a:off x="7473455" y="4120840"/>
            <a:ext cx="2400355" cy="258820"/>
          </a:xfrm>
          <a:prstGeom prst="ellipse">
            <a:avLst/>
          </a:prstGeom>
          <a:gradFill flip="none" rotWithShape="1">
            <a:gsLst>
              <a:gs pos="0">
                <a:schemeClr val="tx1">
                  <a:alpha val="26000"/>
                </a:schemeClr>
              </a:gs>
              <a:gs pos="100000">
                <a:srgbClr val="FEFEF6">
                  <a:alpha val="0"/>
                </a:srgbClr>
              </a:gs>
            </a:gsLst>
            <a:path path="circle">
              <a:fillToRect l="50000" t="50000" r="50000" b="50000"/>
            </a:path>
            <a:tileRect/>
          </a:gradFill>
          <a:ln>
            <a:noFill/>
          </a:ln>
          <a:effectLst>
            <a:softEdge rad="139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DE7A31CD-1377-4D2F-998E-C2599257505B}"/>
              </a:ext>
            </a:extLst>
          </p:cNvPr>
          <p:cNvSpPr/>
          <p:nvPr/>
        </p:nvSpPr>
        <p:spPr>
          <a:xfrm>
            <a:off x="9788115" y="3917412"/>
            <a:ext cx="295598" cy="396671"/>
          </a:xfrm>
          <a:prstGeom prst="ellipse">
            <a:avLst/>
          </a:prstGeom>
          <a:gradFill flip="none" rotWithShape="1">
            <a:gsLst>
              <a:gs pos="0">
                <a:schemeClr val="tx1">
                  <a:alpha val="85000"/>
                </a:schemeClr>
              </a:gs>
              <a:gs pos="100000">
                <a:srgbClr val="9E8067">
                  <a:alpha val="0"/>
                </a:srgbClr>
              </a:gs>
            </a:gsLst>
            <a:path path="circle">
              <a:fillToRect l="50000" t="50000" r="50000" b="50000"/>
            </a:path>
            <a:tileRect/>
          </a:gra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C7F09718-E2A8-457C-BA9A-208B23A6069E}"/>
              </a:ext>
            </a:extLst>
          </p:cNvPr>
          <p:cNvSpPr/>
          <p:nvPr/>
        </p:nvSpPr>
        <p:spPr>
          <a:xfrm>
            <a:off x="7274911" y="4446832"/>
            <a:ext cx="250749" cy="102094"/>
          </a:xfrm>
          <a:prstGeom prst="ellipse">
            <a:avLst/>
          </a:prstGeom>
          <a:gradFill flip="none" rotWithShape="1">
            <a:gsLst>
              <a:gs pos="0">
                <a:schemeClr val="tx1"/>
              </a:gs>
              <a:gs pos="100000">
                <a:srgbClr val="A07959">
                  <a:alpha val="0"/>
                </a:srgbClr>
              </a:gs>
            </a:gsLst>
            <a:path path="circle">
              <a:fillToRect l="50000" t="50000" r="50000" b="50000"/>
            </a:path>
            <a:tileRect/>
          </a:gra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2BD18E65-C5E2-47BB-A6B8-EB39D4443D2A}"/>
              </a:ext>
            </a:extLst>
          </p:cNvPr>
          <p:cNvSpPr/>
          <p:nvPr/>
        </p:nvSpPr>
        <p:spPr>
          <a:xfrm>
            <a:off x="9828725" y="2360363"/>
            <a:ext cx="224795" cy="102094"/>
          </a:xfrm>
          <a:prstGeom prst="ellipse">
            <a:avLst/>
          </a:prstGeom>
          <a:gradFill flip="none" rotWithShape="1">
            <a:gsLst>
              <a:gs pos="0">
                <a:schemeClr val="tx1"/>
              </a:gs>
              <a:gs pos="100000">
                <a:srgbClr val="A07959">
                  <a:alpha val="0"/>
                </a:srgbClr>
              </a:gs>
            </a:gsLst>
            <a:path path="circle">
              <a:fillToRect l="50000" t="50000" r="50000" b="50000"/>
            </a:path>
            <a:tileRect/>
          </a:gra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lowchart: Summing Junction 68">
            <a:extLst>
              <a:ext uri="{FF2B5EF4-FFF2-40B4-BE49-F238E27FC236}">
                <a16:creationId xmlns:a16="http://schemas.microsoft.com/office/drawing/2014/main" id="{0409F069-7048-4909-9537-23197C1A0474}"/>
              </a:ext>
            </a:extLst>
          </p:cNvPr>
          <p:cNvSpPr/>
          <p:nvPr/>
        </p:nvSpPr>
        <p:spPr>
          <a:xfrm>
            <a:off x="9908436" y="2327780"/>
            <a:ext cx="71711" cy="82020"/>
          </a:xfrm>
          <a:prstGeom prst="flowChartSummingJunction">
            <a:avLst/>
          </a:prstGeom>
          <a:solidFill>
            <a:schemeClr val="bg1">
              <a:lumMod val="95000"/>
            </a:schemeClr>
          </a:solidFill>
          <a:ln>
            <a:solidFill>
              <a:schemeClr val="bg1">
                <a:lumMod val="75000"/>
              </a:schemeClr>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Connector 82">
            <a:extLst>
              <a:ext uri="{FF2B5EF4-FFF2-40B4-BE49-F238E27FC236}">
                <a16:creationId xmlns:a16="http://schemas.microsoft.com/office/drawing/2014/main" id="{A889F11F-A781-4C6F-AD0F-42CEC57876F5}"/>
              </a:ext>
            </a:extLst>
          </p:cNvPr>
          <p:cNvCxnSpPr>
            <a:cxnSpLocks/>
          </p:cNvCxnSpPr>
          <p:nvPr/>
        </p:nvCxnSpPr>
        <p:spPr>
          <a:xfrm>
            <a:off x="9604996" y="3738990"/>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54870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6320FB8-AF61-419B-8399-4CE5C3980343}"/>
              </a:ext>
            </a:extLst>
          </p:cNvPr>
          <p:cNvSpPr/>
          <p:nvPr/>
        </p:nvSpPr>
        <p:spPr>
          <a:xfrm>
            <a:off x="0" y="0"/>
            <a:ext cx="12192000" cy="68580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21" name="Rectangle 520">
            <a:extLst>
              <a:ext uri="{FF2B5EF4-FFF2-40B4-BE49-F238E27FC236}">
                <a16:creationId xmlns:a16="http://schemas.microsoft.com/office/drawing/2014/main" id="{B2EB0F3E-36AE-44F9-8559-ACCCC0107404}"/>
              </a:ext>
            </a:extLst>
          </p:cNvPr>
          <p:cNvSpPr/>
          <p:nvPr/>
        </p:nvSpPr>
        <p:spPr>
          <a:xfrm>
            <a:off x="-10160" y="0"/>
            <a:ext cx="12202160" cy="24860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60F5D055-2034-4D9D-8B09-E9108D512A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92721" y="-550290"/>
            <a:ext cx="3894843" cy="3540766"/>
          </a:xfrm>
          <a:prstGeom prst="rect">
            <a:avLst/>
          </a:prstGeom>
        </p:spPr>
      </p:pic>
      <p:sp>
        <p:nvSpPr>
          <p:cNvPr id="116" name="Freeform: Shape 115">
            <a:extLst>
              <a:ext uri="{FF2B5EF4-FFF2-40B4-BE49-F238E27FC236}">
                <a16:creationId xmlns:a16="http://schemas.microsoft.com/office/drawing/2014/main" id="{C21B215F-7BF9-4D44-8FE1-9D9AC147BED9}"/>
              </a:ext>
            </a:extLst>
          </p:cNvPr>
          <p:cNvSpPr/>
          <p:nvPr/>
        </p:nvSpPr>
        <p:spPr>
          <a:xfrm>
            <a:off x="5957" y="2227130"/>
            <a:ext cx="5665467" cy="537029"/>
          </a:xfrm>
          <a:custGeom>
            <a:avLst/>
            <a:gdLst>
              <a:gd name="connsiteX0" fmla="*/ 217714 w 12554857"/>
              <a:gd name="connsiteY0" fmla="*/ 217715 h 537029"/>
              <a:gd name="connsiteX1" fmla="*/ 304800 w 12554857"/>
              <a:gd name="connsiteY1" fmla="*/ 130629 h 537029"/>
              <a:gd name="connsiteX2" fmla="*/ 348343 w 12554857"/>
              <a:gd name="connsiteY2" fmla="*/ 145143 h 537029"/>
              <a:gd name="connsiteX3" fmla="*/ 435428 w 12554857"/>
              <a:gd name="connsiteY3" fmla="*/ 101600 h 537029"/>
              <a:gd name="connsiteX4" fmla="*/ 478971 w 12554857"/>
              <a:gd name="connsiteY4" fmla="*/ 72572 h 537029"/>
              <a:gd name="connsiteX5" fmla="*/ 566057 w 12554857"/>
              <a:gd name="connsiteY5" fmla="*/ 87086 h 537029"/>
              <a:gd name="connsiteX6" fmla="*/ 609600 w 12554857"/>
              <a:gd name="connsiteY6" fmla="*/ 116115 h 537029"/>
              <a:gd name="connsiteX7" fmla="*/ 667657 w 12554857"/>
              <a:gd name="connsiteY7" fmla="*/ 130629 h 537029"/>
              <a:gd name="connsiteX8" fmla="*/ 754743 w 12554857"/>
              <a:gd name="connsiteY8" fmla="*/ 116115 h 537029"/>
              <a:gd name="connsiteX9" fmla="*/ 812800 w 12554857"/>
              <a:gd name="connsiteY9" fmla="*/ 87086 h 537029"/>
              <a:gd name="connsiteX10" fmla="*/ 856343 w 12554857"/>
              <a:gd name="connsiteY10" fmla="*/ 72572 h 537029"/>
              <a:gd name="connsiteX11" fmla="*/ 1016000 w 12554857"/>
              <a:gd name="connsiteY11" fmla="*/ 116115 h 537029"/>
              <a:gd name="connsiteX12" fmla="*/ 1103086 w 12554857"/>
              <a:gd name="connsiteY12" fmla="*/ 159657 h 537029"/>
              <a:gd name="connsiteX13" fmla="*/ 1146628 w 12554857"/>
              <a:gd name="connsiteY13" fmla="*/ 188686 h 537029"/>
              <a:gd name="connsiteX14" fmla="*/ 1190171 w 12554857"/>
              <a:gd name="connsiteY14" fmla="*/ 101600 h 537029"/>
              <a:gd name="connsiteX15" fmla="*/ 1233714 w 12554857"/>
              <a:gd name="connsiteY15" fmla="*/ 72572 h 537029"/>
              <a:gd name="connsiteX16" fmla="*/ 1451428 w 12554857"/>
              <a:gd name="connsiteY16" fmla="*/ 145143 h 537029"/>
              <a:gd name="connsiteX17" fmla="*/ 1524000 w 12554857"/>
              <a:gd name="connsiteY17" fmla="*/ 58057 h 537029"/>
              <a:gd name="connsiteX18" fmla="*/ 1567543 w 12554857"/>
              <a:gd name="connsiteY18" fmla="*/ 43543 h 537029"/>
              <a:gd name="connsiteX19" fmla="*/ 1640114 w 12554857"/>
              <a:gd name="connsiteY19" fmla="*/ 130629 h 537029"/>
              <a:gd name="connsiteX20" fmla="*/ 1727200 w 12554857"/>
              <a:gd name="connsiteY20" fmla="*/ 116115 h 537029"/>
              <a:gd name="connsiteX21" fmla="*/ 1886857 w 12554857"/>
              <a:gd name="connsiteY21" fmla="*/ 87086 h 537029"/>
              <a:gd name="connsiteX22" fmla="*/ 1973943 w 12554857"/>
              <a:gd name="connsiteY22" fmla="*/ 101600 h 537029"/>
              <a:gd name="connsiteX23" fmla="*/ 2017486 w 12554857"/>
              <a:gd name="connsiteY23" fmla="*/ 116115 h 537029"/>
              <a:gd name="connsiteX24" fmla="*/ 2061028 w 12554857"/>
              <a:gd name="connsiteY24" fmla="*/ 101600 h 537029"/>
              <a:gd name="connsiteX25" fmla="*/ 2119086 w 12554857"/>
              <a:gd name="connsiteY25" fmla="*/ 130629 h 537029"/>
              <a:gd name="connsiteX26" fmla="*/ 2162628 w 12554857"/>
              <a:gd name="connsiteY26" fmla="*/ 159657 h 537029"/>
              <a:gd name="connsiteX27" fmla="*/ 2307771 w 12554857"/>
              <a:gd name="connsiteY27" fmla="*/ 130629 h 537029"/>
              <a:gd name="connsiteX28" fmla="*/ 2452914 w 12554857"/>
              <a:gd name="connsiteY28" fmla="*/ 101600 h 537029"/>
              <a:gd name="connsiteX29" fmla="*/ 2540000 w 12554857"/>
              <a:gd name="connsiteY29" fmla="*/ 116115 h 537029"/>
              <a:gd name="connsiteX30" fmla="*/ 2554514 w 12554857"/>
              <a:gd name="connsiteY30" fmla="*/ 72572 h 537029"/>
              <a:gd name="connsiteX31" fmla="*/ 2598057 w 12554857"/>
              <a:gd name="connsiteY31" fmla="*/ 58057 h 537029"/>
              <a:gd name="connsiteX32" fmla="*/ 2714171 w 12554857"/>
              <a:gd name="connsiteY32" fmla="*/ 101600 h 537029"/>
              <a:gd name="connsiteX33" fmla="*/ 2757714 w 12554857"/>
              <a:gd name="connsiteY33" fmla="*/ 145143 h 537029"/>
              <a:gd name="connsiteX34" fmla="*/ 2830286 w 12554857"/>
              <a:gd name="connsiteY34" fmla="*/ 72572 h 537029"/>
              <a:gd name="connsiteX35" fmla="*/ 2902857 w 12554857"/>
              <a:gd name="connsiteY35" fmla="*/ 87086 h 537029"/>
              <a:gd name="connsiteX36" fmla="*/ 2989943 w 12554857"/>
              <a:gd name="connsiteY36" fmla="*/ 130629 h 537029"/>
              <a:gd name="connsiteX37" fmla="*/ 3062514 w 12554857"/>
              <a:gd name="connsiteY37" fmla="*/ 116115 h 537029"/>
              <a:gd name="connsiteX38" fmla="*/ 3120571 w 12554857"/>
              <a:gd name="connsiteY38" fmla="*/ 87086 h 537029"/>
              <a:gd name="connsiteX39" fmla="*/ 3352800 w 12554857"/>
              <a:gd name="connsiteY39" fmla="*/ 87086 h 537029"/>
              <a:gd name="connsiteX40" fmla="*/ 3512457 w 12554857"/>
              <a:gd name="connsiteY40" fmla="*/ 87086 h 537029"/>
              <a:gd name="connsiteX41" fmla="*/ 3556000 w 12554857"/>
              <a:gd name="connsiteY41" fmla="*/ 116115 h 537029"/>
              <a:gd name="connsiteX42" fmla="*/ 3599543 w 12554857"/>
              <a:gd name="connsiteY42" fmla="*/ 130629 h 537029"/>
              <a:gd name="connsiteX43" fmla="*/ 3730171 w 12554857"/>
              <a:gd name="connsiteY43" fmla="*/ 58057 h 537029"/>
              <a:gd name="connsiteX44" fmla="*/ 3788228 w 12554857"/>
              <a:gd name="connsiteY44" fmla="*/ 72572 h 537029"/>
              <a:gd name="connsiteX45" fmla="*/ 3889828 w 12554857"/>
              <a:gd name="connsiteY45" fmla="*/ 130629 h 537029"/>
              <a:gd name="connsiteX46" fmla="*/ 3933371 w 12554857"/>
              <a:gd name="connsiteY46" fmla="*/ 174172 h 537029"/>
              <a:gd name="connsiteX47" fmla="*/ 3991428 w 12554857"/>
              <a:gd name="connsiteY47" fmla="*/ 130629 h 537029"/>
              <a:gd name="connsiteX48" fmla="*/ 4034971 w 12554857"/>
              <a:gd name="connsiteY48" fmla="*/ 101600 h 537029"/>
              <a:gd name="connsiteX49" fmla="*/ 4093028 w 12554857"/>
              <a:gd name="connsiteY49" fmla="*/ 116115 h 537029"/>
              <a:gd name="connsiteX50" fmla="*/ 4209143 w 12554857"/>
              <a:gd name="connsiteY50" fmla="*/ 116115 h 537029"/>
              <a:gd name="connsiteX51" fmla="*/ 4296228 w 12554857"/>
              <a:gd name="connsiteY51" fmla="*/ 87086 h 537029"/>
              <a:gd name="connsiteX52" fmla="*/ 4339771 w 12554857"/>
              <a:gd name="connsiteY52" fmla="*/ 58057 h 537029"/>
              <a:gd name="connsiteX53" fmla="*/ 4470400 w 12554857"/>
              <a:gd name="connsiteY53" fmla="*/ 87086 h 537029"/>
              <a:gd name="connsiteX54" fmla="*/ 4484914 w 12554857"/>
              <a:gd name="connsiteY54" fmla="*/ 29029 h 537029"/>
              <a:gd name="connsiteX55" fmla="*/ 4586514 w 12554857"/>
              <a:gd name="connsiteY55" fmla="*/ 58057 h 537029"/>
              <a:gd name="connsiteX56" fmla="*/ 4615543 w 12554857"/>
              <a:gd name="connsiteY56" fmla="*/ 101600 h 537029"/>
              <a:gd name="connsiteX57" fmla="*/ 4659086 w 12554857"/>
              <a:gd name="connsiteY57" fmla="*/ 130629 h 537029"/>
              <a:gd name="connsiteX58" fmla="*/ 4673600 w 12554857"/>
              <a:gd name="connsiteY58" fmla="*/ 174172 h 537029"/>
              <a:gd name="connsiteX59" fmla="*/ 4746171 w 12554857"/>
              <a:gd name="connsiteY59" fmla="*/ 159657 h 537029"/>
              <a:gd name="connsiteX60" fmla="*/ 4833257 w 12554857"/>
              <a:gd name="connsiteY60" fmla="*/ 130629 h 537029"/>
              <a:gd name="connsiteX61" fmla="*/ 4978400 w 12554857"/>
              <a:gd name="connsiteY61" fmla="*/ 145143 h 537029"/>
              <a:gd name="connsiteX62" fmla="*/ 5021943 w 12554857"/>
              <a:gd name="connsiteY62" fmla="*/ 174172 h 537029"/>
              <a:gd name="connsiteX63" fmla="*/ 5268686 w 12554857"/>
              <a:gd name="connsiteY63" fmla="*/ 159657 h 537029"/>
              <a:gd name="connsiteX64" fmla="*/ 5312228 w 12554857"/>
              <a:gd name="connsiteY64" fmla="*/ 130629 h 537029"/>
              <a:gd name="connsiteX65" fmla="*/ 5442857 w 12554857"/>
              <a:gd name="connsiteY65" fmla="*/ 188686 h 537029"/>
              <a:gd name="connsiteX66" fmla="*/ 5500914 w 12554857"/>
              <a:gd name="connsiteY66" fmla="*/ 174172 h 537029"/>
              <a:gd name="connsiteX67" fmla="*/ 5529943 w 12554857"/>
              <a:gd name="connsiteY67" fmla="*/ 130629 h 537029"/>
              <a:gd name="connsiteX68" fmla="*/ 5631543 w 12554857"/>
              <a:gd name="connsiteY68" fmla="*/ 116115 h 537029"/>
              <a:gd name="connsiteX69" fmla="*/ 5718628 w 12554857"/>
              <a:gd name="connsiteY69" fmla="*/ 130629 h 537029"/>
              <a:gd name="connsiteX70" fmla="*/ 5762171 w 12554857"/>
              <a:gd name="connsiteY70" fmla="*/ 159657 h 537029"/>
              <a:gd name="connsiteX71" fmla="*/ 5878286 w 12554857"/>
              <a:gd name="connsiteY71" fmla="*/ 174172 h 537029"/>
              <a:gd name="connsiteX72" fmla="*/ 6023428 w 12554857"/>
              <a:gd name="connsiteY72" fmla="*/ 159657 h 537029"/>
              <a:gd name="connsiteX73" fmla="*/ 6066971 w 12554857"/>
              <a:gd name="connsiteY73" fmla="*/ 174172 h 537029"/>
              <a:gd name="connsiteX74" fmla="*/ 6197600 w 12554857"/>
              <a:gd name="connsiteY74" fmla="*/ 130629 h 537029"/>
              <a:gd name="connsiteX75" fmla="*/ 6241143 w 12554857"/>
              <a:gd name="connsiteY75" fmla="*/ 116115 h 537029"/>
              <a:gd name="connsiteX76" fmla="*/ 6458857 w 12554857"/>
              <a:gd name="connsiteY76" fmla="*/ 72572 h 537029"/>
              <a:gd name="connsiteX77" fmla="*/ 6531428 w 12554857"/>
              <a:gd name="connsiteY77" fmla="*/ 43543 h 537029"/>
              <a:gd name="connsiteX78" fmla="*/ 6618514 w 12554857"/>
              <a:gd name="connsiteY78" fmla="*/ 0 h 537029"/>
              <a:gd name="connsiteX79" fmla="*/ 6705600 w 12554857"/>
              <a:gd name="connsiteY79" fmla="*/ 58057 h 537029"/>
              <a:gd name="connsiteX80" fmla="*/ 6792686 w 12554857"/>
              <a:gd name="connsiteY80" fmla="*/ 116115 h 537029"/>
              <a:gd name="connsiteX81" fmla="*/ 6836228 w 12554857"/>
              <a:gd name="connsiteY81" fmla="*/ 145143 h 537029"/>
              <a:gd name="connsiteX82" fmla="*/ 6894286 w 12554857"/>
              <a:gd name="connsiteY82" fmla="*/ 130629 h 537029"/>
              <a:gd name="connsiteX83" fmla="*/ 6952343 w 12554857"/>
              <a:gd name="connsiteY83" fmla="*/ 101600 h 537029"/>
              <a:gd name="connsiteX84" fmla="*/ 6995886 w 12554857"/>
              <a:gd name="connsiteY84" fmla="*/ 87086 h 537029"/>
              <a:gd name="connsiteX85" fmla="*/ 7082971 w 12554857"/>
              <a:gd name="connsiteY85" fmla="*/ 101600 h 537029"/>
              <a:gd name="connsiteX86" fmla="*/ 7126514 w 12554857"/>
              <a:gd name="connsiteY86" fmla="*/ 130629 h 537029"/>
              <a:gd name="connsiteX87" fmla="*/ 7184571 w 12554857"/>
              <a:gd name="connsiteY87" fmla="*/ 72572 h 537029"/>
              <a:gd name="connsiteX88" fmla="*/ 7242628 w 12554857"/>
              <a:gd name="connsiteY88" fmla="*/ 58057 h 537029"/>
              <a:gd name="connsiteX89" fmla="*/ 7286171 w 12554857"/>
              <a:gd name="connsiteY89" fmla="*/ 101600 h 537029"/>
              <a:gd name="connsiteX90" fmla="*/ 7315200 w 12554857"/>
              <a:gd name="connsiteY90" fmla="*/ 145143 h 537029"/>
              <a:gd name="connsiteX91" fmla="*/ 7373257 w 12554857"/>
              <a:gd name="connsiteY91" fmla="*/ 116115 h 537029"/>
              <a:gd name="connsiteX92" fmla="*/ 7416800 w 12554857"/>
              <a:gd name="connsiteY92" fmla="*/ 101600 h 537029"/>
              <a:gd name="connsiteX93" fmla="*/ 7503886 w 12554857"/>
              <a:gd name="connsiteY93" fmla="*/ 130629 h 537029"/>
              <a:gd name="connsiteX94" fmla="*/ 7590971 w 12554857"/>
              <a:gd name="connsiteY94" fmla="*/ 159657 h 537029"/>
              <a:gd name="connsiteX95" fmla="*/ 7663543 w 12554857"/>
              <a:gd name="connsiteY95" fmla="*/ 174172 h 537029"/>
              <a:gd name="connsiteX96" fmla="*/ 7707086 w 12554857"/>
              <a:gd name="connsiteY96" fmla="*/ 145143 h 537029"/>
              <a:gd name="connsiteX97" fmla="*/ 7823200 w 12554857"/>
              <a:gd name="connsiteY97" fmla="*/ 203200 h 537029"/>
              <a:gd name="connsiteX98" fmla="*/ 7866743 w 12554857"/>
              <a:gd name="connsiteY98" fmla="*/ 159657 h 537029"/>
              <a:gd name="connsiteX99" fmla="*/ 7924800 w 12554857"/>
              <a:gd name="connsiteY99" fmla="*/ 145143 h 537029"/>
              <a:gd name="connsiteX100" fmla="*/ 7953828 w 12554857"/>
              <a:gd name="connsiteY100" fmla="*/ 188686 h 537029"/>
              <a:gd name="connsiteX101" fmla="*/ 8084457 w 12554857"/>
              <a:gd name="connsiteY101" fmla="*/ 217715 h 537029"/>
              <a:gd name="connsiteX102" fmla="*/ 8128000 w 12554857"/>
              <a:gd name="connsiteY102" fmla="*/ 275772 h 537029"/>
              <a:gd name="connsiteX103" fmla="*/ 8171543 w 12554857"/>
              <a:gd name="connsiteY103" fmla="*/ 246743 h 537029"/>
              <a:gd name="connsiteX104" fmla="*/ 8215086 w 12554857"/>
              <a:gd name="connsiteY104" fmla="*/ 290286 h 537029"/>
              <a:gd name="connsiteX105" fmla="*/ 8229600 w 12554857"/>
              <a:gd name="connsiteY105" fmla="*/ 246743 h 537029"/>
              <a:gd name="connsiteX106" fmla="*/ 8360228 w 12554857"/>
              <a:gd name="connsiteY106" fmla="*/ 130629 h 537029"/>
              <a:gd name="connsiteX107" fmla="*/ 8403771 w 12554857"/>
              <a:gd name="connsiteY107" fmla="*/ 145143 h 537029"/>
              <a:gd name="connsiteX108" fmla="*/ 8476343 w 12554857"/>
              <a:gd name="connsiteY108" fmla="*/ 232229 h 537029"/>
              <a:gd name="connsiteX109" fmla="*/ 8534400 w 12554857"/>
              <a:gd name="connsiteY109" fmla="*/ 159657 h 537029"/>
              <a:gd name="connsiteX110" fmla="*/ 8563428 w 12554857"/>
              <a:gd name="connsiteY110" fmla="*/ 203200 h 537029"/>
              <a:gd name="connsiteX111" fmla="*/ 8636000 w 12554857"/>
              <a:gd name="connsiteY111" fmla="*/ 145143 h 537029"/>
              <a:gd name="connsiteX112" fmla="*/ 8737600 w 12554857"/>
              <a:gd name="connsiteY112" fmla="*/ 101600 h 537029"/>
              <a:gd name="connsiteX113" fmla="*/ 8911771 w 12554857"/>
              <a:gd name="connsiteY113" fmla="*/ 116115 h 537029"/>
              <a:gd name="connsiteX114" fmla="*/ 8955314 w 12554857"/>
              <a:gd name="connsiteY114" fmla="*/ 159657 h 537029"/>
              <a:gd name="connsiteX115" fmla="*/ 9013371 w 12554857"/>
              <a:gd name="connsiteY115" fmla="*/ 188686 h 537029"/>
              <a:gd name="connsiteX116" fmla="*/ 9100457 w 12554857"/>
              <a:gd name="connsiteY116" fmla="*/ 174172 h 537029"/>
              <a:gd name="connsiteX117" fmla="*/ 9114971 w 12554857"/>
              <a:gd name="connsiteY117" fmla="*/ 116115 h 537029"/>
              <a:gd name="connsiteX118" fmla="*/ 9158514 w 12554857"/>
              <a:gd name="connsiteY118" fmla="*/ 101600 h 537029"/>
              <a:gd name="connsiteX119" fmla="*/ 9390743 w 12554857"/>
              <a:gd name="connsiteY119" fmla="*/ 130629 h 537029"/>
              <a:gd name="connsiteX120" fmla="*/ 9506857 w 12554857"/>
              <a:gd name="connsiteY120" fmla="*/ 101600 h 537029"/>
              <a:gd name="connsiteX121" fmla="*/ 9593943 w 12554857"/>
              <a:gd name="connsiteY121" fmla="*/ 58057 h 537029"/>
              <a:gd name="connsiteX122" fmla="*/ 9666514 w 12554857"/>
              <a:gd name="connsiteY122" fmla="*/ 87086 h 537029"/>
              <a:gd name="connsiteX123" fmla="*/ 9739086 w 12554857"/>
              <a:gd name="connsiteY123" fmla="*/ 130629 h 537029"/>
              <a:gd name="connsiteX124" fmla="*/ 9826171 w 12554857"/>
              <a:gd name="connsiteY124" fmla="*/ 174172 h 537029"/>
              <a:gd name="connsiteX125" fmla="*/ 9869714 w 12554857"/>
              <a:gd name="connsiteY125" fmla="*/ 188686 h 537029"/>
              <a:gd name="connsiteX126" fmla="*/ 9942286 w 12554857"/>
              <a:gd name="connsiteY126" fmla="*/ 174172 h 537029"/>
              <a:gd name="connsiteX127" fmla="*/ 9985828 w 12554857"/>
              <a:gd name="connsiteY127" fmla="*/ 188686 h 537029"/>
              <a:gd name="connsiteX128" fmla="*/ 10058400 w 12554857"/>
              <a:gd name="connsiteY128" fmla="*/ 159657 h 537029"/>
              <a:gd name="connsiteX129" fmla="*/ 10174514 w 12554857"/>
              <a:gd name="connsiteY129" fmla="*/ 43543 h 537029"/>
              <a:gd name="connsiteX130" fmla="*/ 10218057 w 12554857"/>
              <a:gd name="connsiteY130" fmla="*/ 29029 h 537029"/>
              <a:gd name="connsiteX131" fmla="*/ 10464800 w 12554857"/>
              <a:gd name="connsiteY131" fmla="*/ 58057 h 537029"/>
              <a:gd name="connsiteX132" fmla="*/ 10580914 w 12554857"/>
              <a:gd name="connsiteY132" fmla="*/ 72572 h 537029"/>
              <a:gd name="connsiteX133" fmla="*/ 10638971 w 12554857"/>
              <a:gd name="connsiteY133" fmla="*/ 116115 h 537029"/>
              <a:gd name="connsiteX134" fmla="*/ 10682514 w 12554857"/>
              <a:gd name="connsiteY134" fmla="*/ 72572 h 537029"/>
              <a:gd name="connsiteX135" fmla="*/ 10769600 w 12554857"/>
              <a:gd name="connsiteY135" fmla="*/ 29029 h 537029"/>
              <a:gd name="connsiteX136" fmla="*/ 10827657 w 12554857"/>
              <a:gd name="connsiteY136" fmla="*/ 58057 h 537029"/>
              <a:gd name="connsiteX137" fmla="*/ 10958286 w 12554857"/>
              <a:gd name="connsiteY137" fmla="*/ 130629 h 537029"/>
              <a:gd name="connsiteX138" fmla="*/ 11030857 w 12554857"/>
              <a:gd name="connsiteY138" fmla="*/ 116115 h 537029"/>
              <a:gd name="connsiteX139" fmla="*/ 11074400 w 12554857"/>
              <a:gd name="connsiteY139" fmla="*/ 101600 h 537029"/>
              <a:gd name="connsiteX140" fmla="*/ 11176000 w 12554857"/>
              <a:gd name="connsiteY140" fmla="*/ 130629 h 537029"/>
              <a:gd name="connsiteX141" fmla="*/ 11205028 w 12554857"/>
              <a:gd name="connsiteY141" fmla="*/ 174172 h 537029"/>
              <a:gd name="connsiteX142" fmla="*/ 11393714 w 12554857"/>
              <a:gd name="connsiteY142" fmla="*/ 116115 h 537029"/>
              <a:gd name="connsiteX143" fmla="*/ 11437257 w 12554857"/>
              <a:gd name="connsiteY143" fmla="*/ 130629 h 537029"/>
              <a:gd name="connsiteX144" fmla="*/ 11480800 w 12554857"/>
              <a:gd name="connsiteY144" fmla="*/ 159657 h 537029"/>
              <a:gd name="connsiteX145" fmla="*/ 11524343 w 12554857"/>
              <a:gd name="connsiteY145" fmla="*/ 145143 h 537029"/>
              <a:gd name="connsiteX146" fmla="*/ 11582400 w 12554857"/>
              <a:gd name="connsiteY146" fmla="*/ 159657 h 537029"/>
              <a:gd name="connsiteX147" fmla="*/ 11654971 w 12554857"/>
              <a:gd name="connsiteY147" fmla="*/ 188686 h 537029"/>
              <a:gd name="connsiteX148" fmla="*/ 11698514 w 12554857"/>
              <a:gd name="connsiteY148" fmla="*/ 203200 h 537029"/>
              <a:gd name="connsiteX149" fmla="*/ 11814628 w 12554857"/>
              <a:gd name="connsiteY149" fmla="*/ 72572 h 537029"/>
              <a:gd name="connsiteX150" fmla="*/ 11858171 w 12554857"/>
              <a:gd name="connsiteY150" fmla="*/ 58057 h 537029"/>
              <a:gd name="connsiteX151" fmla="*/ 11901714 w 12554857"/>
              <a:gd name="connsiteY151" fmla="*/ 72572 h 537029"/>
              <a:gd name="connsiteX152" fmla="*/ 11959771 w 12554857"/>
              <a:gd name="connsiteY152" fmla="*/ 58057 h 537029"/>
              <a:gd name="connsiteX153" fmla="*/ 12003314 w 12554857"/>
              <a:gd name="connsiteY153" fmla="*/ 87086 h 537029"/>
              <a:gd name="connsiteX154" fmla="*/ 12061371 w 12554857"/>
              <a:gd name="connsiteY154" fmla="*/ 174172 h 537029"/>
              <a:gd name="connsiteX155" fmla="*/ 12104914 w 12554857"/>
              <a:gd name="connsiteY155" fmla="*/ 217715 h 537029"/>
              <a:gd name="connsiteX156" fmla="*/ 12119428 w 12554857"/>
              <a:gd name="connsiteY156" fmla="*/ 145143 h 537029"/>
              <a:gd name="connsiteX157" fmla="*/ 12192000 w 12554857"/>
              <a:gd name="connsiteY157" fmla="*/ 159657 h 537029"/>
              <a:gd name="connsiteX158" fmla="*/ 12235543 w 12554857"/>
              <a:gd name="connsiteY158" fmla="*/ 72572 h 537029"/>
              <a:gd name="connsiteX159" fmla="*/ 12322628 w 12554857"/>
              <a:gd name="connsiteY159" fmla="*/ 72572 h 537029"/>
              <a:gd name="connsiteX160" fmla="*/ 12453257 w 12554857"/>
              <a:gd name="connsiteY160" fmla="*/ 87086 h 537029"/>
              <a:gd name="connsiteX161" fmla="*/ 12496800 w 12554857"/>
              <a:gd name="connsiteY161" fmla="*/ 116115 h 537029"/>
              <a:gd name="connsiteX162" fmla="*/ 12525828 w 12554857"/>
              <a:gd name="connsiteY162" fmla="*/ 203200 h 537029"/>
              <a:gd name="connsiteX163" fmla="*/ 12554857 w 12554857"/>
              <a:gd name="connsiteY163" fmla="*/ 246743 h 537029"/>
              <a:gd name="connsiteX164" fmla="*/ 12540343 w 12554857"/>
              <a:gd name="connsiteY164" fmla="*/ 304800 h 537029"/>
              <a:gd name="connsiteX165" fmla="*/ 12453257 w 12554857"/>
              <a:gd name="connsiteY165" fmla="*/ 333829 h 537029"/>
              <a:gd name="connsiteX166" fmla="*/ 12409714 w 12554857"/>
              <a:gd name="connsiteY166" fmla="*/ 362857 h 537029"/>
              <a:gd name="connsiteX167" fmla="*/ 12322628 w 12554857"/>
              <a:gd name="connsiteY167" fmla="*/ 377372 h 537029"/>
              <a:gd name="connsiteX168" fmla="*/ 11785600 w 12554857"/>
              <a:gd name="connsiteY168" fmla="*/ 391886 h 537029"/>
              <a:gd name="connsiteX169" fmla="*/ 11190514 w 12554857"/>
              <a:gd name="connsiteY169" fmla="*/ 420915 h 537029"/>
              <a:gd name="connsiteX170" fmla="*/ 11088914 w 12554857"/>
              <a:gd name="connsiteY170" fmla="*/ 435429 h 537029"/>
              <a:gd name="connsiteX171" fmla="*/ 10464800 w 12554857"/>
              <a:gd name="connsiteY171" fmla="*/ 464457 h 537029"/>
              <a:gd name="connsiteX172" fmla="*/ 10276114 w 12554857"/>
              <a:gd name="connsiteY172" fmla="*/ 493486 h 537029"/>
              <a:gd name="connsiteX173" fmla="*/ 10101943 w 12554857"/>
              <a:gd name="connsiteY173" fmla="*/ 508000 h 537029"/>
              <a:gd name="connsiteX174" fmla="*/ 9506857 w 12554857"/>
              <a:gd name="connsiteY174" fmla="*/ 537029 h 537029"/>
              <a:gd name="connsiteX175" fmla="*/ 7765143 w 12554857"/>
              <a:gd name="connsiteY175" fmla="*/ 537029 h 537029"/>
              <a:gd name="connsiteX176" fmla="*/ 2061028 w 12554857"/>
              <a:gd name="connsiteY176" fmla="*/ 522515 h 537029"/>
              <a:gd name="connsiteX177" fmla="*/ 1625600 w 12554857"/>
              <a:gd name="connsiteY177" fmla="*/ 493486 h 537029"/>
              <a:gd name="connsiteX178" fmla="*/ 1422400 w 12554857"/>
              <a:gd name="connsiteY178" fmla="*/ 478972 h 537029"/>
              <a:gd name="connsiteX179" fmla="*/ 391886 w 12554857"/>
              <a:gd name="connsiteY179" fmla="*/ 464457 h 537029"/>
              <a:gd name="connsiteX180" fmla="*/ 275771 w 12554857"/>
              <a:gd name="connsiteY180" fmla="*/ 449943 h 537029"/>
              <a:gd name="connsiteX181" fmla="*/ 43543 w 12554857"/>
              <a:gd name="connsiteY181" fmla="*/ 406400 h 537029"/>
              <a:gd name="connsiteX182" fmla="*/ 14514 w 12554857"/>
              <a:gd name="connsiteY182" fmla="*/ 362857 h 537029"/>
              <a:gd name="connsiteX183" fmla="*/ 0 w 12554857"/>
              <a:gd name="connsiteY183" fmla="*/ 319315 h 537029"/>
              <a:gd name="connsiteX184" fmla="*/ 261257 w 12554857"/>
              <a:gd name="connsiteY184" fmla="*/ 232229 h 537029"/>
              <a:gd name="connsiteX185" fmla="*/ 217714 w 12554857"/>
              <a:gd name="connsiteY185" fmla="*/ 217715 h 53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4857" h="537029">
                <a:moveTo>
                  <a:pt x="217714" y="217715"/>
                </a:moveTo>
                <a:cubicBezTo>
                  <a:pt x="224971" y="200782"/>
                  <a:pt x="248555" y="130629"/>
                  <a:pt x="304800" y="130629"/>
                </a:cubicBezTo>
                <a:cubicBezTo>
                  <a:pt x="320099" y="130629"/>
                  <a:pt x="333829" y="140305"/>
                  <a:pt x="348343" y="145143"/>
                </a:cubicBezTo>
                <a:cubicBezTo>
                  <a:pt x="473132" y="61952"/>
                  <a:pt x="315245" y="161692"/>
                  <a:pt x="435428" y="101600"/>
                </a:cubicBezTo>
                <a:cubicBezTo>
                  <a:pt x="451030" y="93799"/>
                  <a:pt x="464457" y="82248"/>
                  <a:pt x="478971" y="72572"/>
                </a:cubicBezTo>
                <a:cubicBezTo>
                  <a:pt x="508000" y="77410"/>
                  <a:pt x="538138" y="77780"/>
                  <a:pt x="566057" y="87086"/>
                </a:cubicBezTo>
                <a:cubicBezTo>
                  <a:pt x="582606" y="92602"/>
                  <a:pt x="593566" y="109243"/>
                  <a:pt x="609600" y="116115"/>
                </a:cubicBezTo>
                <a:cubicBezTo>
                  <a:pt x="627935" y="123973"/>
                  <a:pt x="648305" y="125791"/>
                  <a:pt x="667657" y="130629"/>
                </a:cubicBezTo>
                <a:cubicBezTo>
                  <a:pt x="696686" y="125791"/>
                  <a:pt x="726555" y="124571"/>
                  <a:pt x="754743" y="116115"/>
                </a:cubicBezTo>
                <a:cubicBezTo>
                  <a:pt x="775467" y="109898"/>
                  <a:pt x="792913" y="95609"/>
                  <a:pt x="812800" y="87086"/>
                </a:cubicBezTo>
                <a:cubicBezTo>
                  <a:pt x="826862" y="81059"/>
                  <a:pt x="841829" y="77410"/>
                  <a:pt x="856343" y="72572"/>
                </a:cubicBezTo>
                <a:cubicBezTo>
                  <a:pt x="966832" y="109401"/>
                  <a:pt x="913424" y="95599"/>
                  <a:pt x="1016000" y="116115"/>
                </a:cubicBezTo>
                <a:cubicBezTo>
                  <a:pt x="1140802" y="199314"/>
                  <a:pt x="982890" y="99558"/>
                  <a:pt x="1103086" y="159657"/>
                </a:cubicBezTo>
                <a:cubicBezTo>
                  <a:pt x="1118688" y="167458"/>
                  <a:pt x="1132114" y="179010"/>
                  <a:pt x="1146628" y="188686"/>
                </a:cubicBezTo>
                <a:cubicBezTo>
                  <a:pt x="1158433" y="153274"/>
                  <a:pt x="1162036" y="129735"/>
                  <a:pt x="1190171" y="101600"/>
                </a:cubicBezTo>
                <a:cubicBezTo>
                  <a:pt x="1202506" y="89265"/>
                  <a:pt x="1219200" y="82248"/>
                  <a:pt x="1233714" y="72572"/>
                </a:cubicBezTo>
                <a:cubicBezTo>
                  <a:pt x="1357253" y="154931"/>
                  <a:pt x="1286125" y="126776"/>
                  <a:pt x="1451428" y="145143"/>
                </a:cubicBezTo>
                <a:cubicBezTo>
                  <a:pt x="1472848" y="113014"/>
                  <a:pt x="1490474" y="80408"/>
                  <a:pt x="1524000" y="58057"/>
                </a:cubicBezTo>
                <a:cubicBezTo>
                  <a:pt x="1536730" y="49570"/>
                  <a:pt x="1553029" y="48381"/>
                  <a:pt x="1567543" y="43543"/>
                </a:cubicBezTo>
                <a:cubicBezTo>
                  <a:pt x="1579053" y="60808"/>
                  <a:pt x="1618248" y="125770"/>
                  <a:pt x="1640114" y="130629"/>
                </a:cubicBezTo>
                <a:cubicBezTo>
                  <a:pt x="1668842" y="137013"/>
                  <a:pt x="1698113" y="120590"/>
                  <a:pt x="1727200" y="116115"/>
                </a:cubicBezTo>
                <a:cubicBezTo>
                  <a:pt x="1862410" y="95313"/>
                  <a:pt x="1787528" y="111918"/>
                  <a:pt x="1886857" y="87086"/>
                </a:cubicBezTo>
                <a:cubicBezTo>
                  <a:pt x="1915886" y="91924"/>
                  <a:pt x="1945215" y="95216"/>
                  <a:pt x="1973943" y="101600"/>
                </a:cubicBezTo>
                <a:cubicBezTo>
                  <a:pt x="1988878" y="104919"/>
                  <a:pt x="2002186" y="116115"/>
                  <a:pt x="2017486" y="116115"/>
                </a:cubicBezTo>
                <a:cubicBezTo>
                  <a:pt x="2032785" y="116115"/>
                  <a:pt x="2046514" y="106438"/>
                  <a:pt x="2061028" y="101600"/>
                </a:cubicBezTo>
                <a:cubicBezTo>
                  <a:pt x="2080381" y="111276"/>
                  <a:pt x="2100300" y="119894"/>
                  <a:pt x="2119086" y="130629"/>
                </a:cubicBezTo>
                <a:cubicBezTo>
                  <a:pt x="2134231" y="139283"/>
                  <a:pt x="2145184" y="159657"/>
                  <a:pt x="2162628" y="159657"/>
                </a:cubicBezTo>
                <a:cubicBezTo>
                  <a:pt x="2211967" y="159657"/>
                  <a:pt x="2259277" y="139721"/>
                  <a:pt x="2307771" y="130629"/>
                </a:cubicBezTo>
                <a:cubicBezTo>
                  <a:pt x="2450111" y="103941"/>
                  <a:pt x="2342191" y="129282"/>
                  <a:pt x="2452914" y="101600"/>
                </a:cubicBezTo>
                <a:cubicBezTo>
                  <a:pt x="2481943" y="106438"/>
                  <a:pt x="2511703" y="124200"/>
                  <a:pt x="2540000" y="116115"/>
                </a:cubicBezTo>
                <a:cubicBezTo>
                  <a:pt x="2554711" y="111912"/>
                  <a:pt x="2543696" y="83390"/>
                  <a:pt x="2554514" y="72572"/>
                </a:cubicBezTo>
                <a:cubicBezTo>
                  <a:pt x="2565332" y="61754"/>
                  <a:pt x="2583543" y="62895"/>
                  <a:pt x="2598057" y="58057"/>
                </a:cubicBezTo>
                <a:cubicBezTo>
                  <a:pt x="2644806" y="69745"/>
                  <a:pt x="2673304" y="72410"/>
                  <a:pt x="2714171" y="101600"/>
                </a:cubicBezTo>
                <a:cubicBezTo>
                  <a:pt x="2730874" y="113531"/>
                  <a:pt x="2743200" y="130629"/>
                  <a:pt x="2757714" y="145143"/>
                </a:cubicBezTo>
                <a:cubicBezTo>
                  <a:pt x="2773548" y="121392"/>
                  <a:pt x="2795099" y="76970"/>
                  <a:pt x="2830286" y="72572"/>
                </a:cubicBezTo>
                <a:cubicBezTo>
                  <a:pt x="2854765" y="69512"/>
                  <a:pt x="2878667" y="82248"/>
                  <a:pt x="2902857" y="87086"/>
                </a:cubicBezTo>
                <a:cubicBezTo>
                  <a:pt x="2924873" y="101764"/>
                  <a:pt x="2959896" y="130629"/>
                  <a:pt x="2989943" y="130629"/>
                </a:cubicBezTo>
                <a:cubicBezTo>
                  <a:pt x="3014612" y="130629"/>
                  <a:pt x="3038324" y="120953"/>
                  <a:pt x="3062514" y="116115"/>
                </a:cubicBezTo>
                <a:cubicBezTo>
                  <a:pt x="3081866" y="106439"/>
                  <a:pt x="3099847" y="93303"/>
                  <a:pt x="3120571" y="87086"/>
                </a:cubicBezTo>
                <a:cubicBezTo>
                  <a:pt x="3210600" y="60077"/>
                  <a:pt x="3252751" y="77081"/>
                  <a:pt x="3352800" y="87086"/>
                </a:cubicBezTo>
                <a:cubicBezTo>
                  <a:pt x="3423829" y="69329"/>
                  <a:pt x="3425781" y="61083"/>
                  <a:pt x="3512457" y="87086"/>
                </a:cubicBezTo>
                <a:cubicBezTo>
                  <a:pt x="3529165" y="92099"/>
                  <a:pt x="3540398" y="108314"/>
                  <a:pt x="3556000" y="116115"/>
                </a:cubicBezTo>
                <a:cubicBezTo>
                  <a:pt x="3569684" y="122957"/>
                  <a:pt x="3585029" y="125791"/>
                  <a:pt x="3599543" y="130629"/>
                </a:cubicBezTo>
                <a:cubicBezTo>
                  <a:pt x="3699358" y="64085"/>
                  <a:pt x="3653531" y="83605"/>
                  <a:pt x="3730171" y="58057"/>
                </a:cubicBezTo>
                <a:cubicBezTo>
                  <a:pt x="3749523" y="62895"/>
                  <a:pt x="3769550" y="65568"/>
                  <a:pt x="3788228" y="72572"/>
                </a:cubicBezTo>
                <a:cubicBezTo>
                  <a:pt x="3814046" y="82254"/>
                  <a:pt x="3866855" y="111484"/>
                  <a:pt x="3889828" y="130629"/>
                </a:cubicBezTo>
                <a:cubicBezTo>
                  <a:pt x="3905597" y="143770"/>
                  <a:pt x="3918857" y="159658"/>
                  <a:pt x="3933371" y="174172"/>
                </a:cubicBezTo>
                <a:cubicBezTo>
                  <a:pt x="3952723" y="159658"/>
                  <a:pt x="3971743" y="144689"/>
                  <a:pt x="3991428" y="130629"/>
                </a:cubicBezTo>
                <a:cubicBezTo>
                  <a:pt x="4005623" y="120490"/>
                  <a:pt x="4017702" y="104067"/>
                  <a:pt x="4034971" y="101600"/>
                </a:cubicBezTo>
                <a:cubicBezTo>
                  <a:pt x="4054719" y="98779"/>
                  <a:pt x="4073676" y="111277"/>
                  <a:pt x="4093028" y="116115"/>
                </a:cubicBezTo>
                <a:cubicBezTo>
                  <a:pt x="4160346" y="160993"/>
                  <a:pt x="4117243" y="149533"/>
                  <a:pt x="4209143" y="116115"/>
                </a:cubicBezTo>
                <a:cubicBezTo>
                  <a:pt x="4237899" y="105658"/>
                  <a:pt x="4296228" y="87086"/>
                  <a:pt x="4296228" y="87086"/>
                </a:cubicBezTo>
                <a:cubicBezTo>
                  <a:pt x="4310742" y="77410"/>
                  <a:pt x="4322434" y="59983"/>
                  <a:pt x="4339771" y="58057"/>
                </a:cubicBezTo>
                <a:cubicBezTo>
                  <a:pt x="4378085" y="53800"/>
                  <a:pt x="4432139" y="74333"/>
                  <a:pt x="4470400" y="87086"/>
                </a:cubicBezTo>
                <a:cubicBezTo>
                  <a:pt x="4475238" y="67734"/>
                  <a:pt x="4472453" y="44606"/>
                  <a:pt x="4484914" y="29029"/>
                </a:cubicBezTo>
                <a:cubicBezTo>
                  <a:pt x="4520930" y="-15991"/>
                  <a:pt x="4564403" y="41474"/>
                  <a:pt x="4586514" y="58057"/>
                </a:cubicBezTo>
                <a:cubicBezTo>
                  <a:pt x="4596190" y="72571"/>
                  <a:pt x="4603208" y="89265"/>
                  <a:pt x="4615543" y="101600"/>
                </a:cubicBezTo>
                <a:cubicBezTo>
                  <a:pt x="4627878" y="113935"/>
                  <a:pt x="4648189" y="117007"/>
                  <a:pt x="4659086" y="130629"/>
                </a:cubicBezTo>
                <a:cubicBezTo>
                  <a:pt x="4668643" y="142576"/>
                  <a:pt x="4668762" y="159658"/>
                  <a:pt x="4673600" y="174172"/>
                </a:cubicBezTo>
                <a:cubicBezTo>
                  <a:pt x="4697790" y="169334"/>
                  <a:pt x="4722371" y="166148"/>
                  <a:pt x="4746171" y="159657"/>
                </a:cubicBezTo>
                <a:cubicBezTo>
                  <a:pt x="4775692" y="151606"/>
                  <a:pt x="4833257" y="130629"/>
                  <a:pt x="4833257" y="130629"/>
                </a:cubicBezTo>
                <a:cubicBezTo>
                  <a:pt x="4881638" y="135467"/>
                  <a:pt x="4931023" y="134210"/>
                  <a:pt x="4978400" y="145143"/>
                </a:cubicBezTo>
                <a:cubicBezTo>
                  <a:pt x="4995397" y="149065"/>
                  <a:pt x="5004521" y="173301"/>
                  <a:pt x="5021943" y="174172"/>
                </a:cubicBezTo>
                <a:lnTo>
                  <a:pt x="5268686" y="159657"/>
                </a:lnTo>
                <a:cubicBezTo>
                  <a:pt x="5283200" y="149981"/>
                  <a:pt x="5294891" y="132555"/>
                  <a:pt x="5312228" y="130629"/>
                </a:cubicBezTo>
                <a:cubicBezTo>
                  <a:pt x="5392728" y="121685"/>
                  <a:pt x="5397220" y="143049"/>
                  <a:pt x="5442857" y="188686"/>
                </a:cubicBezTo>
                <a:cubicBezTo>
                  <a:pt x="5462209" y="183848"/>
                  <a:pt x="5484316" y="185237"/>
                  <a:pt x="5500914" y="174172"/>
                </a:cubicBezTo>
                <a:cubicBezTo>
                  <a:pt x="5515428" y="164496"/>
                  <a:pt x="5514002" y="137714"/>
                  <a:pt x="5529943" y="130629"/>
                </a:cubicBezTo>
                <a:cubicBezTo>
                  <a:pt x="5561205" y="116735"/>
                  <a:pt x="5597676" y="120953"/>
                  <a:pt x="5631543" y="116115"/>
                </a:cubicBezTo>
                <a:cubicBezTo>
                  <a:pt x="5660571" y="120953"/>
                  <a:pt x="5690709" y="121323"/>
                  <a:pt x="5718628" y="130629"/>
                </a:cubicBezTo>
                <a:cubicBezTo>
                  <a:pt x="5735177" y="136145"/>
                  <a:pt x="5745342" y="155067"/>
                  <a:pt x="5762171" y="159657"/>
                </a:cubicBezTo>
                <a:cubicBezTo>
                  <a:pt x="5799803" y="169920"/>
                  <a:pt x="5839581" y="169334"/>
                  <a:pt x="5878286" y="174172"/>
                </a:cubicBezTo>
                <a:cubicBezTo>
                  <a:pt x="5976529" y="141424"/>
                  <a:pt x="5940749" y="136034"/>
                  <a:pt x="6023428" y="159657"/>
                </a:cubicBezTo>
                <a:cubicBezTo>
                  <a:pt x="6038139" y="163860"/>
                  <a:pt x="6052457" y="169334"/>
                  <a:pt x="6066971" y="174172"/>
                </a:cubicBezTo>
                <a:cubicBezTo>
                  <a:pt x="6163543" y="125885"/>
                  <a:pt x="6085055" y="158764"/>
                  <a:pt x="6197600" y="130629"/>
                </a:cubicBezTo>
                <a:cubicBezTo>
                  <a:pt x="6212443" y="126918"/>
                  <a:pt x="6226208" y="119434"/>
                  <a:pt x="6241143" y="116115"/>
                </a:cubicBezTo>
                <a:cubicBezTo>
                  <a:pt x="6313389" y="100060"/>
                  <a:pt x="6458857" y="72572"/>
                  <a:pt x="6458857" y="72572"/>
                </a:cubicBezTo>
                <a:cubicBezTo>
                  <a:pt x="6483047" y="62896"/>
                  <a:pt x="6508125" y="55195"/>
                  <a:pt x="6531428" y="43543"/>
                </a:cubicBezTo>
                <a:cubicBezTo>
                  <a:pt x="6643974" y="-12730"/>
                  <a:pt x="6509067" y="36484"/>
                  <a:pt x="6618514" y="0"/>
                </a:cubicBezTo>
                <a:cubicBezTo>
                  <a:pt x="6701788" y="27759"/>
                  <a:pt x="6624059" y="-5363"/>
                  <a:pt x="6705600" y="58057"/>
                </a:cubicBezTo>
                <a:cubicBezTo>
                  <a:pt x="6733139" y="79476"/>
                  <a:pt x="6763657" y="96762"/>
                  <a:pt x="6792686" y="116115"/>
                </a:cubicBezTo>
                <a:lnTo>
                  <a:pt x="6836228" y="145143"/>
                </a:lnTo>
                <a:cubicBezTo>
                  <a:pt x="6855581" y="140305"/>
                  <a:pt x="6875608" y="137633"/>
                  <a:pt x="6894286" y="130629"/>
                </a:cubicBezTo>
                <a:cubicBezTo>
                  <a:pt x="6914545" y="123032"/>
                  <a:pt x="6932456" y="110123"/>
                  <a:pt x="6952343" y="101600"/>
                </a:cubicBezTo>
                <a:cubicBezTo>
                  <a:pt x="6966405" y="95573"/>
                  <a:pt x="6981372" y="91924"/>
                  <a:pt x="6995886" y="87086"/>
                </a:cubicBezTo>
                <a:cubicBezTo>
                  <a:pt x="7024914" y="91924"/>
                  <a:pt x="7055052" y="92294"/>
                  <a:pt x="7082971" y="101600"/>
                </a:cubicBezTo>
                <a:cubicBezTo>
                  <a:pt x="7099520" y="107116"/>
                  <a:pt x="7109741" y="135421"/>
                  <a:pt x="7126514" y="130629"/>
                </a:cubicBezTo>
                <a:cubicBezTo>
                  <a:pt x="7152829" y="123110"/>
                  <a:pt x="7161363" y="87077"/>
                  <a:pt x="7184571" y="72572"/>
                </a:cubicBezTo>
                <a:cubicBezTo>
                  <a:pt x="7201487" y="62000"/>
                  <a:pt x="7223276" y="62895"/>
                  <a:pt x="7242628" y="58057"/>
                </a:cubicBezTo>
                <a:cubicBezTo>
                  <a:pt x="7257142" y="72571"/>
                  <a:pt x="7273030" y="85831"/>
                  <a:pt x="7286171" y="101600"/>
                </a:cubicBezTo>
                <a:cubicBezTo>
                  <a:pt x="7297338" y="115001"/>
                  <a:pt x="7297993" y="142275"/>
                  <a:pt x="7315200" y="145143"/>
                </a:cubicBezTo>
                <a:cubicBezTo>
                  <a:pt x="7336542" y="148700"/>
                  <a:pt x="7353370" y="124638"/>
                  <a:pt x="7373257" y="116115"/>
                </a:cubicBezTo>
                <a:cubicBezTo>
                  <a:pt x="7387319" y="110088"/>
                  <a:pt x="7402286" y="106438"/>
                  <a:pt x="7416800" y="101600"/>
                </a:cubicBezTo>
                <a:cubicBezTo>
                  <a:pt x="7445829" y="111276"/>
                  <a:pt x="7477938" y="114411"/>
                  <a:pt x="7503886" y="130629"/>
                </a:cubicBezTo>
                <a:cubicBezTo>
                  <a:pt x="7584072" y="180746"/>
                  <a:pt x="7470142" y="189866"/>
                  <a:pt x="7590971" y="159657"/>
                </a:cubicBezTo>
                <a:cubicBezTo>
                  <a:pt x="7615162" y="164495"/>
                  <a:pt x="7639064" y="177232"/>
                  <a:pt x="7663543" y="174172"/>
                </a:cubicBezTo>
                <a:cubicBezTo>
                  <a:pt x="7680852" y="172008"/>
                  <a:pt x="7689923" y="142023"/>
                  <a:pt x="7707086" y="145143"/>
                </a:cubicBezTo>
                <a:cubicBezTo>
                  <a:pt x="7749661" y="152884"/>
                  <a:pt x="7784495" y="183848"/>
                  <a:pt x="7823200" y="203200"/>
                </a:cubicBezTo>
                <a:cubicBezTo>
                  <a:pt x="7837714" y="188686"/>
                  <a:pt x="7855357" y="176736"/>
                  <a:pt x="7866743" y="159657"/>
                </a:cubicBezTo>
                <a:cubicBezTo>
                  <a:pt x="7900641" y="108811"/>
                  <a:pt x="7852716" y="97088"/>
                  <a:pt x="7924800" y="145143"/>
                </a:cubicBezTo>
                <a:cubicBezTo>
                  <a:pt x="7934476" y="159657"/>
                  <a:pt x="7939314" y="179010"/>
                  <a:pt x="7953828" y="188686"/>
                </a:cubicBezTo>
                <a:cubicBezTo>
                  <a:pt x="7962610" y="194540"/>
                  <a:pt x="8082861" y="217396"/>
                  <a:pt x="8084457" y="217715"/>
                </a:cubicBezTo>
                <a:cubicBezTo>
                  <a:pt x="8098971" y="237067"/>
                  <a:pt x="8105051" y="268122"/>
                  <a:pt x="8128000" y="275772"/>
                </a:cubicBezTo>
                <a:cubicBezTo>
                  <a:pt x="8144549" y="281288"/>
                  <a:pt x="8154336" y="243875"/>
                  <a:pt x="8171543" y="246743"/>
                </a:cubicBezTo>
                <a:cubicBezTo>
                  <a:pt x="8191790" y="250117"/>
                  <a:pt x="8200572" y="275772"/>
                  <a:pt x="8215086" y="290286"/>
                </a:cubicBezTo>
                <a:cubicBezTo>
                  <a:pt x="8219924" y="275772"/>
                  <a:pt x="8220207" y="258820"/>
                  <a:pt x="8229600" y="246743"/>
                </a:cubicBezTo>
                <a:cubicBezTo>
                  <a:pt x="8283134" y="177914"/>
                  <a:pt x="8302026" y="169431"/>
                  <a:pt x="8360228" y="130629"/>
                </a:cubicBezTo>
                <a:cubicBezTo>
                  <a:pt x="8374742" y="135467"/>
                  <a:pt x="8391041" y="136656"/>
                  <a:pt x="8403771" y="145143"/>
                </a:cubicBezTo>
                <a:cubicBezTo>
                  <a:pt x="8437297" y="167494"/>
                  <a:pt x="8454923" y="200100"/>
                  <a:pt x="8476343" y="232229"/>
                </a:cubicBezTo>
                <a:cubicBezTo>
                  <a:pt x="8480993" y="213628"/>
                  <a:pt x="8482344" y="138835"/>
                  <a:pt x="8534400" y="159657"/>
                </a:cubicBezTo>
                <a:cubicBezTo>
                  <a:pt x="8550596" y="166135"/>
                  <a:pt x="8553752" y="188686"/>
                  <a:pt x="8563428" y="203200"/>
                </a:cubicBezTo>
                <a:cubicBezTo>
                  <a:pt x="8648197" y="174944"/>
                  <a:pt x="8570348" y="210795"/>
                  <a:pt x="8636000" y="145143"/>
                </a:cubicBezTo>
                <a:cubicBezTo>
                  <a:pt x="8669411" y="111733"/>
                  <a:pt x="8693187" y="112704"/>
                  <a:pt x="8737600" y="101600"/>
                </a:cubicBezTo>
                <a:cubicBezTo>
                  <a:pt x="8795657" y="106438"/>
                  <a:pt x="8855480" y="101104"/>
                  <a:pt x="8911771" y="116115"/>
                </a:cubicBezTo>
                <a:cubicBezTo>
                  <a:pt x="8931604" y="121404"/>
                  <a:pt x="8938611" y="147726"/>
                  <a:pt x="8955314" y="159657"/>
                </a:cubicBezTo>
                <a:cubicBezTo>
                  <a:pt x="8972920" y="172233"/>
                  <a:pt x="8994019" y="179010"/>
                  <a:pt x="9013371" y="188686"/>
                </a:cubicBezTo>
                <a:cubicBezTo>
                  <a:pt x="9042400" y="183848"/>
                  <a:pt x="9076510" y="191277"/>
                  <a:pt x="9100457" y="174172"/>
                </a:cubicBezTo>
                <a:cubicBezTo>
                  <a:pt x="9116689" y="162578"/>
                  <a:pt x="9102510" y="131692"/>
                  <a:pt x="9114971" y="116115"/>
                </a:cubicBezTo>
                <a:cubicBezTo>
                  <a:pt x="9124528" y="104168"/>
                  <a:pt x="9144000" y="106438"/>
                  <a:pt x="9158514" y="101600"/>
                </a:cubicBezTo>
                <a:cubicBezTo>
                  <a:pt x="9245731" y="130674"/>
                  <a:pt x="9253473" y="137166"/>
                  <a:pt x="9390743" y="130629"/>
                </a:cubicBezTo>
                <a:cubicBezTo>
                  <a:pt x="9430594" y="128731"/>
                  <a:pt x="9469285" y="115019"/>
                  <a:pt x="9506857" y="101600"/>
                </a:cubicBezTo>
                <a:cubicBezTo>
                  <a:pt x="9537421" y="90684"/>
                  <a:pt x="9564914" y="72571"/>
                  <a:pt x="9593943" y="58057"/>
                </a:cubicBezTo>
                <a:cubicBezTo>
                  <a:pt x="9618133" y="67733"/>
                  <a:pt x="9646732" y="70130"/>
                  <a:pt x="9666514" y="87086"/>
                </a:cubicBezTo>
                <a:cubicBezTo>
                  <a:pt x="9736821" y="147349"/>
                  <a:pt x="9650667" y="160101"/>
                  <a:pt x="9739086" y="130629"/>
                </a:cubicBezTo>
                <a:cubicBezTo>
                  <a:pt x="9848532" y="167111"/>
                  <a:pt x="9713623" y="117898"/>
                  <a:pt x="9826171" y="174172"/>
                </a:cubicBezTo>
                <a:cubicBezTo>
                  <a:pt x="9839855" y="181014"/>
                  <a:pt x="9855200" y="183848"/>
                  <a:pt x="9869714" y="188686"/>
                </a:cubicBezTo>
                <a:cubicBezTo>
                  <a:pt x="9893905" y="183848"/>
                  <a:pt x="9917616" y="174172"/>
                  <a:pt x="9942286" y="174172"/>
                </a:cubicBezTo>
                <a:cubicBezTo>
                  <a:pt x="9957585" y="174172"/>
                  <a:pt x="9970647" y="190584"/>
                  <a:pt x="9985828" y="188686"/>
                </a:cubicBezTo>
                <a:cubicBezTo>
                  <a:pt x="10011681" y="185454"/>
                  <a:pt x="10034209" y="169333"/>
                  <a:pt x="10058400" y="159657"/>
                </a:cubicBezTo>
                <a:cubicBezTo>
                  <a:pt x="10103650" y="103094"/>
                  <a:pt x="10113475" y="78422"/>
                  <a:pt x="10174514" y="43543"/>
                </a:cubicBezTo>
                <a:cubicBezTo>
                  <a:pt x="10187798" y="35952"/>
                  <a:pt x="10203543" y="33867"/>
                  <a:pt x="10218057" y="29029"/>
                </a:cubicBezTo>
                <a:cubicBezTo>
                  <a:pt x="10334949" y="116699"/>
                  <a:pt x="10230168" y="58057"/>
                  <a:pt x="10464800" y="58057"/>
                </a:cubicBezTo>
                <a:cubicBezTo>
                  <a:pt x="10503806" y="58057"/>
                  <a:pt x="10542209" y="67734"/>
                  <a:pt x="10580914" y="72572"/>
                </a:cubicBezTo>
                <a:cubicBezTo>
                  <a:pt x="10600266" y="87086"/>
                  <a:pt x="10614781" y="116115"/>
                  <a:pt x="10638971" y="116115"/>
                </a:cubicBezTo>
                <a:cubicBezTo>
                  <a:pt x="10659497" y="116115"/>
                  <a:pt x="10666745" y="85713"/>
                  <a:pt x="10682514" y="72572"/>
                </a:cubicBezTo>
                <a:cubicBezTo>
                  <a:pt x="10720030" y="41308"/>
                  <a:pt x="10725959" y="43576"/>
                  <a:pt x="10769600" y="29029"/>
                </a:cubicBezTo>
                <a:cubicBezTo>
                  <a:pt x="10788952" y="38705"/>
                  <a:pt x="10809104" y="46925"/>
                  <a:pt x="10827657" y="58057"/>
                </a:cubicBezTo>
                <a:cubicBezTo>
                  <a:pt x="10952428" y="132920"/>
                  <a:pt x="10870701" y="101435"/>
                  <a:pt x="10958286" y="130629"/>
                </a:cubicBezTo>
                <a:cubicBezTo>
                  <a:pt x="10982476" y="125791"/>
                  <a:pt x="11006924" y="122098"/>
                  <a:pt x="11030857" y="116115"/>
                </a:cubicBezTo>
                <a:cubicBezTo>
                  <a:pt x="11045700" y="112404"/>
                  <a:pt x="11059176" y="100078"/>
                  <a:pt x="11074400" y="101600"/>
                </a:cubicBezTo>
                <a:cubicBezTo>
                  <a:pt x="11109447" y="105105"/>
                  <a:pt x="11142133" y="120953"/>
                  <a:pt x="11176000" y="130629"/>
                </a:cubicBezTo>
                <a:cubicBezTo>
                  <a:pt x="11185676" y="145143"/>
                  <a:pt x="11187644" y="172723"/>
                  <a:pt x="11205028" y="174172"/>
                </a:cubicBezTo>
                <a:cubicBezTo>
                  <a:pt x="11305981" y="182585"/>
                  <a:pt x="11330789" y="158064"/>
                  <a:pt x="11393714" y="116115"/>
                </a:cubicBezTo>
                <a:cubicBezTo>
                  <a:pt x="11408228" y="120953"/>
                  <a:pt x="11423573" y="123787"/>
                  <a:pt x="11437257" y="130629"/>
                </a:cubicBezTo>
                <a:cubicBezTo>
                  <a:pt x="11452859" y="138430"/>
                  <a:pt x="11463593" y="156789"/>
                  <a:pt x="11480800" y="159657"/>
                </a:cubicBezTo>
                <a:cubicBezTo>
                  <a:pt x="11495891" y="162172"/>
                  <a:pt x="11509829" y="149981"/>
                  <a:pt x="11524343" y="145143"/>
                </a:cubicBezTo>
                <a:cubicBezTo>
                  <a:pt x="11543695" y="149981"/>
                  <a:pt x="11563476" y="153349"/>
                  <a:pt x="11582400" y="159657"/>
                </a:cubicBezTo>
                <a:cubicBezTo>
                  <a:pt x="11607117" y="167896"/>
                  <a:pt x="11630576" y="179538"/>
                  <a:pt x="11654971" y="188686"/>
                </a:cubicBezTo>
                <a:cubicBezTo>
                  <a:pt x="11669296" y="194058"/>
                  <a:pt x="11684000" y="198362"/>
                  <a:pt x="11698514" y="203200"/>
                </a:cubicBezTo>
                <a:cubicBezTo>
                  <a:pt x="11746147" y="131751"/>
                  <a:pt x="11745193" y="112250"/>
                  <a:pt x="11814628" y="72572"/>
                </a:cubicBezTo>
                <a:cubicBezTo>
                  <a:pt x="11827912" y="64981"/>
                  <a:pt x="11843657" y="62895"/>
                  <a:pt x="11858171" y="58057"/>
                </a:cubicBezTo>
                <a:cubicBezTo>
                  <a:pt x="11872685" y="62895"/>
                  <a:pt x="11886414" y="72572"/>
                  <a:pt x="11901714" y="72572"/>
                </a:cubicBezTo>
                <a:cubicBezTo>
                  <a:pt x="11921662" y="72572"/>
                  <a:pt x="11940023" y="55236"/>
                  <a:pt x="11959771" y="58057"/>
                </a:cubicBezTo>
                <a:cubicBezTo>
                  <a:pt x="11977040" y="60524"/>
                  <a:pt x="11988800" y="77410"/>
                  <a:pt x="12003314" y="87086"/>
                </a:cubicBezTo>
                <a:cubicBezTo>
                  <a:pt x="12022666" y="116115"/>
                  <a:pt x="12039952" y="146633"/>
                  <a:pt x="12061371" y="174172"/>
                </a:cubicBezTo>
                <a:cubicBezTo>
                  <a:pt x="12073973" y="190375"/>
                  <a:pt x="12086555" y="226895"/>
                  <a:pt x="12104914" y="217715"/>
                </a:cubicBezTo>
                <a:cubicBezTo>
                  <a:pt x="12126979" y="206682"/>
                  <a:pt x="12114590" y="169334"/>
                  <a:pt x="12119428" y="145143"/>
                </a:cubicBezTo>
                <a:cubicBezTo>
                  <a:pt x="12143619" y="149981"/>
                  <a:pt x="12168279" y="166434"/>
                  <a:pt x="12192000" y="159657"/>
                </a:cubicBezTo>
                <a:cubicBezTo>
                  <a:pt x="12212731" y="153734"/>
                  <a:pt x="12230232" y="88503"/>
                  <a:pt x="12235543" y="72572"/>
                </a:cubicBezTo>
                <a:cubicBezTo>
                  <a:pt x="12338757" y="141380"/>
                  <a:pt x="12219416" y="81173"/>
                  <a:pt x="12322628" y="72572"/>
                </a:cubicBezTo>
                <a:cubicBezTo>
                  <a:pt x="12366288" y="68934"/>
                  <a:pt x="12409714" y="82248"/>
                  <a:pt x="12453257" y="87086"/>
                </a:cubicBezTo>
                <a:cubicBezTo>
                  <a:pt x="12467771" y="96762"/>
                  <a:pt x="12487555" y="101322"/>
                  <a:pt x="12496800" y="116115"/>
                </a:cubicBezTo>
                <a:cubicBezTo>
                  <a:pt x="12513017" y="142063"/>
                  <a:pt x="12508855" y="177741"/>
                  <a:pt x="12525828" y="203200"/>
                </a:cubicBezTo>
                <a:lnTo>
                  <a:pt x="12554857" y="246743"/>
                </a:lnTo>
                <a:cubicBezTo>
                  <a:pt x="12550019" y="266095"/>
                  <a:pt x="12555489" y="291818"/>
                  <a:pt x="12540343" y="304800"/>
                </a:cubicBezTo>
                <a:cubicBezTo>
                  <a:pt x="12517111" y="324714"/>
                  <a:pt x="12478717" y="316856"/>
                  <a:pt x="12453257" y="333829"/>
                </a:cubicBezTo>
                <a:cubicBezTo>
                  <a:pt x="12438743" y="343505"/>
                  <a:pt x="12426263" y="357341"/>
                  <a:pt x="12409714" y="362857"/>
                </a:cubicBezTo>
                <a:cubicBezTo>
                  <a:pt x="12381795" y="372163"/>
                  <a:pt x="12352025" y="376005"/>
                  <a:pt x="12322628" y="377372"/>
                </a:cubicBezTo>
                <a:cubicBezTo>
                  <a:pt x="12143747" y="385692"/>
                  <a:pt x="11964542" y="385004"/>
                  <a:pt x="11785600" y="391886"/>
                </a:cubicBezTo>
                <a:cubicBezTo>
                  <a:pt x="11587149" y="399519"/>
                  <a:pt x="11190514" y="420915"/>
                  <a:pt x="11190514" y="420915"/>
                </a:cubicBezTo>
                <a:cubicBezTo>
                  <a:pt x="11156647" y="425753"/>
                  <a:pt x="11123016" y="432701"/>
                  <a:pt x="11088914" y="435429"/>
                </a:cubicBezTo>
                <a:cubicBezTo>
                  <a:pt x="10940312" y="447317"/>
                  <a:pt x="10590718" y="459420"/>
                  <a:pt x="10464800" y="464457"/>
                </a:cubicBezTo>
                <a:cubicBezTo>
                  <a:pt x="10412811" y="473122"/>
                  <a:pt x="10326821" y="488149"/>
                  <a:pt x="10276114" y="493486"/>
                </a:cubicBezTo>
                <a:cubicBezTo>
                  <a:pt x="10218176" y="499585"/>
                  <a:pt x="10160108" y="504708"/>
                  <a:pt x="10101943" y="508000"/>
                </a:cubicBezTo>
                <a:lnTo>
                  <a:pt x="9506857" y="537029"/>
                </a:lnTo>
                <a:cubicBezTo>
                  <a:pt x="7021676" y="496946"/>
                  <a:pt x="10127457" y="537029"/>
                  <a:pt x="7765143" y="537029"/>
                </a:cubicBezTo>
                <a:lnTo>
                  <a:pt x="2061028" y="522515"/>
                </a:lnTo>
                <a:cubicBezTo>
                  <a:pt x="1850113" y="487360"/>
                  <a:pt x="2039664" y="515278"/>
                  <a:pt x="1625600" y="493486"/>
                </a:cubicBezTo>
                <a:cubicBezTo>
                  <a:pt x="1557788" y="489917"/>
                  <a:pt x="1490287" y="480569"/>
                  <a:pt x="1422400" y="478972"/>
                </a:cubicBezTo>
                <a:lnTo>
                  <a:pt x="391886" y="464457"/>
                </a:lnTo>
                <a:cubicBezTo>
                  <a:pt x="353181" y="459619"/>
                  <a:pt x="314601" y="453641"/>
                  <a:pt x="275771" y="449943"/>
                </a:cubicBezTo>
                <a:cubicBezTo>
                  <a:pt x="63089" y="429688"/>
                  <a:pt x="141399" y="471638"/>
                  <a:pt x="43543" y="406400"/>
                </a:cubicBezTo>
                <a:cubicBezTo>
                  <a:pt x="33867" y="391886"/>
                  <a:pt x="22315" y="378459"/>
                  <a:pt x="14514" y="362857"/>
                </a:cubicBezTo>
                <a:cubicBezTo>
                  <a:pt x="7672" y="349173"/>
                  <a:pt x="0" y="334614"/>
                  <a:pt x="0" y="319315"/>
                </a:cubicBezTo>
                <a:cubicBezTo>
                  <a:pt x="0" y="203265"/>
                  <a:pt x="229163" y="234521"/>
                  <a:pt x="261257" y="232229"/>
                </a:cubicBezTo>
                <a:cubicBezTo>
                  <a:pt x="245213" y="184096"/>
                  <a:pt x="210457" y="234648"/>
                  <a:pt x="217714" y="217715"/>
                </a:cubicBezTo>
                <a:close/>
              </a:path>
            </a:pathLst>
          </a:custGeom>
          <a:solidFill>
            <a:srgbClr val="63A6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7" name="Picture 116" descr="A picture containing computer, computer, light&#10;&#10;Description automatically generated">
            <a:extLst>
              <a:ext uri="{FF2B5EF4-FFF2-40B4-BE49-F238E27FC236}">
                <a16:creationId xmlns:a16="http://schemas.microsoft.com/office/drawing/2014/main" id="{13BA6D83-705E-40E1-A4A4-39F89F701644}"/>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398318" y="1580179"/>
            <a:ext cx="674415" cy="1165792"/>
          </a:xfrm>
          <a:prstGeom prst="rect">
            <a:avLst/>
          </a:prstGeom>
        </p:spPr>
      </p:pic>
      <p:pic>
        <p:nvPicPr>
          <p:cNvPr id="119" name="Picture 118" descr="A picture containing computer, computer, light&#10;&#10;Description automatically generated">
            <a:extLst>
              <a:ext uri="{FF2B5EF4-FFF2-40B4-BE49-F238E27FC236}">
                <a16:creationId xmlns:a16="http://schemas.microsoft.com/office/drawing/2014/main" id="{1F2AB17A-5025-4711-B58F-37FFFDE9223E}"/>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569362" y="1661733"/>
            <a:ext cx="674415" cy="1165792"/>
          </a:xfrm>
          <a:prstGeom prst="rect">
            <a:avLst/>
          </a:prstGeom>
        </p:spPr>
      </p:pic>
      <p:pic>
        <p:nvPicPr>
          <p:cNvPr id="120" name="Picture 119" descr="A close up of a logo&#10;&#10;Description automatically generated">
            <a:extLst>
              <a:ext uri="{FF2B5EF4-FFF2-40B4-BE49-F238E27FC236}">
                <a16:creationId xmlns:a16="http://schemas.microsoft.com/office/drawing/2014/main" id="{14960C76-CCB3-427E-84D8-AA7E0946F824}"/>
              </a:ext>
            </a:extLst>
          </p:cNvPr>
          <p:cNvPicPr>
            <a:picLocks noChangeAspect="1"/>
          </p:cNvPicPr>
          <p:nvPr/>
        </p:nvPicPr>
        <p:blipFill rotWithShape="1">
          <a:blip r:embed="rId4">
            <a:extLst>
              <a:ext uri="{28A0092B-C50C-407E-A947-70E740481C1C}">
                <a14:useLocalDpi xmlns:a14="http://schemas.microsoft.com/office/drawing/2010/main" val="0"/>
              </a:ext>
            </a:extLst>
          </a:blip>
          <a:srcRect l="41745" t="41354" r="40020" b="39266"/>
          <a:stretch/>
        </p:blipFill>
        <p:spPr>
          <a:xfrm>
            <a:off x="2776147" y="1623307"/>
            <a:ext cx="883709" cy="1329126"/>
          </a:xfrm>
          <a:prstGeom prst="rect">
            <a:avLst/>
          </a:prstGeom>
        </p:spPr>
      </p:pic>
      <p:sp>
        <p:nvSpPr>
          <p:cNvPr id="5" name="Parallelogram 4">
            <a:extLst>
              <a:ext uri="{FF2B5EF4-FFF2-40B4-BE49-F238E27FC236}">
                <a16:creationId xmlns:a16="http://schemas.microsoft.com/office/drawing/2014/main" id="{FD7144AB-A2D2-4539-9187-87DB7A713BEE}"/>
              </a:ext>
            </a:extLst>
          </p:cNvPr>
          <p:cNvSpPr/>
          <p:nvPr/>
        </p:nvSpPr>
        <p:spPr>
          <a:xfrm>
            <a:off x="-10160" y="2430900"/>
            <a:ext cx="6786882" cy="4427100"/>
          </a:xfrm>
          <a:custGeom>
            <a:avLst/>
            <a:gdLst>
              <a:gd name="connsiteX0" fmla="*/ 0 w 5044576"/>
              <a:gd name="connsiteY0" fmla="*/ 2222380 h 2222380"/>
              <a:gd name="connsiteX1" fmla="*/ 555595 w 5044576"/>
              <a:gd name="connsiteY1" fmla="*/ 0 h 2222380"/>
              <a:gd name="connsiteX2" fmla="*/ 5044576 w 5044576"/>
              <a:gd name="connsiteY2" fmla="*/ 0 h 2222380"/>
              <a:gd name="connsiteX3" fmla="*/ 4488981 w 5044576"/>
              <a:gd name="connsiteY3" fmla="*/ 2222380 h 2222380"/>
              <a:gd name="connsiteX4" fmla="*/ 0 w 5044576"/>
              <a:gd name="connsiteY4" fmla="*/ 2222380 h 2222380"/>
              <a:gd name="connsiteX0" fmla="*/ 0 w 5056475"/>
              <a:gd name="connsiteY0" fmla="*/ 3431420 h 3431420"/>
              <a:gd name="connsiteX1" fmla="*/ 5056475 w 5056475"/>
              <a:gd name="connsiteY1" fmla="*/ 0 h 3431420"/>
              <a:gd name="connsiteX2" fmla="*/ 5044576 w 5056475"/>
              <a:gd name="connsiteY2" fmla="*/ 1209040 h 3431420"/>
              <a:gd name="connsiteX3" fmla="*/ 4488981 w 5056475"/>
              <a:gd name="connsiteY3" fmla="*/ 3431420 h 3431420"/>
              <a:gd name="connsiteX4" fmla="*/ 0 w 5056475"/>
              <a:gd name="connsiteY4" fmla="*/ 3431420 h 3431420"/>
              <a:gd name="connsiteX0" fmla="*/ 0 w 5776096"/>
              <a:gd name="connsiteY0" fmla="*/ 3431420 h 3431420"/>
              <a:gd name="connsiteX1" fmla="*/ 5056475 w 5776096"/>
              <a:gd name="connsiteY1" fmla="*/ 0 h 3431420"/>
              <a:gd name="connsiteX2" fmla="*/ 5776096 w 5776096"/>
              <a:gd name="connsiteY2" fmla="*/ 589280 h 3431420"/>
              <a:gd name="connsiteX3" fmla="*/ 4488981 w 5776096"/>
              <a:gd name="connsiteY3" fmla="*/ 3431420 h 3431420"/>
              <a:gd name="connsiteX4" fmla="*/ 0 w 5776096"/>
              <a:gd name="connsiteY4" fmla="*/ 3431420 h 3431420"/>
              <a:gd name="connsiteX0" fmla="*/ 0 w 5776096"/>
              <a:gd name="connsiteY0" fmla="*/ 3431420 h 3583820"/>
              <a:gd name="connsiteX1" fmla="*/ 5056475 w 5776096"/>
              <a:gd name="connsiteY1" fmla="*/ 0 h 3583820"/>
              <a:gd name="connsiteX2" fmla="*/ 5776096 w 5776096"/>
              <a:gd name="connsiteY2" fmla="*/ 589280 h 3583820"/>
              <a:gd name="connsiteX3" fmla="*/ 800901 w 5776096"/>
              <a:gd name="connsiteY3" fmla="*/ 3583820 h 3583820"/>
              <a:gd name="connsiteX4" fmla="*/ 0 w 5776096"/>
              <a:gd name="connsiteY4" fmla="*/ 3431420 h 3583820"/>
              <a:gd name="connsiteX0" fmla="*/ 0 w 5979296"/>
              <a:gd name="connsiteY0" fmla="*/ 2862460 h 3583820"/>
              <a:gd name="connsiteX1" fmla="*/ 5259675 w 5979296"/>
              <a:gd name="connsiteY1" fmla="*/ 0 h 3583820"/>
              <a:gd name="connsiteX2" fmla="*/ 5979296 w 5979296"/>
              <a:gd name="connsiteY2" fmla="*/ 589280 h 3583820"/>
              <a:gd name="connsiteX3" fmla="*/ 1004101 w 5979296"/>
              <a:gd name="connsiteY3" fmla="*/ 3583820 h 3583820"/>
              <a:gd name="connsiteX4" fmla="*/ 0 w 5979296"/>
              <a:gd name="connsiteY4" fmla="*/ 2862460 h 3583820"/>
              <a:gd name="connsiteX0" fmla="*/ 0 w 5979296"/>
              <a:gd name="connsiteY0" fmla="*/ 2862460 h 3472060"/>
              <a:gd name="connsiteX1" fmla="*/ 5259675 w 5979296"/>
              <a:gd name="connsiteY1" fmla="*/ 0 h 3472060"/>
              <a:gd name="connsiteX2" fmla="*/ 5979296 w 5979296"/>
              <a:gd name="connsiteY2" fmla="*/ 589280 h 3472060"/>
              <a:gd name="connsiteX3" fmla="*/ 567221 w 5979296"/>
              <a:gd name="connsiteY3" fmla="*/ 3472060 h 3472060"/>
              <a:gd name="connsiteX4" fmla="*/ 0 w 5979296"/>
              <a:gd name="connsiteY4" fmla="*/ 2862460 h 3472060"/>
              <a:gd name="connsiteX0" fmla="*/ 0 w 6568576"/>
              <a:gd name="connsiteY0" fmla="*/ 2862460 h 3472060"/>
              <a:gd name="connsiteX1" fmla="*/ 5259675 w 6568576"/>
              <a:gd name="connsiteY1" fmla="*/ 0 h 3472060"/>
              <a:gd name="connsiteX2" fmla="*/ 6568576 w 6568576"/>
              <a:gd name="connsiteY2" fmla="*/ 1270000 h 3472060"/>
              <a:gd name="connsiteX3" fmla="*/ 567221 w 6568576"/>
              <a:gd name="connsiteY3" fmla="*/ 3472060 h 3472060"/>
              <a:gd name="connsiteX4" fmla="*/ 0 w 6568576"/>
              <a:gd name="connsiteY4" fmla="*/ 2862460 h 3472060"/>
              <a:gd name="connsiteX0" fmla="*/ 0 w 6568576"/>
              <a:gd name="connsiteY0" fmla="*/ 2171580 h 2781180"/>
              <a:gd name="connsiteX1" fmla="*/ 5869275 w 6568576"/>
              <a:gd name="connsiteY1" fmla="*/ 0 h 2781180"/>
              <a:gd name="connsiteX2" fmla="*/ 6568576 w 6568576"/>
              <a:gd name="connsiteY2" fmla="*/ 579120 h 2781180"/>
              <a:gd name="connsiteX3" fmla="*/ 567221 w 6568576"/>
              <a:gd name="connsiteY3" fmla="*/ 2781180 h 2781180"/>
              <a:gd name="connsiteX4" fmla="*/ 0 w 6568576"/>
              <a:gd name="connsiteY4" fmla="*/ 2171580 h 2781180"/>
              <a:gd name="connsiteX0" fmla="*/ 0 w 6568576"/>
              <a:gd name="connsiteY0" fmla="*/ 2171580 h 2781180"/>
              <a:gd name="connsiteX1" fmla="*/ 5869275 w 6568576"/>
              <a:gd name="connsiteY1" fmla="*/ 0 h 2781180"/>
              <a:gd name="connsiteX2" fmla="*/ 6568576 w 6568576"/>
              <a:gd name="connsiteY2" fmla="*/ 579120 h 2781180"/>
              <a:gd name="connsiteX3" fmla="*/ 567221 w 6568576"/>
              <a:gd name="connsiteY3" fmla="*/ 2781180 h 2781180"/>
              <a:gd name="connsiteX4" fmla="*/ 269375 w 6568576"/>
              <a:gd name="connsiteY4" fmla="*/ 2466220 h 2781180"/>
              <a:gd name="connsiteX5" fmla="*/ 0 w 6568576"/>
              <a:gd name="connsiteY5" fmla="*/ 2171580 h 2781180"/>
              <a:gd name="connsiteX0" fmla="*/ 0 w 6568576"/>
              <a:gd name="connsiteY0" fmla="*/ 2171580 h 2923420"/>
              <a:gd name="connsiteX1" fmla="*/ 5869275 w 6568576"/>
              <a:gd name="connsiteY1" fmla="*/ 0 h 2923420"/>
              <a:gd name="connsiteX2" fmla="*/ 6568576 w 6568576"/>
              <a:gd name="connsiteY2" fmla="*/ 579120 h 2923420"/>
              <a:gd name="connsiteX3" fmla="*/ 567221 w 6568576"/>
              <a:gd name="connsiteY3" fmla="*/ 2781180 h 2923420"/>
              <a:gd name="connsiteX4" fmla="*/ 35695 w 6568576"/>
              <a:gd name="connsiteY4" fmla="*/ 2923420 h 2923420"/>
              <a:gd name="connsiteX5" fmla="*/ 0 w 6568576"/>
              <a:gd name="connsiteY5"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567221 w 6568576"/>
              <a:gd name="connsiteY3" fmla="*/ 2781180 h 2923420"/>
              <a:gd name="connsiteX4" fmla="*/ 35695 w 6568576"/>
              <a:gd name="connsiteY4" fmla="*/ 2923420 h 2923420"/>
              <a:gd name="connsiteX5" fmla="*/ 0 w 6568576"/>
              <a:gd name="connsiteY5"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993941 w 6568576"/>
              <a:gd name="connsiteY3" fmla="*/ 2577980 h 2923420"/>
              <a:gd name="connsiteX4" fmla="*/ 35695 w 6568576"/>
              <a:gd name="connsiteY4" fmla="*/ 2923420 h 2923420"/>
              <a:gd name="connsiteX5" fmla="*/ 0 w 6568576"/>
              <a:gd name="connsiteY5"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993941 w 6568576"/>
              <a:gd name="connsiteY3" fmla="*/ 2577980 h 2923420"/>
              <a:gd name="connsiteX4" fmla="*/ 553855 w 6568576"/>
              <a:gd name="connsiteY4" fmla="*/ 2740540 h 2923420"/>
              <a:gd name="connsiteX5" fmla="*/ 35695 w 6568576"/>
              <a:gd name="connsiteY5" fmla="*/ 2923420 h 2923420"/>
              <a:gd name="connsiteX6" fmla="*/ 0 w 6568576"/>
              <a:gd name="connsiteY6"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993941 w 6568576"/>
              <a:gd name="connsiteY3" fmla="*/ 2577980 h 2923420"/>
              <a:gd name="connsiteX4" fmla="*/ 533535 w 6568576"/>
              <a:gd name="connsiteY4" fmla="*/ 2842140 h 2923420"/>
              <a:gd name="connsiteX5" fmla="*/ 35695 w 6568576"/>
              <a:gd name="connsiteY5" fmla="*/ 2923420 h 2923420"/>
              <a:gd name="connsiteX6" fmla="*/ 0 w 6568576"/>
              <a:gd name="connsiteY6"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1156501 w 6568576"/>
              <a:gd name="connsiteY3" fmla="*/ 2628780 h 2923420"/>
              <a:gd name="connsiteX4" fmla="*/ 533535 w 6568576"/>
              <a:gd name="connsiteY4" fmla="*/ 2842140 h 2923420"/>
              <a:gd name="connsiteX5" fmla="*/ 35695 w 6568576"/>
              <a:gd name="connsiteY5" fmla="*/ 2923420 h 2923420"/>
              <a:gd name="connsiteX6" fmla="*/ 0 w 6568576"/>
              <a:gd name="connsiteY6"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1156501 w 6568576"/>
              <a:gd name="connsiteY3" fmla="*/ 2628780 h 2923420"/>
              <a:gd name="connsiteX4" fmla="*/ 533535 w 6568576"/>
              <a:gd name="connsiteY4" fmla="*/ 2842140 h 2923420"/>
              <a:gd name="connsiteX5" fmla="*/ 35695 w 6568576"/>
              <a:gd name="connsiteY5" fmla="*/ 2923420 h 2923420"/>
              <a:gd name="connsiteX6" fmla="*/ 0 w 6568576"/>
              <a:gd name="connsiteY6"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1156501 w 6568576"/>
              <a:gd name="connsiteY3" fmla="*/ 2628780 h 2923420"/>
              <a:gd name="connsiteX4" fmla="*/ 35695 w 6568576"/>
              <a:gd name="connsiteY4" fmla="*/ 2923420 h 2923420"/>
              <a:gd name="connsiteX5" fmla="*/ 0 w 6568576"/>
              <a:gd name="connsiteY5" fmla="*/ 2171580 h 2923420"/>
              <a:gd name="connsiteX0" fmla="*/ 0 w 6568576"/>
              <a:gd name="connsiteY0" fmla="*/ 2171580 h 2923420"/>
              <a:gd name="connsiteX1" fmla="*/ 5869275 w 6568576"/>
              <a:gd name="connsiteY1" fmla="*/ 0 h 2923420"/>
              <a:gd name="connsiteX2" fmla="*/ 6568576 w 6568576"/>
              <a:gd name="connsiteY2" fmla="*/ 579120 h 2923420"/>
              <a:gd name="connsiteX3" fmla="*/ 35695 w 6568576"/>
              <a:gd name="connsiteY3" fmla="*/ 2923420 h 2923420"/>
              <a:gd name="connsiteX4" fmla="*/ 0 w 6568576"/>
              <a:gd name="connsiteY4" fmla="*/ 2171580 h 2923420"/>
              <a:gd name="connsiteX0" fmla="*/ 0 w 7797936"/>
              <a:gd name="connsiteY0" fmla="*/ 2171580 h 2923420"/>
              <a:gd name="connsiteX1" fmla="*/ 5869275 w 7797936"/>
              <a:gd name="connsiteY1" fmla="*/ 0 h 2923420"/>
              <a:gd name="connsiteX2" fmla="*/ 7797936 w 7797936"/>
              <a:gd name="connsiteY2" fmla="*/ 274320 h 2923420"/>
              <a:gd name="connsiteX3" fmla="*/ 35695 w 7797936"/>
              <a:gd name="connsiteY3" fmla="*/ 2923420 h 2923420"/>
              <a:gd name="connsiteX4" fmla="*/ 0 w 7797936"/>
              <a:gd name="connsiteY4" fmla="*/ 2171580 h 2923420"/>
              <a:gd name="connsiteX0" fmla="*/ 0 w 7797936"/>
              <a:gd name="connsiteY0" fmla="*/ 2293500 h 3045340"/>
              <a:gd name="connsiteX1" fmla="*/ 6803995 w 7797936"/>
              <a:gd name="connsiteY1" fmla="*/ 0 h 3045340"/>
              <a:gd name="connsiteX2" fmla="*/ 7797936 w 7797936"/>
              <a:gd name="connsiteY2" fmla="*/ 396240 h 3045340"/>
              <a:gd name="connsiteX3" fmla="*/ 35695 w 7797936"/>
              <a:gd name="connsiteY3" fmla="*/ 3045340 h 3045340"/>
              <a:gd name="connsiteX4" fmla="*/ 0 w 7797936"/>
              <a:gd name="connsiteY4" fmla="*/ 2293500 h 3045340"/>
              <a:gd name="connsiteX0" fmla="*/ 0 w 7797936"/>
              <a:gd name="connsiteY0" fmla="*/ 2283340 h 3035180"/>
              <a:gd name="connsiteX1" fmla="*/ 7098635 w 7797936"/>
              <a:gd name="connsiteY1" fmla="*/ 0 h 3035180"/>
              <a:gd name="connsiteX2" fmla="*/ 7797936 w 7797936"/>
              <a:gd name="connsiteY2" fmla="*/ 386080 h 3035180"/>
              <a:gd name="connsiteX3" fmla="*/ 35695 w 7797936"/>
              <a:gd name="connsiteY3" fmla="*/ 3035180 h 3035180"/>
              <a:gd name="connsiteX4" fmla="*/ 0 w 7797936"/>
              <a:gd name="connsiteY4" fmla="*/ 2283340 h 3035180"/>
              <a:gd name="connsiteX0" fmla="*/ 0 w 7797936"/>
              <a:gd name="connsiteY0" fmla="*/ 3553340 h 4305180"/>
              <a:gd name="connsiteX1" fmla="*/ 3949035 w 7797936"/>
              <a:gd name="connsiteY1" fmla="*/ 0 h 4305180"/>
              <a:gd name="connsiteX2" fmla="*/ 7797936 w 7797936"/>
              <a:gd name="connsiteY2" fmla="*/ 1656080 h 4305180"/>
              <a:gd name="connsiteX3" fmla="*/ 35695 w 7797936"/>
              <a:gd name="connsiteY3" fmla="*/ 4305180 h 4305180"/>
              <a:gd name="connsiteX4" fmla="*/ 0 w 7797936"/>
              <a:gd name="connsiteY4" fmla="*/ 3553340 h 4305180"/>
              <a:gd name="connsiteX0" fmla="*/ 0 w 5400176"/>
              <a:gd name="connsiteY0" fmla="*/ 3553340 h 4305180"/>
              <a:gd name="connsiteX1" fmla="*/ 3949035 w 5400176"/>
              <a:gd name="connsiteY1" fmla="*/ 0 h 4305180"/>
              <a:gd name="connsiteX2" fmla="*/ 5400176 w 5400176"/>
              <a:gd name="connsiteY2" fmla="*/ 233680 h 4305180"/>
              <a:gd name="connsiteX3" fmla="*/ 35695 w 5400176"/>
              <a:gd name="connsiteY3" fmla="*/ 4305180 h 4305180"/>
              <a:gd name="connsiteX4" fmla="*/ 0 w 5400176"/>
              <a:gd name="connsiteY4" fmla="*/ 3553340 h 4305180"/>
              <a:gd name="connsiteX0" fmla="*/ 0 w 5838795"/>
              <a:gd name="connsiteY0" fmla="*/ 3726060 h 4477900"/>
              <a:gd name="connsiteX1" fmla="*/ 5838795 w 5838795"/>
              <a:gd name="connsiteY1" fmla="*/ 0 h 4477900"/>
              <a:gd name="connsiteX2" fmla="*/ 5400176 w 5838795"/>
              <a:gd name="connsiteY2" fmla="*/ 406400 h 4477900"/>
              <a:gd name="connsiteX3" fmla="*/ 35695 w 5838795"/>
              <a:gd name="connsiteY3" fmla="*/ 4477900 h 4477900"/>
              <a:gd name="connsiteX4" fmla="*/ 0 w 5838795"/>
              <a:gd name="connsiteY4" fmla="*/ 3726060 h 4477900"/>
              <a:gd name="connsiteX0" fmla="*/ 0 w 6781936"/>
              <a:gd name="connsiteY0" fmla="*/ 3726060 h 4477900"/>
              <a:gd name="connsiteX1" fmla="*/ 5838795 w 6781936"/>
              <a:gd name="connsiteY1" fmla="*/ 0 h 4477900"/>
              <a:gd name="connsiteX2" fmla="*/ 6781936 w 6781936"/>
              <a:gd name="connsiteY2" fmla="*/ 81280 h 4477900"/>
              <a:gd name="connsiteX3" fmla="*/ 35695 w 6781936"/>
              <a:gd name="connsiteY3" fmla="*/ 4477900 h 4477900"/>
              <a:gd name="connsiteX4" fmla="*/ 0 w 6781936"/>
              <a:gd name="connsiteY4" fmla="*/ 3726060 h 4477900"/>
              <a:gd name="connsiteX0" fmla="*/ 0 w 6781936"/>
              <a:gd name="connsiteY0" fmla="*/ 3726060 h 4427100"/>
              <a:gd name="connsiteX1" fmla="*/ 5838795 w 6781936"/>
              <a:gd name="connsiteY1" fmla="*/ 0 h 4427100"/>
              <a:gd name="connsiteX2" fmla="*/ 6781936 w 6781936"/>
              <a:gd name="connsiteY2" fmla="*/ 81280 h 4427100"/>
              <a:gd name="connsiteX3" fmla="*/ 1569855 w 6781936"/>
              <a:gd name="connsiteY3" fmla="*/ 4427100 h 4427100"/>
              <a:gd name="connsiteX4" fmla="*/ 0 w 6781936"/>
              <a:gd name="connsiteY4" fmla="*/ 3726060 h 4427100"/>
              <a:gd name="connsiteX0" fmla="*/ 0 w 6781936"/>
              <a:gd name="connsiteY0" fmla="*/ 3726060 h 4427100"/>
              <a:gd name="connsiteX1" fmla="*/ 5838795 w 6781936"/>
              <a:gd name="connsiteY1" fmla="*/ 0 h 4427100"/>
              <a:gd name="connsiteX2" fmla="*/ 6781936 w 6781936"/>
              <a:gd name="connsiteY2" fmla="*/ 81280 h 4427100"/>
              <a:gd name="connsiteX3" fmla="*/ 1569855 w 6781936"/>
              <a:gd name="connsiteY3" fmla="*/ 4427100 h 4427100"/>
              <a:gd name="connsiteX4" fmla="*/ 645294 w 6781936"/>
              <a:gd name="connsiteY4" fmla="*/ 4041020 h 4427100"/>
              <a:gd name="connsiteX5" fmla="*/ 0 w 6781936"/>
              <a:gd name="connsiteY5" fmla="*/ 3726060 h 4427100"/>
              <a:gd name="connsiteX0" fmla="*/ 4946 w 6786882"/>
              <a:gd name="connsiteY0" fmla="*/ 3726060 h 4427100"/>
              <a:gd name="connsiteX1" fmla="*/ 5843741 w 6786882"/>
              <a:gd name="connsiteY1" fmla="*/ 0 h 4427100"/>
              <a:gd name="connsiteX2" fmla="*/ 6786882 w 6786882"/>
              <a:gd name="connsiteY2" fmla="*/ 81280 h 4427100"/>
              <a:gd name="connsiteX3" fmla="*/ 1574801 w 6786882"/>
              <a:gd name="connsiteY3" fmla="*/ 4427100 h 4427100"/>
              <a:gd name="connsiteX4" fmla="*/ 0 w 6786882"/>
              <a:gd name="connsiteY4" fmla="*/ 4386460 h 4427100"/>
              <a:gd name="connsiteX5" fmla="*/ 4946 w 6786882"/>
              <a:gd name="connsiteY5" fmla="*/ 3726060 h 44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86882" h="4427100">
                <a:moveTo>
                  <a:pt x="4946" y="3726060"/>
                </a:moveTo>
                <a:lnTo>
                  <a:pt x="5843741" y="0"/>
                </a:lnTo>
                <a:lnTo>
                  <a:pt x="6786882" y="81280"/>
                </a:lnTo>
                <a:lnTo>
                  <a:pt x="1574801" y="4427100"/>
                </a:lnTo>
                <a:lnTo>
                  <a:pt x="0" y="4386460"/>
                </a:lnTo>
                <a:cubicBezTo>
                  <a:pt x="1649" y="4166327"/>
                  <a:pt x="3297" y="3946193"/>
                  <a:pt x="4946" y="3726060"/>
                </a:cubicBezTo>
                <a:close/>
              </a:path>
            </a:pathLst>
          </a:cu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15" name="Picture 114" descr="A picture containing computer, computer, light&#10;&#10;Description automatically generated">
            <a:extLst>
              <a:ext uri="{FF2B5EF4-FFF2-40B4-BE49-F238E27FC236}">
                <a16:creationId xmlns:a16="http://schemas.microsoft.com/office/drawing/2014/main" id="{B57A2630-6C4B-4C51-8E60-2BFDD04709FA}"/>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6995192" y="1702077"/>
            <a:ext cx="627737" cy="1085105"/>
          </a:xfrm>
          <a:prstGeom prst="rect">
            <a:avLst/>
          </a:prstGeom>
        </p:spPr>
      </p:pic>
      <p:cxnSp>
        <p:nvCxnSpPr>
          <p:cNvPr id="7" name="Straight Connector 6">
            <a:extLst>
              <a:ext uri="{FF2B5EF4-FFF2-40B4-BE49-F238E27FC236}">
                <a16:creationId xmlns:a16="http://schemas.microsoft.com/office/drawing/2014/main" id="{AA377E8B-C4B3-4E50-8C4B-E656A82E83C5}"/>
              </a:ext>
            </a:extLst>
          </p:cNvPr>
          <p:cNvCxnSpPr>
            <a:cxnSpLocks/>
          </p:cNvCxnSpPr>
          <p:nvPr/>
        </p:nvCxnSpPr>
        <p:spPr>
          <a:xfrm flipV="1">
            <a:off x="295102" y="2459996"/>
            <a:ext cx="5932978" cy="4398004"/>
          </a:xfrm>
          <a:prstGeom prst="line">
            <a:avLst/>
          </a:prstGeom>
          <a:ln w="19050">
            <a:solidFill>
              <a:schemeClr val="accent4"/>
            </a:solidFill>
            <a:prstDash val="lgDash"/>
          </a:ln>
        </p:spPr>
        <p:style>
          <a:lnRef idx="1">
            <a:schemeClr val="accent1"/>
          </a:lnRef>
          <a:fillRef idx="0">
            <a:schemeClr val="accent1"/>
          </a:fillRef>
          <a:effectRef idx="0">
            <a:schemeClr val="accent1"/>
          </a:effectRef>
          <a:fontRef idx="minor">
            <a:schemeClr val="tx1"/>
          </a:fontRef>
        </p:style>
      </p:cxnSp>
      <p:pic>
        <p:nvPicPr>
          <p:cNvPr id="124" name="Picture 123" descr="A picture containing computer, computer, light&#10;&#10;Description automatically generated">
            <a:extLst>
              <a:ext uri="{FF2B5EF4-FFF2-40B4-BE49-F238E27FC236}">
                <a16:creationId xmlns:a16="http://schemas.microsoft.com/office/drawing/2014/main" id="{DF16640E-B077-4189-A5C3-9784722E5A45}"/>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398318" y="1598467"/>
            <a:ext cx="674415" cy="1165792"/>
          </a:xfrm>
          <a:prstGeom prst="rect">
            <a:avLst/>
          </a:prstGeom>
        </p:spPr>
      </p:pic>
      <p:pic>
        <p:nvPicPr>
          <p:cNvPr id="126" name="Picture 125" descr="A picture containing computer, computer, light&#10;&#10;Description automatically generated">
            <a:extLst>
              <a:ext uri="{FF2B5EF4-FFF2-40B4-BE49-F238E27FC236}">
                <a16:creationId xmlns:a16="http://schemas.microsoft.com/office/drawing/2014/main" id="{F79415B4-BDCF-49B1-8DBF-0D2ADE6BD51B}"/>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69510" y="3010020"/>
            <a:ext cx="940269" cy="1625347"/>
          </a:xfrm>
          <a:prstGeom prst="rect">
            <a:avLst/>
          </a:prstGeom>
        </p:spPr>
      </p:pic>
      <p:pic>
        <p:nvPicPr>
          <p:cNvPr id="127" name="Picture 126" descr="A picture containing computer, computer, light&#10;&#10;Description automatically generated">
            <a:extLst>
              <a:ext uri="{FF2B5EF4-FFF2-40B4-BE49-F238E27FC236}">
                <a16:creationId xmlns:a16="http://schemas.microsoft.com/office/drawing/2014/main" id="{C1DC63B3-FA72-423B-8864-2D48F1729415}"/>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408907" y="3277571"/>
            <a:ext cx="971879" cy="1679988"/>
          </a:xfrm>
          <a:prstGeom prst="rect">
            <a:avLst/>
          </a:prstGeom>
        </p:spPr>
      </p:pic>
      <p:pic>
        <p:nvPicPr>
          <p:cNvPr id="128" name="Picture 127" descr="A picture containing computer, computer, light&#10;&#10;Description automatically generated">
            <a:extLst>
              <a:ext uri="{FF2B5EF4-FFF2-40B4-BE49-F238E27FC236}">
                <a16:creationId xmlns:a16="http://schemas.microsoft.com/office/drawing/2014/main" id="{87F12EF8-A90E-46CB-AF84-9D5DC7086D6F}"/>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3977672" y="1834157"/>
            <a:ext cx="627737" cy="1085105"/>
          </a:xfrm>
          <a:prstGeom prst="rect">
            <a:avLst/>
          </a:prstGeom>
        </p:spPr>
      </p:pic>
      <p:sp>
        <p:nvSpPr>
          <p:cNvPr id="214" name="Freeform: Shape 213">
            <a:extLst>
              <a:ext uri="{FF2B5EF4-FFF2-40B4-BE49-F238E27FC236}">
                <a16:creationId xmlns:a16="http://schemas.microsoft.com/office/drawing/2014/main" id="{376EFEDE-6E0D-4B5B-AFE6-718F85FB1EE6}"/>
              </a:ext>
            </a:extLst>
          </p:cNvPr>
          <p:cNvSpPr/>
          <p:nvPr/>
        </p:nvSpPr>
        <p:spPr>
          <a:xfrm>
            <a:off x="-27555" y="2430900"/>
            <a:ext cx="5390622" cy="537029"/>
          </a:xfrm>
          <a:custGeom>
            <a:avLst/>
            <a:gdLst>
              <a:gd name="connsiteX0" fmla="*/ 217714 w 12554857"/>
              <a:gd name="connsiteY0" fmla="*/ 217715 h 537029"/>
              <a:gd name="connsiteX1" fmla="*/ 304800 w 12554857"/>
              <a:gd name="connsiteY1" fmla="*/ 130629 h 537029"/>
              <a:gd name="connsiteX2" fmla="*/ 348343 w 12554857"/>
              <a:gd name="connsiteY2" fmla="*/ 145143 h 537029"/>
              <a:gd name="connsiteX3" fmla="*/ 435428 w 12554857"/>
              <a:gd name="connsiteY3" fmla="*/ 101600 h 537029"/>
              <a:gd name="connsiteX4" fmla="*/ 478971 w 12554857"/>
              <a:gd name="connsiteY4" fmla="*/ 72572 h 537029"/>
              <a:gd name="connsiteX5" fmla="*/ 566057 w 12554857"/>
              <a:gd name="connsiteY5" fmla="*/ 87086 h 537029"/>
              <a:gd name="connsiteX6" fmla="*/ 609600 w 12554857"/>
              <a:gd name="connsiteY6" fmla="*/ 116115 h 537029"/>
              <a:gd name="connsiteX7" fmla="*/ 667657 w 12554857"/>
              <a:gd name="connsiteY7" fmla="*/ 130629 h 537029"/>
              <a:gd name="connsiteX8" fmla="*/ 754743 w 12554857"/>
              <a:gd name="connsiteY8" fmla="*/ 116115 h 537029"/>
              <a:gd name="connsiteX9" fmla="*/ 812800 w 12554857"/>
              <a:gd name="connsiteY9" fmla="*/ 87086 h 537029"/>
              <a:gd name="connsiteX10" fmla="*/ 856343 w 12554857"/>
              <a:gd name="connsiteY10" fmla="*/ 72572 h 537029"/>
              <a:gd name="connsiteX11" fmla="*/ 1016000 w 12554857"/>
              <a:gd name="connsiteY11" fmla="*/ 116115 h 537029"/>
              <a:gd name="connsiteX12" fmla="*/ 1103086 w 12554857"/>
              <a:gd name="connsiteY12" fmla="*/ 159657 h 537029"/>
              <a:gd name="connsiteX13" fmla="*/ 1146628 w 12554857"/>
              <a:gd name="connsiteY13" fmla="*/ 188686 h 537029"/>
              <a:gd name="connsiteX14" fmla="*/ 1190171 w 12554857"/>
              <a:gd name="connsiteY14" fmla="*/ 101600 h 537029"/>
              <a:gd name="connsiteX15" fmla="*/ 1233714 w 12554857"/>
              <a:gd name="connsiteY15" fmla="*/ 72572 h 537029"/>
              <a:gd name="connsiteX16" fmla="*/ 1451428 w 12554857"/>
              <a:gd name="connsiteY16" fmla="*/ 145143 h 537029"/>
              <a:gd name="connsiteX17" fmla="*/ 1524000 w 12554857"/>
              <a:gd name="connsiteY17" fmla="*/ 58057 h 537029"/>
              <a:gd name="connsiteX18" fmla="*/ 1567543 w 12554857"/>
              <a:gd name="connsiteY18" fmla="*/ 43543 h 537029"/>
              <a:gd name="connsiteX19" fmla="*/ 1640114 w 12554857"/>
              <a:gd name="connsiteY19" fmla="*/ 130629 h 537029"/>
              <a:gd name="connsiteX20" fmla="*/ 1727200 w 12554857"/>
              <a:gd name="connsiteY20" fmla="*/ 116115 h 537029"/>
              <a:gd name="connsiteX21" fmla="*/ 1886857 w 12554857"/>
              <a:gd name="connsiteY21" fmla="*/ 87086 h 537029"/>
              <a:gd name="connsiteX22" fmla="*/ 1973943 w 12554857"/>
              <a:gd name="connsiteY22" fmla="*/ 101600 h 537029"/>
              <a:gd name="connsiteX23" fmla="*/ 2017486 w 12554857"/>
              <a:gd name="connsiteY23" fmla="*/ 116115 h 537029"/>
              <a:gd name="connsiteX24" fmla="*/ 2061028 w 12554857"/>
              <a:gd name="connsiteY24" fmla="*/ 101600 h 537029"/>
              <a:gd name="connsiteX25" fmla="*/ 2119086 w 12554857"/>
              <a:gd name="connsiteY25" fmla="*/ 130629 h 537029"/>
              <a:gd name="connsiteX26" fmla="*/ 2162628 w 12554857"/>
              <a:gd name="connsiteY26" fmla="*/ 159657 h 537029"/>
              <a:gd name="connsiteX27" fmla="*/ 2307771 w 12554857"/>
              <a:gd name="connsiteY27" fmla="*/ 130629 h 537029"/>
              <a:gd name="connsiteX28" fmla="*/ 2452914 w 12554857"/>
              <a:gd name="connsiteY28" fmla="*/ 101600 h 537029"/>
              <a:gd name="connsiteX29" fmla="*/ 2540000 w 12554857"/>
              <a:gd name="connsiteY29" fmla="*/ 116115 h 537029"/>
              <a:gd name="connsiteX30" fmla="*/ 2554514 w 12554857"/>
              <a:gd name="connsiteY30" fmla="*/ 72572 h 537029"/>
              <a:gd name="connsiteX31" fmla="*/ 2598057 w 12554857"/>
              <a:gd name="connsiteY31" fmla="*/ 58057 h 537029"/>
              <a:gd name="connsiteX32" fmla="*/ 2714171 w 12554857"/>
              <a:gd name="connsiteY32" fmla="*/ 101600 h 537029"/>
              <a:gd name="connsiteX33" fmla="*/ 2757714 w 12554857"/>
              <a:gd name="connsiteY33" fmla="*/ 145143 h 537029"/>
              <a:gd name="connsiteX34" fmla="*/ 2830286 w 12554857"/>
              <a:gd name="connsiteY34" fmla="*/ 72572 h 537029"/>
              <a:gd name="connsiteX35" fmla="*/ 2902857 w 12554857"/>
              <a:gd name="connsiteY35" fmla="*/ 87086 h 537029"/>
              <a:gd name="connsiteX36" fmla="*/ 2989943 w 12554857"/>
              <a:gd name="connsiteY36" fmla="*/ 130629 h 537029"/>
              <a:gd name="connsiteX37" fmla="*/ 3062514 w 12554857"/>
              <a:gd name="connsiteY37" fmla="*/ 116115 h 537029"/>
              <a:gd name="connsiteX38" fmla="*/ 3120571 w 12554857"/>
              <a:gd name="connsiteY38" fmla="*/ 87086 h 537029"/>
              <a:gd name="connsiteX39" fmla="*/ 3352800 w 12554857"/>
              <a:gd name="connsiteY39" fmla="*/ 87086 h 537029"/>
              <a:gd name="connsiteX40" fmla="*/ 3512457 w 12554857"/>
              <a:gd name="connsiteY40" fmla="*/ 87086 h 537029"/>
              <a:gd name="connsiteX41" fmla="*/ 3556000 w 12554857"/>
              <a:gd name="connsiteY41" fmla="*/ 116115 h 537029"/>
              <a:gd name="connsiteX42" fmla="*/ 3599543 w 12554857"/>
              <a:gd name="connsiteY42" fmla="*/ 130629 h 537029"/>
              <a:gd name="connsiteX43" fmla="*/ 3730171 w 12554857"/>
              <a:gd name="connsiteY43" fmla="*/ 58057 h 537029"/>
              <a:gd name="connsiteX44" fmla="*/ 3788228 w 12554857"/>
              <a:gd name="connsiteY44" fmla="*/ 72572 h 537029"/>
              <a:gd name="connsiteX45" fmla="*/ 3889828 w 12554857"/>
              <a:gd name="connsiteY45" fmla="*/ 130629 h 537029"/>
              <a:gd name="connsiteX46" fmla="*/ 3933371 w 12554857"/>
              <a:gd name="connsiteY46" fmla="*/ 174172 h 537029"/>
              <a:gd name="connsiteX47" fmla="*/ 3991428 w 12554857"/>
              <a:gd name="connsiteY47" fmla="*/ 130629 h 537029"/>
              <a:gd name="connsiteX48" fmla="*/ 4034971 w 12554857"/>
              <a:gd name="connsiteY48" fmla="*/ 101600 h 537029"/>
              <a:gd name="connsiteX49" fmla="*/ 4093028 w 12554857"/>
              <a:gd name="connsiteY49" fmla="*/ 116115 h 537029"/>
              <a:gd name="connsiteX50" fmla="*/ 4209143 w 12554857"/>
              <a:gd name="connsiteY50" fmla="*/ 116115 h 537029"/>
              <a:gd name="connsiteX51" fmla="*/ 4296228 w 12554857"/>
              <a:gd name="connsiteY51" fmla="*/ 87086 h 537029"/>
              <a:gd name="connsiteX52" fmla="*/ 4339771 w 12554857"/>
              <a:gd name="connsiteY52" fmla="*/ 58057 h 537029"/>
              <a:gd name="connsiteX53" fmla="*/ 4470400 w 12554857"/>
              <a:gd name="connsiteY53" fmla="*/ 87086 h 537029"/>
              <a:gd name="connsiteX54" fmla="*/ 4484914 w 12554857"/>
              <a:gd name="connsiteY54" fmla="*/ 29029 h 537029"/>
              <a:gd name="connsiteX55" fmla="*/ 4586514 w 12554857"/>
              <a:gd name="connsiteY55" fmla="*/ 58057 h 537029"/>
              <a:gd name="connsiteX56" fmla="*/ 4615543 w 12554857"/>
              <a:gd name="connsiteY56" fmla="*/ 101600 h 537029"/>
              <a:gd name="connsiteX57" fmla="*/ 4659086 w 12554857"/>
              <a:gd name="connsiteY57" fmla="*/ 130629 h 537029"/>
              <a:gd name="connsiteX58" fmla="*/ 4673600 w 12554857"/>
              <a:gd name="connsiteY58" fmla="*/ 174172 h 537029"/>
              <a:gd name="connsiteX59" fmla="*/ 4746171 w 12554857"/>
              <a:gd name="connsiteY59" fmla="*/ 159657 h 537029"/>
              <a:gd name="connsiteX60" fmla="*/ 4833257 w 12554857"/>
              <a:gd name="connsiteY60" fmla="*/ 130629 h 537029"/>
              <a:gd name="connsiteX61" fmla="*/ 4978400 w 12554857"/>
              <a:gd name="connsiteY61" fmla="*/ 145143 h 537029"/>
              <a:gd name="connsiteX62" fmla="*/ 5021943 w 12554857"/>
              <a:gd name="connsiteY62" fmla="*/ 174172 h 537029"/>
              <a:gd name="connsiteX63" fmla="*/ 5268686 w 12554857"/>
              <a:gd name="connsiteY63" fmla="*/ 159657 h 537029"/>
              <a:gd name="connsiteX64" fmla="*/ 5312228 w 12554857"/>
              <a:gd name="connsiteY64" fmla="*/ 130629 h 537029"/>
              <a:gd name="connsiteX65" fmla="*/ 5442857 w 12554857"/>
              <a:gd name="connsiteY65" fmla="*/ 188686 h 537029"/>
              <a:gd name="connsiteX66" fmla="*/ 5500914 w 12554857"/>
              <a:gd name="connsiteY66" fmla="*/ 174172 h 537029"/>
              <a:gd name="connsiteX67" fmla="*/ 5529943 w 12554857"/>
              <a:gd name="connsiteY67" fmla="*/ 130629 h 537029"/>
              <a:gd name="connsiteX68" fmla="*/ 5631543 w 12554857"/>
              <a:gd name="connsiteY68" fmla="*/ 116115 h 537029"/>
              <a:gd name="connsiteX69" fmla="*/ 5718628 w 12554857"/>
              <a:gd name="connsiteY69" fmla="*/ 130629 h 537029"/>
              <a:gd name="connsiteX70" fmla="*/ 5762171 w 12554857"/>
              <a:gd name="connsiteY70" fmla="*/ 159657 h 537029"/>
              <a:gd name="connsiteX71" fmla="*/ 5878286 w 12554857"/>
              <a:gd name="connsiteY71" fmla="*/ 174172 h 537029"/>
              <a:gd name="connsiteX72" fmla="*/ 6023428 w 12554857"/>
              <a:gd name="connsiteY72" fmla="*/ 159657 h 537029"/>
              <a:gd name="connsiteX73" fmla="*/ 6066971 w 12554857"/>
              <a:gd name="connsiteY73" fmla="*/ 174172 h 537029"/>
              <a:gd name="connsiteX74" fmla="*/ 6197600 w 12554857"/>
              <a:gd name="connsiteY74" fmla="*/ 130629 h 537029"/>
              <a:gd name="connsiteX75" fmla="*/ 6241143 w 12554857"/>
              <a:gd name="connsiteY75" fmla="*/ 116115 h 537029"/>
              <a:gd name="connsiteX76" fmla="*/ 6458857 w 12554857"/>
              <a:gd name="connsiteY76" fmla="*/ 72572 h 537029"/>
              <a:gd name="connsiteX77" fmla="*/ 6531428 w 12554857"/>
              <a:gd name="connsiteY77" fmla="*/ 43543 h 537029"/>
              <a:gd name="connsiteX78" fmla="*/ 6618514 w 12554857"/>
              <a:gd name="connsiteY78" fmla="*/ 0 h 537029"/>
              <a:gd name="connsiteX79" fmla="*/ 6705600 w 12554857"/>
              <a:gd name="connsiteY79" fmla="*/ 58057 h 537029"/>
              <a:gd name="connsiteX80" fmla="*/ 6792686 w 12554857"/>
              <a:gd name="connsiteY80" fmla="*/ 116115 h 537029"/>
              <a:gd name="connsiteX81" fmla="*/ 6836228 w 12554857"/>
              <a:gd name="connsiteY81" fmla="*/ 145143 h 537029"/>
              <a:gd name="connsiteX82" fmla="*/ 6894286 w 12554857"/>
              <a:gd name="connsiteY82" fmla="*/ 130629 h 537029"/>
              <a:gd name="connsiteX83" fmla="*/ 6952343 w 12554857"/>
              <a:gd name="connsiteY83" fmla="*/ 101600 h 537029"/>
              <a:gd name="connsiteX84" fmla="*/ 6995886 w 12554857"/>
              <a:gd name="connsiteY84" fmla="*/ 87086 h 537029"/>
              <a:gd name="connsiteX85" fmla="*/ 7082971 w 12554857"/>
              <a:gd name="connsiteY85" fmla="*/ 101600 h 537029"/>
              <a:gd name="connsiteX86" fmla="*/ 7126514 w 12554857"/>
              <a:gd name="connsiteY86" fmla="*/ 130629 h 537029"/>
              <a:gd name="connsiteX87" fmla="*/ 7184571 w 12554857"/>
              <a:gd name="connsiteY87" fmla="*/ 72572 h 537029"/>
              <a:gd name="connsiteX88" fmla="*/ 7242628 w 12554857"/>
              <a:gd name="connsiteY88" fmla="*/ 58057 h 537029"/>
              <a:gd name="connsiteX89" fmla="*/ 7286171 w 12554857"/>
              <a:gd name="connsiteY89" fmla="*/ 101600 h 537029"/>
              <a:gd name="connsiteX90" fmla="*/ 7315200 w 12554857"/>
              <a:gd name="connsiteY90" fmla="*/ 145143 h 537029"/>
              <a:gd name="connsiteX91" fmla="*/ 7373257 w 12554857"/>
              <a:gd name="connsiteY91" fmla="*/ 116115 h 537029"/>
              <a:gd name="connsiteX92" fmla="*/ 7416800 w 12554857"/>
              <a:gd name="connsiteY92" fmla="*/ 101600 h 537029"/>
              <a:gd name="connsiteX93" fmla="*/ 7503886 w 12554857"/>
              <a:gd name="connsiteY93" fmla="*/ 130629 h 537029"/>
              <a:gd name="connsiteX94" fmla="*/ 7590971 w 12554857"/>
              <a:gd name="connsiteY94" fmla="*/ 159657 h 537029"/>
              <a:gd name="connsiteX95" fmla="*/ 7663543 w 12554857"/>
              <a:gd name="connsiteY95" fmla="*/ 174172 h 537029"/>
              <a:gd name="connsiteX96" fmla="*/ 7707086 w 12554857"/>
              <a:gd name="connsiteY96" fmla="*/ 145143 h 537029"/>
              <a:gd name="connsiteX97" fmla="*/ 7823200 w 12554857"/>
              <a:gd name="connsiteY97" fmla="*/ 203200 h 537029"/>
              <a:gd name="connsiteX98" fmla="*/ 7866743 w 12554857"/>
              <a:gd name="connsiteY98" fmla="*/ 159657 h 537029"/>
              <a:gd name="connsiteX99" fmla="*/ 7924800 w 12554857"/>
              <a:gd name="connsiteY99" fmla="*/ 145143 h 537029"/>
              <a:gd name="connsiteX100" fmla="*/ 7953828 w 12554857"/>
              <a:gd name="connsiteY100" fmla="*/ 188686 h 537029"/>
              <a:gd name="connsiteX101" fmla="*/ 8084457 w 12554857"/>
              <a:gd name="connsiteY101" fmla="*/ 217715 h 537029"/>
              <a:gd name="connsiteX102" fmla="*/ 8128000 w 12554857"/>
              <a:gd name="connsiteY102" fmla="*/ 275772 h 537029"/>
              <a:gd name="connsiteX103" fmla="*/ 8171543 w 12554857"/>
              <a:gd name="connsiteY103" fmla="*/ 246743 h 537029"/>
              <a:gd name="connsiteX104" fmla="*/ 8215086 w 12554857"/>
              <a:gd name="connsiteY104" fmla="*/ 290286 h 537029"/>
              <a:gd name="connsiteX105" fmla="*/ 8229600 w 12554857"/>
              <a:gd name="connsiteY105" fmla="*/ 246743 h 537029"/>
              <a:gd name="connsiteX106" fmla="*/ 8360228 w 12554857"/>
              <a:gd name="connsiteY106" fmla="*/ 130629 h 537029"/>
              <a:gd name="connsiteX107" fmla="*/ 8403771 w 12554857"/>
              <a:gd name="connsiteY107" fmla="*/ 145143 h 537029"/>
              <a:gd name="connsiteX108" fmla="*/ 8476343 w 12554857"/>
              <a:gd name="connsiteY108" fmla="*/ 232229 h 537029"/>
              <a:gd name="connsiteX109" fmla="*/ 8534400 w 12554857"/>
              <a:gd name="connsiteY109" fmla="*/ 159657 h 537029"/>
              <a:gd name="connsiteX110" fmla="*/ 8563428 w 12554857"/>
              <a:gd name="connsiteY110" fmla="*/ 203200 h 537029"/>
              <a:gd name="connsiteX111" fmla="*/ 8636000 w 12554857"/>
              <a:gd name="connsiteY111" fmla="*/ 145143 h 537029"/>
              <a:gd name="connsiteX112" fmla="*/ 8737600 w 12554857"/>
              <a:gd name="connsiteY112" fmla="*/ 101600 h 537029"/>
              <a:gd name="connsiteX113" fmla="*/ 8911771 w 12554857"/>
              <a:gd name="connsiteY113" fmla="*/ 116115 h 537029"/>
              <a:gd name="connsiteX114" fmla="*/ 8955314 w 12554857"/>
              <a:gd name="connsiteY114" fmla="*/ 159657 h 537029"/>
              <a:gd name="connsiteX115" fmla="*/ 9013371 w 12554857"/>
              <a:gd name="connsiteY115" fmla="*/ 188686 h 537029"/>
              <a:gd name="connsiteX116" fmla="*/ 9100457 w 12554857"/>
              <a:gd name="connsiteY116" fmla="*/ 174172 h 537029"/>
              <a:gd name="connsiteX117" fmla="*/ 9114971 w 12554857"/>
              <a:gd name="connsiteY117" fmla="*/ 116115 h 537029"/>
              <a:gd name="connsiteX118" fmla="*/ 9158514 w 12554857"/>
              <a:gd name="connsiteY118" fmla="*/ 101600 h 537029"/>
              <a:gd name="connsiteX119" fmla="*/ 9390743 w 12554857"/>
              <a:gd name="connsiteY119" fmla="*/ 130629 h 537029"/>
              <a:gd name="connsiteX120" fmla="*/ 9506857 w 12554857"/>
              <a:gd name="connsiteY120" fmla="*/ 101600 h 537029"/>
              <a:gd name="connsiteX121" fmla="*/ 9593943 w 12554857"/>
              <a:gd name="connsiteY121" fmla="*/ 58057 h 537029"/>
              <a:gd name="connsiteX122" fmla="*/ 9666514 w 12554857"/>
              <a:gd name="connsiteY122" fmla="*/ 87086 h 537029"/>
              <a:gd name="connsiteX123" fmla="*/ 9739086 w 12554857"/>
              <a:gd name="connsiteY123" fmla="*/ 130629 h 537029"/>
              <a:gd name="connsiteX124" fmla="*/ 9826171 w 12554857"/>
              <a:gd name="connsiteY124" fmla="*/ 174172 h 537029"/>
              <a:gd name="connsiteX125" fmla="*/ 9869714 w 12554857"/>
              <a:gd name="connsiteY125" fmla="*/ 188686 h 537029"/>
              <a:gd name="connsiteX126" fmla="*/ 9942286 w 12554857"/>
              <a:gd name="connsiteY126" fmla="*/ 174172 h 537029"/>
              <a:gd name="connsiteX127" fmla="*/ 9985828 w 12554857"/>
              <a:gd name="connsiteY127" fmla="*/ 188686 h 537029"/>
              <a:gd name="connsiteX128" fmla="*/ 10058400 w 12554857"/>
              <a:gd name="connsiteY128" fmla="*/ 159657 h 537029"/>
              <a:gd name="connsiteX129" fmla="*/ 10174514 w 12554857"/>
              <a:gd name="connsiteY129" fmla="*/ 43543 h 537029"/>
              <a:gd name="connsiteX130" fmla="*/ 10218057 w 12554857"/>
              <a:gd name="connsiteY130" fmla="*/ 29029 h 537029"/>
              <a:gd name="connsiteX131" fmla="*/ 10464800 w 12554857"/>
              <a:gd name="connsiteY131" fmla="*/ 58057 h 537029"/>
              <a:gd name="connsiteX132" fmla="*/ 10580914 w 12554857"/>
              <a:gd name="connsiteY132" fmla="*/ 72572 h 537029"/>
              <a:gd name="connsiteX133" fmla="*/ 10638971 w 12554857"/>
              <a:gd name="connsiteY133" fmla="*/ 116115 h 537029"/>
              <a:gd name="connsiteX134" fmla="*/ 10682514 w 12554857"/>
              <a:gd name="connsiteY134" fmla="*/ 72572 h 537029"/>
              <a:gd name="connsiteX135" fmla="*/ 10769600 w 12554857"/>
              <a:gd name="connsiteY135" fmla="*/ 29029 h 537029"/>
              <a:gd name="connsiteX136" fmla="*/ 10827657 w 12554857"/>
              <a:gd name="connsiteY136" fmla="*/ 58057 h 537029"/>
              <a:gd name="connsiteX137" fmla="*/ 10958286 w 12554857"/>
              <a:gd name="connsiteY137" fmla="*/ 130629 h 537029"/>
              <a:gd name="connsiteX138" fmla="*/ 11030857 w 12554857"/>
              <a:gd name="connsiteY138" fmla="*/ 116115 h 537029"/>
              <a:gd name="connsiteX139" fmla="*/ 11074400 w 12554857"/>
              <a:gd name="connsiteY139" fmla="*/ 101600 h 537029"/>
              <a:gd name="connsiteX140" fmla="*/ 11176000 w 12554857"/>
              <a:gd name="connsiteY140" fmla="*/ 130629 h 537029"/>
              <a:gd name="connsiteX141" fmla="*/ 11205028 w 12554857"/>
              <a:gd name="connsiteY141" fmla="*/ 174172 h 537029"/>
              <a:gd name="connsiteX142" fmla="*/ 11393714 w 12554857"/>
              <a:gd name="connsiteY142" fmla="*/ 116115 h 537029"/>
              <a:gd name="connsiteX143" fmla="*/ 11437257 w 12554857"/>
              <a:gd name="connsiteY143" fmla="*/ 130629 h 537029"/>
              <a:gd name="connsiteX144" fmla="*/ 11480800 w 12554857"/>
              <a:gd name="connsiteY144" fmla="*/ 159657 h 537029"/>
              <a:gd name="connsiteX145" fmla="*/ 11524343 w 12554857"/>
              <a:gd name="connsiteY145" fmla="*/ 145143 h 537029"/>
              <a:gd name="connsiteX146" fmla="*/ 11582400 w 12554857"/>
              <a:gd name="connsiteY146" fmla="*/ 159657 h 537029"/>
              <a:gd name="connsiteX147" fmla="*/ 11654971 w 12554857"/>
              <a:gd name="connsiteY147" fmla="*/ 188686 h 537029"/>
              <a:gd name="connsiteX148" fmla="*/ 11698514 w 12554857"/>
              <a:gd name="connsiteY148" fmla="*/ 203200 h 537029"/>
              <a:gd name="connsiteX149" fmla="*/ 11814628 w 12554857"/>
              <a:gd name="connsiteY149" fmla="*/ 72572 h 537029"/>
              <a:gd name="connsiteX150" fmla="*/ 11858171 w 12554857"/>
              <a:gd name="connsiteY150" fmla="*/ 58057 h 537029"/>
              <a:gd name="connsiteX151" fmla="*/ 11901714 w 12554857"/>
              <a:gd name="connsiteY151" fmla="*/ 72572 h 537029"/>
              <a:gd name="connsiteX152" fmla="*/ 11959771 w 12554857"/>
              <a:gd name="connsiteY152" fmla="*/ 58057 h 537029"/>
              <a:gd name="connsiteX153" fmla="*/ 12003314 w 12554857"/>
              <a:gd name="connsiteY153" fmla="*/ 87086 h 537029"/>
              <a:gd name="connsiteX154" fmla="*/ 12061371 w 12554857"/>
              <a:gd name="connsiteY154" fmla="*/ 174172 h 537029"/>
              <a:gd name="connsiteX155" fmla="*/ 12104914 w 12554857"/>
              <a:gd name="connsiteY155" fmla="*/ 217715 h 537029"/>
              <a:gd name="connsiteX156" fmla="*/ 12119428 w 12554857"/>
              <a:gd name="connsiteY156" fmla="*/ 145143 h 537029"/>
              <a:gd name="connsiteX157" fmla="*/ 12192000 w 12554857"/>
              <a:gd name="connsiteY157" fmla="*/ 159657 h 537029"/>
              <a:gd name="connsiteX158" fmla="*/ 12235543 w 12554857"/>
              <a:gd name="connsiteY158" fmla="*/ 72572 h 537029"/>
              <a:gd name="connsiteX159" fmla="*/ 12322628 w 12554857"/>
              <a:gd name="connsiteY159" fmla="*/ 72572 h 537029"/>
              <a:gd name="connsiteX160" fmla="*/ 12453257 w 12554857"/>
              <a:gd name="connsiteY160" fmla="*/ 87086 h 537029"/>
              <a:gd name="connsiteX161" fmla="*/ 12496800 w 12554857"/>
              <a:gd name="connsiteY161" fmla="*/ 116115 h 537029"/>
              <a:gd name="connsiteX162" fmla="*/ 12525828 w 12554857"/>
              <a:gd name="connsiteY162" fmla="*/ 203200 h 537029"/>
              <a:gd name="connsiteX163" fmla="*/ 12554857 w 12554857"/>
              <a:gd name="connsiteY163" fmla="*/ 246743 h 537029"/>
              <a:gd name="connsiteX164" fmla="*/ 12540343 w 12554857"/>
              <a:gd name="connsiteY164" fmla="*/ 304800 h 537029"/>
              <a:gd name="connsiteX165" fmla="*/ 12453257 w 12554857"/>
              <a:gd name="connsiteY165" fmla="*/ 333829 h 537029"/>
              <a:gd name="connsiteX166" fmla="*/ 12409714 w 12554857"/>
              <a:gd name="connsiteY166" fmla="*/ 362857 h 537029"/>
              <a:gd name="connsiteX167" fmla="*/ 12322628 w 12554857"/>
              <a:gd name="connsiteY167" fmla="*/ 377372 h 537029"/>
              <a:gd name="connsiteX168" fmla="*/ 11785600 w 12554857"/>
              <a:gd name="connsiteY168" fmla="*/ 391886 h 537029"/>
              <a:gd name="connsiteX169" fmla="*/ 11190514 w 12554857"/>
              <a:gd name="connsiteY169" fmla="*/ 420915 h 537029"/>
              <a:gd name="connsiteX170" fmla="*/ 11088914 w 12554857"/>
              <a:gd name="connsiteY170" fmla="*/ 435429 h 537029"/>
              <a:gd name="connsiteX171" fmla="*/ 10464800 w 12554857"/>
              <a:gd name="connsiteY171" fmla="*/ 464457 h 537029"/>
              <a:gd name="connsiteX172" fmla="*/ 10276114 w 12554857"/>
              <a:gd name="connsiteY172" fmla="*/ 493486 h 537029"/>
              <a:gd name="connsiteX173" fmla="*/ 10101943 w 12554857"/>
              <a:gd name="connsiteY173" fmla="*/ 508000 h 537029"/>
              <a:gd name="connsiteX174" fmla="*/ 9506857 w 12554857"/>
              <a:gd name="connsiteY174" fmla="*/ 537029 h 537029"/>
              <a:gd name="connsiteX175" fmla="*/ 7765143 w 12554857"/>
              <a:gd name="connsiteY175" fmla="*/ 537029 h 537029"/>
              <a:gd name="connsiteX176" fmla="*/ 2061028 w 12554857"/>
              <a:gd name="connsiteY176" fmla="*/ 522515 h 537029"/>
              <a:gd name="connsiteX177" fmla="*/ 1625600 w 12554857"/>
              <a:gd name="connsiteY177" fmla="*/ 493486 h 537029"/>
              <a:gd name="connsiteX178" fmla="*/ 1422400 w 12554857"/>
              <a:gd name="connsiteY178" fmla="*/ 478972 h 537029"/>
              <a:gd name="connsiteX179" fmla="*/ 391886 w 12554857"/>
              <a:gd name="connsiteY179" fmla="*/ 464457 h 537029"/>
              <a:gd name="connsiteX180" fmla="*/ 275771 w 12554857"/>
              <a:gd name="connsiteY180" fmla="*/ 449943 h 537029"/>
              <a:gd name="connsiteX181" fmla="*/ 43543 w 12554857"/>
              <a:gd name="connsiteY181" fmla="*/ 406400 h 537029"/>
              <a:gd name="connsiteX182" fmla="*/ 14514 w 12554857"/>
              <a:gd name="connsiteY182" fmla="*/ 362857 h 537029"/>
              <a:gd name="connsiteX183" fmla="*/ 0 w 12554857"/>
              <a:gd name="connsiteY183" fmla="*/ 319315 h 537029"/>
              <a:gd name="connsiteX184" fmla="*/ 261257 w 12554857"/>
              <a:gd name="connsiteY184" fmla="*/ 232229 h 537029"/>
              <a:gd name="connsiteX185" fmla="*/ 217714 w 12554857"/>
              <a:gd name="connsiteY185" fmla="*/ 217715 h 53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4857" h="537029">
                <a:moveTo>
                  <a:pt x="217714" y="217715"/>
                </a:moveTo>
                <a:cubicBezTo>
                  <a:pt x="224971" y="200782"/>
                  <a:pt x="248555" y="130629"/>
                  <a:pt x="304800" y="130629"/>
                </a:cubicBezTo>
                <a:cubicBezTo>
                  <a:pt x="320099" y="130629"/>
                  <a:pt x="333829" y="140305"/>
                  <a:pt x="348343" y="145143"/>
                </a:cubicBezTo>
                <a:cubicBezTo>
                  <a:pt x="473132" y="61952"/>
                  <a:pt x="315245" y="161692"/>
                  <a:pt x="435428" y="101600"/>
                </a:cubicBezTo>
                <a:cubicBezTo>
                  <a:pt x="451030" y="93799"/>
                  <a:pt x="464457" y="82248"/>
                  <a:pt x="478971" y="72572"/>
                </a:cubicBezTo>
                <a:cubicBezTo>
                  <a:pt x="508000" y="77410"/>
                  <a:pt x="538138" y="77780"/>
                  <a:pt x="566057" y="87086"/>
                </a:cubicBezTo>
                <a:cubicBezTo>
                  <a:pt x="582606" y="92602"/>
                  <a:pt x="593566" y="109243"/>
                  <a:pt x="609600" y="116115"/>
                </a:cubicBezTo>
                <a:cubicBezTo>
                  <a:pt x="627935" y="123973"/>
                  <a:pt x="648305" y="125791"/>
                  <a:pt x="667657" y="130629"/>
                </a:cubicBezTo>
                <a:cubicBezTo>
                  <a:pt x="696686" y="125791"/>
                  <a:pt x="726555" y="124571"/>
                  <a:pt x="754743" y="116115"/>
                </a:cubicBezTo>
                <a:cubicBezTo>
                  <a:pt x="775467" y="109898"/>
                  <a:pt x="792913" y="95609"/>
                  <a:pt x="812800" y="87086"/>
                </a:cubicBezTo>
                <a:cubicBezTo>
                  <a:pt x="826862" y="81059"/>
                  <a:pt x="841829" y="77410"/>
                  <a:pt x="856343" y="72572"/>
                </a:cubicBezTo>
                <a:cubicBezTo>
                  <a:pt x="966832" y="109401"/>
                  <a:pt x="913424" y="95599"/>
                  <a:pt x="1016000" y="116115"/>
                </a:cubicBezTo>
                <a:cubicBezTo>
                  <a:pt x="1140802" y="199314"/>
                  <a:pt x="982890" y="99558"/>
                  <a:pt x="1103086" y="159657"/>
                </a:cubicBezTo>
                <a:cubicBezTo>
                  <a:pt x="1118688" y="167458"/>
                  <a:pt x="1132114" y="179010"/>
                  <a:pt x="1146628" y="188686"/>
                </a:cubicBezTo>
                <a:cubicBezTo>
                  <a:pt x="1158433" y="153274"/>
                  <a:pt x="1162036" y="129735"/>
                  <a:pt x="1190171" y="101600"/>
                </a:cubicBezTo>
                <a:cubicBezTo>
                  <a:pt x="1202506" y="89265"/>
                  <a:pt x="1219200" y="82248"/>
                  <a:pt x="1233714" y="72572"/>
                </a:cubicBezTo>
                <a:cubicBezTo>
                  <a:pt x="1357253" y="154931"/>
                  <a:pt x="1286125" y="126776"/>
                  <a:pt x="1451428" y="145143"/>
                </a:cubicBezTo>
                <a:cubicBezTo>
                  <a:pt x="1472848" y="113014"/>
                  <a:pt x="1490474" y="80408"/>
                  <a:pt x="1524000" y="58057"/>
                </a:cubicBezTo>
                <a:cubicBezTo>
                  <a:pt x="1536730" y="49570"/>
                  <a:pt x="1553029" y="48381"/>
                  <a:pt x="1567543" y="43543"/>
                </a:cubicBezTo>
                <a:cubicBezTo>
                  <a:pt x="1579053" y="60808"/>
                  <a:pt x="1618248" y="125770"/>
                  <a:pt x="1640114" y="130629"/>
                </a:cubicBezTo>
                <a:cubicBezTo>
                  <a:pt x="1668842" y="137013"/>
                  <a:pt x="1698113" y="120590"/>
                  <a:pt x="1727200" y="116115"/>
                </a:cubicBezTo>
                <a:cubicBezTo>
                  <a:pt x="1862410" y="95313"/>
                  <a:pt x="1787528" y="111918"/>
                  <a:pt x="1886857" y="87086"/>
                </a:cubicBezTo>
                <a:cubicBezTo>
                  <a:pt x="1915886" y="91924"/>
                  <a:pt x="1945215" y="95216"/>
                  <a:pt x="1973943" y="101600"/>
                </a:cubicBezTo>
                <a:cubicBezTo>
                  <a:pt x="1988878" y="104919"/>
                  <a:pt x="2002186" y="116115"/>
                  <a:pt x="2017486" y="116115"/>
                </a:cubicBezTo>
                <a:cubicBezTo>
                  <a:pt x="2032785" y="116115"/>
                  <a:pt x="2046514" y="106438"/>
                  <a:pt x="2061028" y="101600"/>
                </a:cubicBezTo>
                <a:cubicBezTo>
                  <a:pt x="2080381" y="111276"/>
                  <a:pt x="2100300" y="119894"/>
                  <a:pt x="2119086" y="130629"/>
                </a:cubicBezTo>
                <a:cubicBezTo>
                  <a:pt x="2134231" y="139283"/>
                  <a:pt x="2145184" y="159657"/>
                  <a:pt x="2162628" y="159657"/>
                </a:cubicBezTo>
                <a:cubicBezTo>
                  <a:pt x="2211967" y="159657"/>
                  <a:pt x="2259277" y="139721"/>
                  <a:pt x="2307771" y="130629"/>
                </a:cubicBezTo>
                <a:cubicBezTo>
                  <a:pt x="2450111" y="103941"/>
                  <a:pt x="2342191" y="129282"/>
                  <a:pt x="2452914" y="101600"/>
                </a:cubicBezTo>
                <a:cubicBezTo>
                  <a:pt x="2481943" y="106438"/>
                  <a:pt x="2511703" y="124200"/>
                  <a:pt x="2540000" y="116115"/>
                </a:cubicBezTo>
                <a:cubicBezTo>
                  <a:pt x="2554711" y="111912"/>
                  <a:pt x="2543696" y="83390"/>
                  <a:pt x="2554514" y="72572"/>
                </a:cubicBezTo>
                <a:cubicBezTo>
                  <a:pt x="2565332" y="61754"/>
                  <a:pt x="2583543" y="62895"/>
                  <a:pt x="2598057" y="58057"/>
                </a:cubicBezTo>
                <a:cubicBezTo>
                  <a:pt x="2644806" y="69745"/>
                  <a:pt x="2673304" y="72410"/>
                  <a:pt x="2714171" y="101600"/>
                </a:cubicBezTo>
                <a:cubicBezTo>
                  <a:pt x="2730874" y="113531"/>
                  <a:pt x="2743200" y="130629"/>
                  <a:pt x="2757714" y="145143"/>
                </a:cubicBezTo>
                <a:cubicBezTo>
                  <a:pt x="2773548" y="121392"/>
                  <a:pt x="2795099" y="76970"/>
                  <a:pt x="2830286" y="72572"/>
                </a:cubicBezTo>
                <a:cubicBezTo>
                  <a:pt x="2854765" y="69512"/>
                  <a:pt x="2878667" y="82248"/>
                  <a:pt x="2902857" y="87086"/>
                </a:cubicBezTo>
                <a:cubicBezTo>
                  <a:pt x="2924873" y="101764"/>
                  <a:pt x="2959896" y="130629"/>
                  <a:pt x="2989943" y="130629"/>
                </a:cubicBezTo>
                <a:cubicBezTo>
                  <a:pt x="3014612" y="130629"/>
                  <a:pt x="3038324" y="120953"/>
                  <a:pt x="3062514" y="116115"/>
                </a:cubicBezTo>
                <a:cubicBezTo>
                  <a:pt x="3081866" y="106439"/>
                  <a:pt x="3099847" y="93303"/>
                  <a:pt x="3120571" y="87086"/>
                </a:cubicBezTo>
                <a:cubicBezTo>
                  <a:pt x="3210600" y="60077"/>
                  <a:pt x="3252751" y="77081"/>
                  <a:pt x="3352800" y="87086"/>
                </a:cubicBezTo>
                <a:cubicBezTo>
                  <a:pt x="3423829" y="69329"/>
                  <a:pt x="3425781" y="61083"/>
                  <a:pt x="3512457" y="87086"/>
                </a:cubicBezTo>
                <a:cubicBezTo>
                  <a:pt x="3529165" y="92099"/>
                  <a:pt x="3540398" y="108314"/>
                  <a:pt x="3556000" y="116115"/>
                </a:cubicBezTo>
                <a:cubicBezTo>
                  <a:pt x="3569684" y="122957"/>
                  <a:pt x="3585029" y="125791"/>
                  <a:pt x="3599543" y="130629"/>
                </a:cubicBezTo>
                <a:cubicBezTo>
                  <a:pt x="3699358" y="64085"/>
                  <a:pt x="3653531" y="83605"/>
                  <a:pt x="3730171" y="58057"/>
                </a:cubicBezTo>
                <a:cubicBezTo>
                  <a:pt x="3749523" y="62895"/>
                  <a:pt x="3769550" y="65568"/>
                  <a:pt x="3788228" y="72572"/>
                </a:cubicBezTo>
                <a:cubicBezTo>
                  <a:pt x="3814046" y="82254"/>
                  <a:pt x="3866855" y="111484"/>
                  <a:pt x="3889828" y="130629"/>
                </a:cubicBezTo>
                <a:cubicBezTo>
                  <a:pt x="3905597" y="143770"/>
                  <a:pt x="3918857" y="159658"/>
                  <a:pt x="3933371" y="174172"/>
                </a:cubicBezTo>
                <a:cubicBezTo>
                  <a:pt x="3952723" y="159658"/>
                  <a:pt x="3971743" y="144689"/>
                  <a:pt x="3991428" y="130629"/>
                </a:cubicBezTo>
                <a:cubicBezTo>
                  <a:pt x="4005623" y="120490"/>
                  <a:pt x="4017702" y="104067"/>
                  <a:pt x="4034971" y="101600"/>
                </a:cubicBezTo>
                <a:cubicBezTo>
                  <a:pt x="4054719" y="98779"/>
                  <a:pt x="4073676" y="111277"/>
                  <a:pt x="4093028" y="116115"/>
                </a:cubicBezTo>
                <a:cubicBezTo>
                  <a:pt x="4160346" y="160993"/>
                  <a:pt x="4117243" y="149533"/>
                  <a:pt x="4209143" y="116115"/>
                </a:cubicBezTo>
                <a:cubicBezTo>
                  <a:pt x="4237899" y="105658"/>
                  <a:pt x="4296228" y="87086"/>
                  <a:pt x="4296228" y="87086"/>
                </a:cubicBezTo>
                <a:cubicBezTo>
                  <a:pt x="4310742" y="77410"/>
                  <a:pt x="4322434" y="59983"/>
                  <a:pt x="4339771" y="58057"/>
                </a:cubicBezTo>
                <a:cubicBezTo>
                  <a:pt x="4378085" y="53800"/>
                  <a:pt x="4432139" y="74333"/>
                  <a:pt x="4470400" y="87086"/>
                </a:cubicBezTo>
                <a:cubicBezTo>
                  <a:pt x="4475238" y="67734"/>
                  <a:pt x="4472453" y="44606"/>
                  <a:pt x="4484914" y="29029"/>
                </a:cubicBezTo>
                <a:cubicBezTo>
                  <a:pt x="4520930" y="-15991"/>
                  <a:pt x="4564403" y="41474"/>
                  <a:pt x="4586514" y="58057"/>
                </a:cubicBezTo>
                <a:cubicBezTo>
                  <a:pt x="4596190" y="72571"/>
                  <a:pt x="4603208" y="89265"/>
                  <a:pt x="4615543" y="101600"/>
                </a:cubicBezTo>
                <a:cubicBezTo>
                  <a:pt x="4627878" y="113935"/>
                  <a:pt x="4648189" y="117007"/>
                  <a:pt x="4659086" y="130629"/>
                </a:cubicBezTo>
                <a:cubicBezTo>
                  <a:pt x="4668643" y="142576"/>
                  <a:pt x="4668762" y="159658"/>
                  <a:pt x="4673600" y="174172"/>
                </a:cubicBezTo>
                <a:cubicBezTo>
                  <a:pt x="4697790" y="169334"/>
                  <a:pt x="4722371" y="166148"/>
                  <a:pt x="4746171" y="159657"/>
                </a:cubicBezTo>
                <a:cubicBezTo>
                  <a:pt x="4775692" y="151606"/>
                  <a:pt x="4833257" y="130629"/>
                  <a:pt x="4833257" y="130629"/>
                </a:cubicBezTo>
                <a:cubicBezTo>
                  <a:pt x="4881638" y="135467"/>
                  <a:pt x="4931023" y="134210"/>
                  <a:pt x="4978400" y="145143"/>
                </a:cubicBezTo>
                <a:cubicBezTo>
                  <a:pt x="4995397" y="149065"/>
                  <a:pt x="5004521" y="173301"/>
                  <a:pt x="5021943" y="174172"/>
                </a:cubicBezTo>
                <a:lnTo>
                  <a:pt x="5268686" y="159657"/>
                </a:lnTo>
                <a:cubicBezTo>
                  <a:pt x="5283200" y="149981"/>
                  <a:pt x="5294891" y="132555"/>
                  <a:pt x="5312228" y="130629"/>
                </a:cubicBezTo>
                <a:cubicBezTo>
                  <a:pt x="5392728" y="121685"/>
                  <a:pt x="5397220" y="143049"/>
                  <a:pt x="5442857" y="188686"/>
                </a:cubicBezTo>
                <a:cubicBezTo>
                  <a:pt x="5462209" y="183848"/>
                  <a:pt x="5484316" y="185237"/>
                  <a:pt x="5500914" y="174172"/>
                </a:cubicBezTo>
                <a:cubicBezTo>
                  <a:pt x="5515428" y="164496"/>
                  <a:pt x="5514002" y="137714"/>
                  <a:pt x="5529943" y="130629"/>
                </a:cubicBezTo>
                <a:cubicBezTo>
                  <a:pt x="5561205" y="116735"/>
                  <a:pt x="5597676" y="120953"/>
                  <a:pt x="5631543" y="116115"/>
                </a:cubicBezTo>
                <a:cubicBezTo>
                  <a:pt x="5660571" y="120953"/>
                  <a:pt x="5690709" y="121323"/>
                  <a:pt x="5718628" y="130629"/>
                </a:cubicBezTo>
                <a:cubicBezTo>
                  <a:pt x="5735177" y="136145"/>
                  <a:pt x="5745342" y="155067"/>
                  <a:pt x="5762171" y="159657"/>
                </a:cubicBezTo>
                <a:cubicBezTo>
                  <a:pt x="5799803" y="169920"/>
                  <a:pt x="5839581" y="169334"/>
                  <a:pt x="5878286" y="174172"/>
                </a:cubicBezTo>
                <a:cubicBezTo>
                  <a:pt x="5976529" y="141424"/>
                  <a:pt x="5940749" y="136034"/>
                  <a:pt x="6023428" y="159657"/>
                </a:cubicBezTo>
                <a:cubicBezTo>
                  <a:pt x="6038139" y="163860"/>
                  <a:pt x="6052457" y="169334"/>
                  <a:pt x="6066971" y="174172"/>
                </a:cubicBezTo>
                <a:cubicBezTo>
                  <a:pt x="6163543" y="125885"/>
                  <a:pt x="6085055" y="158764"/>
                  <a:pt x="6197600" y="130629"/>
                </a:cubicBezTo>
                <a:cubicBezTo>
                  <a:pt x="6212443" y="126918"/>
                  <a:pt x="6226208" y="119434"/>
                  <a:pt x="6241143" y="116115"/>
                </a:cubicBezTo>
                <a:cubicBezTo>
                  <a:pt x="6313389" y="100060"/>
                  <a:pt x="6458857" y="72572"/>
                  <a:pt x="6458857" y="72572"/>
                </a:cubicBezTo>
                <a:cubicBezTo>
                  <a:pt x="6483047" y="62896"/>
                  <a:pt x="6508125" y="55195"/>
                  <a:pt x="6531428" y="43543"/>
                </a:cubicBezTo>
                <a:cubicBezTo>
                  <a:pt x="6643974" y="-12730"/>
                  <a:pt x="6509067" y="36484"/>
                  <a:pt x="6618514" y="0"/>
                </a:cubicBezTo>
                <a:cubicBezTo>
                  <a:pt x="6701788" y="27759"/>
                  <a:pt x="6624059" y="-5363"/>
                  <a:pt x="6705600" y="58057"/>
                </a:cubicBezTo>
                <a:cubicBezTo>
                  <a:pt x="6733139" y="79476"/>
                  <a:pt x="6763657" y="96762"/>
                  <a:pt x="6792686" y="116115"/>
                </a:cubicBezTo>
                <a:lnTo>
                  <a:pt x="6836228" y="145143"/>
                </a:lnTo>
                <a:cubicBezTo>
                  <a:pt x="6855581" y="140305"/>
                  <a:pt x="6875608" y="137633"/>
                  <a:pt x="6894286" y="130629"/>
                </a:cubicBezTo>
                <a:cubicBezTo>
                  <a:pt x="6914545" y="123032"/>
                  <a:pt x="6932456" y="110123"/>
                  <a:pt x="6952343" y="101600"/>
                </a:cubicBezTo>
                <a:cubicBezTo>
                  <a:pt x="6966405" y="95573"/>
                  <a:pt x="6981372" y="91924"/>
                  <a:pt x="6995886" y="87086"/>
                </a:cubicBezTo>
                <a:cubicBezTo>
                  <a:pt x="7024914" y="91924"/>
                  <a:pt x="7055052" y="92294"/>
                  <a:pt x="7082971" y="101600"/>
                </a:cubicBezTo>
                <a:cubicBezTo>
                  <a:pt x="7099520" y="107116"/>
                  <a:pt x="7109741" y="135421"/>
                  <a:pt x="7126514" y="130629"/>
                </a:cubicBezTo>
                <a:cubicBezTo>
                  <a:pt x="7152829" y="123110"/>
                  <a:pt x="7161363" y="87077"/>
                  <a:pt x="7184571" y="72572"/>
                </a:cubicBezTo>
                <a:cubicBezTo>
                  <a:pt x="7201487" y="62000"/>
                  <a:pt x="7223276" y="62895"/>
                  <a:pt x="7242628" y="58057"/>
                </a:cubicBezTo>
                <a:cubicBezTo>
                  <a:pt x="7257142" y="72571"/>
                  <a:pt x="7273030" y="85831"/>
                  <a:pt x="7286171" y="101600"/>
                </a:cubicBezTo>
                <a:cubicBezTo>
                  <a:pt x="7297338" y="115001"/>
                  <a:pt x="7297993" y="142275"/>
                  <a:pt x="7315200" y="145143"/>
                </a:cubicBezTo>
                <a:cubicBezTo>
                  <a:pt x="7336542" y="148700"/>
                  <a:pt x="7353370" y="124638"/>
                  <a:pt x="7373257" y="116115"/>
                </a:cubicBezTo>
                <a:cubicBezTo>
                  <a:pt x="7387319" y="110088"/>
                  <a:pt x="7402286" y="106438"/>
                  <a:pt x="7416800" y="101600"/>
                </a:cubicBezTo>
                <a:cubicBezTo>
                  <a:pt x="7445829" y="111276"/>
                  <a:pt x="7477938" y="114411"/>
                  <a:pt x="7503886" y="130629"/>
                </a:cubicBezTo>
                <a:cubicBezTo>
                  <a:pt x="7584072" y="180746"/>
                  <a:pt x="7470142" y="189866"/>
                  <a:pt x="7590971" y="159657"/>
                </a:cubicBezTo>
                <a:cubicBezTo>
                  <a:pt x="7615162" y="164495"/>
                  <a:pt x="7639064" y="177232"/>
                  <a:pt x="7663543" y="174172"/>
                </a:cubicBezTo>
                <a:cubicBezTo>
                  <a:pt x="7680852" y="172008"/>
                  <a:pt x="7689923" y="142023"/>
                  <a:pt x="7707086" y="145143"/>
                </a:cubicBezTo>
                <a:cubicBezTo>
                  <a:pt x="7749661" y="152884"/>
                  <a:pt x="7784495" y="183848"/>
                  <a:pt x="7823200" y="203200"/>
                </a:cubicBezTo>
                <a:cubicBezTo>
                  <a:pt x="7837714" y="188686"/>
                  <a:pt x="7855357" y="176736"/>
                  <a:pt x="7866743" y="159657"/>
                </a:cubicBezTo>
                <a:cubicBezTo>
                  <a:pt x="7900641" y="108811"/>
                  <a:pt x="7852716" y="97088"/>
                  <a:pt x="7924800" y="145143"/>
                </a:cubicBezTo>
                <a:cubicBezTo>
                  <a:pt x="7934476" y="159657"/>
                  <a:pt x="7939314" y="179010"/>
                  <a:pt x="7953828" y="188686"/>
                </a:cubicBezTo>
                <a:cubicBezTo>
                  <a:pt x="7962610" y="194540"/>
                  <a:pt x="8082861" y="217396"/>
                  <a:pt x="8084457" y="217715"/>
                </a:cubicBezTo>
                <a:cubicBezTo>
                  <a:pt x="8098971" y="237067"/>
                  <a:pt x="8105051" y="268122"/>
                  <a:pt x="8128000" y="275772"/>
                </a:cubicBezTo>
                <a:cubicBezTo>
                  <a:pt x="8144549" y="281288"/>
                  <a:pt x="8154336" y="243875"/>
                  <a:pt x="8171543" y="246743"/>
                </a:cubicBezTo>
                <a:cubicBezTo>
                  <a:pt x="8191790" y="250117"/>
                  <a:pt x="8200572" y="275772"/>
                  <a:pt x="8215086" y="290286"/>
                </a:cubicBezTo>
                <a:cubicBezTo>
                  <a:pt x="8219924" y="275772"/>
                  <a:pt x="8220207" y="258820"/>
                  <a:pt x="8229600" y="246743"/>
                </a:cubicBezTo>
                <a:cubicBezTo>
                  <a:pt x="8283134" y="177914"/>
                  <a:pt x="8302026" y="169431"/>
                  <a:pt x="8360228" y="130629"/>
                </a:cubicBezTo>
                <a:cubicBezTo>
                  <a:pt x="8374742" y="135467"/>
                  <a:pt x="8391041" y="136656"/>
                  <a:pt x="8403771" y="145143"/>
                </a:cubicBezTo>
                <a:cubicBezTo>
                  <a:pt x="8437297" y="167494"/>
                  <a:pt x="8454923" y="200100"/>
                  <a:pt x="8476343" y="232229"/>
                </a:cubicBezTo>
                <a:cubicBezTo>
                  <a:pt x="8480993" y="213628"/>
                  <a:pt x="8482344" y="138835"/>
                  <a:pt x="8534400" y="159657"/>
                </a:cubicBezTo>
                <a:cubicBezTo>
                  <a:pt x="8550596" y="166135"/>
                  <a:pt x="8553752" y="188686"/>
                  <a:pt x="8563428" y="203200"/>
                </a:cubicBezTo>
                <a:cubicBezTo>
                  <a:pt x="8648197" y="174944"/>
                  <a:pt x="8570348" y="210795"/>
                  <a:pt x="8636000" y="145143"/>
                </a:cubicBezTo>
                <a:cubicBezTo>
                  <a:pt x="8669411" y="111733"/>
                  <a:pt x="8693187" y="112704"/>
                  <a:pt x="8737600" y="101600"/>
                </a:cubicBezTo>
                <a:cubicBezTo>
                  <a:pt x="8795657" y="106438"/>
                  <a:pt x="8855480" y="101104"/>
                  <a:pt x="8911771" y="116115"/>
                </a:cubicBezTo>
                <a:cubicBezTo>
                  <a:pt x="8931604" y="121404"/>
                  <a:pt x="8938611" y="147726"/>
                  <a:pt x="8955314" y="159657"/>
                </a:cubicBezTo>
                <a:cubicBezTo>
                  <a:pt x="8972920" y="172233"/>
                  <a:pt x="8994019" y="179010"/>
                  <a:pt x="9013371" y="188686"/>
                </a:cubicBezTo>
                <a:cubicBezTo>
                  <a:pt x="9042400" y="183848"/>
                  <a:pt x="9076510" y="191277"/>
                  <a:pt x="9100457" y="174172"/>
                </a:cubicBezTo>
                <a:cubicBezTo>
                  <a:pt x="9116689" y="162578"/>
                  <a:pt x="9102510" y="131692"/>
                  <a:pt x="9114971" y="116115"/>
                </a:cubicBezTo>
                <a:cubicBezTo>
                  <a:pt x="9124528" y="104168"/>
                  <a:pt x="9144000" y="106438"/>
                  <a:pt x="9158514" y="101600"/>
                </a:cubicBezTo>
                <a:cubicBezTo>
                  <a:pt x="9245731" y="130674"/>
                  <a:pt x="9253473" y="137166"/>
                  <a:pt x="9390743" y="130629"/>
                </a:cubicBezTo>
                <a:cubicBezTo>
                  <a:pt x="9430594" y="128731"/>
                  <a:pt x="9469285" y="115019"/>
                  <a:pt x="9506857" y="101600"/>
                </a:cubicBezTo>
                <a:cubicBezTo>
                  <a:pt x="9537421" y="90684"/>
                  <a:pt x="9564914" y="72571"/>
                  <a:pt x="9593943" y="58057"/>
                </a:cubicBezTo>
                <a:cubicBezTo>
                  <a:pt x="9618133" y="67733"/>
                  <a:pt x="9646732" y="70130"/>
                  <a:pt x="9666514" y="87086"/>
                </a:cubicBezTo>
                <a:cubicBezTo>
                  <a:pt x="9736821" y="147349"/>
                  <a:pt x="9650667" y="160101"/>
                  <a:pt x="9739086" y="130629"/>
                </a:cubicBezTo>
                <a:cubicBezTo>
                  <a:pt x="9848532" y="167111"/>
                  <a:pt x="9713623" y="117898"/>
                  <a:pt x="9826171" y="174172"/>
                </a:cubicBezTo>
                <a:cubicBezTo>
                  <a:pt x="9839855" y="181014"/>
                  <a:pt x="9855200" y="183848"/>
                  <a:pt x="9869714" y="188686"/>
                </a:cubicBezTo>
                <a:cubicBezTo>
                  <a:pt x="9893905" y="183848"/>
                  <a:pt x="9917616" y="174172"/>
                  <a:pt x="9942286" y="174172"/>
                </a:cubicBezTo>
                <a:cubicBezTo>
                  <a:pt x="9957585" y="174172"/>
                  <a:pt x="9970647" y="190584"/>
                  <a:pt x="9985828" y="188686"/>
                </a:cubicBezTo>
                <a:cubicBezTo>
                  <a:pt x="10011681" y="185454"/>
                  <a:pt x="10034209" y="169333"/>
                  <a:pt x="10058400" y="159657"/>
                </a:cubicBezTo>
                <a:cubicBezTo>
                  <a:pt x="10103650" y="103094"/>
                  <a:pt x="10113475" y="78422"/>
                  <a:pt x="10174514" y="43543"/>
                </a:cubicBezTo>
                <a:cubicBezTo>
                  <a:pt x="10187798" y="35952"/>
                  <a:pt x="10203543" y="33867"/>
                  <a:pt x="10218057" y="29029"/>
                </a:cubicBezTo>
                <a:cubicBezTo>
                  <a:pt x="10334949" y="116699"/>
                  <a:pt x="10230168" y="58057"/>
                  <a:pt x="10464800" y="58057"/>
                </a:cubicBezTo>
                <a:cubicBezTo>
                  <a:pt x="10503806" y="58057"/>
                  <a:pt x="10542209" y="67734"/>
                  <a:pt x="10580914" y="72572"/>
                </a:cubicBezTo>
                <a:cubicBezTo>
                  <a:pt x="10600266" y="87086"/>
                  <a:pt x="10614781" y="116115"/>
                  <a:pt x="10638971" y="116115"/>
                </a:cubicBezTo>
                <a:cubicBezTo>
                  <a:pt x="10659497" y="116115"/>
                  <a:pt x="10666745" y="85713"/>
                  <a:pt x="10682514" y="72572"/>
                </a:cubicBezTo>
                <a:cubicBezTo>
                  <a:pt x="10720030" y="41308"/>
                  <a:pt x="10725959" y="43576"/>
                  <a:pt x="10769600" y="29029"/>
                </a:cubicBezTo>
                <a:cubicBezTo>
                  <a:pt x="10788952" y="38705"/>
                  <a:pt x="10809104" y="46925"/>
                  <a:pt x="10827657" y="58057"/>
                </a:cubicBezTo>
                <a:cubicBezTo>
                  <a:pt x="10952428" y="132920"/>
                  <a:pt x="10870701" y="101435"/>
                  <a:pt x="10958286" y="130629"/>
                </a:cubicBezTo>
                <a:cubicBezTo>
                  <a:pt x="10982476" y="125791"/>
                  <a:pt x="11006924" y="122098"/>
                  <a:pt x="11030857" y="116115"/>
                </a:cubicBezTo>
                <a:cubicBezTo>
                  <a:pt x="11045700" y="112404"/>
                  <a:pt x="11059176" y="100078"/>
                  <a:pt x="11074400" y="101600"/>
                </a:cubicBezTo>
                <a:cubicBezTo>
                  <a:pt x="11109447" y="105105"/>
                  <a:pt x="11142133" y="120953"/>
                  <a:pt x="11176000" y="130629"/>
                </a:cubicBezTo>
                <a:cubicBezTo>
                  <a:pt x="11185676" y="145143"/>
                  <a:pt x="11187644" y="172723"/>
                  <a:pt x="11205028" y="174172"/>
                </a:cubicBezTo>
                <a:cubicBezTo>
                  <a:pt x="11305981" y="182585"/>
                  <a:pt x="11330789" y="158064"/>
                  <a:pt x="11393714" y="116115"/>
                </a:cubicBezTo>
                <a:cubicBezTo>
                  <a:pt x="11408228" y="120953"/>
                  <a:pt x="11423573" y="123787"/>
                  <a:pt x="11437257" y="130629"/>
                </a:cubicBezTo>
                <a:cubicBezTo>
                  <a:pt x="11452859" y="138430"/>
                  <a:pt x="11463593" y="156789"/>
                  <a:pt x="11480800" y="159657"/>
                </a:cubicBezTo>
                <a:cubicBezTo>
                  <a:pt x="11495891" y="162172"/>
                  <a:pt x="11509829" y="149981"/>
                  <a:pt x="11524343" y="145143"/>
                </a:cubicBezTo>
                <a:cubicBezTo>
                  <a:pt x="11543695" y="149981"/>
                  <a:pt x="11563476" y="153349"/>
                  <a:pt x="11582400" y="159657"/>
                </a:cubicBezTo>
                <a:cubicBezTo>
                  <a:pt x="11607117" y="167896"/>
                  <a:pt x="11630576" y="179538"/>
                  <a:pt x="11654971" y="188686"/>
                </a:cubicBezTo>
                <a:cubicBezTo>
                  <a:pt x="11669296" y="194058"/>
                  <a:pt x="11684000" y="198362"/>
                  <a:pt x="11698514" y="203200"/>
                </a:cubicBezTo>
                <a:cubicBezTo>
                  <a:pt x="11746147" y="131751"/>
                  <a:pt x="11745193" y="112250"/>
                  <a:pt x="11814628" y="72572"/>
                </a:cubicBezTo>
                <a:cubicBezTo>
                  <a:pt x="11827912" y="64981"/>
                  <a:pt x="11843657" y="62895"/>
                  <a:pt x="11858171" y="58057"/>
                </a:cubicBezTo>
                <a:cubicBezTo>
                  <a:pt x="11872685" y="62895"/>
                  <a:pt x="11886414" y="72572"/>
                  <a:pt x="11901714" y="72572"/>
                </a:cubicBezTo>
                <a:cubicBezTo>
                  <a:pt x="11921662" y="72572"/>
                  <a:pt x="11940023" y="55236"/>
                  <a:pt x="11959771" y="58057"/>
                </a:cubicBezTo>
                <a:cubicBezTo>
                  <a:pt x="11977040" y="60524"/>
                  <a:pt x="11988800" y="77410"/>
                  <a:pt x="12003314" y="87086"/>
                </a:cubicBezTo>
                <a:cubicBezTo>
                  <a:pt x="12022666" y="116115"/>
                  <a:pt x="12039952" y="146633"/>
                  <a:pt x="12061371" y="174172"/>
                </a:cubicBezTo>
                <a:cubicBezTo>
                  <a:pt x="12073973" y="190375"/>
                  <a:pt x="12086555" y="226895"/>
                  <a:pt x="12104914" y="217715"/>
                </a:cubicBezTo>
                <a:cubicBezTo>
                  <a:pt x="12126979" y="206682"/>
                  <a:pt x="12114590" y="169334"/>
                  <a:pt x="12119428" y="145143"/>
                </a:cubicBezTo>
                <a:cubicBezTo>
                  <a:pt x="12143619" y="149981"/>
                  <a:pt x="12168279" y="166434"/>
                  <a:pt x="12192000" y="159657"/>
                </a:cubicBezTo>
                <a:cubicBezTo>
                  <a:pt x="12212731" y="153734"/>
                  <a:pt x="12230232" y="88503"/>
                  <a:pt x="12235543" y="72572"/>
                </a:cubicBezTo>
                <a:cubicBezTo>
                  <a:pt x="12338757" y="141380"/>
                  <a:pt x="12219416" y="81173"/>
                  <a:pt x="12322628" y="72572"/>
                </a:cubicBezTo>
                <a:cubicBezTo>
                  <a:pt x="12366288" y="68934"/>
                  <a:pt x="12409714" y="82248"/>
                  <a:pt x="12453257" y="87086"/>
                </a:cubicBezTo>
                <a:cubicBezTo>
                  <a:pt x="12467771" y="96762"/>
                  <a:pt x="12487555" y="101322"/>
                  <a:pt x="12496800" y="116115"/>
                </a:cubicBezTo>
                <a:cubicBezTo>
                  <a:pt x="12513017" y="142063"/>
                  <a:pt x="12508855" y="177741"/>
                  <a:pt x="12525828" y="203200"/>
                </a:cubicBezTo>
                <a:lnTo>
                  <a:pt x="12554857" y="246743"/>
                </a:lnTo>
                <a:cubicBezTo>
                  <a:pt x="12550019" y="266095"/>
                  <a:pt x="12555489" y="291818"/>
                  <a:pt x="12540343" y="304800"/>
                </a:cubicBezTo>
                <a:cubicBezTo>
                  <a:pt x="12517111" y="324714"/>
                  <a:pt x="12478717" y="316856"/>
                  <a:pt x="12453257" y="333829"/>
                </a:cubicBezTo>
                <a:cubicBezTo>
                  <a:pt x="12438743" y="343505"/>
                  <a:pt x="12426263" y="357341"/>
                  <a:pt x="12409714" y="362857"/>
                </a:cubicBezTo>
                <a:cubicBezTo>
                  <a:pt x="12381795" y="372163"/>
                  <a:pt x="12352025" y="376005"/>
                  <a:pt x="12322628" y="377372"/>
                </a:cubicBezTo>
                <a:cubicBezTo>
                  <a:pt x="12143747" y="385692"/>
                  <a:pt x="11964542" y="385004"/>
                  <a:pt x="11785600" y="391886"/>
                </a:cubicBezTo>
                <a:cubicBezTo>
                  <a:pt x="11587149" y="399519"/>
                  <a:pt x="11190514" y="420915"/>
                  <a:pt x="11190514" y="420915"/>
                </a:cubicBezTo>
                <a:cubicBezTo>
                  <a:pt x="11156647" y="425753"/>
                  <a:pt x="11123016" y="432701"/>
                  <a:pt x="11088914" y="435429"/>
                </a:cubicBezTo>
                <a:cubicBezTo>
                  <a:pt x="10940312" y="447317"/>
                  <a:pt x="10590718" y="459420"/>
                  <a:pt x="10464800" y="464457"/>
                </a:cubicBezTo>
                <a:cubicBezTo>
                  <a:pt x="10412811" y="473122"/>
                  <a:pt x="10326821" y="488149"/>
                  <a:pt x="10276114" y="493486"/>
                </a:cubicBezTo>
                <a:cubicBezTo>
                  <a:pt x="10218176" y="499585"/>
                  <a:pt x="10160108" y="504708"/>
                  <a:pt x="10101943" y="508000"/>
                </a:cubicBezTo>
                <a:lnTo>
                  <a:pt x="9506857" y="537029"/>
                </a:lnTo>
                <a:cubicBezTo>
                  <a:pt x="7021676" y="496946"/>
                  <a:pt x="10127457" y="537029"/>
                  <a:pt x="7765143" y="537029"/>
                </a:cubicBezTo>
                <a:lnTo>
                  <a:pt x="2061028" y="522515"/>
                </a:lnTo>
                <a:cubicBezTo>
                  <a:pt x="1850113" y="487360"/>
                  <a:pt x="2039664" y="515278"/>
                  <a:pt x="1625600" y="493486"/>
                </a:cubicBezTo>
                <a:cubicBezTo>
                  <a:pt x="1557788" y="489917"/>
                  <a:pt x="1490287" y="480569"/>
                  <a:pt x="1422400" y="478972"/>
                </a:cubicBezTo>
                <a:lnTo>
                  <a:pt x="391886" y="464457"/>
                </a:lnTo>
                <a:cubicBezTo>
                  <a:pt x="353181" y="459619"/>
                  <a:pt x="314601" y="453641"/>
                  <a:pt x="275771" y="449943"/>
                </a:cubicBezTo>
                <a:cubicBezTo>
                  <a:pt x="63089" y="429688"/>
                  <a:pt x="141399" y="471638"/>
                  <a:pt x="43543" y="406400"/>
                </a:cubicBezTo>
                <a:cubicBezTo>
                  <a:pt x="33867" y="391886"/>
                  <a:pt x="22315" y="378459"/>
                  <a:pt x="14514" y="362857"/>
                </a:cubicBezTo>
                <a:cubicBezTo>
                  <a:pt x="7672" y="349173"/>
                  <a:pt x="0" y="334614"/>
                  <a:pt x="0" y="319315"/>
                </a:cubicBezTo>
                <a:cubicBezTo>
                  <a:pt x="0" y="203265"/>
                  <a:pt x="229163" y="234521"/>
                  <a:pt x="261257" y="232229"/>
                </a:cubicBezTo>
                <a:cubicBezTo>
                  <a:pt x="245213" y="184096"/>
                  <a:pt x="210457" y="234648"/>
                  <a:pt x="217714" y="217715"/>
                </a:cubicBezTo>
                <a:close/>
              </a:path>
            </a:pathLst>
          </a:custGeom>
          <a:solidFill>
            <a:srgbClr val="63A6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060E3C23-AF34-4487-9316-BBB064F4EA74}"/>
                  </a:ext>
                </a:extLst>
              </p:cNvPr>
              <p:cNvGraphicFramePr>
                <a:graphicFrameLocks noChangeAspect="1"/>
              </p:cNvGraphicFramePr>
              <p:nvPr>
                <p:extLst>
                  <p:ext uri="{D42A27DB-BD31-4B8C-83A1-F6EECF244321}">
                    <p14:modId xmlns:p14="http://schemas.microsoft.com/office/powerpoint/2010/main" val="3500412707"/>
                  </p:ext>
                </p:extLst>
              </p:nvPr>
            </p:nvGraphicFramePr>
            <p:xfrm>
              <a:off x="6785137" y="-55497"/>
              <a:ext cx="5902435" cy="3320119"/>
            </p:xfrm>
            <a:graphic>
              <a:graphicData uri="http://schemas.microsoft.com/office/powerpoint/2016/slidezoom">
                <pslz:sldZm>
                  <pslz:sldZmObj sldId="336" cId="4065318045">
                    <pslz:zmPr id="{6E7290FB-DE70-4548-9CBD-F35D97BEA397}" returnToParent="0" transitionDur="1000" showBg="0">
                      <p166:blipFill xmlns:p166="http://schemas.microsoft.com/office/powerpoint/2016/6/main">
                        <a:blip r:embed="rId5"/>
                        <a:stretch>
                          <a:fillRect/>
                        </a:stretch>
                      </p166:blipFill>
                      <p166:spPr xmlns:p166="http://schemas.microsoft.com/office/powerpoint/2016/6/main">
                        <a:xfrm>
                          <a:off x="0" y="0"/>
                          <a:ext cx="5902435" cy="3320119"/>
                        </a:xfrm>
                        <a:prstGeom prst="rect">
                          <a:avLst/>
                        </a:prstGeom>
                      </p166:spPr>
                    </pslz:zmPr>
                  </pslz:sldZmObj>
                </pslz:sldZm>
              </a:graphicData>
            </a:graphic>
          </p:graphicFrame>
        </mc:Choice>
        <mc:Fallback xmlns="">
          <p:pic>
            <p:nvPicPr>
              <p:cNvPr id="3" name="Slide Zoom 2">
                <a:hlinkClick r:id="rId6" action="ppaction://hlinksldjump"/>
                <a:extLst>
                  <a:ext uri="{FF2B5EF4-FFF2-40B4-BE49-F238E27FC236}">
                    <a16:creationId xmlns:a16="http://schemas.microsoft.com/office/drawing/2014/main" id="{060E3C23-AF34-4487-9316-BBB064F4EA74}"/>
                  </a:ext>
                </a:extLst>
              </p:cNvPr>
              <p:cNvPicPr>
                <a:picLocks noGrp="1" noRot="1" noChangeAspect="1" noMove="1" noResize="1" noEditPoints="1" noAdjustHandles="1" noChangeArrowheads="1" noChangeShapeType="1"/>
              </p:cNvPicPr>
              <p:nvPr/>
            </p:nvPicPr>
            <p:blipFill>
              <a:blip r:embed="rId7"/>
              <a:stretch>
                <a:fillRect/>
              </a:stretch>
            </p:blipFill>
            <p:spPr>
              <a:xfrm>
                <a:off x="6785137" y="-55497"/>
                <a:ext cx="5902435" cy="3320119"/>
              </a:xfrm>
              <a:prstGeom prst="rect">
                <a:avLst/>
              </a:prstGeom>
            </p:spPr>
          </p:pic>
        </mc:Fallback>
      </mc:AlternateContent>
      <p:sp>
        <p:nvSpPr>
          <p:cNvPr id="215" name="Freeform: Shape 214">
            <a:extLst>
              <a:ext uri="{FF2B5EF4-FFF2-40B4-BE49-F238E27FC236}">
                <a16:creationId xmlns:a16="http://schemas.microsoft.com/office/drawing/2014/main" id="{FA077203-5669-4519-88CD-14980FAEC9BC}"/>
              </a:ext>
            </a:extLst>
          </p:cNvPr>
          <p:cNvSpPr/>
          <p:nvPr/>
        </p:nvSpPr>
        <p:spPr>
          <a:xfrm>
            <a:off x="6578101" y="2401787"/>
            <a:ext cx="5476801" cy="537029"/>
          </a:xfrm>
          <a:custGeom>
            <a:avLst/>
            <a:gdLst>
              <a:gd name="connsiteX0" fmla="*/ 217714 w 12554857"/>
              <a:gd name="connsiteY0" fmla="*/ 217715 h 537029"/>
              <a:gd name="connsiteX1" fmla="*/ 304800 w 12554857"/>
              <a:gd name="connsiteY1" fmla="*/ 130629 h 537029"/>
              <a:gd name="connsiteX2" fmla="*/ 348343 w 12554857"/>
              <a:gd name="connsiteY2" fmla="*/ 145143 h 537029"/>
              <a:gd name="connsiteX3" fmla="*/ 435428 w 12554857"/>
              <a:gd name="connsiteY3" fmla="*/ 101600 h 537029"/>
              <a:gd name="connsiteX4" fmla="*/ 478971 w 12554857"/>
              <a:gd name="connsiteY4" fmla="*/ 72572 h 537029"/>
              <a:gd name="connsiteX5" fmla="*/ 566057 w 12554857"/>
              <a:gd name="connsiteY5" fmla="*/ 87086 h 537029"/>
              <a:gd name="connsiteX6" fmla="*/ 609600 w 12554857"/>
              <a:gd name="connsiteY6" fmla="*/ 116115 h 537029"/>
              <a:gd name="connsiteX7" fmla="*/ 667657 w 12554857"/>
              <a:gd name="connsiteY7" fmla="*/ 130629 h 537029"/>
              <a:gd name="connsiteX8" fmla="*/ 754743 w 12554857"/>
              <a:gd name="connsiteY8" fmla="*/ 116115 h 537029"/>
              <a:gd name="connsiteX9" fmla="*/ 812800 w 12554857"/>
              <a:gd name="connsiteY9" fmla="*/ 87086 h 537029"/>
              <a:gd name="connsiteX10" fmla="*/ 856343 w 12554857"/>
              <a:gd name="connsiteY10" fmla="*/ 72572 h 537029"/>
              <a:gd name="connsiteX11" fmla="*/ 1016000 w 12554857"/>
              <a:gd name="connsiteY11" fmla="*/ 116115 h 537029"/>
              <a:gd name="connsiteX12" fmla="*/ 1103086 w 12554857"/>
              <a:gd name="connsiteY12" fmla="*/ 159657 h 537029"/>
              <a:gd name="connsiteX13" fmla="*/ 1146628 w 12554857"/>
              <a:gd name="connsiteY13" fmla="*/ 188686 h 537029"/>
              <a:gd name="connsiteX14" fmla="*/ 1190171 w 12554857"/>
              <a:gd name="connsiteY14" fmla="*/ 101600 h 537029"/>
              <a:gd name="connsiteX15" fmla="*/ 1233714 w 12554857"/>
              <a:gd name="connsiteY15" fmla="*/ 72572 h 537029"/>
              <a:gd name="connsiteX16" fmla="*/ 1451428 w 12554857"/>
              <a:gd name="connsiteY16" fmla="*/ 145143 h 537029"/>
              <a:gd name="connsiteX17" fmla="*/ 1524000 w 12554857"/>
              <a:gd name="connsiteY17" fmla="*/ 58057 h 537029"/>
              <a:gd name="connsiteX18" fmla="*/ 1567543 w 12554857"/>
              <a:gd name="connsiteY18" fmla="*/ 43543 h 537029"/>
              <a:gd name="connsiteX19" fmla="*/ 1640114 w 12554857"/>
              <a:gd name="connsiteY19" fmla="*/ 130629 h 537029"/>
              <a:gd name="connsiteX20" fmla="*/ 1727200 w 12554857"/>
              <a:gd name="connsiteY20" fmla="*/ 116115 h 537029"/>
              <a:gd name="connsiteX21" fmla="*/ 1886857 w 12554857"/>
              <a:gd name="connsiteY21" fmla="*/ 87086 h 537029"/>
              <a:gd name="connsiteX22" fmla="*/ 1973943 w 12554857"/>
              <a:gd name="connsiteY22" fmla="*/ 101600 h 537029"/>
              <a:gd name="connsiteX23" fmla="*/ 2017486 w 12554857"/>
              <a:gd name="connsiteY23" fmla="*/ 116115 h 537029"/>
              <a:gd name="connsiteX24" fmla="*/ 2061028 w 12554857"/>
              <a:gd name="connsiteY24" fmla="*/ 101600 h 537029"/>
              <a:gd name="connsiteX25" fmla="*/ 2119086 w 12554857"/>
              <a:gd name="connsiteY25" fmla="*/ 130629 h 537029"/>
              <a:gd name="connsiteX26" fmla="*/ 2162628 w 12554857"/>
              <a:gd name="connsiteY26" fmla="*/ 159657 h 537029"/>
              <a:gd name="connsiteX27" fmla="*/ 2307771 w 12554857"/>
              <a:gd name="connsiteY27" fmla="*/ 130629 h 537029"/>
              <a:gd name="connsiteX28" fmla="*/ 2452914 w 12554857"/>
              <a:gd name="connsiteY28" fmla="*/ 101600 h 537029"/>
              <a:gd name="connsiteX29" fmla="*/ 2540000 w 12554857"/>
              <a:gd name="connsiteY29" fmla="*/ 116115 h 537029"/>
              <a:gd name="connsiteX30" fmla="*/ 2554514 w 12554857"/>
              <a:gd name="connsiteY30" fmla="*/ 72572 h 537029"/>
              <a:gd name="connsiteX31" fmla="*/ 2598057 w 12554857"/>
              <a:gd name="connsiteY31" fmla="*/ 58057 h 537029"/>
              <a:gd name="connsiteX32" fmla="*/ 2714171 w 12554857"/>
              <a:gd name="connsiteY32" fmla="*/ 101600 h 537029"/>
              <a:gd name="connsiteX33" fmla="*/ 2757714 w 12554857"/>
              <a:gd name="connsiteY33" fmla="*/ 145143 h 537029"/>
              <a:gd name="connsiteX34" fmla="*/ 2830286 w 12554857"/>
              <a:gd name="connsiteY34" fmla="*/ 72572 h 537029"/>
              <a:gd name="connsiteX35" fmla="*/ 2902857 w 12554857"/>
              <a:gd name="connsiteY35" fmla="*/ 87086 h 537029"/>
              <a:gd name="connsiteX36" fmla="*/ 2989943 w 12554857"/>
              <a:gd name="connsiteY36" fmla="*/ 130629 h 537029"/>
              <a:gd name="connsiteX37" fmla="*/ 3062514 w 12554857"/>
              <a:gd name="connsiteY37" fmla="*/ 116115 h 537029"/>
              <a:gd name="connsiteX38" fmla="*/ 3120571 w 12554857"/>
              <a:gd name="connsiteY38" fmla="*/ 87086 h 537029"/>
              <a:gd name="connsiteX39" fmla="*/ 3352800 w 12554857"/>
              <a:gd name="connsiteY39" fmla="*/ 87086 h 537029"/>
              <a:gd name="connsiteX40" fmla="*/ 3512457 w 12554857"/>
              <a:gd name="connsiteY40" fmla="*/ 87086 h 537029"/>
              <a:gd name="connsiteX41" fmla="*/ 3556000 w 12554857"/>
              <a:gd name="connsiteY41" fmla="*/ 116115 h 537029"/>
              <a:gd name="connsiteX42" fmla="*/ 3599543 w 12554857"/>
              <a:gd name="connsiteY42" fmla="*/ 130629 h 537029"/>
              <a:gd name="connsiteX43" fmla="*/ 3730171 w 12554857"/>
              <a:gd name="connsiteY43" fmla="*/ 58057 h 537029"/>
              <a:gd name="connsiteX44" fmla="*/ 3788228 w 12554857"/>
              <a:gd name="connsiteY44" fmla="*/ 72572 h 537029"/>
              <a:gd name="connsiteX45" fmla="*/ 3889828 w 12554857"/>
              <a:gd name="connsiteY45" fmla="*/ 130629 h 537029"/>
              <a:gd name="connsiteX46" fmla="*/ 3933371 w 12554857"/>
              <a:gd name="connsiteY46" fmla="*/ 174172 h 537029"/>
              <a:gd name="connsiteX47" fmla="*/ 3991428 w 12554857"/>
              <a:gd name="connsiteY47" fmla="*/ 130629 h 537029"/>
              <a:gd name="connsiteX48" fmla="*/ 4034971 w 12554857"/>
              <a:gd name="connsiteY48" fmla="*/ 101600 h 537029"/>
              <a:gd name="connsiteX49" fmla="*/ 4093028 w 12554857"/>
              <a:gd name="connsiteY49" fmla="*/ 116115 h 537029"/>
              <a:gd name="connsiteX50" fmla="*/ 4209143 w 12554857"/>
              <a:gd name="connsiteY50" fmla="*/ 116115 h 537029"/>
              <a:gd name="connsiteX51" fmla="*/ 4296228 w 12554857"/>
              <a:gd name="connsiteY51" fmla="*/ 87086 h 537029"/>
              <a:gd name="connsiteX52" fmla="*/ 4339771 w 12554857"/>
              <a:gd name="connsiteY52" fmla="*/ 58057 h 537029"/>
              <a:gd name="connsiteX53" fmla="*/ 4470400 w 12554857"/>
              <a:gd name="connsiteY53" fmla="*/ 87086 h 537029"/>
              <a:gd name="connsiteX54" fmla="*/ 4484914 w 12554857"/>
              <a:gd name="connsiteY54" fmla="*/ 29029 h 537029"/>
              <a:gd name="connsiteX55" fmla="*/ 4586514 w 12554857"/>
              <a:gd name="connsiteY55" fmla="*/ 58057 h 537029"/>
              <a:gd name="connsiteX56" fmla="*/ 4615543 w 12554857"/>
              <a:gd name="connsiteY56" fmla="*/ 101600 h 537029"/>
              <a:gd name="connsiteX57" fmla="*/ 4659086 w 12554857"/>
              <a:gd name="connsiteY57" fmla="*/ 130629 h 537029"/>
              <a:gd name="connsiteX58" fmla="*/ 4673600 w 12554857"/>
              <a:gd name="connsiteY58" fmla="*/ 174172 h 537029"/>
              <a:gd name="connsiteX59" fmla="*/ 4746171 w 12554857"/>
              <a:gd name="connsiteY59" fmla="*/ 159657 h 537029"/>
              <a:gd name="connsiteX60" fmla="*/ 4833257 w 12554857"/>
              <a:gd name="connsiteY60" fmla="*/ 130629 h 537029"/>
              <a:gd name="connsiteX61" fmla="*/ 4978400 w 12554857"/>
              <a:gd name="connsiteY61" fmla="*/ 145143 h 537029"/>
              <a:gd name="connsiteX62" fmla="*/ 5021943 w 12554857"/>
              <a:gd name="connsiteY62" fmla="*/ 174172 h 537029"/>
              <a:gd name="connsiteX63" fmla="*/ 5268686 w 12554857"/>
              <a:gd name="connsiteY63" fmla="*/ 159657 h 537029"/>
              <a:gd name="connsiteX64" fmla="*/ 5312228 w 12554857"/>
              <a:gd name="connsiteY64" fmla="*/ 130629 h 537029"/>
              <a:gd name="connsiteX65" fmla="*/ 5442857 w 12554857"/>
              <a:gd name="connsiteY65" fmla="*/ 188686 h 537029"/>
              <a:gd name="connsiteX66" fmla="*/ 5500914 w 12554857"/>
              <a:gd name="connsiteY66" fmla="*/ 174172 h 537029"/>
              <a:gd name="connsiteX67" fmla="*/ 5529943 w 12554857"/>
              <a:gd name="connsiteY67" fmla="*/ 130629 h 537029"/>
              <a:gd name="connsiteX68" fmla="*/ 5631543 w 12554857"/>
              <a:gd name="connsiteY68" fmla="*/ 116115 h 537029"/>
              <a:gd name="connsiteX69" fmla="*/ 5718628 w 12554857"/>
              <a:gd name="connsiteY69" fmla="*/ 130629 h 537029"/>
              <a:gd name="connsiteX70" fmla="*/ 5762171 w 12554857"/>
              <a:gd name="connsiteY70" fmla="*/ 159657 h 537029"/>
              <a:gd name="connsiteX71" fmla="*/ 5878286 w 12554857"/>
              <a:gd name="connsiteY71" fmla="*/ 174172 h 537029"/>
              <a:gd name="connsiteX72" fmla="*/ 6023428 w 12554857"/>
              <a:gd name="connsiteY72" fmla="*/ 159657 h 537029"/>
              <a:gd name="connsiteX73" fmla="*/ 6066971 w 12554857"/>
              <a:gd name="connsiteY73" fmla="*/ 174172 h 537029"/>
              <a:gd name="connsiteX74" fmla="*/ 6197600 w 12554857"/>
              <a:gd name="connsiteY74" fmla="*/ 130629 h 537029"/>
              <a:gd name="connsiteX75" fmla="*/ 6241143 w 12554857"/>
              <a:gd name="connsiteY75" fmla="*/ 116115 h 537029"/>
              <a:gd name="connsiteX76" fmla="*/ 6458857 w 12554857"/>
              <a:gd name="connsiteY76" fmla="*/ 72572 h 537029"/>
              <a:gd name="connsiteX77" fmla="*/ 6531428 w 12554857"/>
              <a:gd name="connsiteY77" fmla="*/ 43543 h 537029"/>
              <a:gd name="connsiteX78" fmla="*/ 6618514 w 12554857"/>
              <a:gd name="connsiteY78" fmla="*/ 0 h 537029"/>
              <a:gd name="connsiteX79" fmla="*/ 6705600 w 12554857"/>
              <a:gd name="connsiteY79" fmla="*/ 58057 h 537029"/>
              <a:gd name="connsiteX80" fmla="*/ 6792686 w 12554857"/>
              <a:gd name="connsiteY80" fmla="*/ 116115 h 537029"/>
              <a:gd name="connsiteX81" fmla="*/ 6836228 w 12554857"/>
              <a:gd name="connsiteY81" fmla="*/ 145143 h 537029"/>
              <a:gd name="connsiteX82" fmla="*/ 6894286 w 12554857"/>
              <a:gd name="connsiteY82" fmla="*/ 130629 h 537029"/>
              <a:gd name="connsiteX83" fmla="*/ 6952343 w 12554857"/>
              <a:gd name="connsiteY83" fmla="*/ 101600 h 537029"/>
              <a:gd name="connsiteX84" fmla="*/ 6995886 w 12554857"/>
              <a:gd name="connsiteY84" fmla="*/ 87086 h 537029"/>
              <a:gd name="connsiteX85" fmla="*/ 7082971 w 12554857"/>
              <a:gd name="connsiteY85" fmla="*/ 101600 h 537029"/>
              <a:gd name="connsiteX86" fmla="*/ 7126514 w 12554857"/>
              <a:gd name="connsiteY86" fmla="*/ 130629 h 537029"/>
              <a:gd name="connsiteX87" fmla="*/ 7184571 w 12554857"/>
              <a:gd name="connsiteY87" fmla="*/ 72572 h 537029"/>
              <a:gd name="connsiteX88" fmla="*/ 7242628 w 12554857"/>
              <a:gd name="connsiteY88" fmla="*/ 58057 h 537029"/>
              <a:gd name="connsiteX89" fmla="*/ 7286171 w 12554857"/>
              <a:gd name="connsiteY89" fmla="*/ 101600 h 537029"/>
              <a:gd name="connsiteX90" fmla="*/ 7315200 w 12554857"/>
              <a:gd name="connsiteY90" fmla="*/ 145143 h 537029"/>
              <a:gd name="connsiteX91" fmla="*/ 7373257 w 12554857"/>
              <a:gd name="connsiteY91" fmla="*/ 116115 h 537029"/>
              <a:gd name="connsiteX92" fmla="*/ 7416800 w 12554857"/>
              <a:gd name="connsiteY92" fmla="*/ 101600 h 537029"/>
              <a:gd name="connsiteX93" fmla="*/ 7503886 w 12554857"/>
              <a:gd name="connsiteY93" fmla="*/ 130629 h 537029"/>
              <a:gd name="connsiteX94" fmla="*/ 7590971 w 12554857"/>
              <a:gd name="connsiteY94" fmla="*/ 159657 h 537029"/>
              <a:gd name="connsiteX95" fmla="*/ 7663543 w 12554857"/>
              <a:gd name="connsiteY95" fmla="*/ 174172 h 537029"/>
              <a:gd name="connsiteX96" fmla="*/ 7707086 w 12554857"/>
              <a:gd name="connsiteY96" fmla="*/ 145143 h 537029"/>
              <a:gd name="connsiteX97" fmla="*/ 7823200 w 12554857"/>
              <a:gd name="connsiteY97" fmla="*/ 203200 h 537029"/>
              <a:gd name="connsiteX98" fmla="*/ 7866743 w 12554857"/>
              <a:gd name="connsiteY98" fmla="*/ 159657 h 537029"/>
              <a:gd name="connsiteX99" fmla="*/ 7924800 w 12554857"/>
              <a:gd name="connsiteY99" fmla="*/ 145143 h 537029"/>
              <a:gd name="connsiteX100" fmla="*/ 7953828 w 12554857"/>
              <a:gd name="connsiteY100" fmla="*/ 188686 h 537029"/>
              <a:gd name="connsiteX101" fmla="*/ 8084457 w 12554857"/>
              <a:gd name="connsiteY101" fmla="*/ 217715 h 537029"/>
              <a:gd name="connsiteX102" fmla="*/ 8128000 w 12554857"/>
              <a:gd name="connsiteY102" fmla="*/ 275772 h 537029"/>
              <a:gd name="connsiteX103" fmla="*/ 8171543 w 12554857"/>
              <a:gd name="connsiteY103" fmla="*/ 246743 h 537029"/>
              <a:gd name="connsiteX104" fmla="*/ 8215086 w 12554857"/>
              <a:gd name="connsiteY104" fmla="*/ 290286 h 537029"/>
              <a:gd name="connsiteX105" fmla="*/ 8229600 w 12554857"/>
              <a:gd name="connsiteY105" fmla="*/ 246743 h 537029"/>
              <a:gd name="connsiteX106" fmla="*/ 8360228 w 12554857"/>
              <a:gd name="connsiteY106" fmla="*/ 130629 h 537029"/>
              <a:gd name="connsiteX107" fmla="*/ 8403771 w 12554857"/>
              <a:gd name="connsiteY107" fmla="*/ 145143 h 537029"/>
              <a:gd name="connsiteX108" fmla="*/ 8476343 w 12554857"/>
              <a:gd name="connsiteY108" fmla="*/ 232229 h 537029"/>
              <a:gd name="connsiteX109" fmla="*/ 8534400 w 12554857"/>
              <a:gd name="connsiteY109" fmla="*/ 159657 h 537029"/>
              <a:gd name="connsiteX110" fmla="*/ 8563428 w 12554857"/>
              <a:gd name="connsiteY110" fmla="*/ 203200 h 537029"/>
              <a:gd name="connsiteX111" fmla="*/ 8636000 w 12554857"/>
              <a:gd name="connsiteY111" fmla="*/ 145143 h 537029"/>
              <a:gd name="connsiteX112" fmla="*/ 8737600 w 12554857"/>
              <a:gd name="connsiteY112" fmla="*/ 101600 h 537029"/>
              <a:gd name="connsiteX113" fmla="*/ 8911771 w 12554857"/>
              <a:gd name="connsiteY113" fmla="*/ 116115 h 537029"/>
              <a:gd name="connsiteX114" fmla="*/ 8955314 w 12554857"/>
              <a:gd name="connsiteY114" fmla="*/ 159657 h 537029"/>
              <a:gd name="connsiteX115" fmla="*/ 9013371 w 12554857"/>
              <a:gd name="connsiteY115" fmla="*/ 188686 h 537029"/>
              <a:gd name="connsiteX116" fmla="*/ 9100457 w 12554857"/>
              <a:gd name="connsiteY116" fmla="*/ 174172 h 537029"/>
              <a:gd name="connsiteX117" fmla="*/ 9114971 w 12554857"/>
              <a:gd name="connsiteY117" fmla="*/ 116115 h 537029"/>
              <a:gd name="connsiteX118" fmla="*/ 9158514 w 12554857"/>
              <a:gd name="connsiteY118" fmla="*/ 101600 h 537029"/>
              <a:gd name="connsiteX119" fmla="*/ 9390743 w 12554857"/>
              <a:gd name="connsiteY119" fmla="*/ 130629 h 537029"/>
              <a:gd name="connsiteX120" fmla="*/ 9506857 w 12554857"/>
              <a:gd name="connsiteY120" fmla="*/ 101600 h 537029"/>
              <a:gd name="connsiteX121" fmla="*/ 9593943 w 12554857"/>
              <a:gd name="connsiteY121" fmla="*/ 58057 h 537029"/>
              <a:gd name="connsiteX122" fmla="*/ 9666514 w 12554857"/>
              <a:gd name="connsiteY122" fmla="*/ 87086 h 537029"/>
              <a:gd name="connsiteX123" fmla="*/ 9739086 w 12554857"/>
              <a:gd name="connsiteY123" fmla="*/ 130629 h 537029"/>
              <a:gd name="connsiteX124" fmla="*/ 9826171 w 12554857"/>
              <a:gd name="connsiteY124" fmla="*/ 174172 h 537029"/>
              <a:gd name="connsiteX125" fmla="*/ 9869714 w 12554857"/>
              <a:gd name="connsiteY125" fmla="*/ 188686 h 537029"/>
              <a:gd name="connsiteX126" fmla="*/ 9942286 w 12554857"/>
              <a:gd name="connsiteY126" fmla="*/ 174172 h 537029"/>
              <a:gd name="connsiteX127" fmla="*/ 9985828 w 12554857"/>
              <a:gd name="connsiteY127" fmla="*/ 188686 h 537029"/>
              <a:gd name="connsiteX128" fmla="*/ 10058400 w 12554857"/>
              <a:gd name="connsiteY128" fmla="*/ 159657 h 537029"/>
              <a:gd name="connsiteX129" fmla="*/ 10174514 w 12554857"/>
              <a:gd name="connsiteY129" fmla="*/ 43543 h 537029"/>
              <a:gd name="connsiteX130" fmla="*/ 10218057 w 12554857"/>
              <a:gd name="connsiteY130" fmla="*/ 29029 h 537029"/>
              <a:gd name="connsiteX131" fmla="*/ 10464800 w 12554857"/>
              <a:gd name="connsiteY131" fmla="*/ 58057 h 537029"/>
              <a:gd name="connsiteX132" fmla="*/ 10580914 w 12554857"/>
              <a:gd name="connsiteY132" fmla="*/ 72572 h 537029"/>
              <a:gd name="connsiteX133" fmla="*/ 10638971 w 12554857"/>
              <a:gd name="connsiteY133" fmla="*/ 116115 h 537029"/>
              <a:gd name="connsiteX134" fmla="*/ 10682514 w 12554857"/>
              <a:gd name="connsiteY134" fmla="*/ 72572 h 537029"/>
              <a:gd name="connsiteX135" fmla="*/ 10769600 w 12554857"/>
              <a:gd name="connsiteY135" fmla="*/ 29029 h 537029"/>
              <a:gd name="connsiteX136" fmla="*/ 10827657 w 12554857"/>
              <a:gd name="connsiteY136" fmla="*/ 58057 h 537029"/>
              <a:gd name="connsiteX137" fmla="*/ 10958286 w 12554857"/>
              <a:gd name="connsiteY137" fmla="*/ 130629 h 537029"/>
              <a:gd name="connsiteX138" fmla="*/ 11030857 w 12554857"/>
              <a:gd name="connsiteY138" fmla="*/ 116115 h 537029"/>
              <a:gd name="connsiteX139" fmla="*/ 11074400 w 12554857"/>
              <a:gd name="connsiteY139" fmla="*/ 101600 h 537029"/>
              <a:gd name="connsiteX140" fmla="*/ 11176000 w 12554857"/>
              <a:gd name="connsiteY140" fmla="*/ 130629 h 537029"/>
              <a:gd name="connsiteX141" fmla="*/ 11205028 w 12554857"/>
              <a:gd name="connsiteY141" fmla="*/ 174172 h 537029"/>
              <a:gd name="connsiteX142" fmla="*/ 11393714 w 12554857"/>
              <a:gd name="connsiteY142" fmla="*/ 116115 h 537029"/>
              <a:gd name="connsiteX143" fmla="*/ 11437257 w 12554857"/>
              <a:gd name="connsiteY143" fmla="*/ 130629 h 537029"/>
              <a:gd name="connsiteX144" fmla="*/ 11480800 w 12554857"/>
              <a:gd name="connsiteY144" fmla="*/ 159657 h 537029"/>
              <a:gd name="connsiteX145" fmla="*/ 11524343 w 12554857"/>
              <a:gd name="connsiteY145" fmla="*/ 145143 h 537029"/>
              <a:gd name="connsiteX146" fmla="*/ 11582400 w 12554857"/>
              <a:gd name="connsiteY146" fmla="*/ 159657 h 537029"/>
              <a:gd name="connsiteX147" fmla="*/ 11654971 w 12554857"/>
              <a:gd name="connsiteY147" fmla="*/ 188686 h 537029"/>
              <a:gd name="connsiteX148" fmla="*/ 11698514 w 12554857"/>
              <a:gd name="connsiteY148" fmla="*/ 203200 h 537029"/>
              <a:gd name="connsiteX149" fmla="*/ 11814628 w 12554857"/>
              <a:gd name="connsiteY149" fmla="*/ 72572 h 537029"/>
              <a:gd name="connsiteX150" fmla="*/ 11858171 w 12554857"/>
              <a:gd name="connsiteY150" fmla="*/ 58057 h 537029"/>
              <a:gd name="connsiteX151" fmla="*/ 11901714 w 12554857"/>
              <a:gd name="connsiteY151" fmla="*/ 72572 h 537029"/>
              <a:gd name="connsiteX152" fmla="*/ 11959771 w 12554857"/>
              <a:gd name="connsiteY152" fmla="*/ 58057 h 537029"/>
              <a:gd name="connsiteX153" fmla="*/ 12003314 w 12554857"/>
              <a:gd name="connsiteY153" fmla="*/ 87086 h 537029"/>
              <a:gd name="connsiteX154" fmla="*/ 12061371 w 12554857"/>
              <a:gd name="connsiteY154" fmla="*/ 174172 h 537029"/>
              <a:gd name="connsiteX155" fmla="*/ 12104914 w 12554857"/>
              <a:gd name="connsiteY155" fmla="*/ 217715 h 537029"/>
              <a:gd name="connsiteX156" fmla="*/ 12119428 w 12554857"/>
              <a:gd name="connsiteY156" fmla="*/ 145143 h 537029"/>
              <a:gd name="connsiteX157" fmla="*/ 12192000 w 12554857"/>
              <a:gd name="connsiteY157" fmla="*/ 159657 h 537029"/>
              <a:gd name="connsiteX158" fmla="*/ 12235543 w 12554857"/>
              <a:gd name="connsiteY158" fmla="*/ 72572 h 537029"/>
              <a:gd name="connsiteX159" fmla="*/ 12322628 w 12554857"/>
              <a:gd name="connsiteY159" fmla="*/ 72572 h 537029"/>
              <a:gd name="connsiteX160" fmla="*/ 12453257 w 12554857"/>
              <a:gd name="connsiteY160" fmla="*/ 87086 h 537029"/>
              <a:gd name="connsiteX161" fmla="*/ 12496800 w 12554857"/>
              <a:gd name="connsiteY161" fmla="*/ 116115 h 537029"/>
              <a:gd name="connsiteX162" fmla="*/ 12525828 w 12554857"/>
              <a:gd name="connsiteY162" fmla="*/ 203200 h 537029"/>
              <a:gd name="connsiteX163" fmla="*/ 12554857 w 12554857"/>
              <a:gd name="connsiteY163" fmla="*/ 246743 h 537029"/>
              <a:gd name="connsiteX164" fmla="*/ 12540343 w 12554857"/>
              <a:gd name="connsiteY164" fmla="*/ 304800 h 537029"/>
              <a:gd name="connsiteX165" fmla="*/ 12453257 w 12554857"/>
              <a:gd name="connsiteY165" fmla="*/ 333829 h 537029"/>
              <a:gd name="connsiteX166" fmla="*/ 12409714 w 12554857"/>
              <a:gd name="connsiteY166" fmla="*/ 362857 h 537029"/>
              <a:gd name="connsiteX167" fmla="*/ 12322628 w 12554857"/>
              <a:gd name="connsiteY167" fmla="*/ 377372 h 537029"/>
              <a:gd name="connsiteX168" fmla="*/ 11785600 w 12554857"/>
              <a:gd name="connsiteY168" fmla="*/ 391886 h 537029"/>
              <a:gd name="connsiteX169" fmla="*/ 11190514 w 12554857"/>
              <a:gd name="connsiteY169" fmla="*/ 420915 h 537029"/>
              <a:gd name="connsiteX170" fmla="*/ 11088914 w 12554857"/>
              <a:gd name="connsiteY170" fmla="*/ 435429 h 537029"/>
              <a:gd name="connsiteX171" fmla="*/ 10464800 w 12554857"/>
              <a:gd name="connsiteY171" fmla="*/ 464457 h 537029"/>
              <a:gd name="connsiteX172" fmla="*/ 10276114 w 12554857"/>
              <a:gd name="connsiteY172" fmla="*/ 493486 h 537029"/>
              <a:gd name="connsiteX173" fmla="*/ 10101943 w 12554857"/>
              <a:gd name="connsiteY173" fmla="*/ 508000 h 537029"/>
              <a:gd name="connsiteX174" fmla="*/ 9506857 w 12554857"/>
              <a:gd name="connsiteY174" fmla="*/ 537029 h 537029"/>
              <a:gd name="connsiteX175" fmla="*/ 7765143 w 12554857"/>
              <a:gd name="connsiteY175" fmla="*/ 537029 h 537029"/>
              <a:gd name="connsiteX176" fmla="*/ 2061028 w 12554857"/>
              <a:gd name="connsiteY176" fmla="*/ 522515 h 537029"/>
              <a:gd name="connsiteX177" fmla="*/ 1625600 w 12554857"/>
              <a:gd name="connsiteY177" fmla="*/ 493486 h 537029"/>
              <a:gd name="connsiteX178" fmla="*/ 1422400 w 12554857"/>
              <a:gd name="connsiteY178" fmla="*/ 478972 h 537029"/>
              <a:gd name="connsiteX179" fmla="*/ 391886 w 12554857"/>
              <a:gd name="connsiteY179" fmla="*/ 464457 h 537029"/>
              <a:gd name="connsiteX180" fmla="*/ 275771 w 12554857"/>
              <a:gd name="connsiteY180" fmla="*/ 449943 h 537029"/>
              <a:gd name="connsiteX181" fmla="*/ 43543 w 12554857"/>
              <a:gd name="connsiteY181" fmla="*/ 406400 h 537029"/>
              <a:gd name="connsiteX182" fmla="*/ 14514 w 12554857"/>
              <a:gd name="connsiteY182" fmla="*/ 362857 h 537029"/>
              <a:gd name="connsiteX183" fmla="*/ 0 w 12554857"/>
              <a:gd name="connsiteY183" fmla="*/ 319315 h 537029"/>
              <a:gd name="connsiteX184" fmla="*/ 261257 w 12554857"/>
              <a:gd name="connsiteY184" fmla="*/ 232229 h 537029"/>
              <a:gd name="connsiteX185" fmla="*/ 217714 w 12554857"/>
              <a:gd name="connsiteY185" fmla="*/ 217715 h 53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4857" h="537029">
                <a:moveTo>
                  <a:pt x="217714" y="217715"/>
                </a:moveTo>
                <a:cubicBezTo>
                  <a:pt x="224971" y="200782"/>
                  <a:pt x="248555" y="130629"/>
                  <a:pt x="304800" y="130629"/>
                </a:cubicBezTo>
                <a:cubicBezTo>
                  <a:pt x="320099" y="130629"/>
                  <a:pt x="333829" y="140305"/>
                  <a:pt x="348343" y="145143"/>
                </a:cubicBezTo>
                <a:cubicBezTo>
                  <a:pt x="473132" y="61952"/>
                  <a:pt x="315245" y="161692"/>
                  <a:pt x="435428" y="101600"/>
                </a:cubicBezTo>
                <a:cubicBezTo>
                  <a:pt x="451030" y="93799"/>
                  <a:pt x="464457" y="82248"/>
                  <a:pt x="478971" y="72572"/>
                </a:cubicBezTo>
                <a:cubicBezTo>
                  <a:pt x="508000" y="77410"/>
                  <a:pt x="538138" y="77780"/>
                  <a:pt x="566057" y="87086"/>
                </a:cubicBezTo>
                <a:cubicBezTo>
                  <a:pt x="582606" y="92602"/>
                  <a:pt x="593566" y="109243"/>
                  <a:pt x="609600" y="116115"/>
                </a:cubicBezTo>
                <a:cubicBezTo>
                  <a:pt x="627935" y="123973"/>
                  <a:pt x="648305" y="125791"/>
                  <a:pt x="667657" y="130629"/>
                </a:cubicBezTo>
                <a:cubicBezTo>
                  <a:pt x="696686" y="125791"/>
                  <a:pt x="726555" y="124571"/>
                  <a:pt x="754743" y="116115"/>
                </a:cubicBezTo>
                <a:cubicBezTo>
                  <a:pt x="775467" y="109898"/>
                  <a:pt x="792913" y="95609"/>
                  <a:pt x="812800" y="87086"/>
                </a:cubicBezTo>
                <a:cubicBezTo>
                  <a:pt x="826862" y="81059"/>
                  <a:pt x="841829" y="77410"/>
                  <a:pt x="856343" y="72572"/>
                </a:cubicBezTo>
                <a:cubicBezTo>
                  <a:pt x="966832" y="109401"/>
                  <a:pt x="913424" y="95599"/>
                  <a:pt x="1016000" y="116115"/>
                </a:cubicBezTo>
                <a:cubicBezTo>
                  <a:pt x="1140802" y="199314"/>
                  <a:pt x="982890" y="99558"/>
                  <a:pt x="1103086" y="159657"/>
                </a:cubicBezTo>
                <a:cubicBezTo>
                  <a:pt x="1118688" y="167458"/>
                  <a:pt x="1132114" y="179010"/>
                  <a:pt x="1146628" y="188686"/>
                </a:cubicBezTo>
                <a:cubicBezTo>
                  <a:pt x="1158433" y="153274"/>
                  <a:pt x="1162036" y="129735"/>
                  <a:pt x="1190171" y="101600"/>
                </a:cubicBezTo>
                <a:cubicBezTo>
                  <a:pt x="1202506" y="89265"/>
                  <a:pt x="1219200" y="82248"/>
                  <a:pt x="1233714" y="72572"/>
                </a:cubicBezTo>
                <a:cubicBezTo>
                  <a:pt x="1357253" y="154931"/>
                  <a:pt x="1286125" y="126776"/>
                  <a:pt x="1451428" y="145143"/>
                </a:cubicBezTo>
                <a:cubicBezTo>
                  <a:pt x="1472848" y="113014"/>
                  <a:pt x="1490474" y="80408"/>
                  <a:pt x="1524000" y="58057"/>
                </a:cubicBezTo>
                <a:cubicBezTo>
                  <a:pt x="1536730" y="49570"/>
                  <a:pt x="1553029" y="48381"/>
                  <a:pt x="1567543" y="43543"/>
                </a:cubicBezTo>
                <a:cubicBezTo>
                  <a:pt x="1579053" y="60808"/>
                  <a:pt x="1618248" y="125770"/>
                  <a:pt x="1640114" y="130629"/>
                </a:cubicBezTo>
                <a:cubicBezTo>
                  <a:pt x="1668842" y="137013"/>
                  <a:pt x="1698113" y="120590"/>
                  <a:pt x="1727200" y="116115"/>
                </a:cubicBezTo>
                <a:cubicBezTo>
                  <a:pt x="1862410" y="95313"/>
                  <a:pt x="1787528" y="111918"/>
                  <a:pt x="1886857" y="87086"/>
                </a:cubicBezTo>
                <a:cubicBezTo>
                  <a:pt x="1915886" y="91924"/>
                  <a:pt x="1945215" y="95216"/>
                  <a:pt x="1973943" y="101600"/>
                </a:cubicBezTo>
                <a:cubicBezTo>
                  <a:pt x="1988878" y="104919"/>
                  <a:pt x="2002186" y="116115"/>
                  <a:pt x="2017486" y="116115"/>
                </a:cubicBezTo>
                <a:cubicBezTo>
                  <a:pt x="2032785" y="116115"/>
                  <a:pt x="2046514" y="106438"/>
                  <a:pt x="2061028" y="101600"/>
                </a:cubicBezTo>
                <a:cubicBezTo>
                  <a:pt x="2080381" y="111276"/>
                  <a:pt x="2100300" y="119894"/>
                  <a:pt x="2119086" y="130629"/>
                </a:cubicBezTo>
                <a:cubicBezTo>
                  <a:pt x="2134231" y="139283"/>
                  <a:pt x="2145184" y="159657"/>
                  <a:pt x="2162628" y="159657"/>
                </a:cubicBezTo>
                <a:cubicBezTo>
                  <a:pt x="2211967" y="159657"/>
                  <a:pt x="2259277" y="139721"/>
                  <a:pt x="2307771" y="130629"/>
                </a:cubicBezTo>
                <a:cubicBezTo>
                  <a:pt x="2450111" y="103941"/>
                  <a:pt x="2342191" y="129282"/>
                  <a:pt x="2452914" y="101600"/>
                </a:cubicBezTo>
                <a:cubicBezTo>
                  <a:pt x="2481943" y="106438"/>
                  <a:pt x="2511703" y="124200"/>
                  <a:pt x="2540000" y="116115"/>
                </a:cubicBezTo>
                <a:cubicBezTo>
                  <a:pt x="2554711" y="111912"/>
                  <a:pt x="2543696" y="83390"/>
                  <a:pt x="2554514" y="72572"/>
                </a:cubicBezTo>
                <a:cubicBezTo>
                  <a:pt x="2565332" y="61754"/>
                  <a:pt x="2583543" y="62895"/>
                  <a:pt x="2598057" y="58057"/>
                </a:cubicBezTo>
                <a:cubicBezTo>
                  <a:pt x="2644806" y="69745"/>
                  <a:pt x="2673304" y="72410"/>
                  <a:pt x="2714171" y="101600"/>
                </a:cubicBezTo>
                <a:cubicBezTo>
                  <a:pt x="2730874" y="113531"/>
                  <a:pt x="2743200" y="130629"/>
                  <a:pt x="2757714" y="145143"/>
                </a:cubicBezTo>
                <a:cubicBezTo>
                  <a:pt x="2773548" y="121392"/>
                  <a:pt x="2795099" y="76970"/>
                  <a:pt x="2830286" y="72572"/>
                </a:cubicBezTo>
                <a:cubicBezTo>
                  <a:pt x="2854765" y="69512"/>
                  <a:pt x="2878667" y="82248"/>
                  <a:pt x="2902857" y="87086"/>
                </a:cubicBezTo>
                <a:cubicBezTo>
                  <a:pt x="2924873" y="101764"/>
                  <a:pt x="2959896" y="130629"/>
                  <a:pt x="2989943" y="130629"/>
                </a:cubicBezTo>
                <a:cubicBezTo>
                  <a:pt x="3014612" y="130629"/>
                  <a:pt x="3038324" y="120953"/>
                  <a:pt x="3062514" y="116115"/>
                </a:cubicBezTo>
                <a:cubicBezTo>
                  <a:pt x="3081866" y="106439"/>
                  <a:pt x="3099847" y="93303"/>
                  <a:pt x="3120571" y="87086"/>
                </a:cubicBezTo>
                <a:cubicBezTo>
                  <a:pt x="3210600" y="60077"/>
                  <a:pt x="3252751" y="77081"/>
                  <a:pt x="3352800" y="87086"/>
                </a:cubicBezTo>
                <a:cubicBezTo>
                  <a:pt x="3423829" y="69329"/>
                  <a:pt x="3425781" y="61083"/>
                  <a:pt x="3512457" y="87086"/>
                </a:cubicBezTo>
                <a:cubicBezTo>
                  <a:pt x="3529165" y="92099"/>
                  <a:pt x="3540398" y="108314"/>
                  <a:pt x="3556000" y="116115"/>
                </a:cubicBezTo>
                <a:cubicBezTo>
                  <a:pt x="3569684" y="122957"/>
                  <a:pt x="3585029" y="125791"/>
                  <a:pt x="3599543" y="130629"/>
                </a:cubicBezTo>
                <a:cubicBezTo>
                  <a:pt x="3699358" y="64085"/>
                  <a:pt x="3653531" y="83605"/>
                  <a:pt x="3730171" y="58057"/>
                </a:cubicBezTo>
                <a:cubicBezTo>
                  <a:pt x="3749523" y="62895"/>
                  <a:pt x="3769550" y="65568"/>
                  <a:pt x="3788228" y="72572"/>
                </a:cubicBezTo>
                <a:cubicBezTo>
                  <a:pt x="3814046" y="82254"/>
                  <a:pt x="3866855" y="111484"/>
                  <a:pt x="3889828" y="130629"/>
                </a:cubicBezTo>
                <a:cubicBezTo>
                  <a:pt x="3905597" y="143770"/>
                  <a:pt x="3918857" y="159658"/>
                  <a:pt x="3933371" y="174172"/>
                </a:cubicBezTo>
                <a:cubicBezTo>
                  <a:pt x="3952723" y="159658"/>
                  <a:pt x="3971743" y="144689"/>
                  <a:pt x="3991428" y="130629"/>
                </a:cubicBezTo>
                <a:cubicBezTo>
                  <a:pt x="4005623" y="120490"/>
                  <a:pt x="4017702" y="104067"/>
                  <a:pt x="4034971" y="101600"/>
                </a:cubicBezTo>
                <a:cubicBezTo>
                  <a:pt x="4054719" y="98779"/>
                  <a:pt x="4073676" y="111277"/>
                  <a:pt x="4093028" y="116115"/>
                </a:cubicBezTo>
                <a:cubicBezTo>
                  <a:pt x="4160346" y="160993"/>
                  <a:pt x="4117243" y="149533"/>
                  <a:pt x="4209143" y="116115"/>
                </a:cubicBezTo>
                <a:cubicBezTo>
                  <a:pt x="4237899" y="105658"/>
                  <a:pt x="4296228" y="87086"/>
                  <a:pt x="4296228" y="87086"/>
                </a:cubicBezTo>
                <a:cubicBezTo>
                  <a:pt x="4310742" y="77410"/>
                  <a:pt x="4322434" y="59983"/>
                  <a:pt x="4339771" y="58057"/>
                </a:cubicBezTo>
                <a:cubicBezTo>
                  <a:pt x="4378085" y="53800"/>
                  <a:pt x="4432139" y="74333"/>
                  <a:pt x="4470400" y="87086"/>
                </a:cubicBezTo>
                <a:cubicBezTo>
                  <a:pt x="4475238" y="67734"/>
                  <a:pt x="4472453" y="44606"/>
                  <a:pt x="4484914" y="29029"/>
                </a:cubicBezTo>
                <a:cubicBezTo>
                  <a:pt x="4520930" y="-15991"/>
                  <a:pt x="4564403" y="41474"/>
                  <a:pt x="4586514" y="58057"/>
                </a:cubicBezTo>
                <a:cubicBezTo>
                  <a:pt x="4596190" y="72571"/>
                  <a:pt x="4603208" y="89265"/>
                  <a:pt x="4615543" y="101600"/>
                </a:cubicBezTo>
                <a:cubicBezTo>
                  <a:pt x="4627878" y="113935"/>
                  <a:pt x="4648189" y="117007"/>
                  <a:pt x="4659086" y="130629"/>
                </a:cubicBezTo>
                <a:cubicBezTo>
                  <a:pt x="4668643" y="142576"/>
                  <a:pt x="4668762" y="159658"/>
                  <a:pt x="4673600" y="174172"/>
                </a:cubicBezTo>
                <a:cubicBezTo>
                  <a:pt x="4697790" y="169334"/>
                  <a:pt x="4722371" y="166148"/>
                  <a:pt x="4746171" y="159657"/>
                </a:cubicBezTo>
                <a:cubicBezTo>
                  <a:pt x="4775692" y="151606"/>
                  <a:pt x="4833257" y="130629"/>
                  <a:pt x="4833257" y="130629"/>
                </a:cubicBezTo>
                <a:cubicBezTo>
                  <a:pt x="4881638" y="135467"/>
                  <a:pt x="4931023" y="134210"/>
                  <a:pt x="4978400" y="145143"/>
                </a:cubicBezTo>
                <a:cubicBezTo>
                  <a:pt x="4995397" y="149065"/>
                  <a:pt x="5004521" y="173301"/>
                  <a:pt x="5021943" y="174172"/>
                </a:cubicBezTo>
                <a:lnTo>
                  <a:pt x="5268686" y="159657"/>
                </a:lnTo>
                <a:cubicBezTo>
                  <a:pt x="5283200" y="149981"/>
                  <a:pt x="5294891" y="132555"/>
                  <a:pt x="5312228" y="130629"/>
                </a:cubicBezTo>
                <a:cubicBezTo>
                  <a:pt x="5392728" y="121685"/>
                  <a:pt x="5397220" y="143049"/>
                  <a:pt x="5442857" y="188686"/>
                </a:cubicBezTo>
                <a:cubicBezTo>
                  <a:pt x="5462209" y="183848"/>
                  <a:pt x="5484316" y="185237"/>
                  <a:pt x="5500914" y="174172"/>
                </a:cubicBezTo>
                <a:cubicBezTo>
                  <a:pt x="5515428" y="164496"/>
                  <a:pt x="5514002" y="137714"/>
                  <a:pt x="5529943" y="130629"/>
                </a:cubicBezTo>
                <a:cubicBezTo>
                  <a:pt x="5561205" y="116735"/>
                  <a:pt x="5597676" y="120953"/>
                  <a:pt x="5631543" y="116115"/>
                </a:cubicBezTo>
                <a:cubicBezTo>
                  <a:pt x="5660571" y="120953"/>
                  <a:pt x="5690709" y="121323"/>
                  <a:pt x="5718628" y="130629"/>
                </a:cubicBezTo>
                <a:cubicBezTo>
                  <a:pt x="5735177" y="136145"/>
                  <a:pt x="5745342" y="155067"/>
                  <a:pt x="5762171" y="159657"/>
                </a:cubicBezTo>
                <a:cubicBezTo>
                  <a:pt x="5799803" y="169920"/>
                  <a:pt x="5839581" y="169334"/>
                  <a:pt x="5878286" y="174172"/>
                </a:cubicBezTo>
                <a:cubicBezTo>
                  <a:pt x="5976529" y="141424"/>
                  <a:pt x="5940749" y="136034"/>
                  <a:pt x="6023428" y="159657"/>
                </a:cubicBezTo>
                <a:cubicBezTo>
                  <a:pt x="6038139" y="163860"/>
                  <a:pt x="6052457" y="169334"/>
                  <a:pt x="6066971" y="174172"/>
                </a:cubicBezTo>
                <a:cubicBezTo>
                  <a:pt x="6163543" y="125885"/>
                  <a:pt x="6085055" y="158764"/>
                  <a:pt x="6197600" y="130629"/>
                </a:cubicBezTo>
                <a:cubicBezTo>
                  <a:pt x="6212443" y="126918"/>
                  <a:pt x="6226208" y="119434"/>
                  <a:pt x="6241143" y="116115"/>
                </a:cubicBezTo>
                <a:cubicBezTo>
                  <a:pt x="6313389" y="100060"/>
                  <a:pt x="6458857" y="72572"/>
                  <a:pt x="6458857" y="72572"/>
                </a:cubicBezTo>
                <a:cubicBezTo>
                  <a:pt x="6483047" y="62896"/>
                  <a:pt x="6508125" y="55195"/>
                  <a:pt x="6531428" y="43543"/>
                </a:cubicBezTo>
                <a:cubicBezTo>
                  <a:pt x="6643974" y="-12730"/>
                  <a:pt x="6509067" y="36484"/>
                  <a:pt x="6618514" y="0"/>
                </a:cubicBezTo>
                <a:cubicBezTo>
                  <a:pt x="6701788" y="27759"/>
                  <a:pt x="6624059" y="-5363"/>
                  <a:pt x="6705600" y="58057"/>
                </a:cubicBezTo>
                <a:cubicBezTo>
                  <a:pt x="6733139" y="79476"/>
                  <a:pt x="6763657" y="96762"/>
                  <a:pt x="6792686" y="116115"/>
                </a:cubicBezTo>
                <a:lnTo>
                  <a:pt x="6836228" y="145143"/>
                </a:lnTo>
                <a:cubicBezTo>
                  <a:pt x="6855581" y="140305"/>
                  <a:pt x="6875608" y="137633"/>
                  <a:pt x="6894286" y="130629"/>
                </a:cubicBezTo>
                <a:cubicBezTo>
                  <a:pt x="6914545" y="123032"/>
                  <a:pt x="6932456" y="110123"/>
                  <a:pt x="6952343" y="101600"/>
                </a:cubicBezTo>
                <a:cubicBezTo>
                  <a:pt x="6966405" y="95573"/>
                  <a:pt x="6981372" y="91924"/>
                  <a:pt x="6995886" y="87086"/>
                </a:cubicBezTo>
                <a:cubicBezTo>
                  <a:pt x="7024914" y="91924"/>
                  <a:pt x="7055052" y="92294"/>
                  <a:pt x="7082971" y="101600"/>
                </a:cubicBezTo>
                <a:cubicBezTo>
                  <a:pt x="7099520" y="107116"/>
                  <a:pt x="7109741" y="135421"/>
                  <a:pt x="7126514" y="130629"/>
                </a:cubicBezTo>
                <a:cubicBezTo>
                  <a:pt x="7152829" y="123110"/>
                  <a:pt x="7161363" y="87077"/>
                  <a:pt x="7184571" y="72572"/>
                </a:cubicBezTo>
                <a:cubicBezTo>
                  <a:pt x="7201487" y="62000"/>
                  <a:pt x="7223276" y="62895"/>
                  <a:pt x="7242628" y="58057"/>
                </a:cubicBezTo>
                <a:cubicBezTo>
                  <a:pt x="7257142" y="72571"/>
                  <a:pt x="7273030" y="85831"/>
                  <a:pt x="7286171" y="101600"/>
                </a:cubicBezTo>
                <a:cubicBezTo>
                  <a:pt x="7297338" y="115001"/>
                  <a:pt x="7297993" y="142275"/>
                  <a:pt x="7315200" y="145143"/>
                </a:cubicBezTo>
                <a:cubicBezTo>
                  <a:pt x="7336542" y="148700"/>
                  <a:pt x="7353370" y="124638"/>
                  <a:pt x="7373257" y="116115"/>
                </a:cubicBezTo>
                <a:cubicBezTo>
                  <a:pt x="7387319" y="110088"/>
                  <a:pt x="7402286" y="106438"/>
                  <a:pt x="7416800" y="101600"/>
                </a:cubicBezTo>
                <a:cubicBezTo>
                  <a:pt x="7445829" y="111276"/>
                  <a:pt x="7477938" y="114411"/>
                  <a:pt x="7503886" y="130629"/>
                </a:cubicBezTo>
                <a:cubicBezTo>
                  <a:pt x="7584072" y="180746"/>
                  <a:pt x="7470142" y="189866"/>
                  <a:pt x="7590971" y="159657"/>
                </a:cubicBezTo>
                <a:cubicBezTo>
                  <a:pt x="7615162" y="164495"/>
                  <a:pt x="7639064" y="177232"/>
                  <a:pt x="7663543" y="174172"/>
                </a:cubicBezTo>
                <a:cubicBezTo>
                  <a:pt x="7680852" y="172008"/>
                  <a:pt x="7689923" y="142023"/>
                  <a:pt x="7707086" y="145143"/>
                </a:cubicBezTo>
                <a:cubicBezTo>
                  <a:pt x="7749661" y="152884"/>
                  <a:pt x="7784495" y="183848"/>
                  <a:pt x="7823200" y="203200"/>
                </a:cubicBezTo>
                <a:cubicBezTo>
                  <a:pt x="7837714" y="188686"/>
                  <a:pt x="7855357" y="176736"/>
                  <a:pt x="7866743" y="159657"/>
                </a:cubicBezTo>
                <a:cubicBezTo>
                  <a:pt x="7900641" y="108811"/>
                  <a:pt x="7852716" y="97088"/>
                  <a:pt x="7924800" y="145143"/>
                </a:cubicBezTo>
                <a:cubicBezTo>
                  <a:pt x="7934476" y="159657"/>
                  <a:pt x="7939314" y="179010"/>
                  <a:pt x="7953828" y="188686"/>
                </a:cubicBezTo>
                <a:cubicBezTo>
                  <a:pt x="7962610" y="194540"/>
                  <a:pt x="8082861" y="217396"/>
                  <a:pt x="8084457" y="217715"/>
                </a:cubicBezTo>
                <a:cubicBezTo>
                  <a:pt x="8098971" y="237067"/>
                  <a:pt x="8105051" y="268122"/>
                  <a:pt x="8128000" y="275772"/>
                </a:cubicBezTo>
                <a:cubicBezTo>
                  <a:pt x="8144549" y="281288"/>
                  <a:pt x="8154336" y="243875"/>
                  <a:pt x="8171543" y="246743"/>
                </a:cubicBezTo>
                <a:cubicBezTo>
                  <a:pt x="8191790" y="250117"/>
                  <a:pt x="8200572" y="275772"/>
                  <a:pt x="8215086" y="290286"/>
                </a:cubicBezTo>
                <a:cubicBezTo>
                  <a:pt x="8219924" y="275772"/>
                  <a:pt x="8220207" y="258820"/>
                  <a:pt x="8229600" y="246743"/>
                </a:cubicBezTo>
                <a:cubicBezTo>
                  <a:pt x="8283134" y="177914"/>
                  <a:pt x="8302026" y="169431"/>
                  <a:pt x="8360228" y="130629"/>
                </a:cubicBezTo>
                <a:cubicBezTo>
                  <a:pt x="8374742" y="135467"/>
                  <a:pt x="8391041" y="136656"/>
                  <a:pt x="8403771" y="145143"/>
                </a:cubicBezTo>
                <a:cubicBezTo>
                  <a:pt x="8437297" y="167494"/>
                  <a:pt x="8454923" y="200100"/>
                  <a:pt x="8476343" y="232229"/>
                </a:cubicBezTo>
                <a:cubicBezTo>
                  <a:pt x="8480993" y="213628"/>
                  <a:pt x="8482344" y="138835"/>
                  <a:pt x="8534400" y="159657"/>
                </a:cubicBezTo>
                <a:cubicBezTo>
                  <a:pt x="8550596" y="166135"/>
                  <a:pt x="8553752" y="188686"/>
                  <a:pt x="8563428" y="203200"/>
                </a:cubicBezTo>
                <a:cubicBezTo>
                  <a:pt x="8648197" y="174944"/>
                  <a:pt x="8570348" y="210795"/>
                  <a:pt x="8636000" y="145143"/>
                </a:cubicBezTo>
                <a:cubicBezTo>
                  <a:pt x="8669411" y="111733"/>
                  <a:pt x="8693187" y="112704"/>
                  <a:pt x="8737600" y="101600"/>
                </a:cubicBezTo>
                <a:cubicBezTo>
                  <a:pt x="8795657" y="106438"/>
                  <a:pt x="8855480" y="101104"/>
                  <a:pt x="8911771" y="116115"/>
                </a:cubicBezTo>
                <a:cubicBezTo>
                  <a:pt x="8931604" y="121404"/>
                  <a:pt x="8938611" y="147726"/>
                  <a:pt x="8955314" y="159657"/>
                </a:cubicBezTo>
                <a:cubicBezTo>
                  <a:pt x="8972920" y="172233"/>
                  <a:pt x="8994019" y="179010"/>
                  <a:pt x="9013371" y="188686"/>
                </a:cubicBezTo>
                <a:cubicBezTo>
                  <a:pt x="9042400" y="183848"/>
                  <a:pt x="9076510" y="191277"/>
                  <a:pt x="9100457" y="174172"/>
                </a:cubicBezTo>
                <a:cubicBezTo>
                  <a:pt x="9116689" y="162578"/>
                  <a:pt x="9102510" y="131692"/>
                  <a:pt x="9114971" y="116115"/>
                </a:cubicBezTo>
                <a:cubicBezTo>
                  <a:pt x="9124528" y="104168"/>
                  <a:pt x="9144000" y="106438"/>
                  <a:pt x="9158514" y="101600"/>
                </a:cubicBezTo>
                <a:cubicBezTo>
                  <a:pt x="9245731" y="130674"/>
                  <a:pt x="9253473" y="137166"/>
                  <a:pt x="9390743" y="130629"/>
                </a:cubicBezTo>
                <a:cubicBezTo>
                  <a:pt x="9430594" y="128731"/>
                  <a:pt x="9469285" y="115019"/>
                  <a:pt x="9506857" y="101600"/>
                </a:cubicBezTo>
                <a:cubicBezTo>
                  <a:pt x="9537421" y="90684"/>
                  <a:pt x="9564914" y="72571"/>
                  <a:pt x="9593943" y="58057"/>
                </a:cubicBezTo>
                <a:cubicBezTo>
                  <a:pt x="9618133" y="67733"/>
                  <a:pt x="9646732" y="70130"/>
                  <a:pt x="9666514" y="87086"/>
                </a:cubicBezTo>
                <a:cubicBezTo>
                  <a:pt x="9736821" y="147349"/>
                  <a:pt x="9650667" y="160101"/>
                  <a:pt x="9739086" y="130629"/>
                </a:cubicBezTo>
                <a:cubicBezTo>
                  <a:pt x="9848532" y="167111"/>
                  <a:pt x="9713623" y="117898"/>
                  <a:pt x="9826171" y="174172"/>
                </a:cubicBezTo>
                <a:cubicBezTo>
                  <a:pt x="9839855" y="181014"/>
                  <a:pt x="9855200" y="183848"/>
                  <a:pt x="9869714" y="188686"/>
                </a:cubicBezTo>
                <a:cubicBezTo>
                  <a:pt x="9893905" y="183848"/>
                  <a:pt x="9917616" y="174172"/>
                  <a:pt x="9942286" y="174172"/>
                </a:cubicBezTo>
                <a:cubicBezTo>
                  <a:pt x="9957585" y="174172"/>
                  <a:pt x="9970647" y="190584"/>
                  <a:pt x="9985828" y="188686"/>
                </a:cubicBezTo>
                <a:cubicBezTo>
                  <a:pt x="10011681" y="185454"/>
                  <a:pt x="10034209" y="169333"/>
                  <a:pt x="10058400" y="159657"/>
                </a:cubicBezTo>
                <a:cubicBezTo>
                  <a:pt x="10103650" y="103094"/>
                  <a:pt x="10113475" y="78422"/>
                  <a:pt x="10174514" y="43543"/>
                </a:cubicBezTo>
                <a:cubicBezTo>
                  <a:pt x="10187798" y="35952"/>
                  <a:pt x="10203543" y="33867"/>
                  <a:pt x="10218057" y="29029"/>
                </a:cubicBezTo>
                <a:cubicBezTo>
                  <a:pt x="10334949" y="116699"/>
                  <a:pt x="10230168" y="58057"/>
                  <a:pt x="10464800" y="58057"/>
                </a:cubicBezTo>
                <a:cubicBezTo>
                  <a:pt x="10503806" y="58057"/>
                  <a:pt x="10542209" y="67734"/>
                  <a:pt x="10580914" y="72572"/>
                </a:cubicBezTo>
                <a:cubicBezTo>
                  <a:pt x="10600266" y="87086"/>
                  <a:pt x="10614781" y="116115"/>
                  <a:pt x="10638971" y="116115"/>
                </a:cubicBezTo>
                <a:cubicBezTo>
                  <a:pt x="10659497" y="116115"/>
                  <a:pt x="10666745" y="85713"/>
                  <a:pt x="10682514" y="72572"/>
                </a:cubicBezTo>
                <a:cubicBezTo>
                  <a:pt x="10720030" y="41308"/>
                  <a:pt x="10725959" y="43576"/>
                  <a:pt x="10769600" y="29029"/>
                </a:cubicBezTo>
                <a:cubicBezTo>
                  <a:pt x="10788952" y="38705"/>
                  <a:pt x="10809104" y="46925"/>
                  <a:pt x="10827657" y="58057"/>
                </a:cubicBezTo>
                <a:cubicBezTo>
                  <a:pt x="10952428" y="132920"/>
                  <a:pt x="10870701" y="101435"/>
                  <a:pt x="10958286" y="130629"/>
                </a:cubicBezTo>
                <a:cubicBezTo>
                  <a:pt x="10982476" y="125791"/>
                  <a:pt x="11006924" y="122098"/>
                  <a:pt x="11030857" y="116115"/>
                </a:cubicBezTo>
                <a:cubicBezTo>
                  <a:pt x="11045700" y="112404"/>
                  <a:pt x="11059176" y="100078"/>
                  <a:pt x="11074400" y="101600"/>
                </a:cubicBezTo>
                <a:cubicBezTo>
                  <a:pt x="11109447" y="105105"/>
                  <a:pt x="11142133" y="120953"/>
                  <a:pt x="11176000" y="130629"/>
                </a:cubicBezTo>
                <a:cubicBezTo>
                  <a:pt x="11185676" y="145143"/>
                  <a:pt x="11187644" y="172723"/>
                  <a:pt x="11205028" y="174172"/>
                </a:cubicBezTo>
                <a:cubicBezTo>
                  <a:pt x="11305981" y="182585"/>
                  <a:pt x="11330789" y="158064"/>
                  <a:pt x="11393714" y="116115"/>
                </a:cubicBezTo>
                <a:cubicBezTo>
                  <a:pt x="11408228" y="120953"/>
                  <a:pt x="11423573" y="123787"/>
                  <a:pt x="11437257" y="130629"/>
                </a:cubicBezTo>
                <a:cubicBezTo>
                  <a:pt x="11452859" y="138430"/>
                  <a:pt x="11463593" y="156789"/>
                  <a:pt x="11480800" y="159657"/>
                </a:cubicBezTo>
                <a:cubicBezTo>
                  <a:pt x="11495891" y="162172"/>
                  <a:pt x="11509829" y="149981"/>
                  <a:pt x="11524343" y="145143"/>
                </a:cubicBezTo>
                <a:cubicBezTo>
                  <a:pt x="11543695" y="149981"/>
                  <a:pt x="11563476" y="153349"/>
                  <a:pt x="11582400" y="159657"/>
                </a:cubicBezTo>
                <a:cubicBezTo>
                  <a:pt x="11607117" y="167896"/>
                  <a:pt x="11630576" y="179538"/>
                  <a:pt x="11654971" y="188686"/>
                </a:cubicBezTo>
                <a:cubicBezTo>
                  <a:pt x="11669296" y="194058"/>
                  <a:pt x="11684000" y="198362"/>
                  <a:pt x="11698514" y="203200"/>
                </a:cubicBezTo>
                <a:cubicBezTo>
                  <a:pt x="11746147" y="131751"/>
                  <a:pt x="11745193" y="112250"/>
                  <a:pt x="11814628" y="72572"/>
                </a:cubicBezTo>
                <a:cubicBezTo>
                  <a:pt x="11827912" y="64981"/>
                  <a:pt x="11843657" y="62895"/>
                  <a:pt x="11858171" y="58057"/>
                </a:cubicBezTo>
                <a:cubicBezTo>
                  <a:pt x="11872685" y="62895"/>
                  <a:pt x="11886414" y="72572"/>
                  <a:pt x="11901714" y="72572"/>
                </a:cubicBezTo>
                <a:cubicBezTo>
                  <a:pt x="11921662" y="72572"/>
                  <a:pt x="11940023" y="55236"/>
                  <a:pt x="11959771" y="58057"/>
                </a:cubicBezTo>
                <a:cubicBezTo>
                  <a:pt x="11977040" y="60524"/>
                  <a:pt x="11988800" y="77410"/>
                  <a:pt x="12003314" y="87086"/>
                </a:cubicBezTo>
                <a:cubicBezTo>
                  <a:pt x="12022666" y="116115"/>
                  <a:pt x="12039952" y="146633"/>
                  <a:pt x="12061371" y="174172"/>
                </a:cubicBezTo>
                <a:cubicBezTo>
                  <a:pt x="12073973" y="190375"/>
                  <a:pt x="12086555" y="226895"/>
                  <a:pt x="12104914" y="217715"/>
                </a:cubicBezTo>
                <a:cubicBezTo>
                  <a:pt x="12126979" y="206682"/>
                  <a:pt x="12114590" y="169334"/>
                  <a:pt x="12119428" y="145143"/>
                </a:cubicBezTo>
                <a:cubicBezTo>
                  <a:pt x="12143619" y="149981"/>
                  <a:pt x="12168279" y="166434"/>
                  <a:pt x="12192000" y="159657"/>
                </a:cubicBezTo>
                <a:cubicBezTo>
                  <a:pt x="12212731" y="153734"/>
                  <a:pt x="12230232" y="88503"/>
                  <a:pt x="12235543" y="72572"/>
                </a:cubicBezTo>
                <a:cubicBezTo>
                  <a:pt x="12338757" y="141380"/>
                  <a:pt x="12219416" y="81173"/>
                  <a:pt x="12322628" y="72572"/>
                </a:cubicBezTo>
                <a:cubicBezTo>
                  <a:pt x="12366288" y="68934"/>
                  <a:pt x="12409714" y="82248"/>
                  <a:pt x="12453257" y="87086"/>
                </a:cubicBezTo>
                <a:cubicBezTo>
                  <a:pt x="12467771" y="96762"/>
                  <a:pt x="12487555" y="101322"/>
                  <a:pt x="12496800" y="116115"/>
                </a:cubicBezTo>
                <a:cubicBezTo>
                  <a:pt x="12513017" y="142063"/>
                  <a:pt x="12508855" y="177741"/>
                  <a:pt x="12525828" y="203200"/>
                </a:cubicBezTo>
                <a:lnTo>
                  <a:pt x="12554857" y="246743"/>
                </a:lnTo>
                <a:cubicBezTo>
                  <a:pt x="12550019" y="266095"/>
                  <a:pt x="12555489" y="291818"/>
                  <a:pt x="12540343" y="304800"/>
                </a:cubicBezTo>
                <a:cubicBezTo>
                  <a:pt x="12517111" y="324714"/>
                  <a:pt x="12478717" y="316856"/>
                  <a:pt x="12453257" y="333829"/>
                </a:cubicBezTo>
                <a:cubicBezTo>
                  <a:pt x="12438743" y="343505"/>
                  <a:pt x="12426263" y="357341"/>
                  <a:pt x="12409714" y="362857"/>
                </a:cubicBezTo>
                <a:cubicBezTo>
                  <a:pt x="12381795" y="372163"/>
                  <a:pt x="12352025" y="376005"/>
                  <a:pt x="12322628" y="377372"/>
                </a:cubicBezTo>
                <a:cubicBezTo>
                  <a:pt x="12143747" y="385692"/>
                  <a:pt x="11964542" y="385004"/>
                  <a:pt x="11785600" y="391886"/>
                </a:cubicBezTo>
                <a:cubicBezTo>
                  <a:pt x="11587149" y="399519"/>
                  <a:pt x="11190514" y="420915"/>
                  <a:pt x="11190514" y="420915"/>
                </a:cubicBezTo>
                <a:cubicBezTo>
                  <a:pt x="11156647" y="425753"/>
                  <a:pt x="11123016" y="432701"/>
                  <a:pt x="11088914" y="435429"/>
                </a:cubicBezTo>
                <a:cubicBezTo>
                  <a:pt x="10940312" y="447317"/>
                  <a:pt x="10590718" y="459420"/>
                  <a:pt x="10464800" y="464457"/>
                </a:cubicBezTo>
                <a:cubicBezTo>
                  <a:pt x="10412811" y="473122"/>
                  <a:pt x="10326821" y="488149"/>
                  <a:pt x="10276114" y="493486"/>
                </a:cubicBezTo>
                <a:cubicBezTo>
                  <a:pt x="10218176" y="499585"/>
                  <a:pt x="10160108" y="504708"/>
                  <a:pt x="10101943" y="508000"/>
                </a:cubicBezTo>
                <a:lnTo>
                  <a:pt x="9506857" y="537029"/>
                </a:lnTo>
                <a:cubicBezTo>
                  <a:pt x="7021676" y="496946"/>
                  <a:pt x="10127457" y="537029"/>
                  <a:pt x="7765143" y="537029"/>
                </a:cubicBezTo>
                <a:lnTo>
                  <a:pt x="2061028" y="522515"/>
                </a:lnTo>
                <a:cubicBezTo>
                  <a:pt x="1850113" y="487360"/>
                  <a:pt x="2039664" y="515278"/>
                  <a:pt x="1625600" y="493486"/>
                </a:cubicBezTo>
                <a:cubicBezTo>
                  <a:pt x="1557788" y="489917"/>
                  <a:pt x="1490287" y="480569"/>
                  <a:pt x="1422400" y="478972"/>
                </a:cubicBezTo>
                <a:lnTo>
                  <a:pt x="391886" y="464457"/>
                </a:lnTo>
                <a:cubicBezTo>
                  <a:pt x="353181" y="459619"/>
                  <a:pt x="314601" y="453641"/>
                  <a:pt x="275771" y="449943"/>
                </a:cubicBezTo>
                <a:cubicBezTo>
                  <a:pt x="63089" y="429688"/>
                  <a:pt x="141399" y="471638"/>
                  <a:pt x="43543" y="406400"/>
                </a:cubicBezTo>
                <a:cubicBezTo>
                  <a:pt x="33867" y="391886"/>
                  <a:pt x="22315" y="378459"/>
                  <a:pt x="14514" y="362857"/>
                </a:cubicBezTo>
                <a:cubicBezTo>
                  <a:pt x="7672" y="349173"/>
                  <a:pt x="0" y="334614"/>
                  <a:pt x="0" y="319315"/>
                </a:cubicBezTo>
                <a:cubicBezTo>
                  <a:pt x="0" y="203265"/>
                  <a:pt x="229163" y="234521"/>
                  <a:pt x="261257" y="232229"/>
                </a:cubicBezTo>
                <a:cubicBezTo>
                  <a:pt x="245213" y="184096"/>
                  <a:pt x="210457" y="234648"/>
                  <a:pt x="217714" y="217715"/>
                </a:cubicBezTo>
                <a:close/>
              </a:path>
            </a:pathLst>
          </a:custGeom>
          <a:solidFill>
            <a:srgbClr val="63A6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0" name="Picture 689" descr="A picture containing computer, computer, light&#10;&#10;Description automatically generated">
            <a:extLst>
              <a:ext uri="{FF2B5EF4-FFF2-40B4-BE49-F238E27FC236}">
                <a16:creationId xmlns:a16="http://schemas.microsoft.com/office/drawing/2014/main" id="{76244CE3-D648-4CC1-8531-BB792B93CA72}"/>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69510" y="3010020"/>
            <a:ext cx="940269" cy="1625347"/>
          </a:xfrm>
          <a:prstGeom prst="rect">
            <a:avLst/>
          </a:prstGeom>
        </p:spPr>
      </p:pic>
      <p:pic>
        <p:nvPicPr>
          <p:cNvPr id="691" name="Picture 690" descr="A picture containing computer, computer, light&#10;&#10;Description automatically generated">
            <a:extLst>
              <a:ext uri="{FF2B5EF4-FFF2-40B4-BE49-F238E27FC236}">
                <a16:creationId xmlns:a16="http://schemas.microsoft.com/office/drawing/2014/main" id="{DBA475A4-12CD-4048-B48F-7BCBF5B00F34}"/>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408907" y="3277571"/>
            <a:ext cx="971879" cy="1679988"/>
          </a:xfrm>
          <a:prstGeom prst="rect">
            <a:avLst/>
          </a:prstGeom>
        </p:spPr>
      </p:pic>
      <p:pic>
        <p:nvPicPr>
          <p:cNvPr id="692" name="Picture 691" descr="A picture containing computer, computer, light&#10;&#10;Description automatically generated">
            <a:extLst>
              <a:ext uri="{FF2B5EF4-FFF2-40B4-BE49-F238E27FC236}">
                <a16:creationId xmlns:a16="http://schemas.microsoft.com/office/drawing/2014/main" id="{E744B8B5-FBC8-4115-A9FE-960DEA8DF1C7}"/>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0042636" y="2307190"/>
            <a:ext cx="674415" cy="1165792"/>
          </a:xfrm>
          <a:prstGeom prst="rect">
            <a:avLst/>
          </a:prstGeom>
        </p:spPr>
      </p:pic>
      <p:pic>
        <p:nvPicPr>
          <p:cNvPr id="693" name="Picture 692" descr="A picture containing computer, computer, light&#10;&#10;Description automatically generated">
            <a:extLst>
              <a:ext uri="{FF2B5EF4-FFF2-40B4-BE49-F238E27FC236}">
                <a16:creationId xmlns:a16="http://schemas.microsoft.com/office/drawing/2014/main" id="{D97E626C-4414-47AD-A20F-9EEB6AED9EF0}"/>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8435864" y="2204286"/>
            <a:ext cx="674415" cy="1165792"/>
          </a:xfrm>
          <a:prstGeom prst="rect">
            <a:avLst/>
          </a:prstGeom>
        </p:spPr>
      </p:pic>
      <p:sp>
        <p:nvSpPr>
          <p:cNvPr id="695" name="Freeform: Shape 694">
            <a:extLst>
              <a:ext uri="{FF2B5EF4-FFF2-40B4-BE49-F238E27FC236}">
                <a16:creationId xmlns:a16="http://schemas.microsoft.com/office/drawing/2014/main" id="{CD698179-F9C3-4AB8-9DE8-5F45CAED85D2}"/>
              </a:ext>
            </a:extLst>
          </p:cNvPr>
          <p:cNvSpPr/>
          <p:nvPr/>
        </p:nvSpPr>
        <p:spPr>
          <a:xfrm>
            <a:off x="5648106" y="3090009"/>
            <a:ext cx="6624639" cy="906902"/>
          </a:xfrm>
          <a:custGeom>
            <a:avLst/>
            <a:gdLst>
              <a:gd name="connsiteX0" fmla="*/ 217714 w 12554857"/>
              <a:gd name="connsiteY0" fmla="*/ 217715 h 537029"/>
              <a:gd name="connsiteX1" fmla="*/ 304800 w 12554857"/>
              <a:gd name="connsiteY1" fmla="*/ 130629 h 537029"/>
              <a:gd name="connsiteX2" fmla="*/ 348343 w 12554857"/>
              <a:gd name="connsiteY2" fmla="*/ 145143 h 537029"/>
              <a:gd name="connsiteX3" fmla="*/ 435428 w 12554857"/>
              <a:gd name="connsiteY3" fmla="*/ 101600 h 537029"/>
              <a:gd name="connsiteX4" fmla="*/ 478971 w 12554857"/>
              <a:gd name="connsiteY4" fmla="*/ 72572 h 537029"/>
              <a:gd name="connsiteX5" fmla="*/ 566057 w 12554857"/>
              <a:gd name="connsiteY5" fmla="*/ 87086 h 537029"/>
              <a:gd name="connsiteX6" fmla="*/ 609600 w 12554857"/>
              <a:gd name="connsiteY6" fmla="*/ 116115 h 537029"/>
              <a:gd name="connsiteX7" fmla="*/ 667657 w 12554857"/>
              <a:gd name="connsiteY7" fmla="*/ 130629 h 537029"/>
              <a:gd name="connsiteX8" fmla="*/ 754743 w 12554857"/>
              <a:gd name="connsiteY8" fmla="*/ 116115 h 537029"/>
              <a:gd name="connsiteX9" fmla="*/ 812800 w 12554857"/>
              <a:gd name="connsiteY9" fmla="*/ 87086 h 537029"/>
              <a:gd name="connsiteX10" fmla="*/ 856343 w 12554857"/>
              <a:gd name="connsiteY10" fmla="*/ 72572 h 537029"/>
              <a:gd name="connsiteX11" fmla="*/ 1016000 w 12554857"/>
              <a:gd name="connsiteY11" fmla="*/ 116115 h 537029"/>
              <a:gd name="connsiteX12" fmla="*/ 1103086 w 12554857"/>
              <a:gd name="connsiteY12" fmla="*/ 159657 h 537029"/>
              <a:gd name="connsiteX13" fmla="*/ 1146628 w 12554857"/>
              <a:gd name="connsiteY13" fmla="*/ 188686 h 537029"/>
              <a:gd name="connsiteX14" fmla="*/ 1190171 w 12554857"/>
              <a:gd name="connsiteY14" fmla="*/ 101600 h 537029"/>
              <a:gd name="connsiteX15" fmla="*/ 1233714 w 12554857"/>
              <a:gd name="connsiteY15" fmla="*/ 72572 h 537029"/>
              <a:gd name="connsiteX16" fmla="*/ 1451428 w 12554857"/>
              <a:gd name="connsiteY16" fmla="*/ 145143 h 537029"/>
              <a:gd name="connsiteX17" fmla="*/ 1524000 w 12554857"/>
              <a:gd name="connsiteY17" fmla="*/ 58057 h 537029"/>
              <a:gd name="connsiteX18" fmla="*/ 1567543 w 12554857"/>
              <a:gd name="connsiteY18" fmla="*/ 43543 h 537029"/>
              <a:gd name="connsiteX19" fmla="*/ 1640114 w 12554857"/>
              <a:gd name="connsiteY19" fmla="*/ 130629 h 537029"/>
              <a:gd name="connsiteX20" fmla="*/ 1727200 w 12554857"/>
              <a:gd name="connsiteY20" fmla="*/ 116115 h 537029"/>
              <a:gd name="connsiteX21" fmla="*/ 1886857 w 12554857"/>
              <a:gd name="connsiteY21" fmla="*/ 87086 h 537029"/>
              <a:gd name="connsiteX22" fmla="*/ 1973943 w 12554857"/>
              <a:gd name="connsiteY22" fmla="*/ 101600 h 537029"/>
              <a:gd name="connsiteX23" fmla="*/ 2017486 w 12554857"/>
              <a:gd name="connsiteY23" fmla="*/ 116115 h 537029"/>
              <a:gd name="connsiteX24" fmla="*/ 2061028 w 12554857"/>
              <a:gd name="connsiteY24" fmla="*/ 101600 h 537029"/>
              <a:gd name="connsiteX25" fmla="*/ 2119086 w 12554857"/>
              <a:gd name="connsiteY25" fmla="*/ 130629 h 537029"/>
              <a:gd name="connsiteX26" fmla="*/ 2162628 w 12554857"/>
              <a:gd name="connsiteY26" fmla="*/ 159657 h 537029"/>
              <a:gd name="connsiteX27" fmla="*/ 2307771 w 12554857"/>
              <a:gd name="connsiteY27" fmla="*/ 130629 h 537029"/>
              <a:gd name="connsiteX28" fmla="*/ 2452914 w 12554857"/>
              <a:gd name="connsiteY28" fmla="*/ 101600 h 537029"/>
              <a:gd name="connsiteX29" fmla="*/ 2540000 w 12554857"/>
              <a:gd name="connsiteY29" fmla="*/ 116115 h 537029"/>
              <a:gd name="connsiteX30" fmla="*/ 2554514 w 12554857"/>
              <a:gd name="connsiteY30" fmla="*/ 72572 h 537029"/>
              <a:gd name="connsiteX31" fmla="*/ 2598057 w 12554857"/>
              <a:gd name="connsiteY31" fmla="*/ 58057 h 537029"/>
              <a:gd name="connsiteX32" fmla="*/ 2714171 w 12554857"/>
              <a:gd name="connsiteY32" fmla="*/ 101600 h 537029"/>
              <a:gd name="connsiteX33" fmla="*/ 2757714 w 12554857"/>
              <a:gd name="connsiteY33" fmla="*/ 145143 h 537029"/>
              <a:gd name="connsiteX34" fmla="*/ 2830286 w 12554857"/>
              <a:gd name="connsiteY34" fmla="*/ 72572 h 537029"/>
              <a:gd name="connsiteX35" fmla="*/ 2902857 w 12554857"/>
              <a:gd name="connsiteY35" fmla="*/ 87086 h 537029"/>
              <a:gd name="connsiteX36" fmla="*/ 2989943 w 12554857"/>
              <a:gd name="connsiteY36" fmla="*/ 130629 h 537029"/>
              <a:gd name="connsiteX37" fmla="*/ 3062514 w 12554857"/>
              <a:gd name="connsiteY37" fmla="*/ 116115 h 537029"/>
              <a:gd name="connsiteX38" fmla="*/ 3120571 w 12554857"/>
              <a:gd name="connsiteY38" fmla="*/ 87086 h 537029"/>
              <a:gd name="connsiteX39" fmla="*/ 3352800 w 12554857"/>
              <a:gd name="connsiteY39" fmla="*/ 87086 h 537029"/>
              <a:gd name="connsiteX40" fmla="*/ 3512457 w 12554857"/>
              <a:gd name="connsiteY40" fmla="*/ 87086 h 537029"/>
              <a:gd name="connsiteX41" fmla="*/ 3556000 w 12554857"/>
              <a:gd name="connsiteY41" fmla="*/ 116115 h 537029"/>
              <a:gd name="connsiteX42" fmla="*/ 3599543 w 12554857"/>
              <a:gd name="connsiteY42" fmla="*/ 130629 h 537029"/>
              <a:gd name="connsiteX43" fmla="*/ 3730171 w 12554857"/>
              <a:gd name="connsiteY43" fmla="*/ 58057 h 537029"/>
              <a:gd name="connsiteX44" fmla="*/ 3788228 w 12554857"/>
              <a:gd name="connsiteY44" fmla="*/ 72572 h 537029"/>
              <a:gd name="connsiteX45" fmla="*/ 3889828 w 12554857"/>
              <a:gd name="connsiteY45" fmla="*/ 130629 h 537029"/>
              <a:gd name="connsiteX46" fmla="*/ 3933371 w 12554857"/>
              <a:gd name="connsiteY46" fmla="*/ 174172 h 537029"/>
              <a:gd name="connsiteX47" fmla="*/ 3991428 w 12554857"/>
              <a:gd name="connsiteY47" fmla="*/ 130629 h 537029"/>
              <a:gd name="connsiteX48" fmla="*/ 4034971 w 12554857"/>
              <a:gd name="connsiteY48" fmla="*/ 101600 h 537029"/>
              <a:gd name="connsiteX49" fmla="*/ 4093028 w 12554857"/>
              <a:gd name="connsiteY49" fmla="*/ 116115 h 537029"/>
              <a:gd name="connsiteX50" fmla="*/ 4209143 w 12554857"/>
              <a:gd name="connsiteY50" fmla="*/ 116115 h 537029"/>
              <a:gd name="connsiteX51" fmla="*/ 4296228 w 12554857"/>
              <a:gd name="connsiteY51" fmla="*/ 87086 h 537029"/>
              <a:gd name="connsiteX52" fmla="*/ 4339771 w 12554857"/>
              <a:gd name="connsiteY52" fmla="*/ 58057 h 537029"/>
              <a:gd name="connsiteX53" fmla="*/ 4470400 w 12554857"/>
              <a:gd name="connsiteY53" fmla="*/ 87086 h 537029"/>
              <a:gd name="connsiteX54" fmla="*/ 4484914 w 12554857"/>
              <a:gd name="connsiteY54" fmla="*/ 29029 h 537029"/>
              <a:gd name="connsiteX55" fmla="*/ 4586514 w 12554857"/>
              <a:gd name="connsiteY55" fmla="*/ 58057 h 537029"/>
              <a:gd name="connsiteX56" fmla="*/ 4615543 w 12554857"/>
              <a:gd name="connsiteY56" fmla="*/ 101600 h 537029"/>
              <a:gd name="connsiteX57" fmla="*/ 4659086 w 12554857"/>
              <a:gd name="connsiteY57" fmla="*/ 130629 h 537029"/>
              <a:gd name="connsiteX58" fmla="*/ 4673600 w 12554857"/>
              <a:gd name="connsiteY58" fmla="*/ 174172 h 537029"/>
              <a:gd name="connsiteX59" fmla="*/ 4746171 w 12554857"/>
              <a:gd name="connsiteY59" fmla="*/ 159657 h 537029"/>
              <a:gd name="connsiteX60" fmla="*/ 4833257 w 12554857"/>
              <a:gd name="connsiteY60" fmla="*/ 130629 h 537029"/>
              <a:gd name="connsiteX61" fmla="*/ 4978400 w 12554857"/>
              <a:gd name="connsiteY61" fmla="*/ 145143 h 537029"/>
              <a:gd name="connsiteX62" fmla="*/ 5021943 w 12554857"/>
              <a:gd name="connsiteY62" fmla="*/ 174172 h 537029"/>
              <a:gd name="connsiteX63" fmla="*/ 5268686 w 12554857"/>
              <a:gd name="connsiteY63" fmla="*/ 159657 h 537029"/>
              <a:gd name="connsiteX64" fmla="*/ 5312228 w 12554857"/>
              <a:gd name="connsiteY64" fmla="*/ 130629 h 537029"/>
              <a:gd name="connsiteX65" fmla="*/ 5442857 w 12554857"/>
              <a:gd name="connsiteY65" fmla="*/ 188686 h 537029"/>
              <a:gd name="connsiteX66" fmla="*/ 5500914 w 12554857"/>
              <a:gd name="connsiteY66" fmla="*/ 174172 h 537029"/>
              <a:gd name="connsiteX67" fmla="*/ 5529943 w 12554857"/>
              <a:gd name="connsiteY67" fmla="*/ 130629 h 537029"/>
              <a:gd name="connsiteX68" fmla="*/ 5631543 w 12554857"/>
              <a:gd name="connsiteY68" fmla="*/ 116115 h 537029"/>
              <a:gd name="connsiteX69" fmla="*/ 5718628 w 12554857"/>
              <a:gd name="connsiteY69" fmla="*/ 130629 h 537029"/>
              <a:gd name="connsiteX70" fmla="*/ 5762171 w 12554857"/>
              <a:gd name="connsiteY70" fmla="*/ 159657 h 537029"/>
              <a:gd name="connsiteX71" fmla="*/ 5878286 w 12554857"/>
              <a:gd name="connsiteY71" fmla="*/ 174172 h 537029"/>
              <a:gd name="connsiteX72" fmla="*/ 6023428 w 12554857"/>
              <a:gd name="connsiteY72" fmla="*/ 159657 h 537029"/>
              <a:gd name="connsiteX73" fmla="*/ 6066971 w 12554857"/>
              <a:gd name="connsiteY73" fmla="*/ 174172 h 537029"/>
              <a:gd name="connsiteX74" fmla="*/ 6197600 w 12554857"/>
              <a:gd name="connsiteY74" fmla="*/ 130629 h 537029"/>
              <a:gd name="connsiteX75" fmla="*/ 6241143 w 12554857"/>
              <a:gd name="connsiteY75" fmla="*/ 116115 h 537029"/>
              <a:gd name="connsiteX76" fmla="*/ 6458857 w 12554857"/>
              <a:gd name="connsiteY76" fmla="*/ 72572 h 537029"/>
              <a:gd name="connsiteX77" fmla="*/ 6531428 w 12554857"/>
              <a:gd name="connsiteY77" fmla="*/ 43543 h 537029"/>
              <a:gd name="connsiteX78" fmla="*/ 6618514 w 12554857"/>
              <a:gd name="connsiteY78" fmla="*/ 0 h 537029"/>
              <a:gd name="connsiteX79" fmla="*/ 6705600 w 12554857"/>
              <a:gd name="connsiteY79" fmla="*/ 58057 h 537029"/>
              <a:gd name="connsiteX80" fmla="*/ 6792686 w 12554857"/>
              <a:gd name="connsiteY80" fmla="*/ 116115 h 537029"/>
              <a:gd name="connsiteX81" fmla="*/ 6836228 w 12554857"/>
              <a:gd name="connsiteY81" fmla="*/ 145143 h 537029"/>
              <a:gd name="connsiteX82" fmla="*/ 6894286 w 12554857"/>
              <a:gd name="connsiteY82" fmla="*/ 130629 h 537029"/>
              <a:gd name="connsiteX83" fmla="*/ 6952343 w 12554857"/>
              <a:gd name="connsiteY83" fmla="*/ 101600 h 537029"/>
              <a:gd name="connsiteX84" fmla="*/ 6995886 w 12554857"/>
              <a:gd name="connsiteY84" fmla="*/ 87086 h 537029"/>
              <a:gd name="connsiteX85" fmla="*/ 7082971 w 12554857"/>
              <a:gd name="connsiteY85" fmla="*/ 101600 h 537029"/>
              <a:gd name="connsiteX86" fmla="*/ 7126514 w 12554857"/>
              <a:gd name="connsiteY86" fmla="*/ 130629 h 537029"/>
              <a:gd name="connsiteX87" fmla="*/ 7184571 w 12554857"/>
              <a:gd name="connsiteY87" fmla="*/ 72572 h 537029"/>
              <a:gd name="connsiteX88" fmla="*/ 7242628 w 12554857"/>
              <a:gd name="connsiteY88" fmla="*/ 58057 h 537029"/>
              <a:gd name="connsiteX89" fmla="*/ 7286171 w 12554857"/>
              <a:gd name="connsiteY89" fmla="*/ 101600 h 537029"/>
              <a:gd name="connsiteX90" fmla="*/ 7315200 w 12554857"/>
              <a:gd name="connsiteY90" fmla="*/ 145143 h 537029"/>
              <a:gd name="connsiteX91" fmla="*/ 7373257 w 12554857"/>
              <a:gd name="connsiteY91" fmla="*/ 116115 h 537029"/>
              <a:gd name="connsiteX92" fmla="*/ 7416800 w 12554857"/>
              <a:gd name="connsiteY92" fmla="*/ 101600 h 537029"/>
              <a:gd name="connsiteX93" fmla="*/ 7503886 w 12554857"/>
              <a:gd name="connsiteY93" fmla="*/ 130629 h 537029"/>
              <a:gd name="connsiteX94" fmla="*/ 7590971 w 12554857"/>
              <a:gd name="connsiteY94" fmla="*/ 159657 h 537029"/>
              <a:gd name="connsiteX95" fmla="*/ 7663543 w 12554857"/>
              <a:gd name="connsiteY95" fmla="*/ 174172 h 537029"/>
              <a:gd name="connsiteX96" fmla="*/ 7707086 w 12554857"/>
              <a:gd name="connsiteY96" fmla="*/ 145143 h 537029"/>
              <a:gd name="connsiteX97" fmla="*/ 7823200 w 12554857"/>
              <a:gd name="connsiteY97" fmla="*/ 203200 h 537029"/>
              <a:gd name="connsiteX98" fmla="*/ 7866743 w 12554857"/>
              <a:gd name="connsiteY98" fmla="*/ 159657 h 537029"/>
              <a:gd name="connsiteX99" fmla="*/ 7924800 w 12554857"/>
              <a:gd name="connsiteY99" fmla="*/ 145143 h 537029"/>
              <a:gd name="connsiteX100" fmla="*/ 7953828 w 12554857"/>
              <a:gd name="connsiteY100" fmla="*/ 188686 h 537029"/>
              <a:gd name="connsiteX101" fmla="*/ 8084457 w 12554857"/>
              <a:gd name="connsiteY101" fmla="*/ 217715 h 537029"/>
              <a:gd name="connsiteX102" fmla="*/ 8128000 w 12554857"/>
              <a:gd name="connsiteY102" fmla="*/ 275772 h 537029"/>
              <a:gd name="connsiteX103" fmla="*/ 8171543 w 12554857"/>
              <a:gd name="connsiteY103" fmla="*/ 246743 h 537029"/>
              <a:gd name="connsiteX104" fmla="*/ 8215086 w 12554857"/>
              <a:gd name="connsiteY104" fmla="*/ 290286 h 537029"/>
              <a:gd name="connsiteX105" fmla="*/ 8229600 w 12554857"/>
              <a:gd name="connsiteY105" fmla="*/ 246743 h 537029"/>
              <a:gd name="connsiteX106" fmla="*/ 8360228 w 12554857"/>
              <a:gd name="connsiteY106" fmla="*/ 130629 h 537029"/>
              <a:gd name="connsiteX107" fmla="*/ 8403771 w 12554857"/>
              <a:gd name="connsiteY107" fmla="*/ 145143 h 537029"/>
              <a:gd name="connsiteX108" fmla="*/ 8476343 w 12554857"/>
              <a:gd name="connsiteY108" fmla="*/ 232229 h 537029"/>
              <a:gd name="connsiteX109" fmla="*/ 8534400 w 12554857"/>
              <a:gd name="connsiteY109" fmla="*/ 159657 h 537029"/>
              <a:gd name="connsiteX110" fmla="*/ 8563428 w 12554857"/>
              <a:gd name="connsiteY110" fmla="*/ 203200 h 537029"/>
              <a:gd name="connsiteX111" fmla="*/ 8636000 w 12554857"/>
              <a:gd name="connsiteY111" fmla="*/ 145143 h 537029"/>
              <a:gd name="connsiteX112" fmla="*/ 8737600 w 12554857"/>
              <a:gd name="connsiteY112" fmla="*/ 101600 h 537029"/>
              <a:gd name="connsiteX113" fmla="*/ 8911771 w 12554857"/>
              <a:gd name="connsiteY113" fmla="*/ 116115 h 537029"/>
              <a:gd name="connsiteX114" fmla="*/ 8955314 w 12554857"/>
              <a:gd name="connsiteY114" fmla="*/ 159657 h 537029"/>
              <a:gd name="connsiteX115" fmla="*/ 9013371 w 12554857"/>
              <a:gd name="connsiteY115" fmla="*/ 188686 h 537029"/>
              <a:gd name="connsiteX116" fmla="*/ 9100457 w 12554857"/>
              <a:gd name="connsiteY116" fmla="*/ 174172 h 537029"/>
              <a:gd name="connsiteX117" fmla="*/ 9114971 w 12554857"/>
              <a:gd name="connsiteY117" fmla="*/ 116115 h 537029"/>
              <a:gd name="connsiteX118" fmla="*/ 9158514 w 12554857"/>
              <a:gd name="connsiteY118" fmla="*/ 101600 h 537029"/>
              <a:gd name="connsiteX119" fmla="*/ 9390743 w 12554857"/>
              <a:gd name="connsiteY119" fmla="*/ 130629 h 537029"/>
              <a:gd name="connsiteX120" fmla="*/ 9506857 w 12554857"/>
              <a:gd name="connsiteY120" fmla="*/ 101600 h 537029"/>
              <a:gd name="connsiteX121" fmla="*/ 9593943 w 12554857"/>
              <a:gd name="connsiteY121" fmla="*/ 58057 h 537029"/>
              <a:gd name="connsiteX122" fmla="*/ 9666514 w 12554857"/>
              <a:gd name="connsiteY122" fmla="*/ 87086 h 537029"/>
              <a:gd name="connsiteX123" fmla="*/ 9739086 w 12554857"/>
              <a:gd name="connsiteY123" fmla="*/ 130629 h 537029"/>
              <a:gd name="connsiteX124" fmla="*/ 9826171 w 12554857"/>
              <a:gd name="connsiteY124" fmla="*/ 174172 h 537029"/>
              <a:gd name="connsiteX125" fmla="*/ 9869714 w 12554857"/>
              <a:gd name="connsiteY125" fmla="*/ 188686 h 537029"/>
              <a:gd name="connsiteX126" fmla="*/ 9942286 w 12554857"/>
              <a:gd name="connsiteY126" fmla="*/ 174172 h 537029"/>
              <a:gd name="connsiteX127" fmla="*/ 9985828 w 12554857"/>
              <a:gd name="connsiteY127" fmla="*/ 188686 h 537029"/>
              <a:gd name="connsiteX128" fmla="*/ 10058400 w 12554857"/>
              <a:gd name="connsiteY128" fmla="*/ 159657 h 537029"/>
              <a:gd name="connsiteX129" fmla="*/ 10174514 w 12554857"/>
              <a:gd name="connsiteY129" fmla="*/ 43543 h 537029"/>
              <a:gd name="connsiteX130" fmla="*/ 10218057 w 12554857"/>
              <a:gd name="connsiteY130" fmla="*/ 29029 h 537029"/>
              <a:gd name="connsiteX131" fmla="*/ 10464800 w 12554857"/>
              <a:gd name="connsiteY131" fmla="*/ 58057 h 537029"/>
              <a:gd name="connsiteX132" fmla="*/ 10580914 w 12554857"/>
              <a:gd name="connsiteY132" fmla="*/ 72572 h 537029"/>
              <a:gd name="connsiteX133" fmla="*/ 10638971 w 12554857"/>
              <a:gd name="connsiteY133" fmla="*/ 116115 h 537029"/>
              <a:gd name="connsiteX134" fmla="*/ 10682514 w 12554857"/>
              <a:gd name="connsiteY134" fmla="*/ 72572 h 537029"/>
              <a:gd name="connsiteX135" fmla="*/ 10769600 w 12554857"/>
              <a:gd name="connsiteY135" fmla="*/ 29029 h 537029"/>
              <a:gd name="connsiteX136" fmla="*/ 10827657 w 12554857"/>
              <a:gd name="connsiteY136" fmla="*/ 58057 h 537029"/>
              <a:gd name="connsiteX137" fmla="*/ 10958286 w 12554857"/>
              <a:gd name="connsiteY137" fmla="*/ 130629 h 537029"/>
              <a:gd name="connsiteX138" fmla="*/ 11030857 w 12554857"/>
              <a:gd name="connsiteY138" fmla="*/ 116115 h 537029"/>
              <a:gd name="connsiteX139" fmla="*/ 11074400 w 12554857"/>
              <a:gd name="connsiteY139" fmla="*/ 101600 h 537029"/>
              <a:gd name="connsiteX140" fmla="*/ 11176000 w 12554857"/>
              <a:gd name="connsiteY140" fmla="*/ 130629 h 537029"/>
              <a:gd name="connsiteX141" fmla="*/ 11205028 w 12554857"/>
              <a:gd name="connsiteY141" fmla="*/ 174172 h 537029"/>
              <a:gd name="connsiteX142" fmla="*/ 11393714 w 12554857"/>
              <a:gd name="connsiteY142" fmla="*/ 116115 h 537029"/>
              <a:gd name="connsiteX143" fmla="*/ 11437257 w 12554857"/>
              <a:gd name="connsiteY143" fmla="*/ 130629 h 537029"/>
              <a:gd name="connsiteX144" fmla="*/ 11480800 w 12554857"/>
              <a:gd name="connsiteY144" fmla="*/ 159657 h 537029"/>
              <a:gd name="connsiteX145" fmla="*/ 11524343 w 12554857"/>
              <a:gd name="connsiteY145" fmla="*/ 145143 h 537029"/>
              <a:gd name="connsiteX146" fmla="*/ 11582400 w 12554857"/>
              <a:gd name="connsiteY146" fmla="*/ 159657 h 537029"/>
              <a:gd name="connsiteX147" fmla="*/ 11654971 w 12554857"/>
              <a:gd name="connsiteY147" fmla="*/ 188686 h 537029"/>
              <a:gd name="connsiteX148" fmla="*/ 11698514 w 12554857"/>
              <a:gd name="connsiteY148" fmla="*/ 203200 h 537029"/>
              <a:gd name="connsiteX149" fmla="*/ 11814628 w 12554857"/>
              <a:gd name="connsiteY149" fmla="*/ 72572 h 537029"/>
              <a:gd name="connsiteX150" fmla="*/ 11858171 w 12554857"/>
              <a:gd name="connsiteY150" fmla="*/ 58057 h 537029"/>
              <a:gd name="connsiteX151" fmla="*/ 11901714 w 12554857"/>
              <a:gd name="connsiteY151" fmla="*/ 72572 h 537029"/>
              <a:gd name="connsiteX152" fmla="*/ 11959771 w 12554857"/>
              <a:gd name="connsiteY152" fmla="*/ 58057 h 537029"/>
              <a:gd name="connsiteX153" fmla="*/ 12003314 w 12554857"/>
              <a:gd name="connsiteY153" fmla="*/ 87086 h 537029"/>
              <a:gd name="connsiteX154" fmla="*/ 12061371 w 12554857"/>
              <a:gd name="connsiteY154" fmla="*/ 174172 h 537029"/>
              <a:gd name="connsiteX155" fmla="*/ 12104914 w 12554857"/>
              <a:gd name="connsiteY155" fmla="*/ 217715 h 537029"/>
              <a:gd name="connsiteX156" fmla="*/ 12119428 w 12554857"/>
              <a:gd name="connsiteY156" fmla="*/ 145143 h 537029"/>
              <a:gd name="connsiteX157" fmla="*/ 12192000 w 12554857"/>
              <a:gd name="connsiteY157" fmla="*/ 159657 h 537029"/>
              <a:gd name="connsiteX158" fmla="*/ 12235543 w 12554857"/>
              <a:gd name="connsiteY158" fmla="*/ 72572 h 537029"/>
              <a:gd name="connsiteX159" fmla="*/ 12322628 w 12554857"/>
              <a:gd name="connsiteY159" fmla="*/ 72572 h 537029"/>
              <a:gd name="connsiteX160" fmla="*/ 12453257 w 12554857"/>
              <a:gd name="connsiteY160" fmla="*/ 87086 h 537029"/>
              <a:gd name="connsiteX161" fmla="*/ 12496800 w 12554857"/>
              <a:gd name="connsiteY161" fmla="*/ 116115 h 537029"/>
              <a:gd name="connsiteX162" fmla="*/ 12525828 w 12554857"/>
              <a:gd name="connsiteY162" fmla="*/ 203200 h 537029"/>
              <a:gd name="connsiteX163" fmla="*/ 12554857 w 12554857"/>
              <a:gd name="connsiteY163" fmla="*/ 246743 h 537029"/>
              <a:gd name="connsiteX164" fmla="*/ 12540343 w 12554857"/>
              <a:gd name="connsiteY164" fmla="*/ 304800 h 537029"/>
              <a:gd name="connsiteX165" fmla="*/ 12453257 w 12554857"/>
              <a:gd name="connsiteY165" fmla="*/ 333829 h 537029"/>
              <a:gd name="connsiteX166" fmla="*/ 12409714 w 12554857"/>
              <a:gd name="connsiteY166" fmla="*/ 362857 h 537029"/>
              <a:gd name="connsiteX167" fmla="*/ 12322628 w 12554857"/>
              <a:gd name="connsiteY167" fmla="*/ 377372 h 537029"/>
              <a:gd name="connsiteX168" fmla="*/ 11785600 w 12554857"/>
              <a:gd name="connsiteY168" fmla="*/ 391886 h 537029"/>
              <a:gd name="connsiteX169" fmla="*/ 11190514 w 12554857"/>
              <a:gd name="connsiteY169" fmla="*/ 420915 h 537029"/>
              <a:gd name="connsiteX170" fmla="*/ 11088914 w 12554857"/>
              <a:gd name="connsiteY170" fmla="*/ 435429 h 537029"/>
              <a:gd name="connsiteX171" fmla="*/ 10464800 w 12554857"/>
              <a:gd name="connsiteY171" fmla="*/ 464457 h 537029"/>
              <a:gd name="connsiteX172" fmla="*/ 10276114 w 12554857"/>
              <a:gd name="connsiteY172" fmla="*/ 493486 h 537029"/>
              <a:gd name="connsiteX173" fmla="*/ 10101943 w 12554857"/>
              <a:gd name="connsiteY173" fmla="*/ 508000 h 537029"/>
              <a:gd name="connsiteX174" fmla="*/ 9506857 w 12554857"/>
              <a:gd name="connsiteY174" fmla="*/ 537029 h 537029"/>
              <a:gd name="connsiteX175" fmla="*/ 7765143 w 12554857"/>
              <a:gd name="connsiteY175" fmla="*/ 537029 h 537029"/>
              <a:gd name="connsiteX176" fmla="*/ 2061028 w 12554857"/>
              <a:gd name="connsiteY176" fmla="*/ 522515 h 537029"/>
              <a:gd name="connsiteX177" fmla="*/ 1625600 w 12554857"/>
              <a:gd name="connsiteY177" fmla="*/ 493486 h 537029"/>
              <a:gd name="connsiteX178" fmla="*/ 1422400 w 12554857"/>
              <a:gd name="connsiteY178" fmla="*/ 478972 h 537029"/>
              <a:gd name="connsiteX179" fmla="*/ 391886 w 12554857"/>
              <a:gd name="connsiteY179" fmla="*/ 464457 h 537029"/>
              <a:gd name="connsiteX180" fmla="*/ 275771 w 12554857"/>
              <a:gd name="connsiteY180" fmla="*/ 449943 h 537029"/>
              <a:gd name="connsiteX181" fmla="*/ 43543 w 12554857"/>
              <a:gd name="connsiteY181" fmla="*/ 406400 h 537029"/>
              <a:gd name="connsiteX182" fmla="*/ 14514 w 12554857"/>
              <a:gd name="connsiteY182" fmla="*/ 362857 h 537029"/>
              <a:gd name="connsiteX183" fmla="*/ 0 w 12554857"/>
              <a:gd name="connsiteY183" fmla="*/ 319315 h 537029"/>
              <a:gd name="connsiteX184" fmla="*/ 261257 w 12554857"/>
              <a:gd name="connsiteY184" fmla="*/ 232229 h 537029"/>
              <a:gd name="connsiteX185" fmla="*/ 217714 w 12554857"/>
              <a:gd name="connsiteY185" fmla="*/ 217715 h 53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4857" h="537029">
                <a:moveTo>
                  <a:pt x="217714" y="217715"/>
                </a:moveTo>
                <a:cubicBezTo>
                  <a:pt x="224971" y="200782"/>
                  <a:pt x="248555" y="130629"/>
                  <a:pt x="304800" y="130629"/>
                </a:cubicBezTo>
                <a:cubicBezTo>
                  <a:pt x="320099" y="130629"/>
                  <a:pt x="333829" y="140305"/>
                  <a:pt x="348343" y="145143"/>
                </a:cubicBezTo>
                <a:cubicBezTo>
                  <a:pt x="473132" y="61952"/>
                  <a:pt x="315245" y="161692"/>
                  <a:pt x="435428" y="101600"/>
                </a:cubicBezTo>
                <a:cubicBezTo>
                  <a:pt x="451030" y="93799"/>
                  <a:pt x="464457" y="82248"/>
                  <a:pt x="478971" y="72572"/>
                </a:cubicBezTo>
                <a:cubicBezTo>
                  <a:pt x="508000" y="77410"/>
                  <a:pt x="538138" y="77780"/>
                  <a:pt x="566057" y="87086"/>
                </a:cubicBezTo>
                <a:cubicBezTo>
                  <a:pt x="582606" y="92602"/>
                  <a:pt x="593566" y="109243"/>
                  <a:pt x="609600" y="116115"/>
                </a:cubicBezTo>
                <a:cubicBezTo>
                  <a:pt x="627935" y="123973"/>
                  <a:pt x="648305" y="125791"/>
                  <a:pt x="667657" y="130629"/>
                </a:cubicBezTo>
                <a:cubicBezTo>
                  <a:pt x="696686" y="125791"/>
                  <a:pt x="726555" y="124571"/>
                  <a:pt x="754743" y="116115"/>
                </a:cubicBezTo>
                <a:cubicBezTo>
                  <a:pt x="775467" y="109898"/>
                  <a:pt x="792913" y="95609"/>
                  <a:pt x="812800" y="87086"/>
                </a:cubicBezTo>
                <a:cubicBezTo>
                  <a:pt x="826862" y="81059"/>
                  <a:pt x="841829" y="77410"/>
                  <a:pt x="856343" y="72572"/>
                </a:cubicBezTo>
                <a:cubicBezTo>
                  <a:pt x="966832" y="109401"/>
                  <a:pt x="913424" y="95599"/>
                  <a:pt x="1016000" y="116115"/>
                </a:cubicBezTo>
                <a:cubicBezTo>
                  <a:pt x="1140802" y="199314"/>
                  <a:pt x="982890" y="99558"/>
                  <a:pt x="1103086" y="159657"/>
                </a:cubicBezTo>
                <a:cubicBezTo>
                  <a:pt x="1118688" y="167458"/>
                  <a:pt x="1132114" y="179010"/>
                  <a:pt x="1146628" y="188686"/>
                </a:cubicBezTo>
                <a:cubicBezTo>
                  <a:pt x="1158433" y="153274"/>
                  <a:pt x="1162036" y="129735"/>
                  <a:pt x="1190171" y="101600"/>
                </a:cubicBezTo>
                <a:cubicBezTo>
                  <a:pt x="1202506" y="89265"/>
                  <a:pt x="1219200" y="82248"/>
                  <a:pt x="1233714" y="72572"/>
                </a:cubicBezTo>
                <a:cubicBezTo>
                  <a:pt x="1357253" y="154931"/>
                  <a:pt x="1286125" y="126776"/>
                  <a:pt x="1451428" y="145143"/>
                </a:cubicBezTo>
                <a:cubicBezTo>
                  <a:pt x="1472848" y="113014"/>
                  <a:pt x="1490474" y="80408"/>
                  <a:pt x="1524000" y="58057"/>
                </a:cubicBezTo>
                <a:cubicBezTo>
                  <a:pt x="1536730" y="49570"/>
                  <a:pt x="1553029" y="48381"/>
                  <a:pt x="1567543" y="43543"/>
                </a:cubicBezTo>
                <a:cubicBezTo>
                  <a:pt x="1579053" y="60808"/>
                  <a:pt x="1618248" y="125770"/>
                  <a:pt x="1640114" y="130629"/>
                </a:cubicBezTo>
                <a:cubicBezTo>
                  <a:pt x="1668842" y="137013"/>
                  <a:pt x="1698113" y="120590"/>
                  <a:pt x="1727200" y="116115"/>
                </a:cubicBezTo>
                <a:cubicBezTo>
                  <a:pt x="1862410" y="95313"/>
                  <a:pt x="1787528" y="111918"/>
                  <a:pt x="1886857" y="87086"/>
                </a:cubicBezTo>
                <a:cubicBezTo>
                  <a:pt x="1915886" y="91924"/>
                  <a:pt x="1945215" y="95216"/>
                  <a:pt x="1973943" y="101600"/>
                </a:cubicBezTo>
                <a:cubicBezTo>
                  <a:pt x="1988878" y="104919"/>
                  <a:pt x="2002186" y="116115"/>
                  <a:pt x="2017486" y="116115"/>
                </a:cubicBezTo>
                <a:cubicBezTo>
                  <a:pt x="2032785" y="116115"/>
                  <a:pt x="2046514" y="106438"/>
                  <a:pt x="2061028" y="101600"/>
                </a:cubicBezTo>
                <a:cubicBezTo>
                  <a:pt x="2080381" y="111276"/>
                  <a:pt x="2100300" y="119894"/>
                  <a:pt x="2119086" y="130629"/>
                </a:cubicBezTo>
                <a:cubicBezTo>
                  <a:pt x="2134231" y="139283"/>
                  <a:pt x="2145184" y="159657"/>
                  <a:pt x="2162628" y="159657"/>
                </a:cubicBezTo>
                <a:cubicBezTo>
                  <a:pt x="2211967" y="159657"/>
                  <a:pt x="2259277" y="139721"/>
                  <a:pt x="2307771" y="130629"/>
                </a:cubicBezTo>
                <a:cubicBezTo>
                  <a:pt x="2450111" y="103941"/>
                  <a:pt x="2342191" y="129282"/>
                  <a:pt x="2452914" y="101600"/>
                </a:cubicBezTo>
                <a:cubicBezTo>
                  <a:pt x="2481943" y="106438"/>
                  <a:pt x="2511703" y="124200"/>
                  <a:pt x="2540000" y="116115"/>
                </a:cubicBezTo>
                <a:cubicBezTo>
                  <a:pt x="2554711" y="111912"/>
                  <a:pt x="2543696" y="83390"/>
                  <a:pt x="2554514" y="72572"/>
                </a:cubicBezTo>
                <a:cubicBezTo>
                  <a:pt x="2565332" y="61754"/>
                  <a:pt x="2583543" y="62895"/>
                  <a:pt x="2598057" y="58057"/>
                </a:cubicBezTo>
                <a:cubicBezTo>
                  <a:pt x="2644806" y="69745"/>
                  <a:pt x="2673304" y="72410"/>
                  <a:pt x="2714171" y="101600"/>
                </a:cubicBezTo>
                <a:cubicBezTo>
                  <a:pt x="2730874" y="113531"/>
                  <a:pt x="2743200" y="130629"/>
                  <a:pt x="2757714" y="145143"/>
                </a:cubicBezTo>
                <a:cubicBezTo>
                  <a:pt x="2773548" y="121392"/>
                  <a:pt x="2795099" y="76970"/>
                  <a:pt x="2830286" y="72572"/>
                </a:cubicBezTo>
                <a:cubicBezTo>
                  <a:pt x="2854765" y="69512"/>
                  <a:pt x="2878667" y="82248"/>
                  <a:pt x="2902857" y="87086"/>
                </a:cubicBezTo>
                <a:cubicBezTo>
                  <a:pt x="2924873" y="101764"/>
                  <a:pt x="2959896" y="130629"/>
                  <a:pt x="2989943" y="130629"/>
                </a:cubicBezTo>
                <a:cubicBezTo>
                  <a:pt x="3014612" y="130629"/>
                  <a:pt x="3038324" y="120953"/>
                  <a:pt x="3062514" y="116115"/>
                </a:cubicBezTo>
                <a:cubicBezTo>
                  <a:pt x="3081866" y="106439"/>
                  <a:pt x="3099847" y="93303"/>
                  <a:pt x="3120571" y="87086"/>
                </a:cubicBezTo>
                <a:cubicBezTo>
                  <a:pt x="3210600" y="60077"/>
                  <a:pt x="3252751" y="77081"/>
                  <a:pt x="3352800" y="87086"/>
                </a:cubicBezTo>
                <a:cubicBezTo>
                  <a:pt x="3423829" y="69329"/>
                  <a:pt x="3425781" y="61083"/>
                  <a:pt x="3512457" y="87086"/>
                </a:cubicBezTo>
                <a:cubicBezTo>
                  <a:pt x="3529165" y="92099"/>
                  <a:pt x="3540398" y="108314"/>
                  <a:pt x="3556000" y="116115"/>
                </a:cubicBezTo>
                <a:cubicBezTo>
                  <a:pt x="3569684" y="122957"/>
                  <a:pt x="3585029" y="125791"/>
                  <a:pt x="3599543" y="130629"/>
                </a:cubicBezTo>
                <a:cubicBezTo>
                  <a:pt x="3699358" y="64085"/>
                  <a:pt x="3653531" y="83605"/>
                  <a:pt x="3730171" y="58057"/>
                </a:cubicBezTo>
                <a:cubicBezTo>
                  <a:pt x="3749523" y="62895"/>
                  <a:pt x="3769550" y="65568"/>
                  <a:pt x="3788228" y="72572"/>
                </a:cubicBezTo>
                <a:cubicBezTo>
                  <a:pt x="3814046" y="82254"/>
                  <a:pt x="3866855" y="111484"/>
                  <a:pt x="3889828" y="130629"/>
                </a:cubicBezTo>
                <a:cubicBezTo>
                  <a:pt x="3905597" y="143770"/>
                  <a:pt x="3918857" y="159658"/>
                  <a:pt x="3933371" y="174172"/>
                </a:cubicBezTo>
                <a:cubicBezTo>
                  <a:pt x="3952723" y="159658"/>
                  <a:pt x="3971743" y="144689"/>
                  <a:pt x="3991428" y="130629"/>
                </a:cubicBezTo>
                <a:cubicBezTo>
                  <a:pt x="4005623" y="120490"/>
                  <a:pt x="4017702" y="104067"/>
                  <a:pt x="4034971" y="101600"/>
                </a:cubicBezTo>
                <a:cubicBezTo>
                  <a:pt x="4054719" y="98779"/>
                  <a:pt x="4073676" y="111277"/>
                  <a:pt x="4093028" y="116115"/>
                </a:cubicBezTo>
                <a:cubicBezTo>
                  <a:pt x="4160346" y="160993"/>
                  <a:pt x="4117243" y="149533"/>
                  <a:pt x="4209143" y="116115"/>
                </a:cubicBezTo>
                <a:cubicBezTo>
                  <a:pt x="4237899" y="105658"/>
                  <a:pt x="4296228" y="87086"/>
                  <a:pt x="4296228" y="87086"/>
                </a:cubicBezTo>
                <a:cubicBezTo>
                  <a:pt x="4310742" y="77410"/>
                  <a:pt x="4322434" y="59983"/>
                  <a:pt x="4339771" y="58057"/>
                </a:cubicBezTo>
                <a:cubicBezTo>
                  <a:pt x="4378085" y="53800"/>
                  <a:pt x="4432139" y="74333"/>
                  <a:pt x="4470400" y="87086"/>
                </a:cubicBezTo>
                <a:cubicBezTo>
                  <a:pt x="4475238" y="67734"/>
                  <a:pt x="4472453" y="44606"/>
                  <a:pt x="4484914" y="29029"/>
                </a:cubicBezTo>
                <a:cubicBezTo>
                  <a:pt x="4520930" y="-15991"/>
                  <a:pt x="4564403" y="41474"/>
                  <a:pt x="4586514" y="58057"/>
                </a:cubicBezTo>
                <a:cubicBezTo>
                  <a:pt x="4596190" y="72571"/>
                  <a:pt x="4603208" y="89265"/>
                  <a:pt x="4615543" y="101600"/>
                </a:cubicBezTo>
                <a:cubicBezTo>
                  <a:pt x="4627878" y="113935"/>
                  <a:pt x="4648189" y="117007"/>
                  <a:pt x="4659086" y="130629"/>
                </a:cubicBezTo>
                <a:cubicBezTo>
                  <a:pt x="4668643" y="142576"/>
                  <a:pt x="4668762" y="159658"/>
                  <a:pt x="4673600" y="174172"/>
                </a:cubicBezTo>
                <a:cubicBezTo>
                  <a:pt x="4697790" y="169334"/>
                  <a:pt x="4722371" y="166148"/>
                  <a:pt x="4746171" y="159657"/>
                </a:cubicBezTo>
                <a:cubicBezTo>
                  <a:pt x="4775692" y="151606"/>
                  <a:pt x="4833257" y="130629"/>
                  <a:pt x="4833257" y="130629"/>
                </a:cubicBezTo>
                <a:cubicBezTo>
                  <a:pt x="4881638" y="135467"/>
                  <a:pt x="4931023" y="134210"/>
                  <a:pt x="4978400" y="145143"/>
                </a:cubicBezTo>
                <a:cubicBezTo>
                  <a:pt x="4995397" y="149065"/>
                  <a:pt x="5004521" y="173301"/>
                  <a:pt x="5021943" y="174172"/>
                </a:cubicBezTo>
                <a:lnTo>
                  <a:pt x="5268686" y="159657"/>
                </a:lnTo>
                <a:cubicBezTo>
                  <a:pt x="5283200" y="149981"/>
                  <a:pt x="5294891" y="132555"/>
                  <a:pt x="5312228" y="130629"/>
                </a:cubicBezTo>
                <a:cubicBezTo>
                  <a:pt x="5392728" y="121685"/>
                  <a:pt x="5397220" y="143049"/>
                  <a:pt x="5442857" y="188686"/>
                </a:cubicBezTo>
                <a:cubicBezTo>
                  <a:pt x="5462209" y="183848"/>
                  <a:pt x="5484316" y="185237"/>
                  <a:pt x="5500914" y="174172"/>
                </a:cubicBezTo>
                <a:cubicBezTo>
                  <a:pt x="5515428" y="164496"/>
                  <a:pt x="5514002" y="137714"/>
                  <a:pt x="5529943" y="130629"/>
                </a:cubicBezTo>
                <a:cubicBezTo>
                  <a:pt x="5561205" y="116735"/>
                  <a:pt x="5597676" y="120953"/>
                  <a:pt x="5631543" y="116115"/>
                </a:cubicBezTo>
                <a:cubicBezTo>
                  <a:pt x="5660571" y="120953"/>
                  <a:pt x="5690709" y="121323"/>
                  <a:pt x="5718628" y="130629"/>
                </a:cubicBezTo>
                <a:cubicBezTo>
                  <a:pt x="5735177" y="136145"/>
                  <a:pt x="5745342" y="155067"/>
                  <a:pt x="5762171" y="159657"/>
                </a:cubicBezTo>
                <a:cubicBezTo>
                  <a:pt x="5799803" y="169920"/>
                  <a:pt x="5839581" y="169334"/>
                  <a:pt x="5878286" y="174172"/>
                </a:cubicBezTo>
                <a:cubicBezTo>
                  <a:pt x="5976529" y="141424"/>
                  <a:pt x="5940749" y="136034"/>
                  <a:pt x="6023428" y="159657"/>
                </a:cubicBezTo>
                <a:cubicBezTo>
                  <a:pt x="6038139" y="163860"/>
                  <a:pt x="6052457" y="169334"/>
                  <a:pt x="6066971" y="174172"/>
                </a:cubicBezTo>
                <a:cubicBezTo>
                  <a:pt x="6163543" y="125885"/>
                  <a:pt x="6085055" y="158764"/>
                  <a:pt x="6197600" y="130629"/>
                </a:cubicBezTo>
                <a:cubicBezTo>
                  <a:pt x="6212443" y="126918"/>
                  <a:pt x="6226208" y="119434"/>
                  <a:pt x="6241143" y="116115"/>
                </a:cubicBezTo>
                <a:cubicBezTo>
                  <a:pt x="6313389" y="100060"/>
                  <a:pt x="6458857" y="72572"/>
                  <a:pt x="6458857" y="72572"/>
                </a:cubicBezTo>
                <a:cubicBezTo>
                  <a:pt x="6483047" y="62896"/>
                  <a:pt x="6508125" y="55195"/>
                  <a:pt x="6531428" y="43543"/>
                </a:cubicBezTo>
                <a:cubicBezTo>
                  <a:pt x="6643974" y="-12730"/>
                  <a:pt x="6509067" y="36484"/>
                  <a:pt x="6618514" y="0"/>
                </a:cubicBezTo>
                <a:cubicBezTo>
                  <a:pt x="6701788" y="27759"/>
                  <a:pt x="6624059" y="-5363"/>
                  <a:pt x="6705600" y="58057"/>
                </a:cubicBezTo>
                <a:cubicBezTo>
                  <a:pt x="6733139" y="79476"/>
                  <a:pt x="6763657" y="96762"/>
                  <a:pt x="6792686" y="116115"/>
                </a:cubicBezTo>
                <a:lnTo>
                  <a:pt x="6836228" y="145143"/>
                </a:lnTo>
                <a:cubicBezTo>
                  <a:pt x="6855581" y="140305"/>
                  <a:pt x="6875608" y="137633"/>
                  <a:pt x="6894286" y="130629"/>
                </a:cubicBezTo>
                <a:cubicBezTo>
                  <a:pt x="6914545" y="123032"/>
                  <a:pt x="6932456" y="110123"/>
                  <a:pt x="6952343" y="101600"/>
                </a:cubicBezTo>
                <a:cubicBezTo>
                  <a:pt x="6966405" y="95573"/>
                  <a:pt x="6981372" y="91924"/>
                  <a:pt x="6995886" y="87086"/>
                </a:cubicBezTo>
                <a:cubicBezTo>
                  <a:pt x="7024914" y="91924"/>
                  <a:pt x="7055052" y="92294"/>
                  <a:pt x="7082971" y="101600"/>
                </a:cubicBezTo>
                <a:cubicBezTo>
                  <a:pt x="7099520" y="107116"/>
                  <a:pt x="7109741" y="135421"/>
                  <a:pt x="7126514" y="130629"/>
                </a:cubicBezTo>
                <a:cubicBezTo>
                  <a:pt x="7152829" y="123110"/>
                  <a:pt x="7161363" y="87077"/>
                  <a:pt x="7184571" y="72572"/>
                </a:cubicBezTo>
                <a:cubicBezTo>
                  <a:pt x="7201487" y="62000"/>
                  <a:pt x="7223276" y="62895"/>
                  <a:pt x="7242628" y="58057"/>
                </a:cubicBezTo>
                <a:cubicBezTo>
                  <a:pt x="7257142" y="72571"/>
                  <a:pt x="7273030" y="85831"/>
                  <a:pt x="7286171" y="101600"/>
                </a:cubicBezTo>
                <a:cubicBezTo>
                  <a:pt x="7297338" y="115001"/>
                  <a:pt x="7297993" y="142275"/>
                  <a:pt x="7315200" y="145143"/>
                </a:cubicBezTo>
                <a:cubicBezTo>
                  <a:pt x="7336542" y="148700"/>
                  <a:pt x="7353370" y="124638"/>
                  <a:pt x="7373257" y="116115"/>
                </a:cubicBezTo>
                <a:cubicBezTo>
                  <a:pt x="7387319" y="110088"/>
                  <a:pt x="7402286" y="106438"/>
                  <a:pt x="7416800" y="101600"/>
                </a:cubicBezTo>
                <a:cubicBezTo>
                  <a:pt x="7445829" y="111276"/>
                  <a:pt x="7477938" y="114411"/>
                  <a:pt x="7503886" y="130629"/>
                </a:cubicBezTo>
                <a:cubicBezTo>
                  <a:pt x="7584072" y="180746"/>
                  <a:pt x="7470142" y="189866"/>
                  <a:pt x="7590971" y="159657"/>
                </a:cubicBezTo>
                <a:cubicBezTo>
                  <a:pt x="7615162" y="164495"/>
                  <a:pt x="7639064" y="177232"/>
                  <a:pt x="7663543" y="174172"/>
                </a:cubicBezTo>
                <a:cubicBezTo>
                  <a:pt x="7680852" y="172008"/>
                  <a:pt x="7689923" y="142023"/>
                  <a:pt x="7707086" y="145143"/>
                </a:cubicBezTo>
                <a:cubicBezTo>
                  <a:pt x="7749661" y="152884"/>
                  <a:pt x="7784495" y="183848"/>
                  <a:pt x="7823200" y="203200"/>
                </a:cubicBezTo>
                <a:cubicBezTo>
                  <a:pt x="7837714" y="188686"/>
                  <a:pt x="7855357" y="176736"/>
                  <a:pt x="7866743" y="159657"/>
                </a:cubicBezTo>
                <a:cubicBezTo>
                  <a:pt x="7900641" y="108811"/>
                  <a:pt x="7852716" y="97088"/>
                  <a:pt x="7924800" y="145143"/>
                </a:cubicBezTo>
                <a:cubicBezTo>
                  <a:pt x="7934476" y="159657"/>
                  <a:pt x="7939314" y="179010"/>
                  <a:pt x="7953828" y="188686"/>
                </a:cubicBezTo>
                <a:cubicBezTo>
                  <a:pt x="7962610" y="194540"/>
                  <a:pt x="8082861" y="217396"/>
                  <a:pt x="8084457" y="217715"/>
                </a:cubicBezTo>
                <a:cubicBezTo>
                  <a:pt x="8098971" y="237067"/>
                  <a:pt x="8105051" y="268122"/>
                  <a:pt x="8128000" y="275772"/>
                </a:cubicBezTo>
                <a:cubicBezTo>
                  <a:pt x="8144549" y="281288"/>
                  <a:pt x="8154336" y="243875"/>
                  <a:pt x="8171543" y="246743"/>
                </a:cubicBezTo>
                <a:cubicBezTo>
                  <a:pt x="8191790" y="250117"/>
                  <a:pt x="8200572" y="275772"/>
                  <a:pt x="8215086" y="290286"/>
                </a:cubicBezTo>
                <a:cubicBezTo>
                  <a:pt x="8219924" y="275772"/>
                  <a:pt x="8220207" y="258820"/>
                  <a:pt x="8229600" y="246743"/>
                </a:cubicBezTo>
                <a:cubicBezTo>
                  <a:pt x="8283134" y="177914"/>
                  <a:pt x="8302026" y="169431"/>
                  <a:pt x="8360228" y="130629"/>
                </a:cubicBezTo>
                <a:cubicBezTo>
                  <a:pt x="8374742" y="135467"/>
                  <a:pt x="8391041" y="136656"/>
                  <a:pt x="8403771" y="145143"/>
                </a:cubicBezTo>
                <a:cubicBezTo>
                  <a:pt x="8437297" y="167494"/>
                  <a:pt x="8454923" y="200100"/>
                  <a:pt x="8476343" y="232229"/>
                </a:cubicBezTo>
                <a:cubicBezTo>
                  <a:pt x="8480993" y="213628"/>
                  <a:pt x="8482344" y="138835"/>
                  <a:pt x="8534400" y="159657"/>
                </a:cubicBezTo>
                <a:cubicBezTo>
                  <a:pt x="8550596" y="166135"/>
                  <a:pt x="8553752" y="188686"/>
                  <a:pt x="8563428" y="203200"/>
                </a:cubicBezTo>
                <a:cubicBezTo>
                  <a:pt x="8648197" y="174944"/>
                  <a:pt x="8570348" y="210795"/>
                  <a:pt x="8636000" y="145143"/>
                </a:cubicBezTo>
                <a:cubicBezTo>
                  <a:pt x="8669411" y="111733"/>
                  <a:pt x="8693187" y="112704"/>
                  <a:pt x="8737600" y="101600"/>
                </a:cubicBezTo>
                <a:cubicBezTo>
                  <a:pt x="8795657" y="106438"/>
                  <a:pt x="8855480" y="101104"/>
                  <a:pt x="8911771" y="116115"/>
                </a:cubicBezTo>
                <a:cubicBezTo>
                  <a:pt x="8931604" y="121404"/>
                  <a:pt x="8938611" y="147726"/>
                  <a:pt x="8955314" y="159657"/>
                </a:cubicBezTo>
                <a:cubicBezTo>
                  <a:pt x="8972920" y="172233"/>
                  <a:pt x="8994019" y="179010"/>
                  <a:pt x="9013371" y="188686"/>
                </a:cubicBezTo>
                <a:cubicBezTo>
                  <a:pt x="9042400" y="183848"/>
                  <a:pt x="9076510" y="191277"/>
                  <a:pt x="9100457" y="174172"/>
                </a:cubicBezTo>
                <a:cubicBezTo>
                  <a:pt x="9116689" y="162578"/>
                  <a:pt x="9102510" y="131692"/>
                  <a:pt x="9114971" y="116115"/>
                </a:cubicBezTo>
                <a:cubicBezTo>
                  <a:pt x="9124528" y="104168"/>
                  <a:pt x="9144000" y="106438"/>
                  <a:pt x="9158514" y="101600"/>
                </a:cubicBezTo>
                <a:cubicBezTo>
                  <a:pt x="9245731" y="130674"/>
                  <a:pt x="9253473" y="137166"/>
                  <a:pt x="9390743" y="130629"/>
                </a:cubicBezTo>
                <a:cubicBezTo>
                  <a:pt x="9430594" y="128731"/>
                  <a:pt x="9469285" y="115019"/>
                  <a:pt x="9506857" y="101600"/>
                </a:cubicBezTo>
                <a:cubicBezTo>
                  <a:pt x="9537421" y="90684"/>
                  <a:pt x="9564914" y="72571"/>
                  <a:pt x="9593943" y="58057"/>
                </a:cubicBezTo>
                <a:cubicBezTo>
                  <a:pt x="9618133" y="67733"/>
                  <a:pt x="9646732" y="70130"/>
                  <a:pt x="9666514" y="87086"/>
                </a:cubicBezTo>
                <a:cubicBezTo>
                  <a:pt x="9736821" y="147349"/>
                  <a:pt x="9650667" y="160101"/>
                  <a:pt x="9739086" y="130629"/>
                </a:cubicBezTo>
                <a:cubicBezTo>
                  <a:pt x="9848532" y="167111"/>
                  <a:pt x="9713623" y="117898"/>
                  <a:pt x="9826171" y="174172"/>
                </a:cubicBezTo>
                <a:cubicBezTo>
                  <a:pt x="9839855" y="181014"/>
                  <a:pt x="9855200" y="183848"/>
                  <a:pt x="9869714" y="188686"/>
                </a:cubicBezTo>
                <a:cubicBezTo>
                  <a:pt x="9893905" y="183848"/>
                  <a:pt x="9917616" y="174172"/>
                  <a:pt x="9942286" y="174172"/>
                </a:cubicBezTo>
                <a:cubicBezTo>
                  <a:pt x="9957585" y="174172"/>
                  <a:pt x="9970647" y="190584"/>
                  <a:pt x="9985828" y="188686"/>
                </a:cubicBezTo>
                <a:cubicBezTo>
                  <a:pt x="10011681" y="185454"/>
                  <a:pt x="10034209" y="169333"/>
                  <a:pt x="10058400" y="159657"/>
                </a:cubicBezTo>
                <a:cubicBezTo>
                  <a:pt x="10103650" y="103094"/>
                  <a:pt x="10113475" y="78422"/>
                  <a:pt x="10174514" y="43543"/>
                </a:cubicBezTo>
                <a:cubicBezTo>
                  <a:pt x="10187798" y="35952"/>
                  <a:pt x="10203543" y="33867"/>
                  <a:pt x="10218057" y="29029"/>
                </a:cubicBezTo>
                <a:cubicBezTo>
                  <a:pt x="10334949" y="116699"/>
                  <a:pt x="10230168" y="58057"/>
                  <a:pt x="10464800" y="58057"/>
                </a:cubicBezTo>
                <a:cubicBezTo>
                  <a:pt x="10503806" y="58057"/>
                  <a:pt x="10542209" y="67734"/>
                  <a:pt x="10580914" y="72572"/>
                </a:cubicBezTo>
                <a:cubicBezTo>
                  <a:pt x="10600266" y="87086"/>
                  <a:pt x="10614781" y="116115"/>
                  <a:pt x="10638971" y="116115"/>
                </a:cubicBezTo>
                <a:cubicBezTo>
                  <a:pt x="10659497" y="116115"/>
                  <a:pt x="10666745" y="85713"/>
                  <a:pt x="10682514" y="72572"/>
                </a:cubicBezTo>
                <a:cubicBezTo>
                  <a:pt x="10720030" y="41308"/>
                  <a:pt x="10725959" y="43576"/>
                  <a:pt x="10769600" y="29029"/>
                </a:cubicBezTo>
                <a:cubicBezTo>
                  <a:pt x="10788952" y="38705"/>
                  <a:pt x="10809104" y="46925"/>
                  <a:pt x="10827657" y="58057"/>
                </a:cubicBezTo>
                <a:cubicBezTo>
                  <a:pt x="10952428" y="132920"/>
                  <a:pt x="10870701" y="101435"/>
                  <a:pt x="10958286" y="130629"/>
                </a:cubicBezTo>
                <a:cubicBezTo>
                  <a:pt x="10982476" y="125791"/>
                  <a:pt x="11006924" y="122098"/>
                  <a:pt x="11030857" y="116115"/>
                </a:cubicBezTo>
                <a:cubicBezTo>
                  <a:pt x="11045700" y="112404"/>
                  <a:pt x="11059176" y="100078"/>
                  <a:pt x="11074400" y="101600"/>
                </a:cubicBezTo>
                <a:cubicBezTo>
                  <a:pt x="11109447" y="105105"/>
                  <a:pt x="11142133" y="120953"/>
                  <a:pt x="11176000" y="130629"/>
                </a:cubicBezTo>
                <a:cubicBezTo>
                  <a:pt x="11185676" y="145143"/>
                  <a:pt x="11187644" y="172723"/>
                  <a:pt x="11205028" y="174172"/>
                </a:cubicBezTo>
                <a:cubicBezTo>
                  <a:pt x="11305981" y="182585"/>
                  <a:pt x="11330789" y="158064"/>
                  <a:pt x="11393714" y="116115"/>
                </a:cubicBezTo>
                <a:cubicBezTo>
                  <a:pt x="11408228" y="120953"/>
                  <a:pt x="11423573" y="123787"/>
                  <a:pt x="11437257" y="130629"/>
                </a:cubicBezTo>
                <a:cubicBezTo>
                  <a:pt x="11452859" y="138430"/>
                  <a:pt x="11463593" y="156789"/>
                  <a:pt x="11480800" y="159657"/>
                </a:cubicBezTo>
                <a:cubicBezTo>
                  <a:pt x="11495891" y="162172"/>
                  <a:pt x="11509829" y="149981"/>
                  <a:pt x="11524343" y="145143"/>
                </a:cubicBezTo>
                <a:cubicBezTo>
                  <a:pt x="11543695" y="149981"/>
                  <a:pt x="11563476" y="153349"/>
                  <a:pt x="11582400" y="159657"/>
                </a:cubicBezTo>
                <a:cubicBezTo>
                  <a:pt x="11607117" y="167896"/>
                  <a:pt x="11630576" y="179538"/>
                  <a:pt x="11654971" y="188686"/>
                </a:cubicBezTo>
                <a:cubicBezTo>
                  <a:pt x="11669296" y="194058"/>
                  <a:pt x="11684000" y="198362"/>
                  <a:pt x="11698514" y="203200"/>
                </a:cubicBezTo>
                <a:cubicBezTo>
                  <a:pt x="11746147" y="131751"/>
                  <a:pt x="11745193" y="112250"/>
                  <a:pt x="11814628" y="72572"/>
                </a:cubicBezTo>
                <a:cubicBezTo>
                  <a:pt x="11827912" y="64981"/>
                  <a:pt x="11843657" y="62895"/>
                  <a:pt x="11858171" y="58057"/>
                </a:cubicBezTo>
                <a:cubicBezTo>
                  <a:pt x="11872685" y="62895"/>
                  <a:pt x="11886414" y="72572"/>
                  <a:pt x="11901714" y="72572"/>
                </a:cubicBezTo>
                <a:cubicBezTo>
                  <a:pt x="11921662" y="72572"/>
                  <a:pt x="11940023" y="55236"/>
                  <a:pt x="11959771" y="58057"/>
                </a:cubicBezTo>
                <a:cubicBezTo>
                  <a:pt x="11977040" y="60524"/>
                  <a:pt x="11988800" y="77410"/>
                  <a:pt x="12003314" y="87086"/>
                </a:cubicBezTo>
                <a:cubicBezTo>
                  <a:pt x="12022666" y="116115"/>
                  <a:pt x="12039952" y="146633"/>
                  <a:pt x="12061371" y="174172"/>
                </a:cubicBezTo>
                <a:cubicBezTo>
                  <a:pt x="12073973" y="190375"/>
                  <a:pt x="12086555" y="226895"/>
                  <a:pt x="12104914" y="217715"/>
                </a:cubicBezTo>
                <a:cubicBezTo>
                  <a:pt x="12126979" y="206682"/>
                  <a:pt x="12114590" y="169334"/>
                  <a:pt x="12119428" y="145143"/>
                </a:cubicBezTo>
                <a:cubicBezTo>
                  <a:pt x="12143619" y="149981"/>
                  <a:pt x="12168279" y="166434"/>
                  <a:pt x="12192000" y="159657"/>
                </a:cubicBezTo>
                <a:cubicBezTo>
                  <a:pt x="12212731" y="153734"/>
                  <a:pt x="12230232" y="88503"/>
                  <a:pt x="12235543" y="72572"/>
                </a:cubicBezTo>
                <a:cubicBezTo>
                  <a:pt x="12338757" y="141380"/>
                  <a:pt x="12219416" y="81173"/>
                  <a:pt x="12322628" y="72572"/>
                </a:cubicBezTo>
                <a:cubicBezTo>
                  <a:pt x="12366288" y="68934"/>
                  <a:pt x="12409714" y="82248"/>
                  <a:pt x="12453257" y="87086"/>
                </a:cubicBezTo>
                <a:cubicBezTo>
                  <a:pt x="12467771" y="96762"/>
                  <a:pt x="12487555" y="101322"/>
                  <a:pt x="12496800" y="116115"/>
                </a:cubicBezTo>
                <a:cubicBezTo>
                  <a:pt x="12513017" y="142063"/>
                  <a:pt x="12508855" y="177741"/>
                  <a:pt x="12525828" y="203200"/>
                </a:cubicBezTo>
                <a:lnTo>
                  <a:pt x="12554857" y="246743"/>
                </a:lnTo>
                <a:cubicBezTo>
                  <a:pt x="12550019" y="266095"/>
                  <a:pt x="12555489" y="291818"/>
                  <a:pt x="12540343" y="304800"/>
                </a:cubicBezTo>
                <a:cubicBezTo>
                  <a:pt x="12517111" y="324714"/>
                  <a:pt x="12478717" y="316856"/>
                  <a:pt x="12453257" y="333829"/>
                </a:cubicBezTo>
                <a:cubicBezTo>
                  <a:pt x="12438743" y="343505"/>
                  <a:pt x="12426263" y="357341"/>
                  <a:pt x="12409714" y="362857"/>
                </a:cubicBezTo>
                <a:cubicBezTo>
                  <a:pt x="12381795" y="372163"/>
                  <a:pt x="12352025" y="376005"/>
                  <a:pt x="12322628" y="377372"/>
                </a:cubicBezTo>
                <a:cubicBezTo>
                  <a:pt x="12143747" y="385692"/>
                  <a:pt x="11964542" y="385004"/>
                  <a:pt x="11785600" y="391886"/>
                </a:cubicBezTo>
                <a:cubicBezTo>
                  <a:pt x="11587149" y="399519"/>
                  <a:pt x="11190514" y="420915"/>
                  <a:pt x="11190514" y="420915"/>
                </a:cubicBezTo>
                <a:cubicBezTo>
                  <a:pt x="11156647" y="425753"/>
                  <a:pt x="11123016" y="432701"/>
                  <a:pt x="11088914" y="435429"/>
                </a:cubicBezTo>
                <a:cubicBezTo>
                  <a:pt x="10940312" y="447317"/>
                  <a:pt x="10590718" y="459420"/>
                  <a:pt x="10464800" y="464457"/>
                </a:cubicBezTo>
                <a:cubicBezTo>
                  <a:pt x="10412811" y="473122"/>
                  <a:pt x="10326821" y="488149"/>
                  <a:pt x="10276114" y="493486"/>
                </a:cubicBezTo>
                <a:cubicBezTo>
                  <a:pt x="10218176" y="499585"/>
                  <a:pt x="10160108" y="504708"/>
                  <a:pt x="10101943" y="508000"/>
                </a:cubicBezTo>
                <a:lnTo>
                  <a:pt x="9506857" y="537029"/>
                </a:lnTo>
                <a:cubicBezTo>
                  <a:pt x="7021676" y="496946"/>
                  <a:pt x="10127457" y="537029"/>
                  <a:pt x="7765143" y="537029"/>
                </a:cubicBezTo>
                <a:lnTo>
                  <a:pt x="2061028" y="522515"/>
                </a:lnTo>
                <a:cubicBezTo>
                  <a:pt x="1850113" y="487360"/>
                  <a:pt x="2039664" y="515278"/>
                  <a:pt x="1625600" y="493486"/>
                </a:cubicBezTo>
                <a:cubicBezTo>
                  <a:pt x="1557788" y="489917"/>
                  <a:pt x="1490287" y="480569"/>
                  <a:pt x="1422400" y="478972"/>
                </a:cubicBezTo>
                <a:lnTo>
                  <a:pt x="391886" y="464457"/>
                </a:lnTo>
                <a:cubicBezTo>
                  <a:pt x="353181" y="459619"/>
                  <a:pt x="314601" y="453641"/>
                  <a:pt x="275771" y="449943"/>
                </a:cubicBezTo>
                <a:cubicBezTo>
                  <a:pt x="63089" y="429688"/>
                  <a:pt x="141399" y="471638"/>
                  <a:pt x="43543" y="406400"/>
                </a:cubicBezTo>
                <a:cubicBezTo>
                  <a:pt x="33867" y="391886"/>
                  <a:pt x="22315" y="378459"/>
                  <a:pt x="14514" y="362857"/>
                </a:cubicBezTo>
                <a:cubicBezTo>
                  <a:pt x="7672" y="349173"/>
                  <a:pt x="0" y="334614"/>
                  <a:pt x="0" y="319315"/>
                </a:cubicBezTo>
                <a:cubicBezTo>
                  <a:pt x="0" y="203265"/>
                  <a:pt x="229163" y="234521"/>
                  <a:pt x="261257" y="232229"/>
                </a:cubicBezTo>
                <a:cubicBezTo>
                  <a:pt x="245213" y="184096"/>
                  <a:pt x="210457" y="234648"/>
                  <a:pt x="217714" y="217715"/>
                </a:cubicBezTo>
                <a:close/>
              </a:path>
            </a:pathLst>
          </a:custGeom>
          <a:solidFill>
            <a:srgbClr val="63A6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6" name="Picture 695" descr="A picture containing computer, computer, light&#10;&#10;Description automatically generated">
            <a:extLst>
              <a:ext uri="{FF2B5EF4-FFF2-40B4-BE49-F238E27FC236}">
                <a16:creationId xmlns:a16="http://schemas.microsoft.com/office/drawing/2014/main" id="{9CD68E3B-0BD7-465B-9A87-A25242683EBE}"/>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926926" y="2706060"/>
            <a:ext cx="674415" cy="1165792"/>
          </a:xfrm>
          <a:prstGeom prst="rect">
            <a:avLst/>
          </a:prstGeom>
        </p:spPr>
      </p:pic>
      <p:pic>
        <p:nvPicPr>
          <p:cNvPr id="697" name="Picture 696" descr="A picture containing computer, computer, light&#10;&#10;Description automatically generated">
            <a:extLst>
              <a:ext uri="{FF2B5EF4-FFF2-40B4-BE49-F238E27FC236}">
                <a16:creationId xmlns:a16="http://schemas.microsoft.com/office/drawing/2014/main" id="{78F460D1-2400-4C88-9037-09096E6646D9}"/>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23939" y="2340117"/>
            <a:ext cx="674415" cy="1165792"/>
          </a:xfrm>
          <a:prstGeom prst="rect">
            <a:avLst/>
          </a:prstGeom>
        </p:spPr>
      </p:pic>
      <p:pic>
        <p:nvPicPr>
          <p:cNvPr id="698" name="Picture 697" descr="A picture containing computer, computer, light&#10;&#10;Description automatically generated">
            <a:extLst>
              <a:ext uri="{FF2B5EF4-FFF2-40B4-BE49-F238E27FC236}">
                <a16:creationId xmlns:a16="http://schemas.microsoft.com/office/drawing/2014/main" id="{660A3419-FC43-433E-9BBC-418EE3081C5B}"/>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710248" y="4566829"/>
            <a:ext cx="1300246" cy="2247602"/>
          </a:xfrm>
          <a:prstGeom prst="rect">
            <a:avLst/>
          </a:prstGeom>
        </p:spPr>
      </p:pic>
      <p:pic>
        <p:nvPicPr>
          <p:cNvPr id="699" name="Picture 698" descr="A picture containing computer, computer, light&#10;&#10;Description automatically generated">
            <a:extLst>
              <a:ext uri="{FF2B5EF4-FFF2-40B4-BE49-F238E27FC236}">
                <a16:creationId xmlns:a16="http://schemas.microsoft.com/office/drawing/2014/main" id="{B1E2FC45-EC92-4670-9006-9F4E3EE377BA}"/>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4021330" y="3499445"/>
            <a:ext cx="1300246" cy="2247602"/>
          </a:xfrm>
          <a:prstGeom prst="rect">
            <a:avLst/>
          </a:prstGeom>
        </p:spPr>
      </p:pic>
      <p:pic>
        <p:nvPicPr>
          <p:cNvPr id="701" name="Picture 700" descr="A picture containing computer, computer, light&#10;&#10;Description automatically generated">
            <a:extLst>
              <a:ext uri="{FF2B5EF4-FFF2-40B4-BE49-F238E27FC236}">
                <a16:creationId xmlns:a16="http://schemas.microsoft.com/office/drawing/2014/main" id="{F646F085-3A07-4327-B8EB-7D3544BD4A4D}"/>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6135195" y="1904862"/>
            <a:ext cx="838829" cy="1449997"/>
          </a:xfrm>
          <a:prstGeom prst="rect">
            <a:avLst/>
          </a:prstGeom>
        </p:spPr>
      </p:pic>
      <p:pic>
        <p:nvPicPr>
          <p:cNvPr id="702" name="Picture 701" descr="A picture containing computer, computer, light&#10;&#10;Description automatically generated">
            <a:extLst>
              <a:ext uri="{FF2B5EF4-FFF2-40B4-BE49-F238E27FC236}">
                <a16:creationId xmlns:a16="http://schemas.microsoft.com/office/drawing/2014/main" id="{9C5F9DEF-F698-467C-BD73-20601B19C11A}"/>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3628122" y="2390464"/>
            <a:ext cx="674415" cy="1165792"/>
          </a:xfrm>
          <a:prstGeom prst="rect">
            <a:avLst/>
          </a:prstGeom>
        </p:spPr>
      </p:pic>
      <p:grpSp>
        <p:nvGrpSpPr>
          <p:cNvPr id="41" name="Group 40">
            <a:extLst>
              <a:ext uri="{FF2B5EF4-FFF2-40B4-BE49-F238E27FC236}">
                <a16:creationId xmlns:a16="http://schemas.microsoft.com/office/drawing/2014/main" id="{082629C0-C38D-4D8C-8219-70F8D6C03140}"/>
              </a:ext>
            </a:extLst>
          </p:cNvPr>
          <p:cNvGrpSpPr/>
          <p:nvPr/>
        </p:nvGrpSpPr>
        <p:grpSpPr>
          <a:xfrm>
            <a:off x="4928248" y="1904862"/>
            <a:ext cx="1419602" cy="1129936"/>
            <a:chOff x="-811627" y="3411110"/>
            <a:chExt cx="4028319" cy="3400471"/>
          </a:xfrm>
        </p:grpSpPr>
        <p:pic>
          <p:nvPicPr>
            <p:cNvPr id="42" name="Picture 41">
              <a:extLst>
                <a:ext uri="{FF2B5EF4-FFF2-40B4-BE49-F238E27FC236}">
                  <a16:creationId xmlns:a16="http://schemas.microsoft.com/office/drawing/2014/main" id="{E7FD30EE-1B8B-4AA3-9508-EE4571ED654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9003" y="4040929"/>
              <a:ext cx="3975695" cy="2770652"/>
            </a:xfrm>
            <a:prstGeom prst="rect">
              <a:avLst/>
            </a:prstGeom>
          </p:spPr>
        </p:pic>
        <p:grpSp>
          <p:nvGrpSpPr>
            <p:cNvPr id="43" name="Group 42">
              <a:extLst>
                <a:ext uri="{FF2B5EF4-FFF2-40B4-BE49-F238E27FC236}">
                  <a16:creationId xmlns:a16="http://schemas.microsoft.com/office/drawing/2014/main" id="{EA24AC9D-3BDF-43F1-AA6E-E4FA07C01B34}"/>
                </a:ext>
              </a:extLst>
            </p:cNvPr>
            <p:cNvGrpSpPr/>
            <p:nvPr/>
          </p:nvGrpSpPr>
          <p:grpSpPr>
            <a:xfrm>
              <a:off x="-811627" y="3411110"/>
              <a:ext cx="3491982" cy="2700092"/>
              <a:chOff x="-811627" y="3411110"/>
              <a:chExt cx="3491982" cy="2700092"/>
            </a:xfrm>
          </p:grpSpPr>
          <p:pic>
            <p:nvPicPr>
              <p:cNvPr id="44" name="Picture 43">
                <a:extLst>
                  <a:ext uri="{FF2B5EF4-FFF2-40B4-BE49-F238E27FC236}">
                    <a16:creationId xmlns:a16="http://schemas.microsoft.com/office/drawing/2014/main" id="{5FB3D7A1-8D1B-47F9-9C29-545A1A676B1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949" y="3411110"/>
                <a:ext cx="2692304" cy="2258061"/>
              </a:xfrm>
              <a:prstGeom prst="rect">
                <a:avLst/>
              </a:prstGeom>
            </p:spPr>
          </p:pic>
          <p:pic>
            <p:nvPicPr>
              <p:cNvPr id="45" name="Picture 44">
                <a:extLst>
                  <a:ext uri="{FF2B5EF4-FFF2-40B4-BE49-F238E27FC236}">
                    <a16:creationId xmlns:a16="http://schemas.microsoft.com/office/drawing/2014/main" id="{4C6D8446-B6F0-4AB5-BBA3-561EECCB45B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627" y="3853141"/>
                <a:ext cx="2692304" cy="2258061"/>
              </a:xfrm>
              <a:prstGeom prst="rect">
                <a:avLst/>
              </a:prstGeom>
            </p:spPr>
          </p:pic>
          <p:pic>
            <p:nvPicPr>
              <p:cNvPr id="46" name="Picture 45">
                <a:extLst>
                  <a:ext uri="{FF2B5EF4-FFF2-40B4-BE49-F238E27FC236}">
                    <a16:creationId xmlns:a16="http://schemas.microsoft.com/office/drawing/2014/main" id="{91558BA1-FF78-4F2C-B02A-DBF92249E59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3491" y="3613578"/>
                <a:ext cx="2692304" cy="2258061"/>
              </a:xfrm>
              <a:prstGeom prst="rect">
                <a:avLst/>
              </a:prstGeom>
            </p:spPr>
          </p:pic>
        </p:grpSp>
      </p:grpSp>
      <p:pic>
        <p:nvPicPr>
          <p:cNvPr id="703" name="Picture 702" descr="A picture containing computer, computer, light&#10;&#10;Description automatically generated">
            <a:extLst>
              <a:ext uri="{FF2B5EF4-FFF2-40B4-BE49-F238E27FC236}">
                <a16:creationId xmlns:a16="http://schemas.microsoft.com/office/drawing/2014/main" id="{CDD003DB-A48E-4F56-96D4-794B85EA7EA2}"/>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1871772" y="2452489"/>
            <a:ext cx="674415" cy="1165792"/>
          </a:xfrm>
          <a:prstGeom prst="rect">
            <a:avLst/>
          </a:prstGeom>
        </p:spPr>
      </p:pic>
      <p:pic>
        <p:nvPicPr>
          <p:cNvPr id="704" name="Picture 703" descr="A picture containing computer, computer, light&#10;&#10;Description automatically generated">
            <a:extLst>
              <a:ext uri="{FF2B5EF4-FFF2-40B4-BE49-F238E27FC236}">
                <a16:creationId xmlns:a16="http://schemas.microsoft.com/office/drawing/2014/main" id="{22324174-4859-451B-9614-2E354A019C77}"/>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2542277" y="2588803"/>
            <a:ext cx="674415" cy="1165792"/>
          </a:xfrm>
          <a:prstGeom prst="rect">
            <a:avLst/>
          </a:prstGeom>
        </p:spPr>
      </p:pic>
      <p:pic>
        <p:nvPicPr>
          <p:cNvPr id="700" name="Picture 699" descr="A picture containing computer, computer, light&#10;&#10;Description automatically generated">
            <a:extLst>
              <a:ext uri="{FF2B5EF4-FFF2-40B4-BE49-F238E27FC236}">
                <a16:creationId xmlns:a16="http://schemas.microsoft.com/office/drawing/2014/main" id="{4D51CA54-3CF3-45AC-A146-B865F1214FA5}"/>
              </a:ext>
            </a:extLst>
          </p:cNvPr>
          <p:cNvPicPr>
            <a:picLocks noChangeAspect="1"/>
          </p:cNvPicPr>
          <p:nvPr/>
        </p:nvPicPr>
        <p:blipFill rotWithShape="1">
          <a:blip r:embed="rId3">
            <a:extLst>
              <a:ext uri="{28A0092B-C50C-407E-A947-70E740481C1C}">
                <a14:useLocalDpi xmlns:a14="http://schemas.microsoft.com/office/drawing/2010/main" val="0"/>
              </a:ext>
            </a:extLst>
          </a:blip>
          <a:srcRect l="41352" t="38567" r="40254" b="38963"/>
          <a:stretch/>
        </p:blipFill>
        <p:spPr>
          <a:xfrm>
            <a:off x="5005316" y="2412255"/>
            <a:ext cx="1300246" cy="2247602"/>
          </a:xfrm>
          <a:prstGeom prst="rect">
            <a:avLst/>
          </a:prstGeom>
        </p:spPr>
      </p:pic>
    </p:spTree>
    <p:extLst>
      <p:ext uri="{BB962C8B-B14F-4D97-AF65-F5344CB8AC3E}">
        <p14:creationId xmlns:p14="http://schemas.microsoft.com/office/powerpoint/2010/main" val="11495808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374C951-07B8-4EF5-A057-98600D4DC7A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84385" y="-1004804"/>
            <a:ext cx="8023229" cy="7293844"/>
          </a:xfrm>
          <a:prstGeom prst="rect">
            <a:avLst/>
          </a:prstGeom>
        </p:spPr>
      </p:pic>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5B5BC80C-A6CA-42A8-8624-FBF19442CFC6}"/>
                  </a:ext>
                </a:extLst>
              </p:cNvPr>
              <p:cNvGraphicFramePr>
                <a:graphicFrameLocks noChangeAspect="1"/>
              </p:cNvGraphicFramePr>
              <p:nvPr>
                <p:extLst>
                  <p:ext uri="{D42A27DB-BD31-4B8C-83A1-F6EECF244321}">
                    <p14:modId xmlns:p14="http://schemas.microsoft.com/office/powerpoint/2010/main" val="1025844321"/>
                  </p:ext>
                </p:extLst>
              </p:nvPr>
            </p:nvGraphicFramePr>
            <p:xfrm>
              <a:off x="3614928" y="3200138"/>
              <a:ext cx="4517136" cy="2548390"/>
            </p:xfrm>
            <a:graphic>
              <a:graphicData uri="http://schemas.microsoft.com/office/powerpoint/2016/slidezoom">
                <pslz:sldZm>
                  <pslz:sldZmObj sldId="337" cId="2384714627">
                    <pslz:zmPr id="{7E0B1CBB-E475-4DF2-A4D1-7DF29F6A0723}" returnToParent="0" transitionDur="1000" showBg="0">
                      <p166:blipFill xmlns:p166="http://schemas.microsoft.com/office/powerpoint/2016/6/main">
                        <a:blip r:embed="rId3"/>
                        <a:stretch>
                          <a:fillRect/>
                        </a:stretch>
                      </p166:blipFill>
                      <p166:spPr xmlns:p166="http://schemas.microsoft.com/office/powerpoint/2016/6/main">
                        <a:xfrm>
                          <a:off x="0" y="0"/>
                          <a:ext cx="4517136" cy="2548390"/>
                        </a:xfrm>
                        <a:prstGeom prst="rect">
                          <a:avLst/>
                        </a:prstGeom>
                      </p166:spPr>
                    </pslz:zmPr>
                  </pslz:sldZmObj>
                </pslz:sldZm>
              </a:graphicData>
            </a:graphic>
          </p:graphicFrame>
        </mc:Choice>
        <mc:Fallback xmlns="">
          <p:pic>
            <p:nvPicPr>
              <p:cNvPr id="18" name="Slide Zoom 17">
                <a:hlinkClick r:id="rId4" action="ppaction://hlinksldjump"/>
                <a:extLst>
                  <a:ext uri="{FF2B5EF4-FFF2-40B4-BE49-F238E27FC236}">
                    <a16:creationId xmlns:a16="http://schemas.microsoft.com/office/drawing/2014/main" id="{5B5BC80C-A6CA-42A8-8624-FBF19442CFC6}"/>
                  </a:ext>
                </a:extLst>
              </p:cNvPr>
              <p:cNvPicPr>
                <a:picLocks noGrp="1" noRot="1" noChangeAspect="1" noMove="1" noResize="1" noEditPoints="1" noAdjustHandles="1" noChangeArrowheads="1" noChangeShapeType="1"/>
              </p:cNvPicPr>
              <p:nvPr/>
            </p:nvPicPr>
            <p:blipFill>
              <a:blip r:embed="rId5"/>
              <a:stretch>
                <a:fillRect/>
              </a:stretch>
            </p:blipFill>
            <p:spPr>
              <a:xfrm>
                <a:off x="3614928" y="3200138"/>
                <a:ext cx="4517136" cy="2548390"/>
              </a:xfrm>
              <a:prstGeom prst="rect">
                <a:avLst/>
              </a:prstGeom>
            </p:spPr>
          </p:pic>
        </mc:Fallback>
      </mc:AlternateContent>
    </p:spTree>
    <p:extLst>
      <p:ext uri="{BB962C8B-B14F-4D97-AF65-F5344CB8AC3E}">
        <p14:creationId xmlns:p14="http://schemas.microsoft.com/office/powerpoint/2010/main" val="40653180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1719335" y="2435327"/>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7"/>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5393001" y="2166484"/>
            <a:ext cx="5522976"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3" y="1343515"/>
            <a:ext cx="6691086" cy="40333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a16="http://schemas.microsoft.com/office/drawing/2014/main" id="{DF7833B0-BA71-4453-853F-974C3C7535A2}"/>
              </a:ext>
            </a:extLst>
          </p:cNvPr>
          <p:cNvSpPr txBox="1"/>
          <p:nvPr/>
        </p:nvSpPr>
        <p:spPr>
          <a:xfrm>
            <a:off x="5697333" y="2944675"/>
            <a:ext cx="6691086" cy="830997"/>
          </a:xfrm>
          <a:prstGeom prst="rect">
            <a:avLst/>
          </a:prstGeom>
          <a:noFill/>
        </p:spPr>
        <p:txBody>
          <a:bodyPr wrap="square" lIns="0" tIns="0" rIns="0" bIns="0" numCol="1" rtlCol="0">
            <a:spAutoFit/>
          </a:bodyPr>
          <a:lstStyle/>
          <a:p>
            <a:r>
              <a:rPr lang="de-DE" altLang="de-DE" sz="5400" dirty="0">
                <a:solidFill>
                  <a:srgbClr val="0070C0"/>
                </a:solidFill>
                <a:latin typeface="Arial" panose="020B0604020202020204" pitchFamily="34" charset="0"/>
                <a:cs typeface="Arial" panose="020B0604020202020204" pitchFamily="34" charset="0"/>
              </a:rPr>
              <a:t>What is Demolition ?</a:t>
            </a:r>
          </a:p>
        </p:txBody>
      </p:sp>
    </p:spTree>
    <p:custDataLst>
      <p:tags r:id="rId2"/>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374C951-07B8-4EF5-A057-98600D4DC7A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6830" t="66986" r="45568" b="13512"/>
          <a:stretch/>
        </p:blipFill>
        <p:spPr>
          <a:xfrm>
            <a:off x="3850639" y="1828800"/>
            <a:ext cx="3802961" cy="3830320"/>
          </a:xfrm>
          <a:prstGeom prst="rect">
            <a:avLst/>
          </a:prstGeom>
        </p:spPr>
      </p:pic>
    </p:spTree>
    <p:extLst>
      <p:ext uri="{BB962C8B-B14F-4D97-AF65-F5344CB8AC3E}">
        <p14:creationId xmlns:p14="http://schemas.microsoft.com/office/powerpoint/2010/main" val="23847146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C2F1E9CF-62B1-4640-A315-C2FF0ED58685}"/>
              </a:ext>
            </a:extLst>
          </p:cNvPr>
          <p:cNvSpPr/>
          <p:nvPr/>
        </p:nvSpPr>
        <p:spPr>
          <a:xfrm>
            <a:off x="3851755"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Flowchart: Terminator 38">
            <a:extLst>
              <a:ext uri="{FF2B5EF4-FFF2-40B4-BE49-F238E27FC236}">
                <a16:creationId xmlns:a16="http://schemas.microsoft.com/office/drawing/2014/main" id="{A0AC24D5-D3C2-4C8C-990E-5E98C24A630A}"/>
              </a:ext>
            </a:extLst>
          </p:cNvPr>
          <p:cNvSpPr/>
          <p:nvPr/>
        </p:nvSpPr>
        <p:spPr>
          <a:xfrm>
            <a:off x="1642502" y="6426528"/>
            <a:ext cx="4928316" cy="96651"/>
          </a:xfrm>
          <a:prstGeom prst="flowChartTerminator">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lowchart: Manual Operation 2">
            <a:extLst>
              <a:ext uri="{FF2B5EF4-FFF2-40B4-BE49-F238E27FC236}">
                <a16:creationId xmlns:a16="http://schemas.microsoft.com/office/drawing/2014/main" id="{ADBBA97B-237A-4DCA-B1E1-C39A015B9ABA}"/>
              </a:ext>
            </a:extLst>
          </p:cNvPr>
          <p:cNvSpPr/>
          <p:nvPr/>
        </p:nvSpPr>
        <p:spPr>
          <a:xfrm flipV="1">
            <a:off x="4011878" y="3827753"/>
            <a:ext cx="320247" cy="268465"/>
          </a:xfrm>
          <a:prstGeom prst="flowChartManualOperation">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Freeform: Shape 110">
            <a:extLst>
              <a:ext uri="{FF2B5EF4-FFF2-40B4-BE49-F238E27FC236}">
                <a16:creationId xmlns:a16="http://schemas.microsoft.com/office/drawing/2014/main" id="{D499D019-02BD-46FD-B095-BC8DF38D64FD}"/>
              </a:ext>
            </a:extLst>
          </p:cNvPr>
          <p:cNvSpPr/>
          <p:nvPr/>
        </p:nvSpPr>
        <p:spPr>
          <a:xfrm>
            <a:off x="3999961" y="3822326"/>
            <a:ext cx="291217" cy="99145"/>
          </a:xfrm>
          <a:custGeom>
            <a:avLst/>
            <a:gdLst>
              <a:gd name="connsiteX0" fmla="*/ 121991 w 434088"/>
              <a:gd name="connsiteY0" fmla="*/ 0 h 145260"/>
              <a:gd name="connsiteX1" fmla="*/ 395880 w 434088"/>
              <a:gd name="connsiteY1" fmla="*/ 0 h 145260"/>
              <a:gd name="connsiteX2" fmla="*/ 434088 w 434088"/>
              <a:gd name="connsiteY2" fmla="*/ 145260 h 145260"/>
              <a:gd name="connsiteX3" fmla="*/ 83783 w 434088"/>
              <a:gd name="connsiteY3" fmla="*/ 145260 h 145260"/>
              <a:gd name="connsiteX4" fmla="*/ 0 w 434088"/>
              <a:gd name="connsiteY4" fmla="*/ 0 h 145260"/>
              <a:gd name="connsiteX5" fmla="*/ 22963 w 434088"/>
              <a:gd name="connsiteY5" fmla="*/ 0 h 145260"/>
              <a:gd name="connsiteX6" fmla="*/ 0 w 434088"/>
              <a:gd name="connsiteY6" fmla="*/ 2681 h 14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088" h="145260">
                <a:moveTo>
                  <a:pt x="121991" y="0"/>
                </a:moveTo>
                <a:lnTo>
                  <a:pt x="395880" y="0"/>
                </a:lnTo>
                <a:lnTo>
                  <a:pt x="434088" y="145260"/>
                </a:lnTo>
                <a:lnTo>
                  <a:pt x="83783" y="145260"/>
                </a:lnTo>
                <a:close/>
                <a:moveTo>
                  <a:pt x="0" y="0"/>
                </a:moveTo>
                <a:lnTo>
                  <a:pt x="22963" y="0"/>
                </a:lnTo>
                <a:lnTo>
                  <a:pt x="0" y="2681"/>
                </a:lnTo>
                <a:close/>
              </a:path>
            </a:pathLst>
          </a:custGeom>
          <a:solidFill>
            <a:schemeClr val="bg2">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Freeform: Shape 112">
            <a:extLst>
              <a:ext uri="{FF2B5EF4-FFF2-40B4-BE49-F238E27FC236}">
                <a16:creationId xmlns:a16="http://schemas.microsoft.com/office/drawing/2014/main" id="{55C5023B-C53A-4361-BA88-6AAD424343F7}"/>
              </a:ext>
            </a:extLst>
          </p:cNvPr>
          <p:cNvSpPr/>
          <p:nvPr/>
        </p:nvSpPr>
        <p:spPr>
          <a:xfrm>
            <a:off x="3311352" y="3039276"/>
            <a:ext cx="1259945" cy="745243"/>
          </a:xfrm>
          <a:custGeom>
            <a:avLst/>
            <a:gdLst>
              <a:gd name="connsiteX0" fmla="*/ 105589 w 1941369"/>
              <a:gd name="connsiteY0" fmla="*/ 0 h 1190007"/>
              <a:gd name="connsiteX1" fmla="*/ 1941369 w 1941369"/>
              <a:gd name="connsiteY1" fmla="*/ 0 h 1190007"/>
              <a:gd name="connsiteX2" fmla="*/ 942835 w 1941369"/>
              <a:gd name="connsiteY2" fmla="*/ 1190007 h 1190007"/>
              <a:gd name="connsiteX3" fmla="*/ 105589 w 1941369"/>
              <a:gd name="connsiteY3" fmla="*/ 1190007 h 1190007"/>
              <a:gd name="connsiteX4" fmla="*/ 0 w 1941369"/>
              <a:gd name="connsiteY4" fmla="*/ 1084418 h 1190007"/>
              <a:gd name="connsiteX5" fmla="*/ 0 w 1941369"/>
              <a:gd name="connsiteY5" fmla="*/ 105589 h 1190007"/>
              <a:gd name="connsiteX6" fmla="*/ 105589 w 1941369"/>
              <a:gd name="connsiteY6" fmla="*/ 0 h 119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1369" h="1190007">
                <a:moveTo>
                  <a:pt x="105589" y="0"/>
                </a:moveTo>
                <a:lnTo>
                  <a:pt x="1941369" y="0"/>
                </a:lnTo>
                <a:lnTo>
                  <a:pt x="942835" y="1190007"/>
                </a:lnTo>
                <a:lnTo>
                  <a:pt x="105589" y="1190007"/>
                </a:lnTo>
                <a:cubicBezTo>
                  <a:pt x="47274" y="1190007"/>
                  <a:pt x="0" y="1142733"/>
                  <a:pt x="0" y="1084418"/>
                </a:cubicBezTo>
                <a:lnTo>
                  <a:pt x="0" y="105589"/>
                </a:lnTo>
                <a:cubicBezTo>
                  <a:pt x="0" y="47274"/>
                  <a:pt x="47274" y="0"/>
                  <a:pt x="105589" y="0"/>
                </a:cubicBezTo>
                <a:close/>
              </a:path>
            </a:pathLst>
          </a:custGeom>
          <a:solidFill>
            <a:schemeClr val="bg1">
              <a:alpha val="56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3ACF5975-A076-451E-BF48-C61BDE5B29E5}"/>
              </a:ext>
            </a:extLst>
          </p:cNvPr>
          <p:cNvSpPr/>
          <p:nvPr/>
        </p:nvSpPr>
        <p:spPr>
          <a:xfrm>
            <a:off x="4115481" y="4173109"/>
            <a:ext cx="139908" cy="142341"/>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74E6BD78-237B-4787-8186-1736EE6C00B1}"/>
              </a:ext>
            </a:extLst>
          </p:cNvPr>
          <p:cNvSpPr/>
          <p:nvPr/>
        </p:nvSpPr>
        <p:spPr>
          <a:xfrm>
            <a:off x="0" y="5818305"/>
            <a:ext cx="8179268" cy="1016574"/>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Terminator 107">
            <a:extLst>
              <a:ext uri="{FF2B5EF4-FFF2-40B4-BE49-F238E27FC236}">
                <a16:creationId xmlns:a16="http://schemas.microsoft.com/office/drawing/2014/main" id="{DC672A2F-A3A4-4D04-A035-059E4F557EE6}"/>
              </a:ext>
            </a:extLst>
          </p:cNvPr>
          <p:cNvSpPr/>
          <p:nvPr/>
        </p:nvSpPr>
        <p:spPr>
          <a:xfrm>
            <a:off x="6585187" y="6151494"/>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Terminator 106">
            <a:extLst>
              <a:ext uri="{FF2B5EF4-FFF2-40B4-BE49-F238E27FC236}">
                <a16:creationId xmlns:a16="http://schemas.microsoft.com/office/drawing/2014/main" id="{DD1BDF79-4982-4ADE-9EA9-A4D6DFF45047}"/>
              </a:ext>
            </a:extLst>
          </p:cNvPr>
          <p:cNvSpPr/>
          <p:nvPr/>
        </p:nvSpPr>
        <p:spPr>
          <a:xfrm>
            <a:off x="6810985" y="6207373"/>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Terminator 105">
            <a:extLst>
              <a:ext uri="{FF2B5EF4-FFF2-40B4-BE49-F238E27FC236}">
                <a16:creationId xmlns:a16="http://schemas.microsoft.com/office/drawing/2014/main" id="{5414219A-47FF-4898-8DA3-61CF16CF34ED}"/>
              </a:ext>
            </a:extLst>
          </p:cNvPr>
          <p:cNvSpPr/>
          <p:nvPr/>
        </p:nvSpPr>
        <p:spPr>
          <a:xfrm>
            <a:off x="1496869" y="6151494"/>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lowchart: Terminator 6">
            <a:extLst>
              <a:ext uri="{FF2B5EF4-FFF2-40B4-BE49-F238E27FC236}">
                <a16:creationId xmlns:a16="http://schemas.microsoft.com/office/drawing/2014/main" id="{B87DAAD7-4EF7-492B-A150-AE74117E222B}"/>
              </a:ext>
            </a:extLst>
          </p:cNvPr>
          <p:cNvSpPr/>
          <p:nvPr/>
        </p:nvSpPr>
        <p:spPr>
          <a:xfrm>
            <a:off x="1276065" y="6207373"/>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Rounded Corners 3">
            <a:extLst>
              <a:ext uri="{FF2B5EF4-FFF2-40B4-BE49-F238E27FC236}">
                <a16:creationId xmlns:a16="http://schemas.microsoft.com/office/drawing/2014/main" id="{0DB733D7-81EE-4102-AE19-8941F6785219}"/>
              </a:ext>
            </a:extLst>
          </p:cNvPr>
          <p:cNvSpPr/>
          <p:nvPr/>
        </p:nvSpPr>
        <p:spPr>
          <a:xfrm>
            <a:off x="820280" y="5389669"/>
            <a:ext cx="6578976" cy="976872"/>
          </a:xfrm>
          <a:prstGeom prst="roundRect">
            <a:avLst>
              <a:gd name="adj" fmla="val 50000"/>
            </a:avLst>
          </a:prstGeom>
          <a:solidFill>
            <a:schemeClr val="bg1">
              <a:lumMod val="65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Rounded Corners 24">
            <a:extLst>
              <a:ext uri="{FF2B5EF4-FFF2-40B4-BE49-F238E27FC236}">
                <a16:creationId xmlns:a16="http://schemas.microsoft.com/office/drawing/2014/main" id="{A29EBC77-8905-4933-BDAD-7A8EEFBF1A97}"/>
              </a:ext>
            </a:extLst>
          </p:cNvPr>
          <p:cNvSpPr/>
          <p:nvPr/>
        </p:nvSpPr>
        <p:spPr>
          <a:xfrm>
            <a:off x="992890" y="5572765"/>
            <a:ext cx="6226016" cy="629192"/>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D4434EC4-3D14-4B64-AB5A-4CB37BE39F51}"/>
              </a:ext>
            </a:extLst>
          </p:cNvPr>
          <p:cNvSpPr/>
          <p:nvPr/>
        </p:nvSpPr>
        <p:spPr>
          <a:xfrm>
            <a:off x="1019596"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Rectangle 173">
            <a:extLst>
              <a:ext uri="{FF2B5EF4-FFF2-40B4-BE49-F238E27FC236}">
                <a16:creationId xmlns:a16="http://schemas.microsoft.com/office/drawing/2014/main" id="{28FEBDA1-DA85-4249-9A05-F1286BCCC8FA}"/>
              </a:ext>
            </a:extLst>
          </p:cNvPr>
          <p:cNvSpPr/>
          <p:nvPr/>
        </p:nvSpPr>
        <p:spPr>
          <a:xfrm>
            <a:off x="7420026" y="5035796"/>
            <a:ext cx="8778104" cy="1788924"/>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C353CDB3-89BC-4485-BA4D-A968F0F37FF6}"/>
              </a:ext>
            </a:extLst>
          </p:cNvPr>
          <p:cNvSpPr/>
          <p:nvPr/>
        </p:nvSpPr>
        <p:spPr>
          <a:xfrm>
            <a:off x="2466349"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Rectangle: Rounded Corners 174">
            <a:extLst>
              <a:ext uri="{FF2B5EF4-FFF2-40B4-BE49-F238E27FC236}">
                <a16:creationId xmlns:a16="http://schemas.microsoft.com/office/drawing/2014/main" id="{F7611790-CB1D-46FF-9442-9B7CFD9D6B89}"/>
              </a:ext>
            </a:extLst>
          </p:cNvPr>
          <p:cNvSpPr/>
          <p:nvPr/>
        </p:nvSpPr>
        <p:spPr>
          <a:xfrm>
            <a:off x="1023370" y="5572765"/>
            <a:ext cx="6226016" cy="629192"/>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2D79B90E-6BCE-4873-B81B-BEC256718936}"/>
              </a:ext>
            </a:extLst>
          </p:cNvPr>
          <p:cNvSpPr/>
          <p:nvPr/>
        </p:nvSpPr>
        <p:spPr>
          <a:xfrm>
            <a:off x="5237161" y="5569840"/>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A28B9D7D-FDFF-4506-8013-B5B6237B8481}"/>
              </a:ext>
            </a:extLst>
          </p:cNvPr>
          <p:cNvSpPr/>
          <p:nvPr/>
        </p:nvSpPr>
        <p:spPr>
          <a:xfrm>
            <a:off x="6622567"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4" name="Picture 183">
            <a:extLst>
              <a:ext uri="{FF2B5EF4-FFF2-40B4-BE49-F238E27FC236}">
                <a16:creationId xmlns:a16="http://schemas.microsoft.com/office/drawing/2014/main" id="{C548CC0B-8658-4D21-93D1-A76E9127CF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0175" y="3734994"/>
            <a:ext cx="2692304" cy="2258061"/>
          </a:xfrm>
          <a:prstGeom prst="rect">
            <a:avLst/>
          </a:prstGeom>
        </p:spPr>
      </p:pic>
      <p:sp>
        <p:nvSpPr>
          <p:cNvPr id="2" name="Rectangle 1">
            <a:extLst>
              <a:ext uri="{FF2B5EF4-FFF2-40B4-BE49-F238E27FC236}">
                <a16:creationId xmlns:a16="http://schemas.microsoft.com/office/drawing/2014/main" id="{3647A0F0-870F-4EB7-9DAD-14741A7CE50D}"/>
              </a:ext>
            </a:extLst>
          </p:cNvPr>
          <p:cNvSpPr/>
          <p:nvPr/>
        </p:nvSpPr>
        <p:spPr>
          <a:xfrm>
            <a:off x="3505027" y="4096218"/>
            <a:ext cx="1385405" cy="2456627"/>
          </a:xfrm>
          <a:prstGeom prst="rect">
            <a:avLst/>
          </a:prstGeom>
          <a:gradFill flip="none" rotWithShape="1">
            <a:gsLst>
              <a:gs pos="0">
                <a:schemeClr val="tx1">
                  <a:lumMod val="50000"/>
                  <a:lumOff val="50000"/>
                </a:schemeClr>
              </a:gs>
              <a:gs pos="82281">
                <a:schemeClr val="bg1">
                  <a:lumMod val="75000"/>
                </a:schemeClr>
              </a:gs>
              <a:gs pos="30104">
                <a:schemeClr val="bg1">
                  <a:lumMod val="85000"/>
                </a:schemeClr>
              </a:gs>
              <a:gs pos="53000">
                <a:schemeClr val="bg1">
                  <a:lumMod val="95000"/>
                </a:schemeClr>
              </a:gs>
              <a:gs pos="100000">
                <a:schemeClr val="tx1">
                  <a:lumMod val="65000"/>
                  <a:lumOff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id="{242D2887-F10C-4D71-98A4-01AA0D528985}"/>
              </a:ext>
            </a:extLst>
          </p:cNvPr>
          <p:cNvSpPr/>
          <p:nvPr/>
        </p:nvSpPr>
        <p:spPr>
          <a:xfrm>
            <a:off x="3344997" y="4096218"/>
            <a:ext cx="176298" cy="2456627"/>
          </a:xfrm>
          <a:prstGeom prst="rect">
            <a:avLst/>
          </a:prstGeom>
          <a:gradFill>
            <a:gsLst>
              <a:gs pos="0">
                <a:schemeClr val="bg1">
                  <a:lumMod val="65000"/>
                </a:schemeClr>
              </a:gs>
              <a:gs pos="82281">
                <a:schemeClr val="bg1">
                  <a:lumMod val="75000"/>
                </a:schemeClr>
              </a:gs>
              <a:gs pos="30104">
                <a:schemeClr val="bg1">
                  <a:lumMod val="85000"/>
                </a:schemeClr>
              </a:gs>
              <a:gs pos="53000">
                <a:schemeClr val="bg1">
                  <a:lumMod val="95000"/>
                </a:schemeClr>
              </a:gs>
              <a:gs pos="100000">
                <a:schemeClr val="bg1">
                  <a:lumMod val="50000"/>
                </a:schemeClr>
              </a:gs>
            </a:gsLst>
            <a:lin ang="0" scaled="1"/>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2B0C5DDF-5D27-41BC-A57C-DF7015E2F243}"/>
              </a:ext>
            </a:extLst>
          </p:cNvPr>
          <p:cNvSpPr/>
          <p:nvPr/>
        </p:nvSpPr>
        <p:spPr>
          <a:xfrm>
            <a:off x="4880598" y="4096217"/>
            <a:ext cx="176298" cy="2456627"/>
          </a:xfrm>
          <a:prstGeom prst="rect">
            <a:avLst/>
          </a:prstGeom>
          <a:gradFill>
            <a:gsLst>
              <a:gs pos="0">
                <a:schemeClr val="bg1">
                  <a:lumMod val="65000"/>
                </a:schemeClr>
              </a:gs>
              <a:gs pos="82281">
                <a:schemeClr val="bg1">
                  <a:lumMod val="75000"/>
                </a:schemeClr>
              </a:gs>
              <a:gs pos="30104">
                <a:schemeClr val="bg1">
                  <a:lumMod val="85000"/>
                </a:schemeClr>
              </a:gs>
              <a:gs pos="53000">
                <a:schemeClr val="bg1">
                  <a:lumMod val="95000"/>
                </a:schemeClr>
              </a:gs>
              <a:gs pos="100000">
                <a:schemeClr val="bg1">
                  <a:lumMod val="50000"/>
                </a:schemeClr>
              </a:gs>
            </a:gsLst>
            <a:lin ang="0" scaled="1"/>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5B9C8723-1B92-4975-A7DD-5D8E5BE9429D}"/>
              </a:ext>
            </a:extLst>
          </p:cNvPr>
          <p:cNvSpPr/>
          <p:nvPr/>
        </p:nvSpPr>
        <p:spPr>
          <a:xfrm>
            <a:off x="3274061" y="3001760"/>
            <a:ext cx="1782836" cy="812424"/>
          </a:xfrm>
          <a:prstGeom prst="roundRect">
            <a:avLst>
              <a:gd name="adj" fmla="val 9309"/>
            </a:avLst>
          </a:prstGeom>
          <a:solidFill>
            <a:schemeClr val="bg1">
              <a:lumMod val="95000"/>
            </a:schemeClr>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BFF8E926-5925-4A32-85E1-353C09C341F9}"/>
              </a:ext>
            </a:extLst>
          </p:cNvPr>
          <p:cNvSpPr/>
          <p:nvPr/>
        </p:nvSpPr>
        <p:spPr>
          <a:xfrm>
            <a:off x="5325896" y="4927416"/>
            <a:ext cx="1646616" cy="627383"/>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Freeform: Shape 121">
            <a:extLst>
              <a:ext uri="{FF2B5EF4-FFF2-40B4-BE49-F238E27FC236}">
                <a16:creationId xmlns:a16="http://schemas.microsoft.com/office/drawing/2014/main" id="{9EB3AFFF-891B-476C-B9CB-426DBA49B56F}"/>
              </a:ext>
            </a:extLst>
          </p:cNvPr>
          <p:cNvSpPr/>
          <p:nvPr/>
        </p:nvSpPr>
        <p:spPr>
          <a:xfrm flipH="1">
            <a:off x="1454785" y="4962480"/>
            <a:ext cx="1646616" cy="584548"/>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C5AF84F1-1554-4C2F-91DC-DC17C45CBF9E}"/>
              </a:ext>
            </a:extLst>
          </p:cNvPr>
          <p:cNvSpPr/>
          <p:nvPr/>
        </p:nvSpPr>
        <p:spPr>
          <a:xfrm>
            <a:off x="4115219" y="4173929"/>
            <a:ext cx="139908" cy="142341"/>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14B20D5E-29F3-45D7-BAC8-E6620A5BB7D7}"/>
              </a:ext>
            </a:extLst>
          </p:cNvPr>
          <p:cNvSpPr/>
          <p:nvPr/>
        </p:nvSpPr>
        <p:spPr>
          <a:xfrm>
            <a:off x="1566553" y="5451525"/>
            <a:ext cx="101509" cy="103274"/>
          </a:xfrm>
          <a:prstGeom prst="ellipse">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Oval 123">
            <a:extLst>
              <a:ext uri="{FF2B5EF4-FFF2-40B4-BE49-F238E27FC236}">
                <a16:creationId xmlns:a16="http://schemas.microsoft.com/office/drawing/2014/main" id="{2341329C-7F60-495E-9797-47710FC5C4A9}"/>
              </a:ext>
            </a:extLst>
          </p:cNvPr>
          <p:cNvSpPr/>
          <p:nvPr/>
        </p:nvSpPr>
        <p:spPr>
          <a:xfrm>
            <a:off x="3039270" y="5451525"/>
            <a:ext cx="101509" cy="103274"/>
          </a:xfrm>
          <a:prstGeom prst="ellipse">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Oval 124">
            <a:extLst>
              <a:ext uri="{FF2B5EF4-FFF2-40B4-BE49-F238E27FC236}">
                <a16:creationId xmlns:a16="http://schemas.microsoft.com/office/drawing/2014/main" id="{7338BE5F-1285-4965-A397-299307DB21B4}"/>
              </a:ext>
            </a:extLst>
          </p:cNvPr>
          <p:cNvSpPr/>
          <p:nvPr/>
        </p:nvSpPr>
        <p:spPr>
          <a:xfrm>
            <a:off x="5282532" y="5455428"/>
            <a:ext cx="101509" cy="103274"/>
          </a:xfrm>
          <a:prstGeom prst="ellipse">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E8AC0D65-4ED4-4FD3-877C-A89D04746923}"/>
              </a:ext>
            </a:extLst>
          </p:cNvPr>
          <p:cNvSpPr/>
          <p:nvPr/>
        </p:nvSpPr>
        <p:spPr>
          <a:xfrm>
            <a:off x="3518250" y="4096217"/>
            <a:ext cx="64505" cy="2456627"/>
          </a:xfrm>
          <a:prstGeom prst="rect">
            <a:avLst/>
          </a:prstGeom>
          <a:solidFill>
            <a:schemeClr val="accent3">
              <a:lumMod val="5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054062FE-AADF-432B-8C33-083BC002962F}"/>
              </a:ext>
            </a:extLst>
          </p:cNvPr>
          <p:cNvSpPr/>
          <p:nvPr/>
        </p:nvSpPr>
        <p:spPr>
          <a:xfrm>
            <a:off x="4839045" y="4106824"/>
            <a:ext cx="64505" cy="2456627"/>
          </a:xfrm>
          <a:prstGeom prst="rect">
            <a:avLst/>
          </a:prstGeom>
          <a:solidFill>
            <a:schemeClr val="accent3">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A7F7953-AB0D-4FB8-A2C4-A30B1109F319}"/>
              </a:ext>
            </a:extLst>
          </p:cNvPr>
          <p:cNvSpPr txBox="1"/>
          <p:nvPr/>
        </p:nvSpPr>
        <p:spPr>
          <a:xfrm>
            <a:off x="3721277" y="4325967"/>
            <a:ext cx="10601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accent3">
                    <a:lumMod val="50000"/>
                  </a:schemeClr>
                </a:solidFill>
                <a:latin typeface="Oswald" panose="02000503000000000000" pitchFamily="2" charset="0"/>
              </a:rPr>
              <a:t>Separator</a:t>
            </a:r>
            <a:endParaRPr kumimoji="0" lang="en-US" sz="1800" b="0" i="0" u="none" strike="noStrike" kern="1200" cap="none" spc="0" normalizeH="0" baseline="0" noProof="0" dirty="0">
              <a:ln>
                <a:noFill/>
              </a:ln>
              <a:solidFill>
                <a:schemeClr val="accent3">
                  <a:lumMod val="50000"/>
                </a:schemeClr>
              </a:solidFill>
              <a:uLnTx/>
              <a:uFillTx/>
              <a:latin typeface="Oswald" panose="02000503000000000000" pitchFamily="2" charset="0"/>
              <a:ea typeface="+mn-ea"/>
              <a:cs typeface="+mn-cs"/>
            </a:endParaRPr>
          </a:p>
        </p:txBody>
      </p:sp>
      <p:sp>
        <p:nvSpPr>
          <p:cNvPr id="8" name="Scan Button">
            <a:extLst>
              <a:ext uri="{FF2B5EF4-FFF2-40B4-BE49-F238E27FC236}">
                <a16:creationId xmlns:a16="http://schemas.microsoft.com/office/drawing/2014/main" id="{D4C0680E-6312-45C3-B490-7E30F735E544}"/>
              </a:ext>
            </a:extLst>
          </p:cNvPr>
          <p:cNvSpPr/>
          <p:nvPr/>
        </p:nvSpPr>
        <p:spPr>
          <a:xfrm>
            <a:off x="3785567" y="5798175"/>
            <a:ext cx="756744" cy="263194"/>
          </a:xfrm>
          <a:prstGeom prst="roundRect">
            <a:avLst>
              <a:gd name="adj" fmla="val 50000"/>
            </a:avLst>
          </a:prstGeom>
          <a:solidFill>
            <a:srgbClr val="FFC000"/>
          </a:solidFill>
          <a:ln>
            <a:solidFill>
              <a:schemeClr val="bg1"/>
            </a:solidFill>
          </a:ln>
          <a:effectLst/>
          <a:scene3d>
            <a:camera prst="orthographicFront"/>
            <a:lightRig rig="threePt" dir="t"/>
          </a:scene3d>
          <a:sp3d>
            <a:bevelT w="152400" h="825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entury Gothic" panose="020B0502020202020204" pitchFamily="34" charset="0"/>
              </a:rPr>
              <a:t>SCAN</a:t>
            </a:r>
          </a:p>
        </p:txBody>
      </p:sp>
      <p:sp>
        <p:nvSpPr>
          <p:cNvPr id="166" name="Flowchart: Terminator 165">
            <a:extLst>
              <a:ext uri="{FF2B5EF4-FFF2-40B4-BE49-F238E27FC236}">
                <a16:creationId xmlns:a16="http://schemas.microsoft.com/office/drawing/2014/main" id="{ED58EA87-8C3F-46C5-B27D-9162B454188E}"/>
              </a:ext>
            </a:extLst>
          </p:cNvPr>
          <p:cNvSpPr/>
          <p:nvPr/>
        </p:nvSpPr>
        <p:spPr>
          <a:xfrm>
            <a:off x="12792947" y="5285274"/>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7" name="Flowchart: Terminator 166">
            <a:extLst>
              <a:ext uri="{FF2B5EF4-FFF2-40B4-BE49-F238E27FC236}">
                <a16:creationId xmlns:a16="http://schemas.microsoft.com/office/drawing/2014/main" id="{19531ABD-8CBC-4255-A18A-97E81249F305}"/>
              </a:ext>
            </a:extLst>
          </p:cNvPr>
          <p:cNvSpPr/>
          <p:nvPr/>
        </p:nvSpPr>
        <p:spPr>
          <a:xfrm>
            <a:off x="13018745" y="5339642"/>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Flowchart: Terminator 167">
            <a:extLst>
              <a:ext uri="{FF2B5EF4-FFF2-40B4-BE49-F238E27FC236}">
                <a16:creationId xmlns:a16="http://schemas.microsoft.com/office/drawing/2014/main" id="{6CC06B13-8651-445B-98B5-AD2C3628C2F8}"/>
              </a:ext>
            </a:extLst>
          </p:cNvPr>
          <p:cNvSpPr/>
          <p:nvPr/>
        </p:nvSpPr>
        <p:spPr>
          <a:xfrm>
            <a:off x="7704629" y="5285274"/>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Flowchart: Terminator 168">
            <a:extLst>
              <a:ext uri="{FF2B5EF4-FFF2-40B4-BE49-F238E27FC236}">
                <a16:creationId xmlns:a16="http://schemas.microsoft.com/office/drawing/2014/main" id="{75064783-D507-44A4-861E-35CD63AA2364}"/>
              </a:ext>
            </a:extLst>
          </p:cNvPr>
          <p:cNvSpPr/>
          <p:nvPr/>
        </p:nvSpPr>
        <p:spPr>
          <a:xfrm>
            <a:off x="7483825" y="5339642"/>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Rectangle: Rounded Corners 169">
            <a:extLst>
              <a:ext uri="{FF2B5EF4-FFF2-40B4-BE49-F238E27FC236}">
                <a16:creationId xmlns:a16="http://schemas.microsoft.com/office/drawing/2014/main" id="{CF917892-0D4B-4BF4-A0F8-F3CF416EAE69}"/>
              </a:ext>
            </a:extLst>
          </p:cNvPr>
          <p:cNvSpPr/>
          <p:nvPr/>
        </p:nvSpPr>
        <p:spPr>
          <a:xfrm>
            <a:off x="7028040" y="4544049"/>
            <a:ext cx="6578976" cy="950457"/>
          </a:xfrm>
          <a:prstGeom prst="roundRect">
            <a:avLst>
              <a:gd name="adj" fmla="val 50000"/>
            </a:avLst>
          </a:prstGeom>
          <a:solidFill>
            <a:schemeClr val="bg1">
              <a:lumMod val="65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Rectangle: Rounded Corners 170">
            <a:extLst>
              <a:ext uri="{FF2B5EF4-FFF2-40B4-BE49-F238E27FC236}">
                <a16:creationId xmlns:a16="http://schemas.microsoft.com/office/drawing/2014/main" id="{A7B576FC-9FE6-4016-84F9-E76F9ABDDA67}"/>
              </a:ext>
            </a:extLst>
          </p:cNvPr>
          <p:cNvSpPr/>
          <p:nvPr/>
        </p:nvSpPr>
        <p:spPr>
          <a:xfrm>
            <a:off x="7220970" y="4712309"/>
            <a:ext cx="6226016" cy="612178"/>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Freeform: Shape 171">
            <a:extLst>
              <a:ext uri="{FF2B5EF4-FFF2-40B4-BE49-F238E27FC236}">
                <a16:creationId xmlns:a16="http://schemas.microsoft.com/office/drawing/2014/main" id="{DA92DEFD-77F3-4689-845D-432330969F4D}"/>
              </a:ext>
            </a:extLst>
          </p:cNvPr>
          <p:cNvSpPr/>
          <p:nvPr/>
        </p:nvSpPr>
        <p:spPr>
          <a:xfrm>
            <a:off x="11533656" y="4094296"/>
            <a:ext cx="1646616" cy="610418"/>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31B9F580-FAB9-489A-94EE-3D5BF513475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137476">
            <a:off x="7608105" y="3748364"/>
            <a:ext cx="1316225" cy="1314939"/>
          </a:xfrm>
          <a:prstGeom prst="rect">
            <a:avLst/>
          </a:prstGeom>
        </p:spPr>
      </p:pic>
      <p:sp>
        <p:nvSpPr>
          <p:cNvPr id="173" name="Freeform: Shape 172">
            <a:extLst>
              <a:ext uri="{FF2B5EF4-FFF2-40B4-BE49-F238E27FC236}">
                <a16:creationId xmlns:a16="http://schemas.microsoft.com/office/drawing/2014/main" id="{E1BB6397-CC0A-400E-92E3-0DEB7F10A99D}"/>
              </a:ext>
            </a:extLst>
          </p:cNvPr>
          <p:cNvSpPr/>
          <p:nvPr/>
        </p:nvSpPr>
        <p:spPr>
          <a:xfrm flipH="1">
            <a:off x="7662545" y="4128412"/>
            <a:ext cx="1646616" cy="568741"/>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Rectangle: Rounded Corners 175">
            <a:extLst>
              <a:ext uri="{FF2B5EF4-FFF2-40B4-BE49-F238E27FC236}">
                <a16:creationId xmlns:a16="http://schemas.microsoft.com/office/drawing/2014/main" id="{B3A814BE-ABA3-418B-88F3-F0590BB58D08}"/>
              </a:ext>
            </a:extLst>
          </p:cNvPr>
          <p:cNvSpPr/>
          <p:nvPr/>
        </p:nvSpPr>
        <p:spPr>
          <a:xfrm>
            <a:off x="7220970" y="4712309"/>
            <a:ext cx="6226016" cy="612178"/>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7" name="Freeform: Shape 176">
            <a:extLst>
              <a:ext uri="{FF2B5EF4-FFF2-40B4-BE49-F238E27FC236}">
                <a16:creationId xmlns:a16="http://schemas.microsoft.com/office/drawing/2014/main" id="{F6D337A6-FF36-4A50-B0C6-DFAB5BCC6D1F}"/>
              </a:ext>
            </a:extLst>
          </p:cNvPr>
          <p:cNvSpPr/>
          <p:nvPr/>
        </p:nvSpPr>
        <p:spPr>
          <a:xfrm>
            <a:off x="7227356" y="4712309"/>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8" name="Freeform: Shape 177">
            <a:extLst>
              <a:ext uri="{FF2B5EF4-FFF2-40B4-BE49-F238E27FC236}">
                <a16:creationId xmlns:a16="http://schemas.microsoft.com/office/drawing/2014/main" id="{367C4195-2192-460B-BEF5-5FCC0432B56E}"/>
              </a:ext>
            </a:extLst>
          </p:cNvPr>
          <p:cNvSpPr/>
          <p:nvPr/>
        </p:nvSpPr>
        <p:spPr>
          <a:xfrm>
            <a:off x="8674109" y="4712309"/>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9" name="Freeform: Shape 178">
            <a:extLst>
              <a:ext uri="{FF2B5EF4-FFF2-40B4-BE49-F238E27FC236}">
                <a16:creationId xmlns:a16="http://schemas.microsoft.com/office/drawing/2014/main" id="{D89BE942-6059-4D4C-9080-FFFFE8CC0F14}"/>
              </a:ext>
            </a:extLst>
          </p:cNvPr>
          <p:cNvSpPr/>
          <p:nvPr/>
        </p:nvSpPr>
        <p:spPr>
          <a:xfrm>
            <a:off x="11444921" y="4719348"/>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 name="Freeform: Shape 179">
            <a:extLst>
              <a:ext uri="{FF2B5EF4-FFF2-40B4-BE49-F238E27FC236}">
                <a16:creationId xmlns:a16="http://schemas.microsoft.com/office/drawing/2014/main" id="{B20C196C-D903-40AA-ACA7-0DC276EBE0CF}"/>
              </a:ext>
            </a:extLst>
          </p:cNvPr>
          <p:cNvSpPr/>
          <p:nvPr/>
        </p:nvSpPr>
        <p:spPr>
          <a:xfrm>
            <a:off x="12830327" y="4712309"/>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2E7BAE4C-01F9-47E7-959B-B0CE36104DB8}"/>
              </a:ext>
            </a:extLst>
          </p:cNvPr>
          <p:cNvSpPr txBox="1"/>
          <p:nvPr/>
        </p:nvSpPr>
        <p:spPr>
          <a:xfrm>
            <a:off x="916246" y="241431"/>
            <a:ext cx="5179754" cy="1077218"/>
          </a:xfrm>
          <a:prstGeom prst="rect">
            <a:avLst/>
          </a:prstGeom>
          <a:noFill/>
        </p:spPr>
        <p:txBody>
          <a:bodyPr wrap="square" rtlCol="0">
            <a:spAutoFit/>
          </a:bodyPr>
          <a:lstStyle/>
          <a:p>
            <a:pPr algn="ctr"/>
            <a:r>
              <a:rPr lang="en-US" sz="3200" dirty="0"/>
              <a:t>Separating Waste under Optical Scanner</a:t>
            </a:r>
          </a:p>
        </p:txBody>
      </p:sp>
    </p:spTree>
    <p:extLst>
      <p:ext uri="{BB962C8B-B14F-4D97-AF65-F5344CB8AC3E}">
        <p14:creationId xmlns:p14="http://schemas.microsoft.com/office/powerpoint/2010/main" val="210413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2250" fill="hold"/>
                                        <p:tgtEl>
                                          <p:spTgt spid="27"/>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2250" fill="hold"/>
                                        <p:tgtEl>
                                          <p:spTgt spid="24"/>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2250" fill="hold"/>
                                        <p:tgtEl>
                                          <p:spTgt spid="29"/>
                                        </p:tgtEl>
                                        <p:attrNameLst>
                                          <p:attrName>r</p:attrName>
                                        </p:attrNameLst>
                                      </p:cBhvr>
                                    </p:animRot>
                                  </p:childTnLst>
                                </p:cTn>
                              </p:par>
                              <p:par>
                                <p:cTn id="11" presetID="8" presetClass="emph" presetSubtype="0" repeatCount="indefinite" fill="hold" grpId="0" nodeType="withEffect">
                                  <p:stCondLst>
                                    <p:cond delay="0"/>
                                  </p:stCondLst>
                                  <p:childTnLst>
                                    <p:animRot by="21600000">
                                      <p:cBhvr>
                                        <p:cTn id="12" dur="2250" fill="hold"/>
                                        <p:tgtEl>
                                          <p:spTgt spid="30"/>
                                        </p:tgtEl>
                                        <p:attrNameLst>
                                          <p:attrName>r</p:attrName>
                                        </p:attrNameLst>
                                      </p:cBhvr>
                                    </p:animRot>
                                  </p:childTnLst>
                                </p:cTn>
                              </p:par>
                              <p:par>
                                <p:cTn id="13" presetID="8" presetClass="emph" presetSubtype="0" repeatCount="indefinite" fill="hold" grpId="0" nodeType="withEffect">
                                  <p:stCondLst>
                                    <p:cond delay="0"/>
                                  </p:stCondLst>
                                  <p:childTnLst>
                                    <p:animRot by="21600000">
                                      <p:cBhvr>
                                        <p:cTn id="14" dur="2250" fill="hold"/>
                                        <p:tgtEl>
                                          <p:spTgt spid="177"/>
                                        </p:tgtEl>
                                        <p:attrNameLst>
                                          <p:attrName>r</p:attrName>
                                        </p:attrNameLst>
                                      </p:cBhvr>
                                    </p:animRot>
                                  </p:childTnLst>
                                </p:cTn>
                              </p:par>
                              <p:par>
                                <p:cTn id="15" presetID="8" presetClass="emph" presetSubtype="0" repeatCount="indefinite" fill="hold" grpId="0" nodeType="withEffect">
                                  <p:stCondLst>
                                    <p:cond delay="0"/>
                                  </p:stCondLst>
                                  <p:childTnLst>
                                    <p:animRot by="21600000">
                                      <p:cBhvr>
                                        <p:cTn id="16" dur="2250" fill="hold"/>
                                        <p:tgtEl>
                                          <p:spTgt spid="178"/>
                                        </p:tgtEl>
                                        <p:attrNameLst>
                                          <p:attrName>r</p:attrName>
                                        </p:attrNameLst>
                                      </p:cBhvr>
                                    </p:animRot>
                                  </p:childTnLst>
                                </p:cTn>
                              </p:par>
                              <p:par>
                                <p:cTn id="17" presetID="8" presetClass="emph" presetSubtype="0" repeatCount="indefinite" fill="hold" grpId="0" nodeType="withEffect">
                                  <p:stCondLst>
                                    <p:cond delay="0"/>
                                  </p:stCondLst>
                                  <p:childTnLst>
                                    <p:animRot by="21600000">
                                      <p:cBhvr>
                                        <p:cTn id="18" dur="2250" fill="hold"/>
                                        <p:tgtEl>
                                          <p:spTgt spid="179"/>
                                        </p:tgtEl>
                                        <p:attrNameLst>
                                          <p:attrName>r</p:attrName>
                                        </p:attrNameLst>
                                      </p:cBhvr>
                                    </p:animRot>
                                  </p:childTnLst>
                                </p:cTn>
                              </p:par>
                              <p:par>
                                <p:cTn id="19" presetID="8" presetClass="emph" presetSubtype="0" repeatCount="indefinite" fill="hold" grpId="0" nodeType="withEffect">
                                  <p:stCondLst>
                                    <p:cond delay="0"/>
                                  </p:stCondLst>
                                  <p:childTnLst>
                                    <p:animRot by="21600000">
                                      <p:cBhvr>
                                        <p:cTn id="20" dur="2250" fill="hold"/>
                                        <p:tgtEl>
                                          <p:spTgt spid="18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7" grpId="0" animBg="1"/>
      <p:bldP spid="29" grpId="0" animBg="1"/>
      <p:bldP spid="30" grpId="0" animBg="1"/>
      <p:bldP spid="177" grpId="0" animBg="1"/>
      <p:bldP spid="178" grpId="0" animBg="1"/>
      <p:bldP spid="179" grpId="0" animBg="1"/>
      <p:bldP spid="18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C2F1E9CF-62B1-4640-A315-C2FF0ED58685}"/>
              </a:ext>
            </a:extLst>
          </p:cNvPr>
          <p:cNvSpPr/>
          <p:nvPr/>
        </p:nvSpPr>
        <p:spPr>
          <a:xfrm>
            <a:off x="3851755"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Flowchart: Terminator 38">
            <a:extLst>
              <a:ext uri="{FF2B5EF4-FFF2-40B4-BE49-F238E27FC236}">
                <a16:creationId xmlns:a16="http://schemas.microsoft.com/office/drawing/2014/main" id="{A0AC24D5-D3C2-4C8C-990E-5E98C24A630A}"/>
              </a:ext>
            </a:extLst>
          </p:cNvPr>
          <p:cNvSpPr/>
          <p:nvPr/>
        </p:nvSpPr>
        <p:spPr>
          <a:xfrm>
            <a:off x="1642502" y="6426528"/>
            <a:ext cx="4928316" cy="96651"/>
          </a:xfrm>
          <a:prstGeom prst="flowChartTerminator">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lowchart: Manual Operation 2">
            <a:extLst>
              <a:ext uri="{FF2B5EF4-FFF2-40B4-BE49-F238E27FC236}">
                <a16:creationId xmlns:a16="http://schemas.microsoft.com/office/drawing/2014/main" id="{ADBBA97B-237A-4DCA-B1E1-C39A015B9ABA}"/>
              </a:ext>
            </a:extLst>
          </p:cNvPr>
          <p:cNvSpPr/>
          <p:nvPr/>
        </p:nvSpPr>
        <p:spPr>
          <a:xfrm flipV="1">
            <a:off x="4011878" y="3827753"/>
            <a:ext cx="320247" cy="268465"/>
          </a:xfrm>
          <a:prstGeom prst="flowChartManualOperation">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Freeform: Shape 110">
            <a:extLst>
              <a:ext uri="{FF2B5EF4-FFF2-40B4-BE49-F238E27FC236}">
                <a16:creationId xmlns:a16="http://schemas.microsoft.com/office/drawing/2014/main" id="{D499D019-02BD-46FD-B095-BC8DF38D64FD}"/>
              </a:ext>
            </a:extLst>
          </p:cNvPr>
          <p:cNvSpPr/>
          <p:nvPr/>
        </p:nvSpPr>
        <p:spPr>
          <a:xfrm>
            <a:off x="3999961" y="3822326"/>
            <a:ext cx="291217" cy="99145"/>
          </a:xfrm>
          <a:custGeom>
            <a:avLst/>
            <a:gdLst>
              <a:gd name="connsiteX0" fmla="*/ 121991 w 434088"/>
              <a:gd name="connsiteY0" fmla="*/ 0 h 145260"/>
              <a:gd name="connsiteX1" fmla="*/ 395880 w 434088"/>
              <a:gd name="connsiteY1" fmla="*/ 0 h 145260"/>
              <a:gd name="connsiteX2" fmla="*/ 434088 w 434088"/>
              <a:gd name="connsiteY2" fmla="*/ 145260 h 145260"/>
              <a:gd name="connsiteX3" fmla="*/ 83783 w 434088"/>
              <a:gd name="connsiteY3" fmla="*/ 145260 h 145260"/>
              <a:gd name="connsiteX4" fmla="*/ 0 w 434088"/>
              <a:gd name="connsiteY4" fmla="*/ 0 h 145260"/>
              <a:gd name="connsiteX5" fmla="*/ 22963 w 434088"/>
              <a:gd name="connsiteY5" fmla="*/ 0 h 145260"/>
              <a:gd name="connsiteX6" fmla="*/ 0 w 434088"/>
              <a:gd name="connsiteY6" fmla="*/ 2681 h 14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088" h="145260">
                <a:moveTo>
                  <a:pt x="121991" y="0"/>
                </a:moveTo>
                <a:lnTo>
                  <a:pt x="395880" y="0"/>
                </a:lnTo>
                <a:lnTo>
                  <a:pt x="434088" y="145260"/>
                </a:lnTo>
                <a:lnTo>
                  <a:pt x="83783" y="145260"/>
                </a:lnTo>
                <a:close/>
                <a:moveTo>
                  <a:pt x="0" y="0"/>
                </a:moveTo>
                <a:lnTo>
                  <a:pt x="22963" y="0"/>
                </a:lnTo>
                <a:lnTo>
                  <a:pt x="0" y="2681"/>
                </a:lnTo>
                <a:close/>
              </a:path>
            </a:pathLst>
          </a:custGeom>
          <a:solidFill>
            <a:schemeClr val="bg2">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Freeform: Shape 112">
            <a:extLst>
              <a:ext uri="{FF2B5EF4-FFF2-40B4-BE49-F238E27FC236}">
                <a16:creationId xmlns:a16="http://schemas.microsoft.com/office/drawing/2014/main" id="{55C5023B-C53A-4361-BA88-6AAD424343F7}"/>
              </a:ext>
            </a:extLst>
          </p:cNvPr>
          <p:cNvSpPr/>
          <p:nvPr/>
        </p:nvSpPr>
        <p:spPr>
          <a:xfrm>
            <a:off x="3311352" y="3039276"/>
            <a:ext cx="1259945" cy="745243"/>
          </a:xfrm>
          <a:custGeom>
            <a:avLst/>
            <a:gdLst>
              <a:gd name="connsiteX0" fmla="*/ 105589 w 1941369"/>
              <a:gd name="connsiteY0" fmla="*/ 0 h 1190007"/>
              <a:gd name="connsiteX1" fmla="*/ 1941369 w 1941369"/>
              <a:gd name="connsiteY1" fmla="*/ 0 h 1190007"/>
              <a:gd name="connsiteX2" fmla="*/ 942835 w 1941369"/>
              <a:gd name="connsiteY2" fmla="*/ 1190007 h 1190007"/>
              <a:gd name="connsiteX3" fmla="*/ 105589 w 1941369"/>
              <a:gd name="connsiteY3" fmla="*/ 1190007 h 1190007"/>
              <a:gd name="connsiteX4" fmla="*/ 0 w 1941369"/>
              <a:gd name="connsiteY4" fmla="*/ 1084418 h 1190007"/>
              <a:gd name="connsiteX5" fmla="*/ 0 w 1941369"/>
              <a:gd name="connsiteY5" fmla="*/ 105589 h 1190007"/>
              <a:gd name="connsiteX6" fmla="*/ 105589 w 1941369"/>
              <a:gd name="connsiteY6" fmla="*/ 0 h 119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1369" h="1190007">
                <a:moveTo>
                  <a:pt x="105589" y="0"/>
                </a:moveTo>
                <a:lnTo>
                  <a:pt x="1941369" y="0"/>
                </a:lnTo>
                <a:lnTo>
                  <a:pt x="942835" y="1190007"/>
                </a:lnTo>
                <a:lnTo>
                  <a:pt x="105589" y="1190007"/>
                </a:lnTo>
                <a:cubicBezTo>
                  <a:pt x="47274" y="1190007"/>
                  <a:pt x="0" y="1142733"/>
                  <a:pt x="0" y="1084418"/>
                </a:cubicBezTo>
                <a:lnTo>
                  <a:pt x="0" y="105589"/>
                </a:lnTo>
                <a:cubicBezTo>
                  <a:pt x="0" y="47274"/>
                  <a:pt x="47274" y="0"/>
                  <a:pt x="105589" y="0"/>
                </a:cubicBezTo>
                <a:close/>
              </a:path>
            </a:pathLst>
          </a:custGeom>
          <a:solidFill>
            <a:schemeClr val="bg1">
              <a:alpha val="56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3ACF5975-A076-451E-BF48-C61BDE5B29E5}"/>
              </a:ext>
            </a:extLst>
          </p:cNvPr>
          <p:cNvSpPr/>
          <p:nvPr/>
        </p:nvSpPr>
        <p:spPr>
          <a:xfrm>
            <a:off x="4115481" y="4173109"/>
            <a:ext cx="139908" cy="142341"/>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74E6BD78-237B-4787-8186-1736EE6C00B1}"/>
              </a:ext>
            </a:extLst>
          </p:cNvPr>
          <p:cNvSpPr/>
          <p:nvPr/>
        </p:nvSpPr>
        <p:spPr>
          <a:xfrm>
            <a:off x="0" y="5818305"/>
            <a:ext cx="8179268" cy="1016574"/>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Terminator 107">
            <a:extLst>
              <a:ext uri="{FF2B5EF4-FFF2-40B4-BE49-F238E27FC236}">
                <a16:creationId xmlns:a16="http://schemas.microsoft.com/office/drawing/2014/main" id="{DC672A2F-A3A4-4D04-A035-059E4F557EE6}"/>
              </a:ext>
            </a:extLst>
          </p:cNvPr>
          <p:cNvSpPr/>
          <p:nvPr/>
        </p:nvSpPr>
        <p:spPr>
          <a:xfrm>
            <a:off x="6585187" y="6151494"/>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Terminator 106">
            <a:extLst>
              <a:ext uri="{FF2B5EF4-FFF2-40B4-BE49-F238E27FC236}">
                <a16:creationId xmlns:a16="http://schemas.microsoft.com/office/drawing/2014/main" id="{DD1BDF79-4982-4ADE-9EA9-A4D6DFF45047}"/>
              </a:ext>
            </a:extLst>
          </p:cNvPr>
          <p:cNvSpPr/>
          <p:nvPr/>
        </p:nvSpPr>
        <p:spPr>
          <a:xfrm>
            <a:off x="6810985" y="6207373"/>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Terminator 105">
            <a:extLst>
              <a:ext uri="{FF2B5EF4-FFF2-40B4-BE49-F238E27FC236}">
                <a16:creationId xmlns:a16="http://schemas.microsoft.com/office/drawing/2014/main" id="{5414219A-47FF-4898-8DA3-61CF16CF34ED}"/>
              </a:ext>
            </a:extLst>
          </p:cNvPr>
          <p:cNvSpPr/>
          <p:nvPr/>
        </p:nvSpPr>
        <p:spPr>
          <a:xfrm>
            <a:off x="1496869" y="6151494"/>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lowchart: Terminator 6">
            <a:extLst>
              <a:ext uri="{FF2B5EF4-FFF2-40B4-BE49-F238E27FC236}">
                <a16:creationId xmlns:a16="http://schemas.microsoft.com/office/drawing/2014/main" id="{B87DAAD7-4EF7-492B-A150-AE74117E222B}"/>
              </a:ext>
            </a:extLst>
          </p:cNvPr>
          <p:cNvSpPr/>
          <p:nvPr/>
        </p:nvSpPr>
        <p:spPr>
          <a:xfrm>
            <a:off x="1276065" y="6207373"/>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Rounded Corners 3">
            <a:extLst>
              <a:ext uri="{FF2B5EF4-FFF2-40B4-BE49-F238E27FC236}">
                <a16:creationId xmlns:a16="http://schemas.microsoft.com/office/drawing/2014/main" id="{0DB733D7-81EE-4102-AE19-8941F6785219}"/>
              </a:ext>
            </a:extLst>
          </p:cNvPr>
          <p:cNvSpPr/>
          <p:nvPr/>
        </p:nvSpPr>
        <p:spPr>
          <a:xfrm>
            <a:off x="820280" y="5389669"/>
            <a:ext cx="6578976" cy="976872"/>
          </a:xfrm>
          <a:prstGeom prst="roundRect">
            <a:avLst>
              <a:gd name="adj" fmla="val 50000"/>
            </a:avLst>
          </a:prstGeom>
          <a:solidFill>
            <a:schemeClr val="bg1">
              <a:lumMod val="65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Rounded Corners 24">
            <a:extLst>
              <a:ext uri="{FF2B5EF4-FFF2-40B4-BE49-F238E27FC236}">
                <a16:creationId xmlns:a16="http://schemas.microsoft.com/office/drawing/2014/main" id="{A29EBC77-8905-4933-BDAD-7A8EEFBF1A97}"/>
              </a:ext>
            </a:extLst>
          </p:cNvPr>
          <p:cNvSpPr/>
          <p:nvPr/>
        </p:nvSpPr>
        <p:spPr>
          <a:xfrm>
            <a:off x="992890" y="5572765"/>
            <a:ext cx="6226016" cy="629192"/>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D4434EC4-3D14-4B64-AB5A-4CB37BE39F51}"/>
              </a:ext>
            </a:extLst>
          </p:cNvPr>
          <p:cNvSpPr/>
          <p:nvPr/>
        </p:nvSpPr>
        <p:spPr>
          <a:xfrm>
            <a:off x="1019596"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Rectangle 173">
            <a:extLst>
              <a:ext uri="{FF2B5EF4-FFF2-40B4-BE49-F238E27FC236}">
                <a16:creationId xmlns:a16="http://schemas.microsoft.com/office/drawing/2014/main" id="{28FEBDA1-DA85-4249-9A05-F1286BCCC8FA}"/>
              </a:ext>
            </a:extLst>
          </p:cNvPr>
          <p:cNvSpPr/>
          <p:nvPr/>
        </p:nvSpPr>
        <p:spPr>
          <a:xfrm>
            <a:off x="7420026" y="5035796"/>
            <a:ext cx="8778104" cy="1788924"/>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C353CDB3-89BC-4485-BA4D-A968F0F37FF6}"/>
              </a:ext>
            </a:extLst>
          </p:cNvPr>
          <p:cNvSpPr/>
          <p:nvPr/>
        </p:nvSpPr>
        <p:spPr>
          <a:xfrm>
            <a:off x="2466349"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2D79B90E-6BCE-4873-B81B-BEC256718936}"/>
              </a:ext>
            </a:extLst>
          </p:cNvPr>
          <p:cNvSpPr/>
          <p:nvPr/>
        </p:nvSpPr>
        <p:spPr>
          <a:xfrm>
            <a:off x="5237161" y="5569840"/>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A28B9D7D-FDFF-4506-8013-B5B6237B8481}"/>
              </a:ext>
            </a:extLst>
          </p:cNvPr>
          <p:cNvSpPr/>
          <p:nvPr/>
        </p:nvSpPr>
        <p:spPr>
          <a:xfrm>
            <a:off x="6622567"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Rectangle: Rounded Corners 174">
            <a:extLst>
              <a:ext uri="{FF2B5EF4-FFF2-40B4-BE49-F238E27FC236}">
                <a16:creationId xmlns:a16="http://schemas.microsoft.com/office/drawing/2014/main" id="{F7611790-CB1D-46FF-9442-9B7CFD9D6B89}"/>
              </a:ext>
            </a:extLst>
          </p:cNvPr>
          <p:cNvSpPr/>
          <p:nvPr/>
        </p:nvSpPr>
        <p:spPr>
          <a:xfrm>
            <a:off x="1023370" y="5572765"/>
            <a:ext cx="6226016" cy="629192"/>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3647A0F0-870F-4EB7-9DAD-14741A7CE50D}"/>
              </a:ext>
            </a:extLst>
          </p:cNvPr>
          <p:cNvSpPr/>
          <p:nvPr/>
        </p:nvSpPr>
        <p:spPr>
          <a:xfrm>
            <a:off x="3505027" y="4096218"/>
            <a:ext cx="1385405" cy="2456627"/>
          </a:xfrm>
          <a:prstGeom prst="rect">
            <a:avLst/>
          </a:prstGeom>
          <a:gradFill flip="none" rotWithShape="1">
            <a:gsLst>
              <a:gs pos="0">
                <a:schemeClr val="tx1">
                  <a:lumMod val="50000"/>
                  <a:lumOff val="50000"/>
                </a:schemeClr>
              </a:gs>
              <a:gs pos="82281">
                <a:schemeClr val="bg1">
                  <a:lumMod val="75000"/>
                </a:schemeClr>
              </a:gs>
              <a:gs pos="30104">
                <a:schemeClr val="bg1">
                  <a:lumMod val="85000"/>
                </a:schemeClr>
              </a:gs>
              <a:gs pos="53000">
                <a:schemeClr val="bg1">
                  <a:lumMod val="95000"/>
                </a:schemeClr>
              </a:gs>
              <a:gs pos="100000">
                <a:schemeClr val="tx1">
                  <a:lumMod val="65000"/>
                  <a:lumOff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id="{242D2887-F10C-4D71-98A4-01AA0D528985}"/>
              </a:ext>
            </a:extLst>
          </p:cNvPr>
          <p:cNvSpPr/>
          <p:nvPr/>
        </p:nvSpPr>
        <p:spPr>
          <a:xfrm>
            <a:off x="3344997" y="4096218"/>
            <a:ext cx="176298" cy="2456627"/>
          </a:xfrm>
          <a:prstGeom prst="rect">
            <a:avLst/>
          </a:prstGeom>
          <a:gradFill>
            <a:gsLst>
              <a:gs pos="0">
                <a:schemeClr val="bg1">
                  <a:lumMod val="65000"/>
                </a:schemeClr>
              </a:gs>
              <a:gs pos="82281">
                <a:schemeClr val="bg1">
                  <a:lumMod val="75000"/>
                </a:schemeClr>
              </a:gs>
              <a:gs pos="30104">
                <a:schemeClr val="bg1">
                  <a:lumMod val="85000"/>
                </a:schemeClr>
              </a:gs>
              <a:gs pos="53000">
                <a:schemeClr val="bg1">
                  <a:lumMod val="95000"/>
                </a:schemeClr>
              </a:gs>
              <a:gs pos="100000">
                <a:schemeClr val="bg1">
                  <a:lumMod val="50000"/>
                </a:schemeClr>
              </a:gs>
            </a:gsLst>
            <a:lin ang="0" scaled="1"/>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1" name="Picture 130">
            <a:extLst>
              <a:ext uri="{FF2B5EF4-FFF2-40B4-BE49-F238E27FC236}">
                <a16:creationId xmlns:a16="http://schemas.microsoft.com/office/drawing/2014/main" id="{15298F63-340F-4B4D-A1D7-2B78ED03D4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0275" y="4054426"/>
            <a:ext cx="2311442" cy="1938629"/>
          </a:xfrm>
          <a:prstGeom prst="rect">
            <a:avLst/>
          </a:prstGeom>
        </p:spPr>
      </p:pic>
      <p:sp>
        <p:nvSpPr>
          <p:cNvPr id="103" name="Rectangle 102">
            <a:extLst>
              <a:ext uri="{FF2B5EF4-FFF2-40B4-BE49-F238E27FC236}">
                <a16:creationId xmlns:a16="http://schemas.microsoft.com/office/drawing/2014/main" id="{2B0C5DDF-5D27-41BC-A57C-DF7015E2F243}"/>
              </a:ext>
            </a:extLst>
          </p:cNvPr>
          <p:cNvSpPr/>
          <p:nvPr/>
        </p:nvSpPr>
        <p:spPr>
          <a:xfrm>
            <a:off x="4880598" y="4096217"/>
            <a:ext cx="176298" cy="2456627"/>
          </a:xfrm>
          <a:prstGeom prst="rect">
            <a:avLst/>
          </a:prstGeom>
          <a:gradFill>
            <a:gsLst>
              <a:gs pos="0">
                <a:schemeClr val="bg1">
                  <a:lumMod val="65000"/>
                </a:schemeClr>
              </a:gs>
              <a:gs pos="82281">
                <a:schemeClr val="bg1">
                  <a:lumMod val="75000"/>
                </a:schemeClr>
              </a:gs>
              <a:gs pos="30104">
                <a:schemeClr val="bg1">
                  <a:lumMod val="85000"/>
                </a:schemeClr>
              </a:gs>
              <a:gs pos="53000">
                <a:schemeClr val="bg1">
                  <a:lumMod val="95000"/>
                </a:schemeClr>
              </a:gs>
              <a:gs pos="100000">
                <a:schemeClr val="bg1">
                  <a:lumMod val="50000"/>
                </a:schemeClr>
              </a:gs>
            </a:gsLst>
            <a:lin ang="0" scaled="1"/>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5B9C8723-1B92-4975-A7DD-5D8E5BE9429D}"/>
              </a:ext>
            </a:extLst>
          </p:cNvPr>
          <p:cNvSpPr/>
          <p:nvPr/>
        </p:nvSpPr>
        <p:spPr>
          <a:xfrm>
            <a:off x="3274061" y="3001760"/>
            <a:ext cx="1782836" cy="812424"/>
          </a:xfrm>
          <a:prstGeom prst="roundRect">
            <a:avLst>
              <a:gd name="adj" fmla="val 9309"/>
            </a:avLst>
          </a:prstGeom>
          <a:solidFill>
            <a:schemeClr val="bg1">
              <a:lumMod val="95000"/>
            </a:schemeClr>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31B9F580-FAB9-489A-94EE-3D5BF513475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137476">
            <a:off x="5413545" y="4510364"/>
            <a:ext cx="1316225" cy="1314939"/>
          </a:xfrm>
          <a:prstGeom prst="rect">
            <a:avLst/>
          </a:prstGeom>
        </p:spPr>
      </p:pic>
      <p:sp>
        <p:nvSpPr>
          <p:cNvPr id="19" name="Freeform: Shape 18">
            <a:extLst>
              <a:ext uri="{FF2B5EF4-FFF2-40B4-BE49-F238E27FC236}">
                <a16:creationId xmlns:a16="http://schemas.microsoft.com/office/drawing/2014/main" id="{BFF8E926-5925-4A32-85E1-353C09C341F9}"/>
              </a:ext>
            </a:extLst>
          </p:cNvPr>
          <p:cNvSpPr/>
          <p:nvPr/>
        </p:nvSpPr>
        <p:spPr>
          <a:xfrm>
            <a:off x="5325896" y="4927416"/>
            <a:ext cx="1646616" cy="627383"/>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Freeform: Shape 121">
            <a:extLst>
              <a:ext uri="{FF2B5EF4-FFF2-40B4-BE49-F238E27FC236}">
                <a16:creationId xmlns:a16="http://schemas.microsoft.com/office/drawing/2014/main" id="{9EB3AFFF-891B-476C-B9CB-426DBA49B56F}"/>
              </a:ext>
            </a:extLst>
          </p:cNvPr>
          <p:cNvSpPr/>
          <p:nvPr/>
        </p:nvSpPr>
        <p:spPr>
          <a:xfrm flipH="1">
            <a:off x="1454785" y="4962480"/>
            <a:ext cx="1646616" cy="584548"/>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C5AF84F1-1554-4C2F-91DC-DC17C45CBF9E}"/>
              </a:ext>
            </a:extLst>
          </p:cNvPr>
          <p:cNvSpPr/>
          <p:nvPr/>
        </p:nvSpPr>
        <p:spPr>
          <a:xfrm>
            <a:off x="4115219" y="4173929"/>
            <a:ext cx="139908" cy="142341"/>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14B20D5E-29F3-45D7-BAC8-E6620A5BB7D7}"/>
              </a:ext>
            </a:extLst>
          </p:cNvPr>
          <p:cNvSpPr/>
          <p:nvPr/>
        </p:nvSpPr>
        <p:spPr>
          <a:xfrm>
            <a:off x="1566553" y="5451525"/>
            <a:ext cx="101509" cy="103274"/>
          </a:xfrm>
          <a:prstGeom prst="ellipse">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Oval 123">
            <a:extLst>
              <a:ext uri="{FF2B5EF4-FFF2-40B4-BE49-F238E27FC236}">
                <a16:creationId xmlns:a16="http://schemas.microsoft.com/office/drawing/2014/main" id="{2341329C-7F60-495E-9797-47710FC5C4A9}"/>
              </a:ext>
            </a:extLst>
          </p:cNvPr>
          <p:cNvSpPr/>
          <p:nvPr/>
        </p:nvSpPr>
        <p:spPr>
          <a:xfrm>
            <a:off x="3039270" y="5451525"/>
            <a:ext cx="101509" cy="103274"/>
          </a:xfrm>
          <a:prstGeom prst="ellipse">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Oval 124">
            <a:extLst>
              <a:ext uri="{FF2B5EF4-FFF2-40B4-BE49-F238E27FC236}">
                <a16:creationId xmlns:a16="http://schemas.microsoft.com/office/drawing/2014/main" id="{7338BE5F-1285-4965-A397-299307DB21B4}"/>
              </a:ext>
            </a:extLst>
          </p:cNvPr>
          <p:cNvSpPr/>
          <p:nvPr/>
        </p:nvSpPr>
        <p:spPr>
          <a:xfrm>
            <a:off x="5282532" y="5455428"/>
            <a:ext cx="101509" cy="103274"/>
          </a:xfrm>
          <a:prstGeom prst="ellipse">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E8AC0D65-4ED4-4FD3-877C-A89D04746923}"/>
              </a:ext>
            </a:extLst>
          </p:cNvPr>
          <p:cNvSpPr/>
          <p:nvPr/>
        </p:nvSpPr>
        <p:spPr>
          <a:xfrm>
            <a:off x="3518250" y="4096217"/>
            <a:ext cx="64505" cy="2456627"/>
          </a:xfrm>
          <a:prstGeom prst="rect">
            <a:avLst/>
          </a:prstGeom>
          <a:solidFill>
            <a:schemeClr val="accent3">
              <a:lumMod val="5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054062FE-AADF-432B-8C33-083BC002962F}"/>
              </a:ext>
            </a:extLst>
          </p:cNvPr>
          <p:cNvSpPr/>
          <p:nvPr/>
        </p:nvSpPr>
        <p:spPr>
          <a:xfrm>
            <a:off x="4839045" y="4106824"/>
            <a:ext cx="64505" cy="2456627"/>
          </a:xfrm>
          <a:prstGeom prst="rect">
            <a:avLst/>
          </a:prstGeom>
          <a:solidFill>
            <a:schemeClr val="accent3">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A7F7953-AB0D-4FB8-A2C4-A30B1109F319}"/>
              </a:ext>
            </a:extLst>
          </p:cNvPr>
          <p:cNvSpPr txBox="1"/>
          <p:nvPr/>
        </p:nvSpPr>
        <p:spPr>
          <a:xfrm>
            <a:off x="3721277" y="4325967"/>
            <a:ext cx="10601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accent3">
                    <a:lumMod val="50000"/>
                  </a:schemeClr>
                </a:solidFill>
                <a:latin typeface="Oswald" panose="02000503000000000000" pitchFamily="2" charset="0"/>
              </a:rPr>
              <a:t>Separator</a:t>
            </a:r>
            <a:endParaRPr kumimoji="0" lang="en-US" sz="1800" b="0" i="0" u="none" strike="noStrike" kern="1200" cap="none" spc="0" normalizeH="0" baseline="0" noProof="0" dirty="0">
              <a:ln>
                <a:noFill/>
              </a:ln>
              <a:solidFill>
                <a:schemeClr val="accent3">
                  <a:lumMod val="50000"/>
                </a:schemeClr>
              </a:solidFill>
              <a:uLnTx/>
              <a:uFillTx/>
              <a:latin typeface="Oswald" panose="02000503000000000000" pitchFamily="2" charset="0"/>
              <a:ea typeface="+mn-ea"/>
              <a:cs typeface="+mn-cs"/>
            </a:endParaRPr>
          </a:p>
        </p:txBody>
      </p:sp>
      <p:sp>
        <p:nvSpPr>
          <p:cNvPr id="8" name="Scan Button">
            <a:extLst>
              <a:ext uri="{FF2B5EF4-FFF2-40B4-BE49-F238E27FC236}">
                <a16:creationId xmlns:a16="http://schemas.microsoft.com/office/drawing/2014/main" id="{D4C0680E-6312-45C3-B490-7E30F735E544}"/>
              </a:ext>
            </a:extLst>
          </p:cNvPr>
          <p:cNvSpPr/>
          <p:nvPr/>
        </p:nvSpPr>
        <p:spPr>
          <a:xfrm>
            <a:off x="3785567" y="5798175"/>
            <a:ext cx="756744" cy="263194"/>
          </a:xfrm>
          <a:prstGeom prst="roundRect">
            <a:avLst>
              <a:gd name="adj" fmla="val 50000"/>
            </a:avLst>
          </a:prstGeom>
          <a:solidFill>
            <a:srgbClr val="FFC000"/>
          </a:solidFill>
          <a:ln>
            <a:solidFill>
              <a:schemeClr val="bg1"/>
            </a:solidFill>
          </a:ln>
          <a:effectLst/>
          <a:scene3d>
            <a:camera prst="orthographicFront"/>
            <a:lightRig rig="threePt" dir="t"/>
          </a:scene3d>
          <a:sp3d>
            <a:bevelT w="152400" h="825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entury Gothic" panose="020B0502020202020204" pitchFamily="34" charset="0"/>
              </a:rPr>
              <a:t>SCAN</a:t>
            </a:r>
          </a:p>
        </p:txBody>
      </p:sp>
      <p:sp>
        <p:nvSpPr>
          <p:cNvPr id="166" name="Flowchart: Terminator 165">
            <a:extLst>
              <a:ext uri="{FF2B5EF4-FFF2-40B4-BE49-F238E27FC236}">
                <a16:creationId xmlns:a16="http://schemas.microsoft.com/office/drawing/2014/main" id="{ED58EA87-8C3F-46C5-B27D-9162B454188E}"/>
              </a:ext>
            </a:extLst>
          </p:cNvPr>
          <p:cNvSpPr/>
          <p:nvPr/>
        </p:nvSpPr>
        <p:spPr>
          <a:xfrm>
            <a:off x="12792947" y="5285274"/>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7" name="Flowchart: Terminator 166">
            <a:extLst>
              <a:ext uri="{FF2B5EF4-FFF2-40B4-BE49-F238E27FC236}">
                <a16:creationId xmlns:a16="http://schemas.microsoft.com/office/drawing/2014/main" id="{19531ABD-8CBC-4255-A18A-97E81249F305}"/>
              </a:ext>
            </a:extLst>
          </p:cNvPr>
          <p:cNvSpPr/>
          <p:nvPr/>
        </p:nvSpPr>
        <p:spPr>
          <a:xfrm>
            <a:off x="13018745" y="5339642"/>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Flowchart: Terminator 167">
            <a:extLst>
              <a:ext uri="{FF2B5EF4-FFF2-40B4-BE49-F238E27FC236}">
                <a16:creationId xmlns:a16="http://schemas.microsoft.com/office/drawing/2014/main" id="{6CC06B13-8651-445B-98B5-AD2C3628C2F8}"/>
              </a:ext>
            </a:extLst>
          </p:cNvPr>
          <p:cNvSpPr/>
          <p:nvPr/>
        </p:nvSpPr>
        <p:spPr>
          <a:xfrm>
            <a:off x="7704629" y="5285274"/>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Flowchart: Terminator 168">
            <a:extLst>
              <a:ext uri="{FF2B5EF4-FFF2-40B4-BE49-F238E27FC236}">
                <a16:creationId xmlns:a16="http://schemas.microsoft.com/office/drawing/2014/main" id="{75064783-D507-44A4-861E-35CD63AA2364}"/>
              </a:ext>
            </a:extLst>
          </p:cNvPr>
          <p:cNvSpPr/>
          <p:nvPr/>
        </p:nvSpPr>
        <p:spPr>
          <a:xfrm>
            <a:off x="7483825" y="5339642"/>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Rectangle: Rounded Corners 169">
            <a:extLst>
              <a:ext uri="{FF2B5EF4-FFF2-40B4-BE49-F238E27FC236}">
                <a16:creationId xmlns:a16="http://schemas.microsoft.com/office/drawing/2014/main" id="{CF917892-0D4B-4BF4-A0F8-F3CF416EAE69}"/>
              </a:ext>
            </a:extLst>
          </p:cNvPr>
          <p:cNvSpPr/>
          <p:nvPr/>
        </p:nvSpPr>
        <p:spPr>
          <a:xfrm>
            <a:off x="7028040" y="4544049"/>
            <a:ext cx="6578976" cy="950457"/>
          </a:xfrm>
          <a:prstGeom prst="roundRect">
            <a:avLst>
              <a:gd name="adj" fmla="val 50000"/>
            </a:avLst>
          </a:prstGeom>
          <a:solidFill>
            <a:schemeClr val="bg1">
              <a:lumMod val="65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Rectangle: Rounded Corners 170">
            <a:extLst>
              <a:ext uri="{FF2B5EF4-FFF2-40B4-BE49-F238E27FC236}">
                <a16:creationId xmlns:a16="http://schemas.microsoft.com/office/drawing/2014/main" id="{A7B576FC-9FE6-4016-84F9-E76F9ABDDA67}"/>
              </a:ext>
            </a:extLst>
          </p:cNvPr>
          <p:cNvSpPr/>
          <p:nvPr/>
        </p:nvSpPr>
        <p:spPr>
          <a:xfrm>
            <a:off x="7220970" y="4712309"/>
            <a:ext cx="6226016" cy="612178"/>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Freeform: Shape 171">
            <a:extLst>
              <a:ext uri="{FF2B5EF4-FFF2-40B4-BE49-F238E27FC236}">
                <a16:creationId xmlns:a16="http://schemas.microsoft.com/office/drawing/2014/main" id="{DA92DEFD-77F3-4689-845D-432330969F4D}"/>
              </a:ext>
            </a:extLst>
          </p:cNvPr>
          <p:cNvSpPr/>
          <p:nvPr/>
        </p:nvSpPr>
        <p:spPr>
          <a:xfrm>
            <a:off x="11533656" y="4094296"/>
            <a:ext cx="1646616" cy="610418"/>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3" name="Freeform: Shape 172">
            <a:extLst>
              <a:ext uri="{FF2B5EF4-FFF2-40B4-BE49-F238E27FC236}">
                <a16:creationId xmlns:a16="http://schemas.microsoft.com/office/drawing/2014/main" id="{E1BB6397-CC0A-400E-92E3-0DEB7F10A99D}"/>
              </a:ext>
            </a:extLst>
          </p:cNvPr>
          <p:cNvSpPr/>
          <p:nvPr/>
        </p:nvSpPr>
        <p:spPr>
          <a:xfrm flipH="1">
            <a:off x="7662545" y="4128412"/>
            <a:ext cx="1646616" cy="568741"/>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Rectangle: Rounded Corners 175">
            <a:extLst>
              <a:ext uri="{FF2B5EF4-FFF2-40B4-BE49-F238E27FC236}">
                <a16:creationId xmlns:a16="http://schemas.microsoft.com/office/drawing/2014/main" id="{B3A814BE-ABA3-418B-88F3-F0590BB58D08}"/>
              </a:ext>
            </a:extLst>
          </p:cNvPr>
          <p:cNvSpPr/>
          <p:nvPr/>
        </p:nvSpPr>
        <p:spPr>
          <a:xfrm>
            <a:off x="7220970" y="4712309"/>
            <a:ext cx="6226016" cy="612178"/>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7" name="Freeform: Shape 176">
            <a:extLst>
              <a:ext uri="{FF2B5EF4-FFF2-40B4-BE49-F238E27FC236}">
                <a16:creationId xmlns:a16="http://schemas.microsoft.com/office/drawing/2014/main" id="{F6D337A6-FF36-4A50-B0C6-DFAB5BCC6D1F}"/>
              </a:ext>
            </a:extLst>
          </p:cNvPr>
          <p:cNvSpPr/>
          <p:nvPr/>
        </p:nvSpPr>
        <p:spPr>
          <a:xfrm>
            <a:off x="7227356" y="4712309"/>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8" name="Freeform: Shape 177">
            <a:extLst>
              <a:ext uri="{FF2B5EF4-FFF2-40B4-BE49-F238E27FC236}">
                <a16:creationId xmlns:a16="http://schemas.microsoft.com/office/drawing/2014/main" id="{367C4195-2192-460B-BEF5-5FCC0432B56E}"/>
              </a:ext>
            </a:extLst>
          </p:cNvPr>
          <p:cNvSpPr/>
          <p:nvPr/>
        </p:nvSpPr>
        <p:spPr>
          <a:xfrm>
            <a:off x="8674109" y="4712309"/>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9" name="Freeform: Shape 178">
            <a:extLst>
              <a:ext uri="{FF2B5EF4-FFF2-40B4-BE49-F238E27FC236}">
                <a16:creationId xmlns:a16="http://schemas.microsoft.com/office/drawing/2014/main" id="{D89BE942-6059-4D4C-9080-FFFFE8CC0F14}"/>
              </a:ext>
            </a:extLst>
          </p:cNvPr>
          <p:cNvSpPr/>
          <p:nvPr/>
        </p:nvSpPr>
        <p:spPr>
          <a:xfrm>
            <a:off x="11444921" y="4719348"/>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 name="Freeform: Shape 179">
            <a:extLst>
              <a:ext uri="{FF2B5EF4-FFF2-40B4-BE49-F238E27FC236}">
                <a16:creationId xmlns:a16="http://schemas.microsoft.com/office/drawing/2014/main" id="{B20C196C-D903-40AA-ACA7-0DC276EBE0CF}"/>
              </a:ext>
            </a:extLst>
          </p:cNvPr>
          <p:cNvSpPr/>
          <p:nvPr/>
        </p:nvSpPr>
        <p:spPr>
          <a:xfrm>
            <a:off x="12830327" y="4712309"/>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B085A087-1B72-4E37-931A-4E813AD36237}"/>
              </a:ext>
            </a:extLst>
          </p:cNvPr>
          <p:cNvSpPr txBox="1"/>
          <p:nvPr/>
        </p:nvSpPr>
        <p:spPr>
          <a:xfrm>
            <a:off x="3491403" y="3114564"/>
            <a:ext cx="1506333" cy="523220"/>
          </a:xfrm>
          <a:prstGeom prst="rect">
            <a:avLst/>
          </a:prstGeom>
          <a:noFill/>
        </p:spPr>
        <p:txBody>
          <a:bodyPr wrap="square" rtlCol="0">
            <a:spAutoFit/>
          </a:bodyPr>
          <a:lstStyle/>
          <a:p>
            <a:pPr algn="ctr"/>
            <a:r>
              <a:rPr lang="en-US" sz="2800" dirty="0"/>
              <a:t>Concrete</a:t>
            </a:r>
          </a:p>
        </p:txBody>
      </p:sp>
    </p:spTree>
    <p:extLst>
      <p:ext uri="{BB962C8B-B14F-4D97-AF65-F5344CB8AC3E}">
        <p14:creationId xmlns:p14="http://schemas.microsoft.com/office/powerpoint/2010/main" val="28547640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2250" fill="hold"/>
                                        <p:tgtEl>
                                          <p:spTgt spid="27"/>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2250" fill="hold"/>
                                        <p:tgtEl>
                                          <p:spTgt spid="24"/>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2250" fill="hold"/>
                                        <p:tgtEl>
                                          <p:spTgt spid="29"/>
                                        </p:tgtEl>
                                        <p:attrNameLst>
                                          <p:attrName>r</p:attrName>
                                        </p:attrNameLst>
                                      </p:cBhvr>
                                    </p:animRot>
                                  </p:childTnLst>
                                </p:cTn>
                              </p:par>
                              <p:par>
                                <p:cTn id="11" presetID="8" presetClass="emph" presetSubtype="0" repeatCount="indefinite" fill="hold" grpId="0" nodeType="withEffect">
                                  <p:stCondLst>
                                    <p:cond delay="0"/>
                                  </p:stCondLst>
                                  <p:childTnLst>
                                    <p:animRot by="21600000">
                                      <p:cBhvr>
                                        <p:cTn id="12" dur="2250" fill="hold"/>
                                        <p:tgtEl>
                                          <p:spTgt spid="30"/>
                                        </p:tgtEl>
                                        <p:attrNameLst>
                                          <p:attrName>r</p:attrName>
                                        </p:attrNameLst>
                                      </p:cBhvr>
                                    </p:animRot>
                                  </p:childTnLst>
                                </p:cTn>
                              </p:par>
                              <p:par>
                                <p:cTn id="13" presetID="8" presetClass="emph" presetSubtype="0" repeatCount="indefinite" fill="hold" grpId="0" nodeType="withEffect">
                                  <p:stCondLst>
                                    <p:cond delay="0"/>
                                  </p:stCondLst>
                                  <p:childTnLst>
                                    <p:animRot by="21600000">
                                      <p:cBhvr>
                                        <p:cTn id="14" dur="2250" fill="hold"/>
                                        <p:tgtEl>
                                          <p:spTgt spid="177"/>
                                        </p:tgtEl>
                                        <p:attrNameLst>
                                          <p:attrName>r</p:attrName>
                                        </p:attrNameLst>
                                      </p:cBhvr>
                                    </p:animRot>
                                  </p:childTnLst>
                                </p:cTn>
                              </p:par>
                              <p:par>
                                <p:cTn id="15" presetID="8" presetClass="emph" presetSubtype="0" repeatCount="indefinite" fill="hold" grpId="0" nodeType="withEffect">
                                  <p:stCondLst>
                                    <p:cond delay="0"/>
                                  </p:stCondLst>
                                  <p:childTnLst>
                                    <p:animRot by="21600000">
                                      <p:cBhvr>
                                        <p:cTn id="16" dur="2250" fill="hold"/>
                                        <p:tgtEl>
                                          <p:spTgt spid="178"/>
                                        </p:tgtEl>
                                        <p:attrNameLst>
                                          <p:attrName>r</p:attrName>
                                        </p:attrNameLst>
                                      </p:cBhvr>
                                    </p:animRot>
                                  </p:childTnLst>
                                </p:cTn>
                              </p:par>
                              <p:par>
                                <p:cTn id="17" presetID="8" presetClass="emph" presetSubtype="0" repeatCount="indefinite" fill="hold" grpId="0" nodeType="withEffect">
                                  <p:stCondLst>
                                    <p:cond delay="0"/>
                                  </p:stCondLst>
                                  <p:childTnLst>
                                    <p:animRot by="21600000">
                                      <p:cBhvr>
                                        <p:cTn id="18" dur="2250" fill="hold"/>
                                        <p:tgtEl>
                                          <p:spTgt spid="179"/>
                                        </p:tgtEl>
                                        <p:attrNameLst>
                                          <p:attrName>r</p:attrName>
                                        </p:attrNameLst>
                                      </p:cBhvr>
                                    </p:animRot>
                                  </p:childTnLst>
                                </p:cTn>
                              </p:par>
                              <p:par>
                                <p:cTn id="19" presetID="8" presetClass="emph" presetSubtype="0" repeatCount="indefinite" fill="hold" grpId="0" nodeType="withEffect">
                                  <p:stCondLst>
                                    <p:cond delay="0"/>
                                  </p:stCondLst>
                                  <p:childTnLst>
                                    <p:animRot by="21600000">
                                      <p:cBhvr>
                                        <p:cTn id="20" dur="2250" fill="hold"/>
                                        <p:tgtEl>
                                          <p:spTgt spid="180"/>
                                        </p:tgtEl>
                                        <p:attrNameLst>
                                          <p:attrName>r</p:attrName>
                                        </p:attrNameLst>
                                      </p:cBhvr>
                                    </p:animRot>
                                  </p:childTnLst>
                                </p:cTn>
                              </p:par>
                              <p:par>
                                <p:cTn id="21" presetID="1" presetClass="emph" presetSubtype="2" accel="3000" decel="4500" fill="hold" nodeType="withEffect">
                                  <p:stCondLst>
                                    <p:cond delay="0"/>
                                  </p:stCondLst>
                                  <p:childTnLst>
                                    <p:animClr clrSpc="rgb" dir="cw">
                                      <p:cBhvr>
                                        <p:cTn id="22" dur="2000" fill="hold"/>
                                        <p:tgtEl>
                                          <p:spTgt spid="20"/>
                                        </p:tgtEl>
                                        <p:attrNameLst>
                                          <p:attrName>fillcolor</p:attrName>
                                        </p:attrNameLst>
                                      </p:cBhvr>
                                      <p:to>
                                        <a:srgbClr val="20FE65"/>
                                      </p:to>
                                    </p:animClr>
                                    <p:set>
                                      <p:cBhvr>
                                        <p:cTn id="23" dur="2000" fill="hold"/>
                                        <p:tgtEl>
                                          <p:spTgt spid="20"/>
                                        </p:tgtEl>
                                        <p:attrNameLst>
                                          <p:attrName>fill.type</p:attrName>
                                        </p:attrNameLst>
                                      </p:cBhvr>
                                      <p:to>
                                        <p:strVal val="solid"/>
                                      </p:to>
                                    </p:set>
                                    <p:set>
                                      <p:cBhvr>
                                        <p:cTn id="24" dur="2000" fill="hold"/>
                                        <p:tgtEl>
                                          <p:spTgt spid="20"/>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7" grpId="0" animBg="1"/>
      <p:bldP spid="29" grpId="0" animBg="1"/>
      <p:bldP spid="30" grpId="0" animBg="1"/>
      <p:bldP spid="177" grpId="0" animBg="1"/>
      <p:bldP spid="178" grpId="0" animBg="1"/>
      <p:bldP spid="179" grpId="0" animBg="1"/>
      <p:bldP spid="18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C2F1E9CF-62B1-4640-A315-C2FF0ED58685}"/>
              </a:ext>
            </a:extLst>
          </p:cNvPr>
          <p:cNvSpPr/>
          <p:nvPr/>
        </p:nvSpPr>
        <p:spPr>
          <a:xfrm>
            <a:off x="3851755"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Flowchart: Terminator 38">
            <a:extLst>
              <a:ext uri="{FF2B5EF4-FFF2-40B4-BE49-F238E27FC236}">
                <a16:creationId xmlns:a16="http://schemas.microsoft.com/office/drawing/2014/main" id="{A0AC24D5-D3C2-4C8C-990E-5E98C24A630A}"/>
              </a:ext>
            </a:extLst>
          </p:cNvPr>
          <p:cNvSpPr/>
          <p:nvPr/>
        </p:nvSpPr>
        <p:spPr>
          <a:xfrm>
            <a:off x="1642502" y="6426528"/>
            <a:ext cx="4928316" cy="96651"/>
          </a:xfrm>
          <a:prstGeom prst="flowChartTerminator">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lowchart: Manual Operation 2">
            <a:extLst>
              <a:ext uri="{FF2B5EF4-FFF2-40B4-BE49-F238E27FC236}">
                <a16:creationId xmlns:a16="http://schemas.microsoft.com/office/drawing/2014/main" id="{ADBBA97B-237A-4DCA-B1E1-C39A015B9ABA}"/>
              </a:ext>
            </a:extLst>
          </p:cNvPr>
          <p:cNvSpPr/>
          <p:nvPr/>
        </p:nvSpPr>
        <p:spPr>
          <a:xfrm flipV="1">
            <a:off x="4011878" y="3827753"/>
            <a:ext cx="320247" cy="268465"/>
          </a:xfrm>
          <a:prstGeom prst="flowChartManualOperation">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Freeform: Shape 110">
            <a:extLst>
              <a:ext uri="{FF2B5EF4-FFF2-40B4-BE49-F238E27FC236}">
                <a16:creationId xmlns:a16="http://schemas.microsoft.com/office/drawing/2014/main" id="{D499D019-02BD-46FD-B095-BC8DF38D64FD}"/>
              </a:ext>
            </a:extLst>
          </p:cNvPr>
          <p:cNvSpPr/>
          <p:nvPr/>
        </p:nvSpPr>
        <p:spPr>
          <a:xfrm>
            <a:off x="3999961" y="3822326"/>
            <a:ext cx="291217" cy="99145"/>
          </a:xfrm>
          <a:custGeom>
            <a:avLst/>
            <a:gdLst>
              <a:gd name="connsiteX0" fmla="*/ 121991 w 434088"/>
              <a:gd name="connsiteY0" fmla="*/ 0 h 145260"/>
              <a:gd name="connsiteX1" fmla="*/ 395880 w 434088"/>
              <a:gd name="connsiteY1" fmla="*/ 0 h 145260"/>
              <a:gd name="connsiteX2" fmla="*/ 434088 w 434088"/>
              <a:gd name="connsiteY2" fmla="*/ 145260 h 145260"/>
              <a:gd name="connsiteX3" fmla="*/ 83783 w 434088"/>
              <a:gd name="connsiteY3" fmla="*/ 145260 h 145260"/>
              <a:gd name="connsiteX4" fmla="*/ 0 w 434088"/>
              <a:gd name="connsiteY4" fmla="*/ 0 h 145260"/>
              <a:gd name="connsiteX5" fmla="*/ 22963 w 434088"/>
              <a:gd name="connsiteY5" fmla="*/ 0 h 145260"/>
              <a:gd name="connsiteX6" fmla="*/ 0 w 434088"/>
              <a:gd name="connsiteY6" fmla="*/ 2681 h 14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088" h="145260">
                <a:moveTo>
                  <a:pt x="121991" y="0"/>
                </a:moveTo>
                <a:lnTo>
                  <a:pt x="395880" y="0"/>
                </a:lnTo>
                <a:lnTo>
                  <a:pt x="434088" y="145260"/>
                </a:lnTo>
                <a:lnTo>
                  <a:pt x="83783" y="145260"/>
                </a:lnTo>
                <a:close/>
                <a:moveTo>
                  <a:pt x="0" y="0"/>
                </a:moveTo>
                <a:lnTo>
                  <a:pt x="22963" y="0"/>
                </a:lnTo>
                <a:lnTo>
                  <a:pt x="0" y="2681"/>
                </a:lnTo>
                <a:close/>
              </a:path>
            </a:pathLst>
          </a:custGeom>
          <a:solidFill>
            <a:schemeClr val="bg2">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Freeform: Shape 112">
            <a:extLst>
              <a:ext uri="{FF2B5EF4-FFF2-40B4-BE49-F238E27FC236}">
                <a16:creationId xmlns:a16="http://schemas.microsoft.com/office/drawing/2014/main" id="{55C5023B-C53A-4361-BA88-6AAD424343F7}"/>
              </a:ext>
            </a:extLst>
          </p:cNvPr>
          <p:cNvSpPr/>
          <p:nvPr/>
        </p:nvSpPr>
        <p:spPr>
          <a:xfrm>
            <a:off x="3311352" y="3039276"/>
            <a:ext cx="1259945" cy="745243"/>
          </a:xfrm>
          <a:custGeom>
            <a:avLst/>
            <a:gdLst>
              <a:gd name="connsiteX0" fmla="*/ 105589 w 1941369"/>
              <a:gd name="connsiteY0" fmla="*/ 0 h 1190007"/>
              <a:gd name="connsiteX1" fmla="*/ 1941369 w 1941369"/>
              <a:gd name="connsiteY1" fmla="*/ 0 h 1190007"/>
              <a:gd name="connsiteX2" fmla="*/ 942835 w 1941369"/>
              <a:gd name="connsiteY2" fmla="*/ 1190007 h 1190007"/>
              <a:gd name="connsiteX3" fmla="*/ 105589 w 1941369"/>
              <a:gd name="connsiteY3" fmla="*/ 1190007 h 1190007"/>
              <a:gd name="connsiteX4" fmla="*/ 0 w 1941369"/>
              <a:gd name="connsiteY4" fmla="*/ 1084418 h 1190007"/>
              <a:gd name="connsiteX5" fmla="*/ 0 w 1941369"/>
              <a:gd name="connsiteY5" fmla="*/ 105589 h 1190007"/>
              <a:gd name="connsiteX6" fmla="*/ 105589 w 1941369"/>
              <a:gd name="connsiteY6" fmla="*/ 0 h 119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1369" h="1190007">
                <a:moveTo>
                  <a:pt x="105589" y="0"/>
                </a:moveTo>
                <a:lnTo>
                  <a:pt x="1941369" y="0"/>
                </a:lnTo>
                <a:lnTo>
                  <a:pt x="942835" y="1190007"/>
                </a:lnTo>
                <a:lnTo>
                  <a:pt x="105589" y="1190007"/>
                </a:lnTo>
                <a:cubicBezTo>
                  <a:pt x="47274" y="1190007"/>
                  <a:pt x="0" y="1142733"/>
                  <a:pt x="0" y="1084418"/>
                </a:cubicBezTo>
                <a:lnTo>
                  <a:pt x="0" y="105589"/>
                </a:lnTo>
                <a:cubicBezTo>
                  <a:pt x="0" y="47274"/>
                  <a:pt x="47274" y="0"/>
                  <a:pt x="105589" y="0"/>
                </a:cubicBezTo>
                <a:close/>
              </a:path>
            </a:pathLst>
          </a:custGeom>
          <a:solidFill>
            <a:schemeClr val="bg1">
              <a:alpha val="56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3ACF5975-A076-451E-BF48-C61BDE5B29E5}"/>
              </a:ext>
            </a:extLst>
          </p:cNvPr>
          <p:cNvSpPr/>
          <p:nvPr/>
        </p:nvSpPr>
        <p:spPr>
          <a:xfrm>
            <a:off x="4115481" y="4173109"/>
            <a:ext cx="139908" cy="142341"/>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74E6BD78-237B-4787-8186-1736EE6C00B1}"/>
              </a:ext>
            </a:extLst>
          </p:cNvPr>
          <p:cNvSpPr/>
          <p:nvPr/>
        </p:nvSpPr>
        <p:spPr>
          <a:xfrm>
            <a:off x="0" y="5818305"/>
            <a:ext cx="8179268" cy="1016574"/>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Terminator 107">
            <a:extLst>
              <a:ext uri="{FF2B5EF4-FFF2-40B4-BE49-F238E27FC236}">
                <a16:creationId xmlns:a16="http://schemas.microsoft.com/office/drawing/2014/main" id="{DC672A2F-A3A4-4D04-A035-059E4F557EE6}"/>
              </a:ext>
            </a:extLst>
          </p:cNvPr>
          <p:cNvSpPr/>
          <p:nvPr/>
        </p:nvSpPr>
        <p:spPr>
          <a:xfrm>
            <a:off x="6585187" y="6151494"/>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Terminator 106">
            <a:extLst>
              <a:ext uri="{FF2B5EF4-FFF2-40B4-BE49-F238E27FC236}">
                <a16:creationId xmlns:a16="http://schemas.microsoft.com/office/drawing/2014/main" id="{DD1BDF79-4982-4ADE-9EA9-A4D6DFF45047}"/>
              </a:ext>
            </a:extLst>
          </p:cNvPr>
          <p:cNvSpPr/>
          <p:nvPr/>
        </p:nvSpPr>
        <p:spPr>
          <a:xfrm>
            <a:off x="6810985" y="6207373"/>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Terminator 105">
            <a:extLst>
              <a:ext uri="{FF2B5EF4-FFF2-40B4-BE49-F238E27FC236}">
                <a16:creationId xmlns:a16="http://schemas.microsoft.com/office/drawing/2014/main" id="{5414219A-47FF-4898-8DA3-61CF16CF34ED}"/>
              </a:ext>
            </a:extLst>
          </p:cNvPr>
          <p:cNvSpPr/>
          <p:nvPr/>
        </p:nvSpPr>
        <p:spPr>
          <a:xfrm>
            <a:off x="1496869" y="6151494"/>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lowchart: Terminator 6">
            <a:extLst>
              <a:ext uri="{FF2B5EF4-FFF2-40B4-BE49-F238E27FC236}">
                <a16:creationId xmlns:a16="http://schemas.microsoft.com/office/drawing/2014/main" id="{B87DAAD7-4EF7-492B-A150-AE74117E222B}"/>
              </a:ext>
            </a:extLst>
          </p:cNvPr>
          <p:cNvSpPr/>
          <p:nvPr/>
        </p:nvSpPr>
        <p:spPr>
          <a:xfrm>
            <a:off x="1276065" y="6207373"/>
            <a:ext cx="93263" cy="345473"/>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Rounded Corners 3">
            <a:extLst>
              <a:ext uri="{FF2B5EF4-FFF2-40B4-BE49-F238E27FC236}">
                <a16:creationId xmlns:a16="http://schemas.microsoft.com/office/drawing/2014/main" id="{0DB733D7-81EE-4102-AE19-8941F6785219}"/>
              </a:ext>
            </a:extLst>
          </p:cNvPr>
          <p:cNvSpPr/>
          <p:nvPr/>
        </p:nvSpPr>
        <p:spPr>
          <a:xfrm>
            <a:off x="820280" y="5389669"/>
            <a:ext cx="6578976" cy="976872"/>
          </a:xfrm>
          <a:prstGeom prst="roundRect">
            <a:avLst>
              <a:gd name="adj" fmla="val 50000"/>
            </a:avLst>
          </a:prstGeom>
          <a:solidFill>
            <a:schemeClr val="bg1">
              <a:lumMod val="65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Rounded Corners 24">
            <a:extLst>
              <a:ext uri="{FF2B5EF4-FFF2-40B4-BE49-F238E27FC236}">
                <a16:creationId xmlns:a16="http://schemas.microsoft.com/office/drawing/2014/main" id="{A29EBC77-8905-4933-BDAD-7A8EEFBF1A97}"/>
              </a:ext>
            </a:extLst>
          </p:cNvPr>
          <p:cNvSpPr/>
          <p:nvPr/>
        </p:nvSpPr>
        <p:spPr>
          <a:xfrm>
            <a:off x="992890" y="5572765"/>
            <a:ext cx="6226016" cy="629192"/>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D4434EC4-3D14-4B64-AB5A-4CB37BE39F51}"/>
              </a:ext>
            </a:extLst>
          </p:cNvPr>
          <p:cNvSpPr/>
          <p:nvPr/>
        </p:nvSpPr>
        <p:spPr>
          <a:xfrm>
            <a:off x="1019596"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Rectangle 173">
            <a:extLst>
              <a:ext uri="{FF2B5EF4-FFF2-40B4-BE49-F238E27FC236}">
                <a16:creationId xmlns:a16="http://schemas.microsoft.com/office/drawing/2014/main" id="{28FEBDA1-DA85-4249-9A05-F1286BCCC8FA}"/>
              </a:ext>
            </a:extLst>
          </p:cNvPr>
          <p:cNvSpPr/>
          <p:nvPr/>
        </p:nvSpPr>
        <p:spPr>
          <a:xfrm>
            <a:off x="7420026" y="5035796"/>
            <a:ext cx="8778104" cy="1788924"/>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5" name="Rectangle: Rounded Corners 174">
            <a:extLst>
              <a:ext uri="{FF2B5EF4-FFF2-40B4-BE49-F238E27FC236}">
                <a16:creationId xmlns:a16="http://schemas.microsoft.com/office/drawing/2014/main" id="{F7611790-CB1D-46FF-9442-9B7CFD9D6B89}"/>
              </a:ext>
            </a:extLst>
          </p:cNvPr>
          <p:cNvSpPr/>
          <p:nvPr/>
        </p:nvSpPr>
        <p:spPr>
          <a:xfrm>
            <a:off x="1023370" y="5572765"/>
            <a:ext cx="6226016" cy="629192"/>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C353CDB3-89BC-4485-BA4D-A968F0F37FF6}"/>
              </a:ext>
            </a:extLst>
          </p:cNvPr>
          <p:cNvSpPr/>
          <p:nvPr/>
        </p:nvSpPr>
        <p:spPr>
          <a:xfrm>
            <a:off x="2466349"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2D79B90E-6BCE-4873-B81B-BEC256718936}"/>
              </a:ext>
            </a:extLst>
          </p:cNvPr>
          <p:cNvSpPr/>
          <p:nvPr/>
        </p:nvSpPr>
        <p:spPr>
          <a:xfrm>
            <a:off x="5237161" y="5569840"/>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1" name="Picture 130">
            <a:extLst>
              <a:ext uri="{FF2B5EF4-FFF2-40B4-BE49-F238E27FC236}">
                <a16:creationId xmlns:a16="http://schemas.microsoft.com/office/drawing/2014/main" id="{C8CAA8AD-9384-45DB-B04D-000B32ECBB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2103" y="3734994"/>
            <a:ext cx="2692304" cy="2258061"/>
          </a:xfrm>
          <a:prstGeom prst="rect">
            <a:avLst/>
          </a:prstGeom>
        </p:spPr>
      </p:pic>
      <p:sp>
        <p:nvSpPr>
          <p:cNvPr id="30" name="Freeform: Shape 29">
            <a:extLst>
              <a:ext uri="{FF2B5EF4-FFF2-40B4-BE49-F238E27FC236}">
                <a16:creationId xmlns:a16="http://schemas.microsoft.com/office/drawing/2014/main" id="{A28B9D7D-FDFF-4506-8013-B5B6237B8481}"/>
              </a:ext>
            </a:extLst>
          </p:cNvPr>
          <p:cNvSpPr/>
          <p:nvPr/>
        </p:nvSpPr>
        <p:spPr>
          <a:xfrm>
            <a:off x="6622567" y="5562605"/>
            <a:ext cx="616660" cy="627383"/>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3647A0F0-870F-4EB7-9DAD-14741A7CE50D}"/>
              </a:ext>
            </a:extLst>
          </p:cNvPr>
          <p:cNvSpPr/>
          <p:nvPr/>
        </p:nvSpPr>
        <p:spPr>
          <a:xfrm>
            <a:off x="3505027" y="4096218"/>
            <a:ext cx="1385405" cy="2456627"/>
          </a:xfrm>
          <a:prstGeom prst="rect">
            <a:avLst/>
          </a:prstGeom>
          <a:gradFill flip="none" rotWithShape="1">
            <a:gsLst>
              <a:gs pos="0">
                <a:schemeClr val="tx1">
                  <a:lumMod val="50000"/>
                  <a:lumOff val="50000"/>
                </a:schemeClr>
              </a:gs>
              <a:gs pos="82281">
                <a:schemeClr val="bg1">
                  <a:lumMod val="75000"/>
                </a:schemeClr>
              </a:gs>
              <a:gs pos="30104">
                <a:schemeClr val="bg1">
                  <a:lumMod val="85000"/>
                </a:schemeClr>
              </a:gs>
              <a:gs pos="53000">
                <a:schemeClr val="bg1">
                  <a:lumMod val="95000"/>
                </a:schemeClr>
              </a:gs>
              <a:gs pos="100000">
                <a:schemeClr val="tx1">
                  <a:lumMod val="65000"/>
                  <a:lumOff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31B9F580-FAB9-489A-94EE-3D5BF513475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137476">
            <a:off x="3593979" y="4510364"/>
            <a:ext cx="1316225" cy="1314939"/>
          </a:xfrm>
          <a:prstGeom prst="rect">
            <a:avLst/>
          </a:prstGeom>
        </p:spPr>
      </p:pic>
      <p:sp>
        <p:nvSpPr>
          <p:cNvPr id="102" name="Rectangle 101">
            <a:extLst>
              <a:ext uri="{FF2B5EF4-FFF2-40B4-BE49-F238E27FC236}">
                <a16:creationId xmlns:a16="http://schemas.microsoft.com/office/drawing/2014/main" id="{242D2887-F10C-4D71-98A4-01AA0D528985}"/>
              </a:ext>
            </a:extLst>
          </p:cNvPr>
          <p:cNvSpPr/>
          <p:nvPr/>
        </p:nvSpPr>
        <p:spPr>
          <a:xfrm>
            <a:off x="3344997" y="4096218"/>
            <a:ext cx="176298" cy="2456627"/>
          </a:xfrm>
          <a:prstGeom prst="rect">
            <a:avLst/>
          </a:prstGeom>
          <a:gradFill>
            <a:gsLst>
              <a:gs pos="0">
                <a:schemeClr val="bg1">
                  <a:lumMod val="65000"/>
                </a:schemeClr>
              </a:gs>
              <a:gs pos="82281">
                <a:schemeClr val="bg1">
                  <a:lumMod val="75000"/>
                </a:schemeClr>
              </a:gs>
              <a:gs pos="30104">
                <a:schemeClr val="bg1">
                  <a:lumMod val="85000"/>
                </a:schemeClr>
              </a:gs>
              <a:gs pos="53000">
                <a:schemeClr val="bg1">
                  <a:lumMod val="95000"/>
                </a:schemeClr>
              </a:gs>
              <a:gs pos="100000">
                <a:schemeClr val="bg1">
                  <a:lumMod val="50000"/>
                </a:schemeClr>
              </a:gs>
            </a:gsLst>
            <a:lin ang="0" scaled="1"/>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2B0C5DDF-5D27-41BC-A57C-DF7015E2F243}"/>
              </a:ext>
            </a:extLst>
          </p:cNvPr>
          <p:cNvSpPr/>
          <p:nvPr/>
        </p:nvSpPr>
        <p:spPr>
          <a:xfrm>
            <a:off x="4880598" y="4096217"/>
            <a:ext cx="176298" cy="2456627"/>
          </a:xfrm>
          <a:prstGeom prst="rect">
            <a:avLst/>
          </a:prstGeom>
          <a:gradFill>
            <a:gsLst>
              <a:gs pos="0">
                <a:schemeClr val="bg1">
                  <a:lumMod val="65000"/>
                </a:schemeClr>
              </a:gs>
              <a:gs pos="82281">
                <a:schemeClr val="bg1">
                  <a:lumMod val="75000"/>
                </a:schemeClr>
              </a:gs>
              <a:gs pos="30104">
                <a:schemeClr val="bg1">
                  <a:lumMod val="85000"/>
                </a:schemeClr>
              </a:gs>
              <a:gs pos="53000">
                <a:schemeClr val="bg1">
                  <a:lumMod val="95000"/>
                </a:schemeClr>
              </a:gs>
              <a:gs pos="100000">
                <a:schemeClr val="bg1">
                  <a:lumMod val="50000"/>
                </a:schemeClr>
              </a:gs>
            </a:gsLst>
            <a:lin ang="0" scaled="1"/>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5B9C8723-1B92-4975-A7DD-5D8E5BE9429D}"/>
              </a:ext>
            </a:extLst>
          </p:cNvPr>
          <p:cNvSpPr/>
          <p:nvPr/>
        </p:nvSpPr>
        <p:spPr>
          <a:xfrm>
            <a:off x="3274061" y="3001760"/>
            <a:ext cx="1782836" cy="812424"/>
          </a:xfrm>
          <a:prstGeom prst="roundRect">
            <a:avLst>
              <a:gd name="adj" fmla="val 9309"/>
            </a:avLst>
          </a:prstGeom>
          <a:solidFill>
            <a:schemeClr val="bg1">
              <a:lumMod val="95000"/>
            </a:schemeClr>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BFF8E926-5925-4A32-85E1-353C09C341F9}"/>
              </a:ext>
            </a:extLst>
          </p:cNvPr>
          <p:cNvSpPr/>
          <p:nvPr/>
        </p:nvSpPr>
        <p:spPr>
          <a:xfrm>
            <a:off x="5325896" y="4927416"/>
            <a:ext cx="1646616" cy="627383"/>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Freeform: Shape 121">
            <a:extLst>
              <a:ext uri="{FF2B5EF4-FFF2-40B4-BE49-F238E27FC236}">
                <a16:creationId xmlns:a16="http://schemas.microsoft.com/office/drawing/2014/main" id="{9EB3AFFF-891B-476C-B9CB-426DBA49B56F}"/>
              </a:ext>
            </a:extLst>
          </p:cNvPr>
          <p:cNvSpPr/>
          <p:nvPr/>
        </p:nvSpPr>
        <p:spPr>
          <a:xfrm flipH="1">
            <a:off x="1454785" y="4962480"/>
            <a:ext cx="1646616" cy="584548"/>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C5AF84F1-1554-4C2F-91DC-DC17C45CBF9E}"/>
              </a:ext>
            </a:extLst>
          </p:cNvPr>
          <p:cNvSpPr/>
          <p:nvPr/>
        </p:nvSpPr>
        <p:spPr>
          <a:xfrm>
            <a:off x="4115219" y="4173929"/>
            <a:ext cx="139908" cy="142341"/>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14B20D5E-29F3-45D7-BAC8-E6620A5BB7D7}"/>
              </a:ext>
            </a:extLst>
          </p:cNvPr>
          <p:cNvSpPr/>
          <p:nvPr/>
        </p:nvSpPr>
        <p:spPr>
          <a:xfrm>
            <a:off x="1566553" y="5451525"/>
            <a:ext cx="101509" cy="103274"/>
          </a:xfrm>
          <a:prstGeom prst="ellipse">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Oval 123">
            <a:extLst>
              <a:ext uri="{FF2B5EF4-FFF2-40B4-BE49-F238E27FC236}">
                <a16:creationId xmlns:a16="http://schemas.microsoft.com/office/drawing/2014/main" id="{2341329C-7F60-495E-9797-47710FC5C4A9}"/>
              </a:ext>
            </a:extLst>
          </p:cNvPr>
          <p:cNvSpPr/>
          <p:nvPr/>
        </p:nvSpPr>
        <p:spPr>
          <a:xfrm>
            <a:off x="3039270" y="5451525"/>
            <a:ext cx="101509" cy="103274"/>
          </a:xfrm>
          <a:prstGeom prst="ellipse">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Oval 124">
            <a:extLst>
              <a:ext uri="{FF2B5EF4-FFF2-40B4-BE49-F238E27FC236}">
                <a16:creationId xmlns:a16="http://schemas.microsoft.com/office/drawing/2014/main" id="{7338BE5F-1285-4965-A397-299307DB21B4}"/>
              </a:ext>
            </a:extLst>
          </p:cNvPr>
          <p:cNvSpPr/>
          <p:nvPr/>
        </p:nvSpPr>
        <p:spPr>
          <a:xfrm>
            <a:off x="5282532" y="5455428"/>
            <a:ext cx="101509" cy="103274"/>
          </a:xfrm>
          <a:prstGeom prst="ellipse">
            <a:avLst/>
          </a:prstGeom>
          <a:solidFill>
            <a:schemeClr val="tx1">
              <a:lumMod val="50000"/>
              <a:lumOff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E8AC0D65-4ED4-4FD3-877C-A89D04746923}"/>
              </a:ext>
            </a:extLst>
          </p:cNvPr>
          <p:cNvSpPr/>
          <p:nvPr/>
        </p:nvSpPr>
        <p:spPr>
          <a:xfrm>
            <a:off x="3518250" y="4096217"/>
            <a:ext cx="64505" cy="2456627"/>
          </a:xfrm>
          <a:prstGeom prst="rect">
            <a:avLst/>
          </a:prstGeom>
          <a:solidFill>
            <a:schemeClr val="accent3">
              <a:lumMod val="5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054062FE-AADF-432B-8C33-083BC002962F}"/>
              </a:ext>
            </a:extLst>
          </p:cNvPr>
          <p:cNvSpPr/>
          <p:nvPr/>
        </p:nvSpPr>
        <p:spPr>
          <a:xfrm>
            <a:off x="4839045" y="4106824"/>
            <a:ext cx="64505" cy="2456627"/>
          </a:xfrm>
          <a:prstGeom prst="rect">
            <a:avLst/>
          </a:prstGeom>
          <a:solidFill>
            <a:schemeClr val="accent3">
              <a:lumMod val="5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A7F7953-AB0D-4FB8-A2C4-A30B1109F319}"/>
              </a:ext>
            </a:extLst>
          </p:cNvPr>
          <p:cNvSpPr txBox="1"/>
          <p:nvPr/>
        </p:nvSpPr>
        <p:spPr>
          <a:xfrm>
            <a:off x="3721277" y="4325967"/>
            <a:ext cx="10601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accent3">
                    <a:lumMod val="50000"/>
                  </a:schemeClr>
                </a:solidFill>
                <a:latin typeface="Oswald" panose="02000503000000000000" pitchFamily="2" charset="0"/>
              </a:rPr>
              <a:t>Separator</a:t>
            </a:r>
            <a:endParaRPr kumimoji="0" lang="en-US" sz="1800" b="0" i="0" u="none" strike="noStrike" kern="1200" cap="none" spc="0" normalizeH="0" baseline="0" noProof="0" dirty="0">
              <a:ln>
                <a:noFill/>
              </a:ln>
              <a:solidFill>
                <a:schemeClr val="accent3">
                  <a:lumMod val="50000"/>
                </a:schemeClr>
              </a:solidFill>
              <a:uLnTx/>
              <a:uFillTx/>
              <a:latin typeface="Oswald" panose="02000503000000000000" pitchFamily="2" charset="0"/>
              <a:ea typeface="+mn-ea"/>
              <a:cs typeface="+mn-cs"/>
            </a:endParaRPr>
          </a:p>
        </p:txBody>
      </p:sp>
      <p:sp>
        <p:nvSpPr>
          <p:cNvPr id="8" name="Scan Button">
            <a:extLst>
              <a:ext uri="{FF2B5EF4-FFF2-40B4-BE49-F238E27FC236}">
                <a16:creationId xmlns:a16="http://schemas.microsoft.com/office/drawing/2014/main" id="{D4C0680E-6312-45C3-B490-7E30F735E544}"/>
              </a:ext>
            </a:extLst>
          </p:cNvPr>
          <p:cNvSpPr/>
          <p:nvPr/>
        </p:nvSpPr>
        <p:spPr>
          <a:xfrm>
            <a:off x="3785567" y="5798175"/>
            <a:ext cx="756744" cy="263194"/>
          </a:xfrm>
          <a:prstGeom prst="roundRect">
            <a:avLst>
              <a:gd name="adj" fmla="val 50000"/>
            </a:avLst>
          </a:prstGeom>
          <a:solidFill>
            <a:srgbClr val="FFC000"/>
          </a:solidFill>
          <a:ln>
            <a:solidFill>
              <a:schemeClr val="bg1"/>
            </a:solidFill>
          </a:ln>
          <a:effectLst/>
          <a:scene3d>
            <a:camera prst="orthographicFront"/>
            <a:lightRig rig="threePt" dir="t"/>
          </a:scene3d>
          <a:sp3d>
            <a:bevelT w="152400" h="825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entury Gothic" panose="020B0502020202020204" pitchFamily="34" charset="0"/>
              </a:rPr>
              <a:t>SCAN</a:t>
            </a:r>
          </a:p>
        </p:txBody>
      </p:sp>
      <p:sp>
        <p:nvSpPr>
          <p:cNvPr id="166" name="Flowchart: Terminator 165">
            <a:extLst>
              <a:ext uri="{FF2B5EF4-FFF2-40B4-BE49-F238E27FC236}">
                <a16:creationId xmlns:a16="http://schemas.microsoft.com/office/drawing/2014/main" id="{ED58EA87-8C3F-46C5-B27D-9162B454188E}"/>
              </a:ext>
            </a:extLst>
          </p:cNvPr>
          <p:cNvSpPr/>
          <p:nvPr/>
        </p:nvSpPr>
        <p:spPr>
          <a:xfrm>
            <a:off x="12792947" y="5285274"/>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7" name="Flowchart: Terminator 166">
            <a:extLst>
              <a:ext uri="{FF2B5EF4-FFF2-40B4-BE49-F238E27FC236}">
                <a16:creationId xmlns:a16="http://schemas.microsoft.com/office/drawing/2014/main" id="{19531ABD-8CBC-4255-A18A-97E81249F305}"/>
              </a:ext>
            </a:extLst>
          </p:cNvPr>
          <p:cNvSpPr/>
          <p:nvPr/>
        </p:nvSpPr>
        <p:spPr>
          <a:xfrm>
            <a:off x="13018745" y="5339642"/>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Flowchart: Terminator 167">
            <a:extLst>
              <a:ext uri="{FF2B5EF4-FFF2-40B4-BE49-F238E27FC236}">
                <a16:creationId xmlns:a16="http://schemas.microsoft.com/office/drawing/2014/main" id="{6CC06B13-8651-445B-98B5-AD2C3628C2F8}"/>
              </a:ext>
            </a:extLst>
          </p:cNvPr>
          <p:cNvSpPr/>
          <p:nvPr/>
        </p:nvSpPr>
        <p:spPr>
          <a:xfrm>
            <a:off x="7704629" y="5285274"/>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Flowchart: Terminator 168">
            <a:extLst>
              <a:ext uri="{FF2B5EF4-FFF2-40B4-BE49-F238E27FC236}">
                <a16:creationId xmlns:a16="http://schemas.microsoft.com/office/drawing/2014/main" id="{75064783-D507-44A4-861E-35CD63AA2364}"/>
              </a:ext>
            </a:extLst>
          </p:cNvPr>
          <p:cNvSpPr/>
          <p:nvPr/>
        </p:nvSpPr>
        <p:spPr>
          <a:xfrm>
            <a:off x="7483825" y="5339642"/>
            <a:ext cx="93263" cy="336131"/>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Rectangle: Rounded Corners 169">
            <a:extLst>
              <a:ext uri="{FF2B5EF4-FFF2-40B4-BE49-F238E27FC236}">
                <a16:creationId xmlns:a16="http://schemas.microsoft.com/office/drawing/2014/main" id="{CF917892-0D4B-4BF4-A0F8-F3CF416EAE69}"/>
              </a:ext>
            </a:extLst>
          </p:cNvPr>
          <p:cNvSpPr/>
          <p:nvPr/>
        </p:nvSpPr>
        <p:spPr>
          <a:xfrm>
            <a:off x="7028040" y="4544049"/>
            <a:ext cx="6578976" cy="950457"/>
          </a:xfrm>
          <a:prstGeom prst="roundRect">
            <a:avLst>
              <a:gd name="adj" fmla="val 50000"/>
            </a:avLst>
          </a:prstGeom>
          <a:solidFill>
            <a:schemeClr val="bg1">
              <a:lumMod val="65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Rectangle: Rounded Corners 170">
            <a:extLst>
              <a:ext uri="{FF2B5EF4-FFF2-40B4-BE49-F238E27FC236}">
                <a16:creationId xmlns:a16="http://schemas.microsoft.com/office/drawing/2014/main" id="{A7B576FC-9FE6-4016-84F9-E76F9ABDDA67}"/>
              </a:ext>
            </a:extLst>
          </p:cNvPr>
          <p:cNvSpPr/>
          <p:nvPr/>
        </p:nvSpPr>
        <p:spPr>
          <a:xfrm>
            <a:off x="7220970" y="4712309"/>
            <a:ext cx="6226016" cy="612178"/>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Freeform: Shape 171">
            <a:extLst>
              <a:ext uri="{FF2B5EF4-FFF2-40B4-BE49-F238E27FC236}">
                <a16:creationId xmlns:a16="http://schemas.microsoft.com/office/drawing/2014/main" id="{DA92DEFD-77F3-4689-845D-432330969F4D}"/>
              </a:ext>
            </a:extLst>
          </p:cNvPr>
          <p:cNvSpPr/>
          <p:nvPr/>
        </p:nvSpPr>
        <p:spPr>
          <a:xfrm>
            <a:off x="11533656" y="4094296"/>
            <a:ext cx="1646616" cy="610418"/>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3" name="Freeform: Shape 172">
            <a:extLst>
              <a:ext uri="{FF2B5EF4-FFF2-40B4-BE49-F238E27FC236}">
                <a16:creationId xmlns:a16="http://schemas.microsoft.com/office/drawing/2014/main" id="{E1BB6397-CC0A-400E-92E3-0DEB7F10A99D}"/>
              </a:ext>
            </a:extLst>
          </p:cNvPr>
          <p:cNvSpPr/>
          <p:nvPr/>
        </p:nvSpPr>
        <p:spPr>
          <a:xfrm flipH="1">
            <a:off x="7662545" y="4128412"/>
            <a:ext cx="1646616" cy="568741"/>
          </a:xfrm>
          <a:custGeom>
            <a:avLst/>
            <a:gdLst>
              <a:gd name="connsiteX0" fmla="*/ 2197768 w 2454442"/>
              <a:gd name="connsiteY0" fmla="*/ 657726 h 673768"/>
              <a:gd name="connsiteX1" fmla="*/ 2454442 w 2454442"/>
              <a:gd name="connsiteY1" fmla="*/ 0 h 673768"/>
              <a:gd name="connsiteX2" fmla="*/ 0 w 2454442"/>
              <a:gd name="connsiteY2" fmla="*/ 0 h 673768"/>
              <a:gd name="connsiteX3" fmla="*/ 16042 w 2454442"/>
              <a:gd name="connsiteY3" fmla="*/ 673768 h 673768"/>
            </a:gdLst>
            <a:ahLst/>
            <a:cxnLst>
              <a:cxn ang="0">
                <a:pos x="connsiteX0" y="connsiteY0"/>
              </a:cxn>
              <a:cxn ang="0">
                <a:pos x="connsiteX1" y="connsiteY1"/>
              </a:cxn>
              <a:cxn ang="0">
                <a:pos x="connsiteX2" y="connsiteY2"/>
              </a:cxn>
              <a:cxn ang="0">
                <a:pos x="connsiteX3" y="connsiteY3"/>
              </a:cxn>
            </a:cxnLst>
            <a:rect l="l" t="t" r="r" b="b"/>
            <a:pathLst>
              <a:path w="2454442" h="673768">
                <a:moveTo>
                  <a:pt x="2197768" y="657726"/>
                </a:moveTo>
                <a:lnTo>
                  <a:pt x="2454442" y="0"/>
                </a:lnTo>
                <a:lnTo>
                  <a:pt x="0" y="0"/>
                </a:lnTo>
                <a:lnTo>
                  <a:pt x="16042" y="673768"/>
                </a:lnTo>
              </a:path>
            </a:pathLst>
          </a:custGeom>
          <a:noFill/>
          <a:ln w="571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Rectangle: Rounded Corners 175">
            <a:extLst>
              <a:ext uri="{FF2B5EF4-FFF2-40B4-BE49-F238E27FC236}">
                <a16:creationId xmlns:a16="http://schemas.microsoft.com/office/drawing/2014/main" id="{B3A814BE-ABA3-418B-88F3-F0590BB58D08}"/>
              </a:ext>
            </a:extLst>
          </p:cNvPr>
          <p:cNvSpPr/>
          <p:nvPr/>
        </p:nvSpPr>
        <p:spPr>
          <a:xfrm>
            <a:off x="7220970" y="4712309"/>
            <a:ext cx="6226016" cy="612178"/>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7" name="Freeform: Shape 176">
            <a:extLst>
              <a:ext uri="{FF2B5EF4-FFF2-40B4-BE49-F238E27FC236}">
                <a16:creationId xmlns:a16="http://schemas.microsoft.com/office/drawing/2014/main" id="{F6D337A6-FF36-4A50-B0C6-DFAB5BCC6D1F}"/>
              </a:ext>
            </a:extLst>
          </p:cNvPr>
          <p:cNvSpPr/>
          <p:nvPr/>
        </p:nvSpPr>
        <p:spPr>
          <a:xfrm>
            <a:off x="7227356" y="4712309"/>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8" name="Freeform: Shape 177">
            <a:extLst>
              <a:ext uri="{FF2B5EF4-FFF2-40B4-BE49-F238E27FC236}">
                <a16:creationId xmlns:a16="http://schemas.microsoft.com/office/drawing/2014/main" id="{367C4195-2192-460B-BEF5-5FCC0432B56E}"/>
              </a:ext>
            </a:extLst>
          </p:cNvPr>
          <p:cNvSpPr/>
          <p:nvPr/>
        </p:nvSpPr>
        <p:spPr>
          <a:xfrm>
            <a:off x="8674109" y="4712309"/>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9" name="Freeform: Shape 178">
            <a:extLst>
              <a:ext uri="{FF2B5EF4-FFF2-40B4-BE49-F238E27FC236}">
                <a16:creationId xmlns:a16="http://schemas.microsoft.com/office/drawing/2014/main" id="{D89BE942-6059-4D4C-9080-FFFFE8CC0F14}"/>
              </a:ext>
            </a:extLst>
          </p:cNvPr>
          <p:cNvSpPr/>
          <p:nvPr/>
        </p:nvSpPr>
        <p:spPr>
          <a:xfrm>
            <a:off x="11444921" y="4719348"/>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 name="Freeform: Shape 179">
            <a:extLst>
              <a:ext uri="{FF2B5EF4-FFF2-40B4-BE49-F238E27FC236}">
                <a16:creationId xmlns:a16="http://schemas.microsoft.com/office/drawing/2014/main" id="{B20C196C-D903-40AA-ACA7-0DC276EBE0CF}"/>
              </a:ext>
            </a:extLst>
          </p:cNvPr>
          <p:cNvSpPr/>
          <p:nvPr/>
        </p:nvSpPr>
        <p:spPr>
          <a:xfrm>
            <a:off x="12830327" y="4712309"/>
            <a:ext cx="616660" cy="610418"/>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B085A087-1B72-4E37-931A-4E813AD36237}"/>
              </a:ext>
            </a:extLst>
          </p:cNvPr>
          <p:cNvSpPr txBox="1"/>
          <p:nvPr/>
        </p:nvSpPr>
        <p:spPr>
          <a:xfrm>
            <a:off x="3491403" y="3114564"/>
            <a:ext cx="1506333" cy="523220"/>
          </a:xfrm>
          <a:prstGeom prst="rect">
            <a:avLst/>
          </a:prstGeom>
          <a:noFill/>
        </p:spPr>
        <p:txBody>
          <a:bodyPr wrap="square" rtlCol="0">
            <a:spAutoFit/>
          </a:bodyPr>
          <a:lstStyle/>
          <a:p>
            <a:pPr algn="ctr"/>
            <a:r>
              <a:rPr lang="en-US" sz="2800" dirty="0"/>
              <a:t>Bricks</a:t>
            </a:r>
          </a:p>
        </p:txBody>
      </p:sp>
    </p:spTree>
    <p:extLst>
      <p:ext uri="{BB962C8B-B14F-4D97-AF65-F5344CB8AC3E}">
        <p14:creationId xmlns:p14="http://schemas.microsoft.com/office/powerpoint/2010/main" val="3826413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2250" fill="hold"/>
                                        <p:tgtEl>
                                          <p:spTgt spid="27"/>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2250" fill="hold"/>
                                        <p:tgtEl>
                                          <p:spTgt spid="24"/>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2250" fill="hold"/>
                                        <p:tgtEl>
                                          <p:spTgt spid="29"/>
                                        </p:tgtEl>
                                        <p:attrNameLst>
                                          <p:attrName>r</p:attrName>
                                        </p:attrNameLst>
                                      </p:cBhvr>
                                    </p:animRot>
                                  </p:childTnLst>
                                </p:cTn>
                              </p:par>
                              <p:par>
                                <p:cTn id="11" presetID="8" presetClass="emph" presetSubtype="0" repeatCount="indefinite" fill="hold" grpId="0" nodeType="withEffect">
                                  <p:stCondLst>
                                    <p:cond delay="0"/>
                                  </p:stCondLst>
                                  <p:childTnLst>
                                    <p:animRot by="21600000">
                                      <p:cBhvr>
                                        <p:cTn id="12" dur="2250" fill="hold"/>
                                        <p:tgtEl>
                                          <p:spTgt spid="30"/>
                                        </p:tgtEl>
                                        <p:attrNameLst>
                                          <p:attrName>r</p:attrName>
                                        </p:attrNameLst>
                                      </p:cBhvr>
                                    </p:animRot>
                                  </p:childTnLst>
                                </p:cTn>
                              </p:par>
                              <p:par>
                                <p:cTn id="13" presetID="8" presetClass="emph" presetSubtype="0" repeatCount="indefinite" fill="hold" grpId="0" nodeType="withEffect">
                                  <p:stCondLst>
                                    <p:cond delay="0"/>
                                  </p:stCondLst>
                                  <p:childTnLst>
                                    <p:animRot by="21600000">
                                      <p:cBhvr>
                                        <p:cTn id="14" dur="2250" fill="hold"/>
                                        <p:tgtEl>
                                          <p:spTgt spid="177"/>
                                        </p:tgtEl>
                                        <p:attrNameLst>
                                          <p:attrName>r</p:attrName>
                                        </p:attrNameLst>
                                      </p:cBhvr>
                                    </p:animRot>
                                  </p:childTnLst>
                                </p:cTn>
                              </p:par>
                              <p:par>
                                <p:cTn id="15" presetID="8" presetClass="emph" presetSubtype="0" repeatCount="indefinite" fill="hold" grpId="0" nodeType="withEffect">
                                  <p:stCondLst>
                                    <p:cond delay="0"/>
                                  </p:stCondLst>
                                  <p:childTnLst>
                                    <p:animRot by="21600000">
                                      <p:cBhvr>
                                        <p:cTn id="16" dur="2250" fill="hold"/>
                                        <p:tgtEl>
                                          <p:spTgt spid="178"/>
                                        </p:tgtEl>
                                        <p:attrNameLst>
                                          <p:attrName>r</p:attrName>
                                        </p:attrNameLst>
                                      </p:cBhvr>
                                    </p:animRot>
                                  </p:childTnLst>
                                </p:cTn>
                              </p:par>
                              <p:par>
                                <p:cTn id="17" presetID="8" presetClass="emph" presetSubtype="0" repeatCount="indefinite" fill="hold" grpId="0" nodeType="withEffect">
                                  <p:stCondLst>
                                    <p:cond delay="0"/>
                                  </p:stCondLst>
                                  <p:childTnLst>
                                    <p:animRot by="21600000">
                                      <p:cBhvr>
                                        <p:cTn id="18" dur="2250" fill="hold"/>
                                        <p:tgtEl>
                                          <p:spTgt spid="179"/>
                                        </p:tgtEl>
                                        <p:attrNameLst>
                                          <p:attrName>r</p:attrName>
                                        </p:attrNameLst>
                                      </p:cBhvr>
                                    </p:animRot>
                                  </p:childTnLst>
                                </p:cTn>
                              </p:par>
                              <p:par>
                                <p:cTn id="19" presetID="8" presetClass="emph" presetSubtype="0" repeatCount="indefinite" fill="hold" grpId="0" nodeType="withEffect">
                                  <p:stCondLst>
                                    <p:cond delay="0"/>
                                  </p:stCondLst>
                                  <p:childTnLst>
                                    <p:animRot by="21600000">
                                      <p:cBhvr>
                                        <p:cTn id="20" dur="2250" fill="hold"/>
                                        <p:tgtEl>
                                          <p:spTgt spid="180"/>
                                        </p:tgtEl>
                                        <p:attrNameLst>
                                          <p:attrName>r</p:attrName>
                                        </p:attrNameLst>
                                      </p:cBhvr>
                                    </p:animRot>
                                  </p:childTnLst>
                                </p:cTn>
                              </p:par>
                              <p:par>
                                <p:cTn id="21" presetID="1" presetClass="emph" presetSubtype="2" accel="4500" decel="3500" fill="hold" nodeType="withEffect">
                                  <p:stCondLst>
                                    <p:cond delay="0"/>
                                  </p:stCondLst>
                                  <p:childTnLst>
                                    <p:animClr clrSpc="rgb" dir="cw">
                                      <p:cBhvr>
                                        <p:cTn id="22" dur="2000" fill="hold"/>
                                        <p:tgtEl>
                                          <p:spTgt spid="20"/>
                                        </p:tgtEl>
                                        <p:attrNameLst>
                                          <p:attrName>fillcolor</p:attrName>
                                        </p:attrNameLst>
                                      </p:cBhvr>
                                      <p:to>
                                        <a:srgbClr val="20FE65"/>
                                      </p:to>
                                    </p:animClr>
                                    <p:set>
                                      <p:cBhvr>
                                        <p:cTn id="23" dur="2000" fill="hold"/>
                                        <p:tgtEl>
                                          <p:spTgt spid="20"/>
                                        </p:tgtEl>
                                        <p:attrNameLst>
                                          <p:attrName>fill.type</p:attrName>
                                        </p:attrNameLst>
                                      </p:cBhvr>
                                      <p:to>
                                        <p:strVal val="solid"/>
                                      </p:to>
                                    </p:set>
                                    <p:set>
                                      <p:cBhvr>
                                        <p:cTn id="24" dur="2000" fill="hold"/>
                                        <p:tgtEl>
                                          <p:spTgt spid="20"/>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7" grpId="0" animBg="1"/>
      <p:bldP spid="29" grpId="0" animBg="1"/>
      <p:bldP spid="30" grpId="0" animBg="1"/>
      <p:bldP spid="177" grpId="0" animBg="1"/>
      <p:bldP spid="178" grpId="0" animBg="1"/>
      <p:bldP spid="179" grpId="0" animBg="1"/>
      <p:bldP spid="18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Shape 44">
            <a:extLst>
              <a:ext uri="{FF2B5EF4-FFF2-40B4-BE49-F238E27FC236}">
                <a16:creationId xmlns:a16="http://schemas.microsoft.com/office/drawing/2014/main" id="{D2F32E8B-26D9-4FEB-9367-80ADC4D12FFA}"/>
              </a:ext>
            </a:extLst>
          </p:cNvPr>
          <p:cNvSpPr/>
          <p:nvPr/>
        </p:nvSpPr>
        <p:spPr>
          <a:xfrm>
            <a:off x="2525215" y="814784"/>
            <a:ext cx="1110149" cy="587548"/>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45">
            <a:extLst>
              <a:ext uri="{FF2B5EF4-FFF2-40B4-BE49-F238E27FC236}">
                <a16:creationId xmlns:a16="http://schemas.microsoft.com/office/drawing/2014/main" id="{96873E38-9035-4C27-8929-8464EF047010}"/>
              </a:ext>
            </a:extLst>
          </p:cNvPr>
          <p:cNvSpPr/>
          <p:nvPr/>
        </p:nvSpPr>
        <p:spPr>
          <a:xfrm flipH="1">
            <a:off x="3618716" y="845060"/>
            <a:ext cx="1052943" cy="557272"/>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Terminator 20">
            <a:extLst>
              <a:ext uri="{FF2B5EF4-FFF2-40B4-BE49-F238E27FC236}">
                <a16:creationId xmlns:a16="http://schemas.microsoft.com/office/drawing/2014/main" id="{8E25A553-F6D1-4C34-A033-3DFFA492B380}"/>
              </a:ext>
            </a:extLst>
          </p:cNvPr>
          <p:cNvSpPr/>
          <p:nvPr/>
        </p:nvSpPr>
        <p:spPr>
          <a:xfrm>
            <a:off x="9785854" y="5900198"/>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owchart: Terminator 21">
            <a:extLst>
              <a:ext uri="{FF2B5EF4-FFF2-40B4-BE49-F238E27FC236}">
                <a16:creationId xmlns:a16="http://schemas.microsoft.com/office/drawing/2014/main" id="{E68EC004-C09D-45BC-A5B3-4AB8BEC0D9B6}"/>
              </a:ext>
            </a:extLst>
          </p:cNvPr>
          <p:cNvSpPr/>
          <p:nvPr/>
        </p:nvSpPr>
        <p:spPr>
          <a:xfrm>
            <a:off x="10122428" y="5982067"/>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lowchart: Terminator 22">
            <a:extLst>
              <a:ext uri="{FF2B5EF4-FFF2-40B4-BE49-F238E27FC236}">
                <a16:creationId xmlns:a16="http://schemas.microsoft.com/office/drawing/2014/main" id="{3561EE46-41FA-4C20-80B7-C4608BF19E43}"/>
              </a:ext>
            </a:extLst>
          </p:cNvPr>
          <p:cNvSpPr/>
          <p:nvPr/>
        </p:nvSpPr>
        <p:spPr>
          <a:xfrm>
            <a:off x="2201218" y="5900198"/>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lowchart: Terminator 23">
            <a:extLst>
              <a:ext uri="{FF2B5EF4-FFF2-40B4-BE49-F238E27FC236}">
                <a16:creationId xmlns:a16="http://schemas.microsoft.com/office/drawing/2014/main" id="{07919D29-A01F-4A30-836E-A815CB7AF069}"/>
              </a:ext>
            </a:extLst>
          </p:cNvPr>
          <p:cNvSpPr/>
          <p:nvPr/>
        </p:nvSpPr>
        <p:spPr>
          <a:xfrm>
            <a:off x="1872088" y="5982067"/>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Rounded Corners 24">
            <a:extLst>
              <a:ext uri="{FF2B5EF4-FFF2-40B4-BE49-F238E27FC236}">
                <a16:creationId xmlns:a16="http://schemas.microsoft.com/office/drawing/2014/main" id="{1EAC4D7C-803D-4C4B-ADD3-4F8C16A94B01}"/>
              </a:ext>
            </a:extLst>
          </p:cNvPr>
          <p:cNvSpPr/>
          <p:nvPr/>
        </p:nvSpPr>
        <p:spPr>
          <a:xfrm>
            <a:off x="0" y="4784034"/>
            <a:ext cx="12192000" cy="1431235"/>
          </a:xfrm>
          <a:prstGeom prst="roundRect">
            <a:avLst>
              <a:gd name="adj" fmla="val 50000"/>
            </a:avLst>
          </a:prstGeom>
          <a:solidFill>
            <a:schemeClr val="bg1">
              <a:lumMod val="65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C7059A3A-04BD-4B0C-BC9E-C0894E58DEB0}"/>
              </a:ext>
            </a:extLst>
          </p:cNvPr>
          <p:cNvSpPr/>
          <p:nvPr/>
        </p:nvSpPr>
        <p:spPr>
          <a:xfrm>
            <a:off x="1480277" y="5037405"/>
            <a:ext cx="9280487" cy="921841"/>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3F59DE6A-0F0C-4BD2-8BEC-10036B6A4D2F}"/>
              </a:ext>
            </a:extLst>
          </p:cNvPr>
          <p:cNvSpPr/>
          <p:nvPr/>
        </p:nvSpPr>
        <p:spPr>
          <a:xfrm>
            <a:off x="1489796"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F6CF0F00-C16C-4872-BF51-0952620952B1}"/>
              </a:ext>
            </a:extLst>
          </p:cNvPr>
          <p:cNvSpPr/>
          <p:nvPr/>
        </p:nvSpPr>
        <p:spPr>
          <a:xfrm>
            <a:off x="3646322"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9ECDAB52-AF9E-4A48-9041-3A48F197F89B}"/>
              </a:ext>
            </a:extLst>
          </p:cNvPr>
          <p:cNvSpPr/>
          <p:nvPr/>
        </p:nvSpPr>
        <p:spPr>
          <a:xfrm>
            <a:off x="5711406"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27A4EE08-F546-495D-8EA7-B08B4917AE7A}"/>
              </a:ext>
            </a:extLst>
          </p:cNvPr>
          <p:cNvSpPr/>
          <p:nvPr/>
        </p:nvSpPr>
        <p:spPr>
          <a:xfrm>
            <a:off x="7776490" y="50480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lowchart: Terminator 30">
            <a:extLst>
              <a:ext uri="{FF2B5EF4-FFF2-40B4-BE49-F238E27FC236}">
                <a16:creationId xmlns:a16="http://schemas.microsoft.com/office/drawing/2014/main" id="{961CFA03-96F3-438B-A322-846B48601D30}"/>
              </a:ext>
            </a:extLst>
          </p:cNvPr>
          <p:cNvSpPr/>
          <p:nvPr/>
        </p:nvSpPr>
        <p:spPr>
          <a:xfrm>
            <a:off x="2418298" y="6303156"/>
            <a:ext cx="7346138" cy="141605"/>
          </a:xfrm>
          <a:prstGeom prst="flowChartTerminator">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BBA37430-A877-4CDB-BA6D-53FDC86E9051}"/>
              </a:ext>
            </a:extLst>
          </p:cNvPr>
          <p:cNvSpPr/>
          <p:nvPr/>
        </p:nvSpPr>
        <p:spPr>
          <a:xfrm>
            <a:off x="9841572"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Rounded Corners 41">
            <a:extLst>
              <a:ext uri="{FF2B5EF4-FFF2-40B4-BE49-F238E27FC236}">
                <a16:creationId xmlns:a16="http://schemas.microsoft.com/office/drawing/2014/main" id="{956422CF-1E34-4E81-A60E-352DF331C175}"/>
              </a:ext>
            </a:extLst>
          </p:cNvPr>
          <p:cNvSpPr/>
          <p:nvPr/>
        </p:nvSpPr>
        <p:spPr>
          <a:xfrm>
            <a:off x="3511540" y="-2571755"/>
            <a:ext cx="247650" cy="3886200"/>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946B948F-BECC-4D11-8FE0-E868BC3EE61F}"/>
              </a:ext>
            </a:extLst>
          </p:cNvPr>
          <p:cNvSpPr/>
          <p:nvPr/>
        </p:nvSpPr>
        <p:spPr>
          <a:xfrm>
            <a:off x="3042658" y="449679"/>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6">
            <a:extLst>
              <a:ext uri="{FF2B5EF4-FFF2-40B4-BE49-F238E27FC236}">
                <a16:creationId xmlns:a16="http://schemas.microsoft.com/office/drawing/2014/main" id="{93AABDAD-A492-4C55-A35B-6097576C264B}"/>
              </a:ext>
            </a:extLst>
          </p:cNvPr>
          <p:cNvSpPr/>
          <p:nvPr/>
        </p:nvSpPr>
        <p:spPr>
          <a:xfrm flipH="1">
            <a:off x="3732773" y="453406"/>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a:extLst>
              <a:ext uri="{FF2B5EF4-FFF2-40B4-BE49-F238E27FC236}">
                <a16:creationId xmlns:a16="http://schemas.microsoft.com/office/drawing/2014/main" id="{7965D267-1A10-4926-BC44-ED626D2CB4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41805" y="3037670"/>
            <a:ext cx="2692304" cy="2258061"/>
          </a:xfrm>
          <a:prstGeom prst="rect">
            <a:avLst/>
          </a:prstGeom>
        </p:spPr>
      </p:pic>
      <p:pic>
        <p:nvPicPr>
          <p:cNvPr id="34" name="Picture 33">
            <a:extLst>
              <a:ext uri="{FF2B5EF4-FFF2-40B4-BE49-F238E27FC236}">
                <a16:creationId xmlns:a16="http://schemas.microsoft.com/office/drawing/2014/main" id="{D2E1FA0D-AE10-43CA-BC2F-8ADA6DD267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137476">
            <a:off x="16615574" y="3694428"/>
            <a:ext cx="1316225" cy="1314939"/>
          </a:xfrm>
          <a:prstGeom prst="rect">
            <a:avLst/>
          </a:prstGeom>
        </p:spPr>
      </p:pic>
      <p:sp>
        <p:nvSpPr>
          <p:cNvPr id="35" name="Freeform: Shape 34">
            <a:extLst>
              <a:ext uri="{FF2B5EF4-FFF2-40B4-BE49-F238E27FC236}">
                <a16:creationId xmlns:a16="http://schemas.microsoft.com/office/drawing/2014/main" id="{C9A8EDE3-6333-487F-899E-FE7CC33F7E48}"/>
              </a:ext>
            </a:extLst>
          </p:cNvPr>
          <p:cNvSpPr/>
          <p:nvPr/>
        </p:nvSpPr>
        <p:spPr>
          <a:xfrm>
            <a:off x="5571285" y="816712"/>
            <a:ext cx="1110149" cy="587548"/>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Shape 35">
            <a:extLst>
              <a:ext uri="{FF2B5EF4-FFF2-40B4-BE49-F238E27FC236}">
                <a16:creationId xmlns:a16="http://schemas.microsoft.com/office/drawing/2014/main" id="{351B8978-CD28-4814-B88C-6B0A7C3EE49F}"/>
              </a:ext>
            </a:extLst>
          </p:cNvPr>
          <p:cNvSpPr/>
          <p:nvPr/>
        </p:nvSpPr>
        <p:spPr>
          <a:xfrm flipH="1">
            <a:off x="6664786" y="846988"/>
            <a:ext cx="1052943" cy="557272"/>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2C862B5D-D8EB-41AF-B6E3-5E57BC177099}"/>
              </a:ext>
            </a:extLst>
          </p:cNvPr>
          <p:cNvSpPr/>
          <p:nvPr/>
        </p:nvSpPr>
        <p:spPr>
          <a:xfrm>
            <a:off x="6557610" y="-2569827"/>
            <a:ext cx="247650" cy="3886200"/>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6">
            <a:extLst>
              <a:ext uri="{FF2B5EF4-FFF2-40B4-BE49-F238E27FC236}">
                <a16:creationId xmlns:a16="http://schemas.microsoft.com/office/drawing/2014/main" id="{FE56378C-2541-408B-A55A-77BACEA810A2}"/>
              </a:ext>
            </a:extLst>
          </p:cNvPr>
          <p:cNvSpPr/>
          <p:nvPr/>
        </p:nvSpPr>
        <p:spPr>
          <a:xfrm>
            <a:off x="6088728" y="451607"/>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6">
            <a:extLst>
              <a:ext uri="{FF2B5EF4-FFF2-40B4-BE49-F238E27FC236}">
                <a16:creationId xmlns:a16="http://schemas.microsoft.com/office/drawing/2014/main" id="{95277F20-FBC6-43C6-83D2-B7938BE468F8}"/>
              </a:ext>
            </a:extLst>
          </p:cNvPr>
          <p:cNvSpPr/>
          <p:nvPr/>
        </p:nvSpPr>
        <p:spPr>
          <a:xfrm flipH="1">
            <a:off x="6778843" y="455334"/>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Shape 49">
            <a:extLst>
              <a:ext uri="{FF2B5EF4-FFF2-40B4-BE49-F238E27FC236}">
                <a16:creationId xmlns:a16="http://schemas.microsoft.com/office/drawing/2014/main" id="{F4759A10-7F55-4DA1-BE85-84BDCCF02D10}"/>
              </a:ext>
            </a:extLst>
          </p:cNvPr>
          <p:cNvSpPr/>
          <p:nvPr/>
        </p:nvSpPr>
        <p:spPr>
          <a:xfrm>
            <a:off x="8605782" y="853363"/>
            <a:ext cx="1110149" cy="587548"/>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eform: Shape 50">
            <a:extLst>
              <a:ext uri="{FF2B5EF4-FFF2-40B4-BE49-F238E27FC236}">
                <a16:creationId xmlns:a16="http://schemas.microsoft.com/office/drawing/2014/main" id="{01CCC3F5-CA05-4B01-9780-F889A870E1D8}"/>
              </a:ext>
            </a:extLst>
          </p:cNvPr>
          <p:cNvSpPr/>
          <p:nvPr/>
        </p:nvSpPr>
        <p:spPr>
          <a:xfrm flipH="1">
            <a:off x="9699283" y="883639"/>
            <a:ext cx="1052943" cy="557272"/>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3AC2FB1B-2476-4DF0-A573-1C7A0D907EB1}"/>
              </a:ext>
            </a:extLst>
          </p:cNvPr>
          <p:cNvSpPr/>
          <p:nvPr/>
        </p:nvSpPr>
        <p:spPr>
          <a:xfrm>
            <a:off x="9592107" y="-2533176"/>
            <a:ext cx="247650" cy="3886200"/>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46">
            <a:extLst>
              <a:ext uri="{FF2B5EF4-FFF2-40B4-BE49-F238E27FC236}">
                <a16:creationId xmlns:a16="http://schemas.microsoft.com/office/drawing/2014/main" id="{6160599F-75A1-4B1F-AD43-2F8B6A68FE17}"/>
              </a:ext>
            </a:extLst>
          </p:cNvPr>
          <p:cNvSpPr/>
          <p:nvPr/>
        </p:nvSpPr>
        <p:spPr>
          <a:xfrm>
            <a:off x="9123225" y="488258"/>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46">
            <a:extLst>
              <a:ext uri="{FF2B5EF4-FFF2-40B4-BE49-F238E27FC236}">
                <a16:creationId xmlns:a16="http://schemas.microsoft.com/office/drawing/2014/main" id="{B4D90176-7041-4E8B-A6F0-945DCE8B034A}"/>
              </a:ext>
            </a:extLst>
          </p:cNvPr>
          <p:cNvSpPr/>
          <p:nvPr/>
        </p:nvSpPr>
        <p:spPr>
          <a:xfrm flipH="1">
            <a:off x="9813340" y="491985"/>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267A4252-9039-4955-9A2D-04F1DFC96CBA}"/>
              </a:ext>
            </a:extLst>
          </p:cNvPr>
          <p:cNvSpPr txBox="1"/>
          <p:nvPr/>
        </p:nvSpPr>
        <p:spPr>
          <a:xfrm>
            <a:off x="3798886" y="1925029"/>
            <a:ext cx="5179754" cy="646331"/>
          </a:xfrm>
          <a:prstGeom prst="rect">
            <a:avLst/>
          </a:prstGeom>
          <a:noFill/>
        </p:spPr>
        <p:txBody>
          <a:bodyPr wrap="square" rtlCol="0">
            <a:spAutoFit/>
          </a:bodyPr>
          <a:lstStyle/>
          <a:p>
            <a:pPr algn="ctr"/>
            <a:r>
              <a:rPr lang="en-US" sz="3600" dirty="0"/>
              <a:t>Sorting Waste Accordingly</a:t>
            </a:r>
          </a:p>
        </p:txBody>
      </p:sp>
    </p:spTree>
    <p:extLst>
      <p:ext uri="{BB962C8B-B14F-4D97-AF65-F5344CB8AC3E}">
        <p14:creationId xmlns:p14="http://schemas.microsoft.com/office/powerpoint/2010/main" val="2804416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repeatCount="2000" fill="hold" grpId="0" nodeType="clickEffect">
                                  <p:stCondLst>
                                    <p:cond delay="0"/>
                                  </p:stCondLst>
                                  <p:childTnLst>
                                    <p:animRot by="-21600000">
                                      <p:cBhvr>
                                        <p:cTn id="6" dur="5000" fill="hold"/>
                                        <p:tgtEl>
                                          <p:spTgt spid="27"/>
                                        </p:tgtEl>
                                        <p:attrNameLst>
                                          <p:attrName>r</p:attrName>
                                        </p:attrNameLst>
                                      </p:cBhvr>
                                    </p:animRot>
                                  </p:childTnLst>
                                </p:cTn>
                              </p:par>
                              <p:par>
                                <p:cTn id="7" presetID="8" presetClass="emph" presetSubtype="0" repeatCount="2000" fill="hold" grpId="0" nodeType="withEffect">
                                  <p:stCondLst>
                                    <p:cond delay="0"/>
                                  </p:stCondLst>
                                  <p:childTnLst>
                                    <p:animRot by="-21600000">
                                      <p:cBhvr>
                                        <p:cTn id="8" dur="5000" fill="hold"/>
                                        <p:tgtEl>
                                          <p:spTgt spid="28"/>
                                        </p:tgtEl>
                                        <p:attrNameLst>
                                          <p:attrName>r</p:attrName>
                                        </p:attrNameLst>
                                      </p:cBhvr>
                                    </p:animRot>
                                  </p:childTnLst>
                                </p:cTn>
                              </p:par>
                              <p:par>
                                <p:cTn id="9" presetID="8" presetClass="emph" presetSubtype="0" repeatCount="2000" fill="hold" grpId="0" nodeType="withEffect">
                                  <p:stCondLst>
                                    <p:cond delay="0"/>
                                  </p:stCondLst>
                                  <p:childTnLst>
                                    <p:animRot by="-21600000">
                                      <p:cBhvr>
                                        <p:cTn id="10" dur="5000" fill="hold"/>
                                        <p:tgtEl>
                                          <p:spTgt spid="29"/>
                                        </p:tgtEl>
                                        <p:attrNameLst>
                                          <p:attrName>r</p:attrName>
                                        </p:attrNameLst>
                                      </p:cBhvr>
                                    </p:animRot>
                                  </p:childTnLst>
                                </p:cTn>
                              </p:par>
                              <p:par>
                                <p:cTn id="11" presetID="8" presetClass="emph" presetSubtype="0" repeatCount="2000" fill="hold" grpId="0" nodeType="withEffect">
                                  <p:stCondLst>
                                    <p:cond delay="0"/>
                                  </p:stCondLst>
                                  <p:childTnLst>
                                    <p:animRot by="-21600000">
                                      <p:cBhvr>
                                        <p:cTn id="12" dur="5000" fill="hold"/>
                                        <p:tgtEl>
                                          <p:spTgt spid="30"/>
                                        </p:tgtEl>
                                        <p:attrNameLst>
                                          <p:attrName>r</p:attrName>
                                        </p:attrNameLst>
                                      </p:cBhvr>
                                    </p:animRot>
                                  </p:childTnLst>
                                </p:cTn>
                              </p:par>
                              <p:par>
                                <p:cTn id="13" presetID="8" presetClass="emph" presetSubtype="0" repeatCount="2000" fill="hold" grpId="0" nodeType="withEffect">
                                  <p:stCondLst>
                                    <p:cond delay="0"/>
                                  </p:stCondLst>
                                  <p:childTnLst>
                                    <p:animRot by="-21600000">
                                      <p:cBhvr>
                                        <p:cTn id="14" dur="5000" fill="hold"/>
                                        <p:tgtEl>
                                          <p:spTgt spid="32"/>
                                        </p:tgtEl>
                                        <p:attrNameLst>
                                          <p:attrName>r</p:attrName>
                                        </p:attrNameLst>
                                      </p:cBhvr>
                                    </p:animRot>
                                  </p:childTnLst>
                                </p:cTn>
                              </p:par>
                              <p:par>
                                <p:cTn id="15" presetID="42" presetClass="path" presetSubtype="0" accel="50000" decel="50000" fill="hold" nodeType="withEffect">
                                  <p:stCondLst>
                                    <p:cond delay="0"/>
                                  </p:stCondLst>
                                  <p:childTnLst>
                                    <p:animMotion origin="layout" path="M -4.375E-6 2.59259E-6 L -0.87955 0.00023 " pathEditMode="relative" rAng="0" ptsTypes="AA">
                                      <p:cBhvr>
                                        <p:cTn id="16" dur="2000" fill="hold"/>
                                        <p:tgtEl>
                                          <p:spTgt spid="33"/>
                                        </p:tgtEl>
                                        <p:attrNameLst>
                                          <p:attrName>ppt_x</p:attrName>
                                          <p:attrName>ppt_y</p:attrName>
                                        </p:attrNameLst>
                                      </p:cBhvr>
                                      <p:rCtr x="-43984" y="0"/>
                                    </p:animMotion>
                                  </p:childTnLst>
                                </p:cTn>
                              </p:par>
                              <p:par>
                                <p:cTn id="17" presetID="42" presetClass="path" presetSubtype="0" accel="50000" decel="50000" fill="hold" nodeType="withEffect">
                                  <p:stCondLst>
                                    <p:cond delay="0"/>
                                  </p:stCondLst>
                                  <p:childTnLst>
                                    <p:animMotion origin="layout" path="M 3.125E-6 -7.40741E-7 L -0.87956 0.00023 " pathEditMode="relative" rAng="0" ptsTypes="AA">
                                      <p:cBhvr>
                                        <p:cTn id="18" dur="2000" fill="hold"/>
                                        <p:tgtEl>
                                          <p:spTgt spid="34"/>
                                        </p:tgtEl>
                                        <p:attrNameLst>
                                          <p:attrName>ppt_x</p:attrName>
                                          <p:attrName>ppt_y</p:attrName>
                                        </p:attrNameLst>
                                      </p:cBhvr>
                                      <p:rCtr x="-4398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40A47F8C-F4B5-4DD3-9D22-946C324937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137476">
            <a:off x="5503864" y="3682853"/>
            <a:ext cx="1316225" cy="1314939"/>
          </a:xfrm>
          <a:prstGeom prst="rect">
            <a:avLst/>
          </a:prstGeom>
        </p:spPr>
      </p:pic>
      <p:sp>
        <p:nvSpPr>
          <p:cNvPr id="45" name="Freeform: Shape 44">
            <a:extLst>
              <a:ext uri="{FF2B5EF4-FFF2-40B4-BE49-F238E27FC236}">
                <a16:creationId xmlns:a16="http://schemas.microsoft.com/office/drawing/2014/main" id="{D2F32E8B-26D9-4FEB-9367-80ADC4D12FFA}"/>
              </a:ext>
            </a:extLst>
          </p:cNvPr>
          <p:cNvSpPr/>
          <p:nvPr/>
        </p:nvSpPr>
        <p:spPr>
          <a:xfrm rot="18444635">
            <a:off x="5334200" y="3583754"/>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45">
            <a:extLst>
              <a:ext uri="{FF2B5EF4-FFF2-40B4-BE49-F238E27FC236}">
                <a16:creationId xmlns:a16="http://schemas.microsoft.com/office/drawing/2014/main" id="{96873E38-9035-4C27-8929-8464EF047010}"/>
              </a:ext>
            </a:extLst>
          </p:cNvPr>
          <p:cNvSpPr/>
          <p:nvPr/>
        </p:nvSpPr>
        <p:spPr>
          <a:xfrm rot="3563490" flipH="1">
            <a:off x="5916903" y="3591340"/>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Terminator 20">
            <a:extLst>
              <a:ext uri="{FF2B5EF4-FFF2-40B4-BE49-F238E27FC236}">
                <a16:creationId xmlns:a16="http://schemas.microsoft.com/office/drawing/2014/main" id="{8E25A553-F6D1-4C34-A033-3DFFA492B380}"/>
              </a:ext>
            </a:extLst>
          </p:cNvPr>
          <p:cNvSpPr/>
          <p:nvPr/>
        </p:nvSpPr>
        <p:spPr>
          <a:xfrm>
            <a:off x="9785854" y="5900198"/>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owchart: Terminator 21">
            <a:extLst>
              <a:ext uri="{FF2B5EF4-FFF2-40B4-BE49-F238E27FC236}">
                <a16:creationId xmlns:a16="http://schemas.microsoft.com/office/drawing/2014/main" id="{E68EC004-C09D-45BC-A5B3-4AB8BEC0D9B6}"/>
              </a:ext>
            </a:extLst>
          </p:cNvPr>
          <p:cNvSpPr/>
          <p:nvPr/>
        </p:nvSpPr>
        <p:spPr>
          <a:xfrm>
            <a:off x="10122428" y="5982067"/>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lowchart: Terminator 22">
            <a:extLst>
              <a:ext uri="{FF2B5EF4-FFF2-40B4-BE49-F238E27FC236}">
                <a16:creationId xmlns:a16="http://schemas.microsoft.com/office/drawing/2014/main" id="{3561EE46-41FA-4C20-80B7-C4608BF19E43}"/>
              </a:ext>
            </a:extLst>
          </p:cNvPr>
          <p:cNvSpPr/>
          <p:nvPr/>
        </p:nvSpPr>
        <p:spPr>
          <a:xfrm>
            <a:off x="2201218" y="5900198"/>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lowchart: Terminator 23">
            <a:extLst>
              <a:ext uri="{FF2B5EF4-FFF2-40B4-BE49-F238E27FC236}">
                <a16:creationId xmlns:a16="http://schemas.microsoft.com/office/drawing/2014/main" id="{07919D29-A01F-4A30-836E-A815CB7AF069}"/>
              </a:ext>
            </a:extLst>
          </p:cNvPr>
          <p:cNvSpPr/>
          <p:nvPr/>
        </p:nvSpPr>
        <p:spPr>
          <a:xfrm>
            <a:off x="1872088" y="5982067"/>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Rounded Corners 24">
            <a:extLst>
              <a:ext uri="{FF2B5EF4-FFF2-40B4-BE49-F238E27FC236}">
                <a16:creationId xmlns:a16="http://schemas.microsoft.com/office/drawing/2014/main" id="{1EAC4D7C-803D-4C4B-ADD3-4F8C16A94B01}"/>
              </a:ext>
            </a:extLst>
          </p:cNvPr>
          <p:cNvSpPr/>
          <p:nvPr/>
        </p:nvSpPr>
        <p:spPr>
          <a:xfrm>
            <a:off x="0" y="4784034"/>
            <a:ext cx="12192000" cy="1431235"/>
          </a:xfrm>
          <a:prstGeom prst="roundRect">
            <a:avLst>
              <a:gd name="adj" fmla="val 50000"/>
            </a:avLst>
          </a:prstGeom>
          <a:solidFill>
            <a:schemeClr val="bg1">
              <a:lumMod val="65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C7059A3A-04BD-4B0C-BC9E-C0894E58DEB0}"/>
              </a:ext>
            </a:extLst>
          </p:cNvPr>
          <p:cNvSpPr/>
          <p:nvPr/>
        </p:nvSpPr>
        <p:spPr>
          <a:xfrm>
            <a:off x="1480277" y="5037405"/>
            <a:ext cx="9280487" cy="921841"/>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3F59DE6A-0F0C-4BD2-8BEC-10036B6A4D2F}"/>
              </a:ext>
            </a:extLst>
          </p:cNvPr>
          <p:cNvSpPr/>
          <p:nvPr/>
        </p:nvSpPr>
        <p:spPr>
          <a:xfrm>
            <a:off x="1489796"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F6CF0F00-C16C-4872-BF51-0952620952B1}"/>
              </a:ext>
            </a:extLst>
          </p:cNvPr>
          <p:cNvSpPr/>
          <p:nvPr/>
        </p:nvSpPr>
        <p:spPr>
          <a:xfrm>
            <a:off x="3646322"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9ECDAB52-AF9E-4A48-9041-3A48F197F89B}"/>
              </a:ext>
            </a:extLst>
          </p:cNvPr>
          <p:cNvSpPr/>
          <p:nvPr/>
        </p:nvSpPr>
        <p:spPr>
          <a:xfrm>
            <a:off x="5711406"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27A4EE08-F546-495D-8EA7-B08B4917AE7A}"/>
              </a:ext>
            </a:extLst>
          </p:cNvPr>
          <p:cNvSpPr/>
          <p:nvPr/>
        </p:nvSpPr>
        <p:spPr>
          <a:xfrm>
            <a:off x="7776490" y="50480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lowchart: Terminator 30">
            <a:extLst>
              <a:ext uri="{FF2B5EF4-FFF2-40B4-BE49-F238E27FC236}">
                <a16:creationId xmlns:a16="http://schemas.microsoft.com/office/drawing/2014/main" id="{961CFA03-96F3-438B-A322-846B48601D30}"/>
              </a:ext>
            </a:extLst>
          </p:cNvPr>
          <p:cNvSpPr/>
          <p:nvPr/>
        </p:nvSpPr>
        <p:spPr>
          <a:xfrm>
            <a:off x="2418298" y="6303156"/>
            <a:ext cx="7346138" cy="141605"/>
          </a:xfrm>
          <a:prstGeom prst="flowChartTerminator">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BBA37430-A877-4CDB-BA6D-53FDC86E9051}"/>
              </a:ext>
            </a:extLst>
          </p:cNvPr>
          <p:cNvSpPr/>
          <p:nvPr/>
        </p:nvSpPr>
        <p:spPr>
          <a:xfrm>
            <a:off x="9841572"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Rounded Corners 41">
            <a:extLst>
              <a:ext uri="{FF2B5EF4-FFF2-40B4-BE49-F238E27FC236}">
                <a16:creationId xmlns:a16="http://schemas.microsoft.com/office/drawing/2014/main" id="{956422CF-1E34-4E81-A60E-352DF331C175}"/>
              </a:ext>
            </a:extLst>
          </p:cNvPr>
          <p:cNvSpPr/>
          <p:nvPr/>
        </p:nvSpPr>
        <p:spPr>
          <a:xfrm>
            <a:off x="5965373" y="-590309"/>
            <a:ext cx="246888" cy="4443984"/>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946B948F-BECC-4D11-8FE0-E868BC3EE61F}"/>
              </a:ext>
            </a:extLst>
          </p:cNvPr>
          <p:cNvSpPr/>
          <p:nvPr/>
        </p:nvSpPr>
        <p:spPr>
          <a:xfrm>
            <a:off x="5496490" y="3064318"/>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a:extLst>
              <a:ext uri="{FF2B5EF4-FFF2-40B4-BE49-F238E27FC236}">
                <a16:creationId xmlns:a16="http://schemas.microsoft.com/office/drawing/2014/main" id="{3D1F1F27-A7DC-4F9F-B61E-E5D744B781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7866" y="3037054"/>
            <a:ext cx="2692304" cy="2258061"/>
          </a:xfrm>
          <a:prstGeom prst="rect">
            <a:avLst/>
          </a:prstGeom>
        </p:spPr>
      </p:pic>
      <p:sp>
        <p:nvSpPr>
          <p:cNvPr id="48" name="Rectangle 46">
            <a:extLst>
              <a:ext uri="{FF2B5EF4-FFF2-40B4-BE49-F238E27FC236}">
                <a16:creationId xmlns:a16="http://schemas.microsoft.com/office/drawing/2014/main" id="{93AABDAD-A492-4C55-A35B-6097576C264B}"/>
              </a:ext>
            </a:extLst>
          </p:cNvPr>
          <p:cNvSpPr/>
          <p:nvPr/>
        </p:nvSpPr>
        <p:spPr>
          <a:xfrm flipH="1">
            <a:off x="6186605" y="3068045"/>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E3DECDBF-BE1F-4EC7-874E-9F0A156306D8}"/>
              </a:ext>
            </a:extLst>
          </p:cNvPr>
          <p:cNvSpPr/>
          <p:nvPr/>
        </p:nvSpPr>
        <p:spPr>
          <a:xfrm rot="18444635">
            <a:off x="2199389" y="3504657"/>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Shape 33">
            <a:extLst>
              <a:ext uri="{FF2B5EF4-FFF2-40B4-BE49-F238E27FC236}">
                <a16:creationId xmlns:a16="http://schemas.microsoft.com/office/drawing/2014/main" id="{A960F893-3D1C-4B3D-8995-76896B77AAFF}"/>
              </a:ext>
            </a:extLst>
          </p:cNvPr>
          <p:cNvSpPr/>
          <p:nvPr/>
        </p:nvSpPr>
        <p:spPr>
          <a:xfrm rot="3563490" flipH="1">
            <a:off x="2782092" y="3512243"/>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6DF4E1A2-6B01-46F7-8140-67A9D6963EFD}"/>
              </a:ext>
            </a:extLst>
          </p:cNvPr>
          <p:cNvSpPr/>
          <p:nvPr/>
        </p:nvSpPr>
        <p:spPr>
          <a:xfrm>
            <a:off x="2830561" y="-590309"/>
            <a:ext cx="247650" cy="4440296"/>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46">
            <a:extLst>
              <a:ext uri="{FF2B5EF4-FFF2-40B4-BE49-F238E27FC236}">
                <a16:creationId xmlns:a16="http://schemas.microsoft.com/office/drawing/2014/main" id="{93B92FDB-7A5D-4CD2-A0C5-C200A14D9FB1}"/>
              </a:ext>
            </a:extLst>
          </p:cNvPr>
          <p:cNvSpPr/>
          <p:nvPr/>
        </p:nvSpPr>
        <p:spPr>
          <a:xfrm>
            <a:off x="2361679" y="2985221"/>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6">
            <a:extLst>
              <a:ext uri="{FF2B5EF4-FFF2-40B4-BE49-F238E27FC236}">
                <a16:creationId xmlns:a16="http://schemas.microsoft.com/office/drawing/2014/main" id="{FA9A3506-3D73-4D0E-91FA-8BAF58D7AD55}"/>
              </a:ext>
            </a:extLst>
          </p:cNvPr>
          <p:cNvSpPr/>
          <p:nvPr/>
        </p:nvSpPr>
        <p:spPr>
          <a:xfrm flipH="1">
            <a:off x="3051794" y="2988948"/>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Shape 54">
            <a:extLst>
              <a:ext uri="{FF2B5EF4-FFF2-40B4-BE49-F238E27FC236}">
                <a16:creationId xmlns:a16="http://schemas.microsoft.com/office/drawing/2014/main" id="{B0B3895E-36B9-46E1-91A0-A6FFFE27A12F}"/>
              </a:ext>
            </a:extLst>
          </p:cNvPr>
          <p:cNvSpPr/>
          <p:nvPr/>
        </p:nvSpPr>
        <p:spPr>
          <a:xfrm rot="18444635">
            <a:off x="8449722" y="3603045"/>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Shape 55">
            <a:extLst>
              <a:ext uri="{FF2B5EF4-FFF2-40B4-BE49-F238E27FC236}">
                <a16:creationId xmlns:a16="http://schemas.microsoft.com/office/drawing/2014/main" id="{8094894C-6792-4EDD-9400-E5A4C70207E8}"/>
              </a:ext>
            </a:extLst>
          </p:cNvPr>
          <p:cNvSpPr/>
          <p:nvPr/>
        </p:nvSpPr>
        <p:spPr>
          <a:xfrm rot="3563490" flipH="1">
            <a:off x="9032425" y="3610631"/>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Rounded Corners 56">
            <a:extLst>
              <a:ext uri="{FF2B5EF4-FFF2-40B4-BE49-F238E27FC236}">
                <a16:creationId xmlns:a16="http://schemas.microsoft.com/office/drawing/2014/main" id="{00B18B60-484C-4DF7-BAFA-4254F3C4DF12}"/>
              </a:ext>
            </a:extLst>
          </p:cNvPr>
          <p:cNvSpPr/>
          <p:nvPr/>
        </p:nvSpPr>
        <p:spPr>
          <a:xfrm>
            <a:off x="9080894" y="-577905"/>
            <a:ext cx="247650" cy="4443984"/>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46">
            <a:extLst>
              <a:ext uri="{FF2B5EF4-FFF2-40B4-BE49-F238E27FC236}">
                <a16:creationId xmlns:a16="http://schemas.microsoft.com/office/drawing/2014/main" id="{51B6ECB0-E8CD-4AA8-94B3-EA6B1E6E8D8B}"/>
              </a:ext>
            </a:extLst>
          </p:cNvPr>
          <p:cNvSpPr/>
          <p:nvPr/>
        </p:nvSpPr>
        <p:spPr>
          <a:xfrm>
            <a:off x="8612012" y="3083609"/>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46">
            <a:extLst>
              <a:ext uri="{FF2B5EF4-FFF2-40B4-BE49-F238E27FC236}">
                <a16:creationId xmlns:a16="http://schemas.microsoft.com/office/drawing/2014/main" id="{9CB9A3FA-A8BA-442F-9253-E4FA54AB6E6A}"/>
              </a:ext>
            </a:extLst>
          </p:cNvPr>
          <p:cNvSpPr/>
          <p:nvPr/>
        </p:nvSpPr>
        <p:spPr>
          <a:xfrm flipH="1">
            <a:off x="9302127" y="3087336"/>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24302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lowchart: Terminator 20">
            <a:extLst>
              <a:ext uri="{FF2B5EF4-FFF2-40B4-BE49-F238E27FC236}">
                <a16:creationId xmlns:a16="http://schemas.microsoft.com/office/drawing/2014/main" id="{8E25A553-F6D1-4C34-A033-3DFFA492B380}"/>
              </a:ext>
            </a:extLst>
          </p:cNvPr>
          <p:cNvSpPr/>
          <p:nvPr/>
        </p:nvSpPr>
        <p:spPr>
          <a:xfrm>
            <a:off x="9785854" y="5900198"/>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owchart: Terminator 21">
            <a:extLst>
              <a:ext uri="{FF2B5EF4-FFF2-40B4-BE49-F238E27FC236}">
                <a16:creationId xmlns:a16="http://schemas.microsoft.com/office/drawing/2014/main" id="{E68EC004-C09D-45BC-A5B3-4AB8BEC0D9B6}"/>
              </a:ext>
            </a:extLst>
          </p:cNvPr>
          <p:cNvSpPr/>
          <p:nvPr/>
        </p:nvSpPr>
        <p:spPr>
          <a:xfrm>
            <a:off x="10122428" y="5982067"/>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lowchart: Terminator 22">
            <a:extLst>
              <a:ext uri="{FF2B5EF4-FFF2-40B4-BE49-F238E27FC236}">
                <a16:creationId xmlns:a16="http://schemas.microsoft.com/office/drawing/2014/main" id="{3561EE46-41FA-4C20-80B7-C4608BF19E43}"/>
              </a:ext>
            </a:extLst>
          </p:cNvPr>
          <p:cNvSpPr/>
          <p:nvPr/>
        </p:nvSpPr>
        <p:spPr>
          <a:xfrm>
            <a:off x="2201218" y="5900198"/>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lowchart: Terminator 23">
            <a:extLst>
              <a:ext uri="{FF2B5EF4-FFF2-40B4-BE49-F238E27FC236}">
                <a16:creationId xmlns:a16="http://schemas.microsoft.com/office/drawing/2014/main" id="{07919D29-A01F-4A30-836E-A815CB7AF069}"/>
              </a:ext>
            </a:extLst>
          </p:cNvPr>
          <p:cNvSpPr/>
          <p:nvPr/>
        </p:nvSpPr>
        <p:spPr>
          <a:xfrm>
            <a:off x="1872088" y="5982067"/>
            <a:ext cx="139017" cy="506159"/>
          </a:xfrm>
          <a:prstGeom prst="flowChartTerminator">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Rounded Corners 24">
            <a:extLst>
              <a:ext uri="{FF2B5EF4-FFF2-40B4-BE49-F238E27FC236}">
                <a16:creationId xmlns:a16="http://schemas.microsoft.com/office/drawing/2014/main" id="{1EAC4D7C-803D-4C4B-ADD3-4F8C16A94B01}"/>
              </a:ext>
            </a:extLst>
          </p:cNvPr>
          <p:cNvSpPr/>
          <p:nvPr/>
        </p:nvSpPr>
        <p:spPr>
          <a:xfrm>
            <a:off x="0" y="4784034"/>
            <a:ext cx="12192000" cy="1431235"/>
          </a:xfrm>
          <a:prstGeom prst="roundRect">
            <a:avLst>
              <a:gd name="adj" fmla="val 50000"/>
            </a:avLst>
          </a:prstGeom>
          <a:solidFill>
            <a:schemeClr val="bg1">
              <a:lumMod val="65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C7059A3A-04BD-4B0C-BC9E-C0894E58DEB0}"/>
              </a:ext>
            </a:extLst>
          </p:cNvPr>
          <p:cNvSpPr/>
          <p:nvPr/>
        </p:nvSpPr>
        <p:spPr>
          <a:xfrm>
            <a:off x="1480277" y="5037405"/>
            <a:ext cx="9280487" cy="921841"/>
          </a:xfrm>
          <a:prstGeom prst="roundRect">
            <a:avLst>
              <a:gd name="adj" fmla="val 50000"/>
            </a:avLst>
          </a:prstGeom>
          <a:solidFill>
            <a:schemeClr val="bg1">
              <a:lumMod val="65000"/>
              <a:alpha val="2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3F59DE6A-0F0C-4BD2-8BEC-10036B6A4D2F}"/>
              </a:ext>
            </a:extLst>
          </p:cNvPr>
          <p:cNvSpPr/>
          <p:nvPr/>
        </p:nvSpPr>
        <p:spPr>
          <a:xfrm>
            <a:off x="1489796"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F6CF0F00-C16C-4872-BF51-0952620952B1}"/>
              </a:ext>
            </a:extLst>
          </p:cNvPr>
          <p:cNvSpPr/>
          <p:nvPr/>
        </p:nvSpPr>
        <p:spPr>
          <a:xfrm>
            <a:off x="3646322"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9ECDAB52-AF9E-4A48-9041-3A48F197F89B}"/>
              </a:ext>
            </a:extLst>
          </p:cNvPr>
          <p:cNvSpPr/>
          <p:nvPr/>
        </p:nvSpPr>
        <p:spPr>
          <a:xfrm>
            <a:off x="5711406"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27A4EE08-F546-495D-8EA7-B08B4917AE7A}"/>
              </a:ext>
            </a:extLst>
          </p:cNvPr>
          <p:cNvSpPr/>
          <p:nvPr/>
        </p:nvSpPr>
        <p:spPr>
          <a:xfrm>
            <a:off x="7776490" y="50480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lowchart: Terminator 30">
            <a:extLst>
              <a:ext uri="{FF2B5EF4-FFF2-40B4-BE49-F238E27FC236}">
                <a16:creationId xmlns:a16="http://schemas.microsoft.com/office/drawing/2014/main" id="{961CFA03-96F3-438B-A322-846B48601D30}"/>
              </a:ext>
            </a:extLst>
          </p:cNvPr>
          <p:cNvSpPr/>
          <p:nvPr/>
        </p:nvSpPr>
        <p:spPr>
          <a:xfrm>
            <a:off x="2418298" y="6303156"/>
            <a:ext cx="7346138" cy="141605"/>
          </a:xfrm>
          <a:prstGeom prst="flowChartTerminator">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BBA37430-A877-4CDB-BA6D-53FDC86E9051}"/>
              </a:ext>
            </a:extLst>
          </p:cNvPr>
          <p:cNvSpPr/>
          <p:nvPr/>
        </p:nvSpPr>
        <p:spPr>
          <a:xfrm>
            <a:off x="9841572" y="5037405"/>
            <a:ext cx="919192" cy="919191"/>
          </a:xfrm>
          <a:custGeom>
            <a:avLst/>
            <a:gdLst>
              <a:gd name="connsiteX0" fmla="*/ 459596 w 919192"/>
              <a:gd name="connsiteY0" fmla="*/ 325952 h 919191"/>
              <a:gd name="connsiteX1" fmla="*/ 593239 w 919192"/>
              <a:gd name="connsiteY1" fmla="*/ 459595 h 919191"/>
              <a:gd name="connsiteX2" fmla="*/ 459596 w 919192"/>
              <a:gd name="connsiteY2" fmla="*/ 593238 h 919191"/>
              <a:gd name="connsiteX3" fmla="*/ 325953 w 919192"/>
              <a:gd name="connsiteY3" fmla="*/ 459595 h 919191"/>
              <a:gd name="connsiteX4" fmla="*/ 459596 w 919192"/>
              <a:gd name="connsiteY4" fmla="*/ 325952 h 919191"/>
              <a:gd name="connsiteX5" fmla="*/ 459596 w 919192"/>
              <a:gd name="connsiteY5" fmla="*/ 248034 h 919191"/>
              <a:gd name="connsiteX6" fmla="*/ 248035 w 919192"/>
              <a:gd name="connsiteY6" fmla="*/ 459595 h 919191"/>
              <a:gd name="connsiteX7" fmla="*/ 459596 w 919192"/>
              <a:gd name="connsiteY7" fmla="*/ 671156 h 919191"/>
              <a:gd name="connsiteX8" fmla="*/ 671157 w 919192"/>
              <a:gd name="connsiteY8" fmla="*/ 459595 h 919191"/>
              <a:gd name="connsiteX9" fmla="*/ 459596 w 919192"/>
              <a:gd name="connsiteY9" fmla="*/ 248034 h 919191"/>
              <a:gd name="connsiteX10" fmla="*/ 400019 w 919192"/>
              <a:gd name="connsiteY10" fmla="*/ 0 h 919191"/>
              <a:gd name="connsiteX11" fmla="*/ 519173 w 919192"/>
              <a:gd name="connsiteY11" fmla="*/ 0 h 919191"/>
              <a:gd name="connsiteX12" fmla="*/ 519173 w 919192"/>
              <a:gd name="connsiteY12" fmla="*/ 88825 h 919191"/>
              <a:gd name="connsiteX13" fmla="*/ 534264 w 919192"/>
              <a:gd name="connsiteY13" fmla="*/ 90346 h 919191"/>
              <a:gd name="connsiteX14" fmla="*/ 593783 w 919192"/>
              <a:gd name="connsiteY14" fmla="*/ 108023 h 919191"/>
              <a:gd name="connsiteX15" fmla="*/ 637799 w 919192"/>
              <a:gd name="connsiteY15" fmla="*/ 31785 h 919191"/>
              <a:gd name="connsiteX16" fmla="*/ 740990 w 919192"/>
              <a:gd name="connsiteY16" fmla="*/ 91363 h 919191"/>
              <a:gd name="connsiteX17" fmla="*/ 696219 w 919192"/>
              <a:gd name="connsiteY17" fmla="*/ 168908 h 919191"/>
              <a:gd name="connsiteX18" fmla="*/ 702058 w 919192"/>
              <a:gd name="connsiteY18" fmla="*/ 173165 h 919191"/>
              <a:gd name="connsiteX19" fmla="*/ 749254 w 919192"/>
              <a:gd name="connsiteY19" fmla="*/ 223567 h 919191"/>
              <a:gd name="connsiteX20" fmla="*/ 827830 w 919192"/>
              <a:gd name="connsiteY20" fmla="*/ 178203 h 919191"/>
              <a:gd name="connsiteX21" fmla="*/ 887407 w 919192"/>
              <a:gd name="connsiteY21" fmla="*/ 281393 h 919191"/>
              <a:gd name="connsiteX22" fmla="*/ 806232 w 919192"/>
              <a:gd name="connsiteY22" fmla="*/ 328259 h 919191"/>
              <a:gd name="connsiteX23" fmla="*/ 821114 w 919192"/>
              <a:gd name="connsiteY23" fmla="*/ 371886 h 919191"/>
              <a:gd name="connsiteX24" fmla="*/ 824216 w 919192"/>
              <a:gd name="connsiteY24" fmla="*/ 400019 h 919191"/>
              <a:gd name="connsiteX25" fmla="*/ 919192 w 919192"/>
              <a:gd name="connsiteY25" fmla="*/ 400019 h 919191"/>
              <a:gd name="connsiteX26" fmla="*/ 919192 w 919192"/>
              <a:gd name="connsiteY26" fmla="*/ 519173 h 919191"/>
              <a:gd name="connsiteX27" fmla="*/ 824230 w 919192"/>
              <a:gd name="connsiteY27" fmla="*/ 519173 h 919191"/>
              <a:gd name="connsiteX28" fmla="*/ 807609 w 919192"/>
              <a:gd name="connsiteY28" fmla="*/ 580702 h 919191"/>
              <a:gd name="connsiteX29" fmla="*/ 803735 w 919192"/>
              <a:gd name="connsiteY29" fmla="*/ 589490 h 919191"/>
              <a:gd name="connsiteX30" fmla="*/ 887407 w 919192"/>
              <a:gd name="connsiteY30" fmla="*/ 637798 h 919191"/>
              <a:gd name="connsiteX31" fmla="*/ 827830 w 919192"/>
              <a:gd name="connsiteY31" fmla="*/ 740989 h 919191"/>
              <a:gd name="connsiteX32" fmla="*/ 740546 w 919192"/>
              <a:gd name="connsiteY32" fmla="*/ 690596 h 919191"/>
              <a:gd name="connsiteX33" fmla="*/ 702058 w 919192"/>
              <a:gd name="connsiteY33" fmla="*/ 733462 h 919191"/>
              <a:gd name="connsiteX34" fmla="*/ 691257 w 919192"/>
              <a:gd name="connsiteY34" fmla="*/ 741691 h 919191"/>
              <a:gd name="connsiteX35" fmla="*/ 740990 w 919192"/>
              <a:gd name="connsiteY35" fmla="*/ 827829 h 919191"/>
              <a:gd name="connsiteX36" fmla="*/ 637799 w 919192"/>
              <a:gd name="connsiteY36" fmla="*/ 887406 h 919191"/>
              <a:gd name="connsiteX37" fmla="*/ 587695 w 919192"/>
              <a:gd name="connsiteY37" fmla="*/ 800623 h 919191"/>
              <a:gd name="connsiteX38" fmla="*/ 580574 w 919192"/>
              <a:gd name="connsiteY38" fmla="*/ 803607 h 919191"/>
              <a:gd name="connsiteX39" fmla="*/ 534264 w 919192"/>
              <a:gd name="connsiteY39" fmla="*/ 816281 h 919191"/>
              <a:gd name="connsiteX40" fmla="*/ 519173 w 919192"/>
              <a:gd name="connsiteY40" fmla="*/ 817803 h 919191"/>
              <a:gd name="connsiteX41" fmla="*/ 519173 w 919192"/>
              <a:gd name="connsiteY41" fmla="*/ 919191 h 919191"/>
              <a:gd name="connsiteX42" fmla="*/ 400019 w 919192"/>
              <a:gd name="connsiteY42" fmla="*/ 919191 h 919191"/>
              <a:gd name="connsiteX43" fmla="*/ 400019 w 919192"/>
              <a:gd name="connsiteY43" fmla="*/ 817803 h 919191"/>
              <a:gd name="connsiteX44" fmla="*/ 384928 w 919192"/>
              <a:gd name="connsiteY44" fmla="*/ 816281 h 919191"/>
              <a:gd name="connsiteX45" fmla="*/ 331602 w 919192"/>
              <a:gd name="connsiteY45" fmla="*/ 800443 h 919191"/>
              <a:gd name="connsiteX46" fmla="*/ 281393 w 919192"/>
              <a:gd name="connsiteY46" fmla="*/ 887406 h 919191"/>
              <a:gd name="connsiteX47" fmla="*/ 178203 w 919192"/>
              <a:gd name="connsiteY47" fmla="*/ 827829 h 919191"/>
              <a:gd name="connsiteX48" fmla="*/ 228079 w 919192"/>
              <a:gd name="connsiteY48" fmla="*/ 741441 h 919191"/>
              <a:gd name="connsiteX49" fmla="*/ 217135 w 919192"/>
              <a:gd name="connsiteY49" fmla="*/ 733462 h 919191"/>
              <a:gd name="connsiteX50" fmla="*/ 177574 w 919192"/>
              <a:gd name="connsiteY50" fmla="*/ 691215 h 919191"/>
              <a:gd name="connsiteX51" fmla="*/ 91363 w 919192"/>
              <a:gd name="connsiteY51" fmla="*/ 740989 h 919191"/>
              <a:gd name="connsiteX52" fmla="*/ 31786 w 919192"/>
              <a:gd name="connsiteY52" fmla="*/ 637798 h 919191"/>
              <a:gd name="connsiteX53" fmla="*/ 116541 w 919192"/>
              <a:gd name="connsiteY53" fmla="*/ 588865 h 919191"/>
              <a:gd name="connsiteX54" fmla="*/ 98078 w 919192"/>
              <a:gd name="connsiteY54" fmla="*/ 534741 h 919191"/>
              <a:gd name="connsiteX55" fmla="*/ 96362 w 919192"/>
              <a:gd name="connsiteY55" fmla="*/ 519173 h 919191"/>
              <a:gd name="connsiteX56" fmla="*/ 0 w 919192"/>
              <a:gd name="connsiteY56" fmla="*/ 519173 h 919191"/>
              <a:gd name="connsiteX57" fmla="*/ 0 w 919192"/>
              <a:gd name="connsiteY57" fmla="*/ 400019 h 919191"/>
              <a:gd name="connsiteX58" fmla="*/ 93804 w 919192"/>
              <a:gd name="connsiteY58" fmla="*/ 400019 h 919191"/>
              <a:gd name="connsiteX59" fmla="*/ 94888 w 919192"/>
              <a:gd name="connsiteY59" fmla="*/ 387730 h 919191"/>
              <a:gd name="connsiteX60" fmla="*/ 108934 w 919192"/>
              <a:gd name="connsiteY60" fmla="*/ 333410 h 919191"/>
              <a:gd name="connsiteX61" fmla="*/ 111500 w 919192"/>
              <a:gd name="connsiteY61" fmla="*/ 327416 h 919191"/>
              <a:gd name="connsiteX62" fmla="*/ 31786 w 919192"/>
              <a:gd name="connsiteY62" fmla="*/ 281393 h 919191"/>
              <a:gd name="connsiteX63" fmla="*/ 91363 w 919192"/>
              <a:gd name="connsiteY63" fmla="*/ 178203 h 919191"/>
              <a:gd name="connsiteX64" fmla="*/ 169972 w 919192"/>
              <a:gd name="connsiteY64" fmla="*/ 223587 h 919191"/>
              <a:gd name="connsiteX65" fmla="*/ 194493 w 919192"/>
              <a:gd name="connsiteY65" fmla="*/ 194496 h 919191"/>
              <a:gd name="connsiteX66" fmla="*/ 223124 w 919192"/>
              <a:gd name="connsiteY66" fmla="*/ 169169 h 919191"/>
              <a:gd name="connsiteX67" fmla="*/ 178203 w 919192"/>
              <a:gd name="connsiteY67" fmla="*/ 91363 h 919191"/>
              <a:gd name="connsiteX68" fmla="*/ 281393 w 919192"/>
              <a:gd name="connsiteY68" fmla="*/ 31785 h 919191"/>
              <a:gd name="connsiteX69" fmla="*/ 325543 w 919192"/>
              <a:gd name="connsiteY69" fmla="*/ 108254 h 919191"/>
              <a:gd name="connsiteX70" fmla="*/ 331145 w 919192"/>
              <a:gd name="connsiteY70" fmla="*/ 105691 h 919191"/>
              <a:gd name="connsiteX71" fmla="*/ 384928 w 919192"/>
              <a:gd name="connsiteY71" fmla="*/ 90346 h 919191"/>
              <a:gd name="connsiteX72" fmla="*/ 400019 w 919192"/>
              <a:gd name="connsiteY72" fmla="*/ 88825 h 91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19192" h="919191">
                <a:moveTo>
                  <a:pt x="459596" y="325952"/>
                </a:moveTo>
                <a:cubicBezTo>
                  <a:pt x="533405" y="325952"/>
                  <a:pt x="593239" y="385786"/>
                  <a:pt x="593239" y="459595"/>
                </a:cubicBezTo>
                <a:cubicBezTo>
                  <a:pt x="593239" y="533404"/>
                  <a:pt x="533405" y="593238"/>
                  <a:pt x="459596" y="593238"/>
                </a:cubicBezTo>
                <a:cubicBezTo>
                  <a:pt x="385787" y="593238"/>
                  <a:pt x="325953" y="533404"/>
                  <a:pt x="325953" y="459595"/>
                </a:cubicBezTo>
                <a:cubicBezTo>
                  <a:pt x="325953" y="385786"/>
                  <a:pt x="385787" y="325952"/>
                  <a:pt x="459596" y="325952"/>
                </a:cubicBezTo>
                <a:close/>
                <a:moveTo>
                  <a:pt x="459596" y="248034"/>
                </a:moveTo>
                <a:cubicBezTo>
                  <a:pt x="342754" y="248034"/>
                  <a:pt x="248035" y="342753"/>
                  <a:pt x="248035" y="459595"/>
                </a:cubicBezTo>
                <a:cubicBezTo>
                  <a:pt x="248035" y="576437"/>
                  <a:pt x="342754" y="671156"/>
                  <a:pt x="459596" y="671156"/>
                </a:cubicBezTo>
                <a:cubicBezTo>
                  <a:pt x="576438" y="671156"/>
                  <a:pt x="671157" y="576437"/>
                  <a:pt x="671157" y="459595"/>
                </a:cubicBezTo>
                <a:cubicBezTo>
                  <a:pt x="671157" y="342753"/>
                  <a:pt x="576438" y="248034"/>
                  <a:pt x="459596" y="248034"/>
                </a:cubicBezTo>
                <a:close/>
                <a:moveTo>
                  <a:pt x="400019" y="0"/>
                </a:moveTo>
                <a:lnTo>
                  <a:pt x="519173" y="0"/>
                </a:lnTo>
                <a:lnTo>
                  <a:pt x="519173" y="88825"/>
                </a:lnTo>
                <a:lnTo>
                  <a:pt x="534264" y="90346"/>
                </a:lnTo>
                <a:lnTo>
                  <a:pt x="593783" y="108023"/>
                </a:lnTo>
                <a:lnTo>
                  <a:pt x="637799" y="31785"/>
                </a:lnTo>
                <a:lnTo>
                  <a:pt x="740990" y="91363"/>
                </a:lnTo>
                <a:lnTo>
                  <a:pt x="696219" y="168908"/>
                </a:lnTo>
                <a:lnTo>
                  <a:pt x="702058" y="173165"/>
                </a:lnTo>
                <a:lnTo>
                  <a:pt x="749254" y="223567"/>
                </a:lnTo>
                <a:lnTo>
                  <a:pt x="827830" y="178203"/>
                </a:lnTo>
                <a:lnTo>
                  <a:pt x="887407" y="281393"/>
                </a:lnTo>
                <a:lnTo>
                  <a:pt x="806232" y="328259"/>
                </a:lnTo>
                <a:lnTo>
                  <a:pt x="821114" y="371886"/>
                </a:lnTo>
                <a:lnTo>
                  <a:pt x="824216" y="400019"/>
                </a:lnTo>
                <a:lnTo>
                  <a:pt x="919192" y="400019"/>
                </a:lnTo>
                <a:lnTo>
                  <a:pt x="919192" y="519173"/>
                </a:lnTo>
                <a:lnTo>
                  <a:pt x="824230" y="519173"/>
                </a:lnTo>
                <a:lnTo>
                  <a:pt x="807609" y="580702"/>
                </a:lnTo>
                <a:lnTo>
                  <a:pt x="803735" y="589490"/>
                </a:lnTo>
                <a:lnTo>
                  <a:pt x="887407" y="637798"/>
                </a:lnTo>
                <a:lnTo>
                  <a:pt x="827830" y="740989"/>
                </a:lnTo>
                <a:lnTo>
                  <a:pt x="740546" y="690596"/>
                </a:lnTo>
                <a:lnTo>
                  <a:pt x="702058" y="733462"/>
                </a:lnTo>
                <a:lnTo>
                  <a:pt x="691257" y="741691"/>
                </a:lnTo>
                <a:lnTo>
                  <a:pt x="740990" y="827829"/>
                </a:lnTo>
                <a:lnTo>
                  <a:pt x="637799" y="887406"/>
                </a:lnTo>
                <a:lnTo>
                  <a:pt x="587695" y="800623"/>
                </a:lnTo>
                <a:lnTo>
                  <a:pt x="580574" y="803607"/>
                </a:lnTo>
                <a:cubicBezTo>
                  <a:pt x="565552" y="808794"/>
                  <a:pt x="550092" y="813042"/>
                  <a:pt x="534264" y="816281"/>
                </a:cubicBezTo>
                <a:lnTo>
                  <a:pt x="519173" y="817803"/>
                </a:lnTo>
                <a:lnTo>
                  <a:pt x="519173" y="919191"/>
                </a:lnTo>
                <a:lnTo>
                  <a:pt x="400019" y="919191"/>
                </a:lnTo>
                <a:lnTo>
                  <a:pt x="400019" y="817803"/>
                </a:lnTo>
                <a:lnTo>
                  <a:pt x="384928" y="816281"/>
                </a:lnTo>
                <a:lnTo>
                  <a:pt x="331602" y="800443"/>
                </a:lnTo>
                <a:lnTo>
                  <a:pt x="281393" y="887406"/>
                </a:lnTo>
                <a:lnTo>
                  <a:pt x="178203" y="827829"/>
                </a:lnTo>
                <a:lnTo>
                  <a:pt x="228079" y="741441"/>
                </a:lnTo>
                <a:lnTo>
                  <a:pt x="217135" y="733462"/>
                </a:lnTo>
                <a:lnTo>
                  <a:pt x="177574" y="691215"/>
                </a:lnTo>
                <a:lnTo>
                  <a:pt x="91363" y="740989"/>
                </a:lnTo>
                <a:lnTo>
                  <a:pt x="31786" y="637798"/>
                </a:lnTo>
                <a:lnTo>
                  <a:pt x="116541" y="588865"/>
                </a:lnTo>
                <a:lnTo>
                  <a:pt x="98078" y="534741"/>
                </a:lnTo>
                <a:lnTo>
                  <a:pt x="96362" y="519173"/>
                </a:lnTo>
                <a:lnTo>
                  <a:pt x="0" y="519173"/>
                </a:lnTo>
                <a:lnTo>
                  <a:pt x="0" y="400019"/>
                </a:lnTo>
                <a:lnTo>
                  <a:pt x="93804" y="400019"/>
                </a:lnTo>
                <a:lnTo>
                  <a:pt x="94888" y="387730"/>
                </a:lnTo>
                <a:cubicBezTo>
                  <a:pt x="98215" y="369104"/>
                  <a:pt x="102934" y="350960"/>
                  <a:pt x="108934" y="333410"/>
                </a:cubicBezTo>
                <a:lnTo>
                  <a:pt x="111500" y="327416"/>
                </a:lnTo>
                <a:lnTo>
                  <a:pt x="31786" y="281393"/>
                </a:lnTo>
                <a:lnTo>
                  <a:pt x="91363" y="178203"/>
                </a:lnTo>
                <a:lnTo>
                  <a:pt x="169972" y="223587"/>
                </a:lnTo>
                <a:lnTo>
                  <a:pt x="194493" y="194496"/>
                </a:lnTo>
                <a:lnTo>
                  <a:pt x="223124" y="169169"/>
                </a:lnTo>
                <a:lnTo>
                  <a:pt x="178203" y="91363"/>
                </a:lnTo>
                <a:lnTo>
                  <a:pt x="281393" y="31785"/>
                </a:lnTo>
                <a:lnTo>
                  <a:pt x="325543" y="108254"/>
                </a:lnTo>
                <a:lnTo>
                  <a:pt x="331145" y="105691"/>
                </a:lnTo>
                <a:cubicBezTo>
                  <a:pt x="348498" y="99277"/>
                  <a:pt x="366463" y="94125"/>
                  <a:pt x="384928" y="90346"/>
                </a:cubicBezTo>
                <a:lnTo>
                  <a:pt x="400019" y="88825"/>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3" name="Picture 32">
            <a:extLst>
              <a:ext uri="{FF2B5EF4-FFF2-40B4-BE49-F238E27FC236}">
                <a16:creationId xmlns:a16="http://schemas.microsoft.com/office/drawing/2014/main" id="{71199E27-EC61-4D85-A60E-7F471CBCF43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137476">
            <a:off x="5503864" y="-2127639"/>
            <a:ext cx="1316225" cy="1314939"/>
          </a:xfrm>
          <a:prstGeom prst="rect">
            <a:avLst/>
          </a:prstGeom>
        </p:spPr>
      </p:pic>
      <p:sp>
        <p:nvSpPr>
          <p:cNvPr id="34" name="Freeform: Shape 33">
            <a:extLst>
              <a:ext uri="{FF2B5EF4-FFF2-40B4-BE49-F238E27FC236}">
                <a16:creationId xmlns:a16="http://schemas.microsoft.com/office/drawing/2014/main" id="{E4F8E311-0F8D-43C2-B9EB-B17A89984162}"/>
              </a:ext>
            </a:extLst>
          </p:cNvPr>
          <p:cNvSpPr/>
          <p:nvPr/>
        </p:nvSpPr>
        <p:spPr>
          <a:xfrm rot="18444635">
            <a:off x="5334200" y="-2226738"/>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Shape 34">
            <a:extLst>
              <a:ext uri="{FF2B5EF4-FFF2-40B4-BE49-F238E27FC236}">
                <a16:creationId xmlns:a16="http://schemas.microsoft.com/office/drawing/2014/main" id="{77B14EF8-5BAC-4554-9E8F-3F282878FA7A}"/>
              </a:ext>
            </a:extLst>
          </p:cNvPr>
          <p:cNvSpPr/>
          <p:nvPr/>
        </p:nvSpPr>
        <p:spPr>
          <a:xfrm rot="3563490" flipH="1">
            <a:off x="5916903" y="-2219152"/>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B8AAE802-22D8-4C12-8196-AAD0E9BB93D4}"/>
              </a:ext>
            </a:extLst>
          </p:cNvPr>
          <p:cNvSpPr/>
          <p:nvPr/>
        </p:nvSpPr>
        <p:spPr>
          <a:xfrm>
            <a:off x="5965373" y="-6400801"/>
            <a:ext cx="246888" cy="4443984"/>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6">
            <a:extLst>
              <a:ext uri="{FF2B5EF4-FFF2-40B4-BE49-F238E27FC236}">
                <a16:creationId xmlns:a16="http://schemas.microsoft.com/office/drawing/2014/main" id="{E2748910-D13B-479E-9947-D1450D423A9E}"/>
              </a:ext>
            </a:extLst>
          </p:cNvPr>
          <p:cNvSpPr/>
          <p:nvPr/>
        </p:nvSpPr>
        <p:spPr>
          <a:xfrm>
            <a:off x="5496490" y="-2746174"/>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C5D4EB2E-C868-44D6-95EE-765F4AFA40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7866" y="-2773438"/>
            <a:ext cx="2692304" cy="2258061"/>
          </a:xfrm>
          <a:prstGeom prst="rect">
            <a:avLst/>
          </a:prstGeom>
        </p:spPr>
      </p:pic>
      <p:sp>
        <p:nvSpPr>
          <p:cNvPr id="49" name="Rectangle 46">
            <a:extLst>
              <a:ext uri="{FF2B5EF4-FFF2-40B4-BE49-F238E27FC236}">
                <a16:creationId xmlns:a16="http://schemas.microsoft.com/office/drawing/2014/main" id="{E09BB25B-1FE4-47F6-B183-CE7C296F7B20}"/>
              </a:ext>
            </a:extLst>
          </p:cNvPr>
          <p:cNvSpPr/>
          <p:nvPr/>
        </p:nvSpPr>
        <p:spPr>
          <a:xfrm flipH="1">
            <a:off x="6186605" y="-2742447"/>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Shape 49">
            <a:extLst>
              <a:ext uri="{FF2B5EF4-FFF2-40B4-BE49-F238E27FC236}">
                <a16:creationId xmlns:a16="http://schemas.microsoft.com/office/drawing/2014/main" id="{919A056C-2025-4F3B-B9F0-047781C1F04F}"/>
              </a:ext>
            </a:extLst>
          </p:cNvPr>
          <p:cNvSpPr/>
          <p:nvPr/>
        </p:nvSpPr>
        <p:spPr>
          <a:xfrm rot="18444635">
            <a:off x="2199389" y="-2305835"/>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eform: Shape 50">
            <a:extLst>
              <a:ext uri="{FF2B5EF4-FFF2-40B4-BE49-F238E27FC236}">
                <a16:creationId xmlns:a16="http://schemas.microsoft.com/office/drawing/2014/main" id="{0189138C-1E02-465A-B587-D50DC2BF9BDD}"/>
              </a:ext>
            </a:extLst>
          </p:cNvPr>
          <p:cNvSpPr/>
          <p:nvPr/>
        </p:nvSpPr>
        <p:spPr>
          <a:xfrm rot="3563490" flipH="1">
            <a:off x="2782092" y="-2298249"/>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B2CC8FD1-3116-4D06-BAC7-2C0B2F808194}"/>
              </a:ext>
            </a:extLst>
          </p:cNvPr>
          <p:cNvSpPr/>
          <p:nvPr/>
        </p:nvSpPr>
        <p:spPr>
          <a:xfrm>
            <a:off x="2830561" y="-6400801"/>
            <a:ext cx="247650" cy="4440296"/>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46">
            <a:extLst>
              <a:ext uri="{FF2B5EF4-FFF2-40B4-BE49-F238E27FC236}">
                <a16:creationId xmlns:a16="http://schemas.microsoft.com/office/drawing/2014/main" id="{088A8B98-7A61-4994-B979-BBB0B1864F31}"/>
              </a:ext>
            </a:extLst>
          </p:cNvPr>
          <p:cNvSpPr/>
          <p:nvPr/>
        </p:nvSpPr>
        <p:spPr>
          <a:xfrm>
            <a:off x="2361679" y="-2825271"/>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46">
            <a:extLst>
              <a:ext uri="{FF2B5EF4-FFF2-40B4-BE49-F238E27FC236}">
                <a16:creationId xmlns:a16="http://schemas.microsoft.com/office/drawing/2014/main" id="{B84FA09D-69AD-461C-8320-359F9DA43DAE}"/>
              </a:ext>
            </a:extLst>
          </p:cNvPr>
          <p:cNvSpPr/>
          <p:nvPr/>
        </p:nvSpPr>
        <p:spPr>
          <a:xfrm flipH="1">
            <a:off x="3051794" y="-2821544"/>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Shape 54">
            <a:extLst>
              <a:ext uri="{FF2B5EF4-FFF2-40B4-BE49-F238E27FC236}">
                <a16:creationId xmlns:a16="http://schemas.microsoft.com/office/drawing/2014/main" id="{16BC749A-D6BA-4333-B021-F0F2F60562F8}"/>
              </a:ext>
            </a:extLst>
          </p:cNvPr>
          <p:cNvSpPr/>
          <p:nvPr/>
        </p:nvSpPr>
        <p:spPr>
          <a:xfrm rot="18444635">
            <a:off x="8449722" y="-2127195"/>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Shape 55">
            <a:extLst>
              <a:ext uri="{FF2B5EF4-FFF2-40B4-BE49-F238E27FC236}">
                <a16:creationId xmlns:a16="http://schemas.microsoft.com/office/drawing/2014/main" id="{5EEC8C07-8B71-4623-8D27-CE1D3AED0079}"/>
              </a:ext>
            </a:extLst>
          </p:cNvPr>
          <p:cNvSpPr/>
          <p:nvPr/>
        </p:nvSpPr>
        <p:spPr>
          <a:xfrm rot="3563490" flipH="1">
            <a:off x="9032425" y="-2119609"/>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Rounded Corners 56">
            <a:extLst>
              <a:ext uri="{FF2B5EF4-FFF2-40B4-BE49-F238E27FC236}">
                <a16:creationId xmlns:a16="http://schemas.microsoft.com/office/drawing/2014/main" id="{C2304399-65C6-4613-A586-241C38F42D09}"/>
              </a:ext>
            </a:extLst>
          </p:cNvPr>
          <p:cNvSpPr/>
          <p:nvPr/>
        </p:nvSpPr>
        <p:spPr>
          <a:xfrm>
            <a:off x="9080894" y="-6308145"/>
            <a:ext cx="247650" cy="4443984"/>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46">
            <a:extLst>
              <a:ext uri="{FF2B5EF4-FFF2-40B4-BE49-F238E27FC236}">
                <a16:creationId xmlns:a16="http://schemas.microsoft.com/office/drawing/2014/main" id="{F05D98A7-1611-4F16-B24D-A4E724944662}"/>
              </a:ext>
            </a:extLst>
          </p:cNvPr>
          <p:cNvSpPr/>
          <p:nvPr/>
        </p:nvSpPr>
        <p:spPr>
          <a:xfrm>
            <a:off x="8612012" y="-2646631"/>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46">
            <a:extLst>
              <a:ext uri="{FF2B5EF4-FFF2-40B4-BE49-F238E27FC236}">
                <a16:creationId xmlns:a16="http://schemas.microsoft.com/office/drawing/2014/main" id="{3385EF08-F65E-43D4-83BD-AE422FFED676}"/>
              </a:ext>
            </a:extLst>
          </p:cNvPr>
          <p:cNvSpPr/>
          <p:nvPr/>
        </p:nvSpPr>
        <p:spPr>
          <a:xfrm flipH="1">
            <a:off x="9302127" y="-2642904"/>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65733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A45C91B-A01E-4F79-962C-FC7A0B994F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7866" y="3078722"/>
            <a:ext cx="2692304" cy="2258061"/>
          </a:xfrm>
          <a:prstGeom prst="rect">
            <a:avLst/>
          </a:prstGeom>
        </p:spPr>
      </p:pic>
      <p:sp>
        <p:nvSpPr>
          <p:cNvPr id="20" name="Freeform: Shape 19">
            <a:extLst>
              <a:ext uri="{FF2B5EF4-FFF2-40B4-BE49-F238E27FC236}">
                <a16:creationId xmlns:a16="http://schemas.microsoft.com/office/drawing/2014/main" id="{C89D64A7-0EC8-409E-90C9-C06870002C0E}"/>
              </a:ext>
            </a:extLst>
          </p:cNvPr>
          <p:cNvSpPr/>
          <p:nvPr/>
        </p:nvSpPr>
        <p:spPr>
          <a:xfrm rot="18444635">
            <a:off x="2199389" y="3546325"/>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E4974D43-3555-40D6-A3EC-6425982DDB18}"/>
              </a:ext>
            </a:extLst>
          </p:cNvPr>
          <p:cNvSpPr/>
          <p:nvPr/>
        </p:nvSpPr>
        <p:spPr>
          <a:xfrm rot="3563490" flipH="1">
            <a:off x="2782092" y="3553911"/>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07CDD3B-312F-49C2-9D84-B4F9126A8754}"/>
              </a:ext>
            </a:extLst>
          </p:cNvPr>
          <p:cNvSpPr/>
          <p:nvPr/>
        </p:nvSpPr>
        <p:spPr>
          <a:xfrm>
            <a:off x="2830561" y="-487681"/>
            <a:ext cx="247650" cy="4440296"/>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46">
            <a:extLst>
              <a:ext uri="{FF2B5EF4-FFF2-40B4-BE49-F238E27FC236}">
                <a16:creationId xmlns:a16="http://schemas.microsoft.com/office/drawing/2014/main" id="{5EE1BF04-1C93-47CC-87CB-E33241FE1D17}"/>
              </a:ext>
            </a:extLst>
          </p:cNvPr>
          <p:cNvSpPr/>
          <p:nvPr/>
        </p:nvSpPr>
        <p:spPr>
          <a:xfrm>
            <a:off x="2361679" y="3026889"/>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2C4880CD-2312-4404-811E-E7FD75A9FA6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137476">
            <a:off x="5503864" y="3602601"/>
            <a:ext cx="1316225" cy="1314939"/>
          </a:xfrm>
          <a:prstGeom prst="rect">
            <a:avLst/>
          </a:prstGeom>
        </p:spPr>
      </p:pic>
      <p:sp>
        <p:nvSpPr>
          <p:cNvPr id="26" name="Freeform: Shape 25">
            <a:extLst>
              <a:ext uri="{FF2B5EF4-FFF2-40B4-BE49-F238E27FC236}">
                <a16:creationId xmlns:a16="http://schemas.microsoft.com/office/drawing/2014/main" id="{50BFF209-17C1-4BF0-8972-6CF6A5776D97}"/>
              </a:ext>
            </a:extLst>
          </p:cNvPr>
          <p:cNvSpPr/>
          <p:nvPr/>
        </p:nvSpPr>
        <p:spPr>
          <a:xfrm rot="18444635">
            <a:off x="5334200" y="3503502"/>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B2CA9ECA-0680-4FE5-B40B-CDC1670F124A}"/>
              </a:ext>
            </a:extLst>
          </p:cNvPr>
          <p:cNvSpPr/>
          <p:nvPr/>
        </p:nvSpPr>
        <p:spPr>
          <a:xfrm rot="3563490" flipH="1">
            <a:off x="5916903" y="3511088"/>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B112401A-51DA-4DFF-A73B-6C45C236E761}"/>
              </a:ext>
            </a:extLst>
          </p:cNvPr>
          <p:cNvSpPr/>
          <p:nvPr/>
        </p:nvSpPr>
        <p:spPr>
          <a:xfrm>
            <a:off x="5965373" y="-670561"/>
            <a:ext cx="246888" cy="4443984"/>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46">
            <a:extLst>
              <a:ext uri="{FF2B5EF4-FFF2-40B4-BE49-F238E27FC236}">
                <a16:creationId xmlns:a16="http://schemas.microsoft.com/office/drawing/2014/main" id="{D4B50432-0140-4967-93A6-E1233A5CB877}"/>
              </a:ext>
            </a:extLst>
          </p:cNvPr>
          <p:cNvSpPr/>
          <p:nvPr/>
        </p:nvSpPr>
        <p:spPr>
          <a:xfrm>
            <a:off x="5496490" y="2984066"/>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46">
            <a:extLst>
              <a:ext uri="{FF2B5EF4-FFF2-40B4-BE49-F238E27FC236}">
                <a16:creationId xmlns:a16="http://schemas.microsoft.com/office/drawing/2014/main" id="{E471BB55-877C-4324-A045-6D64E78AFE2F}"/>
              </a:ext>
            </a:extLst>
          </p:cNvPr>
          <p:cNvSpPr/>
          <p:nvPr/>
        </p:nvSpPr>
        <p:spPr>
          <a:xfrm flipH="1">
            <a:off x="6186605" y="2987793"/>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46">
            <a:extLst>
              <a:ext uri="{FF2B5EF4-FFF2-40B4-BE49-F238E27FC236}">
                <a16:creationId xmlns:a16="http://schemas.microsoft.com/office/drawing/2014/main" id="{FD183A9F-3B9B-4F35-B62B-FACEE5E34E71}"/>
              </a:ext>
            </a:extLst>
          </p:cNvPr>
          <p:cNvSpPr/>
          <p:nvPr/>
        </p:nvSpPr>
        <p:spPr>
          <a:xfrm flipH="1">
            <a:off x="3051794" y="3030616"/>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CE04FE2-EDF0-43B6-BF29-DFE8DD9D96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84996" y="2578068"/>
            <a:ext cx="2981026" cy="3699739"/>
          </a:xfrm>
          <a:prstGeom prst="rect">
            <a:avLst/>
          </a:prstGeom>
        </p:spPr>
      </p:pic>
      <p:sp>
        <p:nvSpPr>
          <p:cNvPr id="31" name="Freeform: Shape 30">
            <a:extLst>
              <a:ext uri="{FF2B5EF4-FFF2-40B4-BE49-F238E27FC236}">
                <a16:creationId xmlns:a16="http://schemas.microsoft.com/office/drawing/2014/main" id="{1BA735F7-5D09-4B6B-A1D8-2501A030D355}"/>
              </a:ext>
            </a:extLst>
          </p:cNvPr>
          <p:cNvSpPr/>
          <p:nvPr/>
        </p:nvSpPr>
        <p:spPr>
          <a:xfrm rot="18444635">
            <a:off x="8449722" y="3542085"/>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EC6AD7FA-C336-4ED1-9B60-1A70D687B3D1}"/>
              </a:ext>
            </a:extLst>
          </p:cNvPr>
          <p:cNvSpPr/>
          <p:nvPr/>
        </p:nvSpPr>
        <p:spPr>
          <a:xfrm rot="3563490" flipH="1">
            <a:off x="9032425" y="3549671"/>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C40597E1-BE56-4363-81E6-245FD5BA079F}"/>
              </a:ext>
            </a:extLst>
          </p:cNvPr>
          <p:cNvSpPr/>
          <p:nvPr/>
        </p:nvSpPr>
        <p:spPr>
          <a:xfrm>
            <a:off x="9080894" y="-638865"/>
            <a:ext cx="247650" cy="4443984"/>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46">
            <a:extLst>
              <a:ext uri="{FF2B5EF4-FFF2-40B4-BE49-F238E27FC236}">
                <a16:creationId xmlns:a16="http://schemas.microsoft.com/office/drawing/2014/main" id="{1A08A5D3-227F-4BA7-BC20-5398A241263C}"/>
              </a:ext>
            </a:extLst>
          </p:cNvPr>
          <p:cNvSpPr/>
          <p:nvPr/>
        </p:nvSpPr>
        <p:spPr>
          <a:xfrm>
            <a:off x="8612012" y="3022649"/>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46">
            <a:extLst>
              <a:ext uri="{FF2B5EF4-FFF2-40B4-BE49-F238E27FC236}">
                <a16:creationId xmlns:a16="http://schemas.microsoft.com/office/drawing/2014/main" id="{326F502F-5F12-46C1-BC20-F85A11442CCC}"/>
              </a:ext>
            </a:extLst>
          </p:cNvPr>
          <p:cNvSpPr/>
          <p:nvPr/>
        </p:nvSpPr>
        <p:spPr>
          <a:xfrm flipH="1">
            <a:off x="9302127" y="3026376"/>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E16F02C-A7A5-4D75-94E0-B8EB24E66B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7784" y="2568419"/>
            <a:ext cx="2981026" cy="3699739"/>
          </a:xfrm>
          <a:prstGeom prst="rect">
            <a:avLst/>
          </a:prstGeom>
        </p:spPr>
      </p:pic>
      <p:pic>
        <p:nvPicPr>
          <p:cNvPr id="6" name="Picture 5">
            <a:extLst>
              <a:ext uri="{FF2B5EF4-FFF2-40B4-BE49-F238E27FC236}">
                <a16:creationId xmlns:a16="http://schemas.microsoft.com/office/drawing/2014/main" id="{A1644DC9-72E9-4EF1-A681-E97CC3395C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2622" y="2581927"/>
            <a:ext cx="2981026" cy="3699739"/>
          </a:xfrm>
          <a:prstGeom prst="rect">
            <a:avLst/>
          </a:prstGeom>
        </p:spPr>
      </p:pic>
      <p:sp>
        <p:nvSpPr>
          <p:cNvPr id="36" name="TextBox 35">
            <a:extLst>
              <a:ext uri="{FF2B5EF4-FFF2-40B4-BE49-F238E27FC236}">
                <a16:creationId xmlns:a16="http://schemas.microsoft.com/office/drawing/2014/main" id="{9F354AA6-E15F-4125-A781-5B65F661C527}"/>
              </a:ext>
            </a:extLst>
          </p:cNvPr>
          <p:cNvSpPr txBox="1"/>
          <p:nvPr/>
        </p:nvSpPr>
        <p:spPr>
          <a:xfrm>
            <a:off x="1690618" y="6234438"/>
            <a:ext cx="2122794" cy="584775"/>
          </a:xfrm>
          <a:prstGeom prst="rect">
            <a:avLst/>
          </a:prstGeom>
          <a:noFill/>
        </p:spPr>
        <p:txBody>
          <a:bodyPr wrap="square" rtlCol="0">
            <a:spAutoFit/>
          </a:bodyPr>
          <a:lstStyle/>
          <a:p>
            <a:pPr algn="ctr"/>
            <a:r>
              <a:rPr lang="en-US" sz="3200" dirty="0"/>
              <a:t>Concrete</a:t>
            </a:r>
          </a:p>
        </p:txBody>
      </p:sp>
      <p:sp>
        <p:nvSpPr>
          <p:cNvPr id="37" name="TextBox 36">
            <a:extLst>
              <a:ext uri="{FF2B5EF4-FFF2-40B4-BE49-F238E27FC236}">
                <a16:creationId xmlns:a16="http://schemas.microsoft.com/office/drawing/2014/main" id="{59D1E14B-0B11-4E37-927B-7125FE888023}"/>
              </a:ext>
            </a:extLst>
          </p:cNvPr>
          <p:cNvSpPr txBox="1"/>
          <p:nvPr/>
        </p:nvSpPr>
        <p:spPr>
          <a:xfrm>
            <a:off x="4849226" y="6234438"/>
            <a:ext cx="2122794" cy="584775"/>
          </a:xfrm>
          <a:prstGeom prst="rect">
            <a:avLst/>
          </a:prstGeom>
          <a:noFill/>
        </p:spPr>
        <p:txBody>
          <a:bodyPr wrap="square" rtlCol="0">
            <a:spAutoFit/>
          </a:bodyPr>
          <a:lstStyle/>
          <a:p>
            <a:pPr algn="ctr"/>
            <a:r>
              <a:rPr lang="en-US" sz="3200" dirty="0"/>
              <a:t>Bricks</a:t>
            </a:r>
          </a:p>
        </p:txBody>
      </p:sp>
      <p:sp>
        <p:nvSpPr>
          <p:cNvPr id="38" name="TextBox 37">
            <a:extLst>
              <a:ext uri="{FF2B5EF4-FFF2-40B4-BE49-F238E27FC236}">
                <a16:creationId xmlns:a16="http://schemas.microsoft.com/office/drawing/2014/main" id="{9BE8FAF5-674A-48AE-A294-CCD74A016A7E}"/>
              </a:ext>
            </a:extLst>
          </p:cNvPr>
          <p:cNvSpPr txBox="1"/>
          <p:nvPr/>
        </p:nvSpPr>
        <p:spPr>
          <a:xfrm>
            <a:off x="8072486" y="6234438"/>
            <a:ext cx="2122794" cy="584775"/>
          </a:xfrm>
          <a:prstGeom prst="rect">
            <a:avLst/>
          </a:prstGeom>
          <a:noFill/>
        </p:spPr>
        <p:txBody>
          <a:bodyPr wrap="square" rtlCol="0">
            <a:spAutoFit/>
          </a:bodyPr>
          <a:lstStyle/>
          <a:p>
            <a:pPr algn="ctr"/>
            <a:r>
              <a:rPr lang="en-US" sz="3200" dirty="0"/>
              <a:t>Metals</a:t>
            </a:r>
          </a:p>
        </p:txBody>
      </p:sp>
    </p:spTree>
    <p:extLst>
      <p:ext uri="{BB962C8B-B14F-4D97-AF65-F5344CB8AC3E}">
        <p14:creationId xmlns:p14="http://schemas.microsoft.com/office/powerpoint/2010/main" val="6839949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095A9E4-E43A-42C6-9256-9DFBA5BA56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137476">
            <a:off x="5503864" y="3663561"/>
            <a:ext cx="1316225" cy="1314939"/>
          </a:xfrm>
          <a:prstGeom prst="rect">
            <a:avLst/>
          </a:prstGeom>
        </p:spPr>
      </p:pic>
      <p:sp>
        <p:nvSpPr>
          <p:cNvPr id="8" name="Freeform: Shape 7">
            <a:extLst>
              <a:ext uri="{FF2B5EF4-FFF2-40B4-BE49-F238E27FC236}">
                <a16:creationId xmlns:a16="http://schemas.microsoft.com/office/drawing/2014/main" id="{9D40471D-4491-4C4B-9BB0-0C7AF213B486}"/>
              </a:ext>
            </a:extLst>
          </p:cNvPr>
          <p:cNvSpPr/>
          <p:nvPr/>
        </p:nvSpPr>
        <p:spPr>
          <a:xfrm rot="18444635">
            <a:off x="5390067" y="-1565074"/>
            <a:ext cx="746508" cy="560476"/>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AEEDCF99-6B1B-4ACC-AFB6-9D1CF7A5F2E3}"/>
              </a:ext>
            </a:extLst>
          </p:cNvPr>
          <p:cNvSpPr/>
          <p:nvPr/>
        </p:nvSpPr>
        <p:spPr>
          <a:xfrm rot="3563490" flipH="1">
            <a:off x="5916903" y="-1579072"/>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B2766E14-FF4D-4D36-8931-25E1C7E82328}"/>
              </a:ext>
            </a:extLst>
          </p:cNvPr>
          <p:cNvSpPr/>
          <p:nvPr/>
        </p:nvSpPr>
        <p:spPr>
          <a:xfrm>
            <a:off x="5974201" y="-5471444"/>
            <a:ext cx="229232" cy="3865430"/>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EA45C91B-A01E-4F79-962C-FC7A0B994F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7866" y="3139682"/>
            <a:ext cx="2692304" cy="2258061"/>
          </a:xfrm>
          <a:prstGeom prst="rect">
            <a:avLst/>
          </a:prstGeom>
        </p:spPr>
      </p:pic>
      <p:sp>
        <p:nvSpPr>
          <p:cNvPr id="20" name="Freeform: Shape 19">
            <a:extLst>
              <a:ext uri="{FF2B5EF4-FFF2-40B4-BE49-F238E27FC236}">
                <a16:creationId xmlns:a16="http://schemas.microsoft.com/office/drawing/2014/main" id="{C89D64A7-0EC8-409E-90C9-C06870002C0E}"/>
              </a:ext>
            </a:extLst>
          </p:cNvPr>
          <p:cNvSpPr/>
          <p:nvPr/>
        </p:nvSpPr>
        <p:spPr>
          <a:xfrm rot="18444635">
            <a:off x="2199389" y="-1574315"/>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E4974D43-3555-40D6-A3EC-6425982DDB18}"/>
              </a:ext>
            </a:extLst>
          </p:cNvPr>
          <p:cNvSpPr/>
          <p:nvPr/>
        </p:nvSpPr>
        <p:spPr>
          <a:xfrm rot="3563490" flipH="1">
            <a:off x="2782092" y="-1566729"/>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07CDD3B-312F-49C2-9D84-B4F9126A8754}"/>
              </a:ext>
            </a:extLst>
          </p:cNvPr>
          <p:cNvSpPr/>
          <p:nvPr/>
        </p:nvSpPr>
        <p:spPr>
          <a:xfrm>
            <a:off x="2830561" y="-5669281"/>
            <a:ext cx="247650" cy="4440296"/>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46">
            <a:extLst>
              <a:ext uri="{FF2B5EF4-FFF2-40B4-BE49-F238E27FC236}">
                <a16:creationId xmlns:a16="http://schemas.microsoft.com/office/drawing/2014/main" id="{5EE1BF04-1C93-47CC-87CB-E33241FE1D17}"/>
              </a:ext>
            </a:extLst>
          </p:cNvPr>
          <p:cNvSpPr/>
          <p:nvPr/>
        </p:nvSpPr>
        <p:spPr>
          <a:xfrm>
            <a:off x="2361679" y="-2093751"/>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46">
            <a:extLst>
              <a:ext uri="{FF2B5EF4-FFF2-40B4-BE49-F238E27FC236}">
                <a16:creationId xmlns:a16="http://schemas.microsoft.com/office/drawing/2014/main" id="{FD183A9F-3B9B-4F35-B62B-FACEE5E34E71}"/>
              </a:ext>
            </a:extLst>
          </p:cNvPr>
          <p:cNvSpPr/>
          <p:nvPr/>
        </p:nvSpPr>
        <p:spPr>
          <a:xfrm flipH="1">
            <a:off x="3051794" y="-2090024"/>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46">
            <a:extLst>
              <a:ext uri="{FF2B5EF4-FFF2-40B4-BE49-F238E27FC236}">
                <a16:creationId xmlns:a16="http://schemas.microsoft.com/office/drawing/2014/main" id="{7D595856-CBA1-4DDA-B860-B4C0F4F7515F}"/>
              </a:ext>
            </a:extLst>
          </p:cNvPr>
          <p:cNvSpPr/>
          <p:nvPr/>
        </p:nvSpPr>
        <p:spPr>
          <a:xfrm>
            <a:off x="5514200" y="-2057076"/>
            <a:ext cx="459880" cy="654996"/>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46">
            <a:extLst>
              <a:ext uri="{FF2B5EF4-FFF2-40B4-BE49-F238E27FC236}">
                <a16:creationId xmlns:a16="http://schemas.microsoft.com/office/drawing/2014/main" id="{7987C82F-2878-4BE2-BBDE-5057A9670B88}"/>
              </a:ext>
            </a:extLst>
          </p:cNvPr>
          <p:cNvSpPr/>
          <p:nvPr/>
        </p:nvSpPr>
        <p:spPr>
          <a:xfrm flipH="1">
            <a:off x="6186605" y="-2041407"/>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CE04FE2-EDF0-43B6-BF29-DFE8DD9D96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84996" y="2578068"/>
            <a:ext cx="2981026" cy="3699739"/>
          </a:xfrm>
          <a:prstGeom prst="rect">
            <a:avLst/>
          </a:prstGeom>
        </p:spPr>
      </p:pic>
      <p:pic>
        <p:nvPicPr>
          <p:cNvPr id="5" name="Picture 4">
            <a:extLst>
              <a:ext uri="{FF2B5EF4-FFF2-40B4-BE49-F238E27FC236}">
                <a16:creationId xmlns:a16="http://schemas.microsoft.com/office/drawing/2014/main" id="{5E16F02C-A7A5-4D75-94E0-B8EB24E66B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7784" y="2568419"/>
            <a:ext cx="2981026" cy="3699739"/>
          </a:xfrm>
          <a:prstGeom prst="rect">
            <a:avLst/>
          </a:prstGeom>
        </p:spPr>
      </p:pic>
      <p:sp>
        <p:nvSpPr>
          <p:cNvPr id="17" name="Freeform: Shape 16">
            <a:extLst>
              <a:ext uri="{FF2B5EF4-FFF2-40B4-BE49-F238E27FC236}">
                <a16:creationId xmlns:a16="http://schemas.microsoft.com/office/drawing/2014/main" id="{246A2552-6A49-47F6-A291-B48875564504}"/>
              </a:ext>
            </a:extLst>
          </p:cNvPr>
          <p:cNvSpPr/>
          <p:nvPr/>
        </p:nvSpPr>
        <p:spPr>
          <a:xfrm rot="18444635">
            <a:off x="8449722" y="-1487115"/>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C4E35D83-9951-4854-8F6A-E17E9668EC5B}"/>
              </a:ext>
            </a:extLst>
          </p:cNvPr>
          <p:cNvSpPr/>
          <p:nvPr/>
        </p:nvSpPr>
        <p:spPr>
          <a:xfrm rot="3563490" flipH="1">
            <a:off x="9032425" y="-1479529"/>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2EDA1103-932D-4749-BAEC-34F939B15686}"/>
              </a:ext>
            </a:extLst>
          </p:cNvPr>
          <p:cNvSpPr/>
          <p:nvPr/>
        </p:nvSpPr>
        <p:spPr>
          <a:xfrm>
            <a:off x="9080894" y="-5668065"/>
            <a:ext cx="247650" cy="4443984"/>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46">
            <a:extLst>
              <a:ext uri="{FF2B5EF4-FFF2-40B4-BE49-F238E27FC236}">
                <a16:creationId xmlns:a16="http://schemas.microsoft.com/office/drawing/2014/main" id="{751DF1AB-43C8-4A60-ACD5-F5D4DBC71255}"/>
              </a:ext>
            </a:extLst>
          </p:cNvPr>
          <p:cNvSpPr/>
          <p:nvPr/>
        </p:nvSpPr>
        <p:spPr>
          <a:xfrm>
            <a:off x="8612012" y="-2006551"/>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46">
            <a:extLst>
              <a:ext uri="{FF2B5EF4-FFF2-40B4-BE49-F238E27FC236}">
                <a16:creationId xmlns:a16="http://schemas.microsoft.com/office/drawing/2014/main" id="{CEABDDE1-F47E-4201-BBB1-43684810D328}"/>
              </a:ext>
            </a:extLst>
          </p:cNvPr>
          <p:cNvSpPr/>
          <p:nvPr/>
        </p:nvSpPr>
        <p:spPr>
          <a:xfrm flipH="1">
            <a:off x="9302127" y="-2002824"/>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00AE9860-2A96-4966-B95B-D2C1780F6208}"/>
              </a:ext>
            </a:extLst>
          </p:cNvPr>
          <p:cNvSpPr txBox="1"/>
          <p:nvPr/>
        </p:nvSpPr>
        <p:spPr>
          <a:xfrm>
            <a:off x="4849226" y="6234438"/>
            <a:ext cx="2122794" cy="584775"/>
          </a:xfrm>
          <a:prstGeom prst="rect">
            <a:avLst/>
          </a:prstGeom>
          <a:noFill/>
        </p:spPr>
        <p:txBody>
          <a:bodyPr wrap="square" rtlCol="0">
            <a:spAutoFit/>
          </a:bodyPr>
          <a:lstStyle/>
          <a:p>
            <a:pPr algn="ctr"/>
            <a:r>
              <a:rPr lang="en-US" sz="3200" dirty="0"/>
              <a:t>Bricks</a:t>
            </a:r>
          </a:p>
        </p:txBody>
      </p:sp>
      <p:sp>
        <p:nvSpPr>
          <p:cNvPr id="30" name="TextBox 29">
            <a:extLst>
              <a:ext uri="{FF2B5EF4-FFF2-40B4-BE49-F238E27FC236}">
                <a16:creationId xmlns:a16="http://schemas.microsoft.com/office/drawing/2014/main" id="{F4AF030E-49DD-4A72-B193-4595803107A6}"/>
              </a:ext>
            </a:extLst>
          </p:cNvPr>
          <p:cNvSpPr txBox="1"/>
          <p:nvPr/>
        </p:nvSpPr>
        <p:spPr>
          <a:xfrm>
            <a:off x="8072486" y="6234438"/>
            <a:ext cx="2122794" cy="584775"/>
          </a:xfrm>
          <a:prstGeom prst="rect">
            <a:avLst/>
          </a:prstGeom>
          <a:noFill/>
        </p:spPr>
        <p:txBody>
          <a:bodyPr wrap="square" rtlCol="0">
            <a:spAutoFit/>
          </a:bodyPr>
          <a:lstStyle/>
          <a:p>
            <a:pPr algn="ctr"/>
            <a:r>
              <a:rPr lang="en-US" sz="3200" dirty="0"/>
              <a:t>Metals</a:t>
            </a:r>
          </a:p>
        </p:txBody>
      </p:sp>
      <p:pic>
        <p:nvPicPr>
          <p:cNvPr id="32" name="Picture 31">
            <a:extLst>
              <a:ext uri="{FF2B5EF4-FFF2-40B4-BE49-F238E27FC236}">
                <a16:creationId xmlns:a16="http://schemas.microsoft.com/office/drawing/2014/main" id="{B744A2D9-3B72-4241-90AC-4187BB6567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2622" y="2581927"/>
            <a:ext cx="2981026" cy="3699739"/>
          </a:xfrm>
          <a:prstGeom prst="rect">
            <a:avLst/>
          </a:prstGeom>
        </p:spPr>
      </p:pic>
      <p:sp>
        <p:nvSpPr>
          <p:cNvPr id="31" name="TextBox 30">
            <a:extLst>
              <a:ext uri="{FF2B5EF4-FFF2-40B4-BE49-F238E27FC236}">
                <a16:creationId xmlns:a16="http://schemas.microsoft.com/office/drawing/2014/main" id="{1F7D0EE5-F583-4233-90C1-81A2A0F79182}"/>
              </a:ext>
            </a:extLst>
          </p:cNvPr>
          <p:cNvSpPr txBox="1"/>
          <p:nvPr/>
        </p:nvSpPr>
        <p:spPr>
          <a:xfrm>
            <a:off x="1690618" y="6234438"/>
            <a:ext cx="2122794" cy="584775"/>
          </a:xfrm>
          <a:prstGeom prst="rect">
            <a:avLst/>
          </a:prstGeom>
          <a:noFill/>
        </p:spPr>
        <p:txBody>
          <a:bodyPr wrap="square" rtlCol="0">
            <a:spAutoFit/>
          </a:bodyPr>
          <a:lstStyle/>
          <a:p>
            <a:pPr algn="ctr"/>
            <a:r>
              <a:rPr lang="en-US" sz="3200" dirty="0"/>
              <a:t>Concrete</a:t>
            </a:r>
          </a:p>
        </p:txBody>
      </p:sp>
    </p:spTree>
    <p:extLst>
      <p:ext uri="{BB962C8B-B14F-4D97-AF65-F5344CB8AC3E}">
        <p14:creationId xmlns:p14="http://schemas.microsoft.com/office/powerpoint/2010/main" val="2098373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095A9E4-E43A-42C6-9256-9DFBA5BA56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137476">
            <a:off x="5503864" y="7595481"/>
            <a:ext cx="1316225" cy="1314939"/>
          </a:xfrm>
          <a:prstGeom prst="rect">
            <a:avLst/>
          </a:prstGeom>
        </p:spPr>
      </p:pic>
      <p:sp>
        <p:nvSpPr>
          <p:cNvPr id="8" name="Freeform: Shape 7">
            <a:extLst>
              <a:ext uri="{FF2B5EF4-FFF2-40B4-BE49-F238E27FC236}">
                <a16:creationId xmlns:a16="http://schemas.microsoft.com/office/drawing/2014/main" id="{9D40471D-4491-4C4B-9BB0-0C7AF213B486}"/>
              </a:ext>
            </a:extLst>
          </p:cNvPr>
          <p:cNvSpPr/>
          <p:nvPr/>
        </p:nvSpPr>
        <p:spPr>
          <a:xfrm rot="18444635">
            <a:off x="5390067" y="-1565074"/>
            <a:ext cx="746508" cy="560476"/>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AEEDCF99-6B1B-4ACC-AFB6-9D1CF7A5F2E3}"/>
              </a:ext>
            </a:extLst>
          </p:cNvPr>
          <p:cNvSpPr/>
          <p:nvPr/>
        </p:nvSpPr>
        <p:spPr>
          <a:xfrm rot="3563490" flipH="1">
            <a:off x="5916903" y="-1579072"/>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B2766E14-FF4D-4D36-8931-25E1C7E82328}"/>
              </a:ext>
            </a:extLst>
          </p:cNvPr>
          <p:cNvSpPr/>
          <p:nvPr/>
        </p:nvSpPr>
        <p:spPr>
          <a:xfrm>
            <a:off x="5974201" y="-5471444"/>
            <a:ext cx="229232" cy="3865430"/>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EA45C91B-A01E-4F79-962C-FC7A0B994F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7866" y="7071602"/>
            <a:ext cx="2692304" cy="2258061"/>
          </a:xfrm>
          <a:prstGeom prst="rect">
            <a:avLst/>
          </a:prstGeom>
        </p:spPr>
      </p:pic>
      <p:sp>
        <p:nvSpPr>
          <p:cNvPr id="20" name="Freeform: Shape 19">
            <a:extLst>
              <a:ext uri="{FF2B5EF4-FFF2-40B4-BE49-F238E27FC236}">
                <a16:creationId xmlns:a16="http://schemas.microsoft.com/office/drawing/2014/main" id="{C89D64A7-0EC8-409E-90C9-C06870002C0E}"/>
              </a:ext>
            </a:extLst>
          </p:cNvPr>
          <p:cNvSpPr/>
          <p:nvPr/>
        </p:nvSpPr>
        <p:spPr>
          <a:xfrm rot="18444635">
            <a:off x="2199389" y="-1574315"/>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E4974D43-3555-40D6-A3EC-6425982DDB18}"/>
              </a:ext>
            </a:extLst>
          </p:cNvPr>
          <p:cNvSpPr/>
          <p:nvPr/>
        </p:nvSpPr>
        <p:spPr>
          <a:xfrm rot="3563490" flipH="1">
            <a:off x="2782092" y="-1566729"/>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07CDD3B-312F-49C2-9D84-B4F9126A8754}"/>
              </a:ext>
            </a:extLst>
          </p:cNvPr>
          <p:cNvSpPr/>
          <p:nvPr/>
        </p:nvSpPr>
        <p:spPr>
          <a:xfrm>
            <a:off x="2830561" y="-5669281"/>
            <a:ext cx="247650" cy="4440296"/>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46">
            <a:extLst>
              <a:ext uri="{FF2B5EF4-FFF2-40B4-BE49-F238E27FC236}">
                <a16:creationId xmlns:a16="http://schemas.microsoft.com/office/drawing/2014/main" id="{5EE1BF04-1C93-47CC-87CB-E33241FE1D17}"/>
              </a:ext>
            </a:extLst>
          </p:cNvPr>
          <p:cNvSpPr/>
          <p:nvPr/>
        </p:nvSpPr>
        <p:spPr>
          <a:xfrm>
            <a:off x="2361679" y="-2093751"/>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46">
            <a:extLst>
              <a:ext uri="{FF2B5EF4-FFF2-40B4-BE49-F238E27FC236}">
                <a16:creationId xmlns:a16="http://schemas.microsoft.com/office/drawing/2014/main" id="{FD183A9F-3B9B-4F35-B62B-FACEE5E34E71}"/>
              </a:ext>
            </a:extLst>
          </p:cNvPr>
          <p:cNvSpPr/>
          <p:nvPr/>
        </p:nvSpPr>
        <p:spPr>
          <a:xfrm flipH="1">
            <a:off x="3051794" y="-2090024"/>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46">
            <a:extLst>
              <a:ext uri="{FF2B5EF4-FFF2-40B4-BE49-F238E27FC236}">
                <a16:creationId xmlns:a16="http://schemas.microsoft.com/office/drawing/2014/main" id="{7D595856-CBA1-4DDA-B860-B4C0F4F7515F}"/>
              </a:ext>
            </a:extLst>
          </p:cNvPr>
          <p:cNvSpPr/>
          <p:nvPr/>
        </p:nvSpPr>
        <p:spPr>
          <a:xfrm>
            <a:off x="5514200" y="-2057076"/>
            <a:ext cx="459880" cy="654996"/>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46">
            <a:extLst>
              <a:ext uri="{FF2B5EF4-FFF2-40B4-BE49-F238E27FC236}">
                <a16:creationId xmlns:a16="http://schemas.microsoft.com/office/drawing/2014/main" id="{7987C82F-2878-4BE2-BBDE-5057A9670B88}"/>
              </a:ext>
            </a:extLst>
          </p:cNvPr>
          <p:cNvSpPr/>
          <p:nvPr/>
        </p:nvSpPr>
        <p:spPr>
          <a:xfrm flipH="1">
            <a:off x="6186605" y="-2041407"/>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CE04FE2-EDF0-43B6-BF29-DFE8DD9D96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84996" y="6509988"/>
            <a:ext cx="2981026" cy="3699739"/>
          </a:xfrm>
          <a:prstGeom prst="rect">
            <a:avLst/>
          </a:prstGeom>
        </p:spPr>
      </p:pic>
      <p:pic>
        <p:nvPicPr>
          <p:cNvPr id="5" name="Picture 4">
            <a:extLst>
              <a:ext uri="{FF2B5EF4-FFF2-40B4-BE49-F238E27FC236}">
                <a16:creationId xmlns:a16="http://schemas.microsoft.com/office/drawing/2014/main" id="{5E16F02C-A7A5-4D75-94E0-B8EB24E66B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7784" y="6500339"/>
            <a:ext cx="2981026" cy="3699739"/>
          </a:xfrm>
          <a:prstGeom prst="rect">
            <a:avLst/>
          </a:prstGeom>
        </p:spPr>
      </p:pic>
      <p:sp>
        <p:nvSpPr>
          <p:cNvPr id="17" name="Freeform: Shape 16">
            <a:extLst>
              <a:ext uri="{FF2B5EF4-FFF2-40B4-BE49-F238E27FC236}">
                <a16:creationId xmlns:a16="http://schemas.microsoft.com/office/drawing/2014/main" id="{246A2552-6A49-47F6-A291-B48875564504}"/>
              </a:ext>
            </a:extLst>
          </p:cNvPr>
          <p:cNvSpPr/>
          <p:nvPr/>
        </p:nvSpPr>
        <p:spPr>
          <a:xfrm rot="18444635">
            <a:off x="8449722" y="-1487115"/>
            <a:ext cx="858241" cy="603644"/>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C4E35D83-9951-4854-8F6A-E17E9668EC5B}"/>
              </a:ext>
            </a:extLst>
          </p:cNvPr>
          <p:cNvSpPr/>
          <p:nvPr/>
        </p:nvSpPr>
        <p:spPr>
          <a:xfrm rot="3563490" flipH="1">
            <a:off x="9032425" y="-1479529"/>
            <a:ext cx="914946" cy="553440"/>
          </a:xfrm>
          <a:custGeom>
            <a:avLst/>
            <a:gdLst>
              <a:gd name="connsiteX0" fmla="*/ 826878 w 1422824"/>
              <a:gd name="connsiteY0" fmla="*/ 0 h 753032"/>
              <a:gd name="connsiteX1" fmla="*/ 1411569 w 1422824"/>
              <a:gd name="connsiteY1" fmla="*/ 198077 h 753032"/>
              <a:gd name="connsiteX2" fmla="*/ 1422824 w 1422824"/>
              <a:gd name="connsiteY2" fmla="*/ 209233 h 753032"/>
              <a:gd name="connsiteX3" fmla="*/ 1243569 w 1422824"/>
              <a:gd name="connsiteY3" fmla="*/ 182667 h 753032"/>
              <a:gd name="connsiteX4" fmla="*/ 839001 w 1422824"/>
              <a:gd name="connsiteY4" fmla="*/ 208182 h 753032"/>
              <a:gd name="connsiteX5" fmla="*/ 56636 w 1422824"/>
              <a:gd name="connsiteY5" fmla="*/ 666163 h 753032"/>
              <a:gd name="connsiteX6" fmla="*/ 9461 w 1422824"/>
              <a:gd name="connsiteY6" fmla="*/ 753032 h 753032"/>
              <a:gd name="connsiteX7" fmla="*/ 0 w 1422824"/>
              <a:gd name="connsiteY7" fmla="*/ 676275 h 753032"/>
              <a:gd name="connsiteX8" fmla="*/ 826878 w 1422824"/>
              <a:gd name="connsiteY8" fmla="*/ 0 h 75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24" h="753032">
                <a:moveTo>
                  <a:pt x="826878" y="0"/>
                </a:moveTo>
                <a:cubicBezTo>
                  <a:pt x="1055214" y="0"/>
                  <a:pt x="1261934" y="75695"/>
                  <a:pt x="1411569" y="198077"/>
                </a:cubicBezTo>
                <a:lnTo>
                  <a:pt x="1422824" y="209233"/>
                </a:lnTo>
                <a:lnTo>
                  <a:pt x="1243569" y="182667"/>
                </a:lnTo>
                <a:cubicBezTo>
                  <a:pt x="1115765" y="172959"/>
                  <a:pt x="978865" y="180635"/>
                  <a:pt x="839001" y="208182"/>
                </a:cubicBezTo>
                <a:cubicBezTo>
                  <a:pt x="489341" y="277049"/>
                  <a:pt x="203915" y="453810"/>
                  <a:pt x="56636" y="666163"/>
                </a:cubicBezTo>
                <a:lnTo>
                  <a:pt x="9461" y="753032"/>
                </a:lnTo>
                <a:lnTo>
                  <a:pt x="0" y="676275"/>
                </a:lnTo>
                <a:cubicBezTo>
                  <a:pt x="0" y="302779"/>
                  <a:pt x="370206" y="0"/>
                  <a:pt x="826878" y="0"/>
                </a:cubicBezTo>
                <a:close/>
              </a:path>
            </a:pathLst>
          </a:custGeom>
          <a:gradFill>
            <a:gsLst>
              <a:gs pos="0">
                <a:schemeClr val="tx1">
                  <a:lumMod val="95000"/>
                  <a:lumOff val="5000"/>
                </a:schemeClr>
              </a:gs>
              <a:gs pos="46000">
                <a:schemeClr val="bg1">
                  <a:lumMod val="95000"/>
                </a:schemeClr>
              </a:gs>
              <a:gs pos="83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2EDA1103-932D-4749-BAEC-34F939B15686}"/>
              </a:ext>
            </a:extLst>
          </p:cNvPr>
          <p:cNvSpPr/>
          <p:nvPr/>
        </p:nvSpPr>
        <p:spPr>
          <a:xfrm>
            <a:off x="9080894" y="-5668065"/>
            <a:ext cx="247650" cy="4443984"/>
          </a:xfrm>
          <a:prstGeom prst="roundRect">
            <a:avLst>
              <a:gd name="adj" fmla="val 50000"/>
            </a:avLst>
          </a:prstGeom>
          <a:gradFill flip="none" rotWithShape="1">
            <a:gsLst>
              <a:gs pos="0">
                <a:schemeClr val="tx1">
                  <a:lumMod val="95000"/>
                  <a:lumOff val="5000"/>
                </a:schemeClr>
              </a:gs>
              <a:gs pos="46000">
                <a:schemeClr val="bg1">
                  <a:lumMod val="95000"/>
                </a:schemeClr>
              </a:gs>
              <a:gs pos="83000">
                <a:schemeClr val="bg1"/>
              </a:gs>
              <a:gs pos="100000">
                <a:schemeClr val="bg2">
                  <a:lumMod val="1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46">
            <a:extLst>
              <a:ext uri="{FF2B5EF4-FFF2-40B4-BE49-F238E27FC236}">
                <a16:creationId xmlns:a16="http://schemas.microsoft.com/office/drawing/2014/main" id="{751DF1AB-43C8-4A60-ACD5-F5D4DBC71255}"/>
              </a:ext>
            </a:extLst>
          </p:cNvPr>
          <p:cNvSpPr/>
          <p:nvPr/>
        </p:nvSpPr>
        <p:spPr>
          <a:xfrm>
            <a:off x="8612012" y="-2006551"/>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46">
            <a:extLst>
              <a:ext uri="{FF2B5EF4-FFF2-40B4-BE49-F238E27FC236}">
                <a16:creationId xmlns:a16="http://schemas.microsoft.com/office/drawing/2014/main" id="{CEABDDE1-F47E-4201-BBB1-43684810D328}"/>
              </a:ext>
            </a:extLst>
          </p:cNvPr>
          <p:cNvSpPr/>
          <p:nvPr/>
        </p:nvSpPr>
        <p:spPr>
          <a:xfrm flipH="1">
            <a:off x="9302127" y="-2002824"/>
            <a:ext cx="495300" cy="753032"/>
          </a:xfrm>
          <a:custGeom>
            <a:avLst/>
            <a:gdLst>
              <a:gd name="connsiteX0" fmla="*/ 0 w 247650"/>
              <a:gd name="connsiteY0" fmla="*/ 0 h 753032"/>
              <a:gd name="connsiteX1" fmla="*/ 247650 w 247650"/>
              <a:gd name="connsiteY1" fmla="*/ 0 h 753032"/>
              <a:gd name="connsiteX2" fmla="*/ 247650 w 247650"/>
              <a:gd name="connsiteY2" fmla="*/ 753032 h 753032"/>
              <a:gd name="connsiteX3" fmla="*/ 0 w 247650"/>
              <a:gd name="connsiteY3" fmla="*/ 753032 h 753032"/>
              <a:gd name="connsiteX4" fmla="*/ 0 w 247650"/>
              <a:gd name="connsiteY4" fmla="*/ 0 h 753032"/>
              <a:gd name="connsiteX0" fmla="*/ 0 w 495300"/>
              <a:gd name="connsiteY0" fmla="*/ 0 h 753032"/>
              <a:gd name="connsiteX1" fmla="*/ 495300 w 495300"/>
              <a:gd name="connsiteY1" fmla="*/ 0 h 753032"/>
              <a:gd name="connsiteX2" fmla="*/ 495300 w 495300"/>
              <a:gd name="connsiteY2" fmla="*/ 753032 h 753032"/>
              <a:gd name="connsiteX3" fmla="*/ 247650 w 495300"/>
              <a:gd name="connsiteY3" fmla="*/ 753032 h 753032"/>
              <a:gd name="connsiteX4" fmla="*/ 0 w 495300"/>
              <a:gd name="connsiteY4" fmla="*/ 0 h 753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753032">
                <a:moveTo>
                  <a:pt x="0" y="0"/>
                </a:moveTo>
                <a:lnTo>
                  <a:pt x="495300" y="0"/>
                </a:lnTo>
                <a:lnTo>
                  <a:pt x="495300" y="753032"/>
                </a:lnTo>
                <a:lnTo>
                  <a:pt x="247650" y="753032"/>
                </a:lnTo>
                <a:lnTo>
                  <a:pt x="0" y="0"/>
                </a:lnTo>
                <a:close/>
              </a:path>
            </a:pathLst>
          </a:custGeom>
          <a:gradFill>
            <a:gsLst>
              <a:gs pos="0">
                <a:schemeClr val="tx1">
                  <a:lumMod val="95000"/>
                  <a:lumOff val="5000"/>
                </a:schemeClr>
              </a:gs>
              <a:gs pos="46000">
                <a:schemeClr val="bg1">
                  <a:lumMod val="75000"/>
                </a:schemeClr>
              </a:gs>
              <a:gs pos="100000">
                <a:schemeClr val="bg2">
                  <a:lumMod val="1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D49845FF-A82D-4FBC-8007-DE0683A1E6F5}"/>
              </a:ext>
            </a:extLst>
          </p:cNvPr>
          <p:cNvSpPr txBox="1"/>
          <p:nvPr/>
        </p:nvSpPr>
        <p:spPr>
          <a:xfrm>
            <a:off x="1587866" y="10162548"/>
            <a:ext cx="2122794" cy="584775"/>
          </a:xfrm>
          <a:prstGeom prst="rect">
            <a:avLst/>
          </a:prstGeom>
          <a:noFill/>
        </p:spPr>
        <p:txBody>
          <a:bodyPr wrap="square" rtlCol="0">
            <a:spAutoFit/>
          </a:bodyPr>
          <a:lstStyle/>
          <a:p>
            <a:pPr algn="ctr"/>
            <a:r>
              <a:rPr lang="en-US" sz="3200" dirty="0"/>
              <a:t>Concrete</a:t>
            </a:r>
          </a:p>
        </p:txBody>
      </p:sp>
      <p:sp>
        <p:nvSpPr>
          <p:cNvPr id="29" name="TextBox 28">
            <a:extLst>
              <a:ext uri="{FF2B5EF4-FFF2-40B4-BE49-F238E27FC236}">
                <a16:creationId xmlns:a16="http://schemas.microsoft.com/office/drawing/2014/main" id="{00AE9860-2A96-4966-B95B-D2C1780F6208}"/>
              </a:ext>
            </a:extLst>
          </p:cNvPr>
          <p:cNvSpPr txBox="1"/>
          <p:nvPr/>
        </p:nvSpPr>
        <p:spPr>
          <a:xfrm>
            <a:off x="4849226" y="10166358"/>
            <a:ext cx="2122794" cy="584775"/>
          </a:xfrm>
          <a:prstGeom prst="rect">
            <a:avLst/>
          </a:prstGeom>
          <a:noFill/>
        </p:spPr>
        <p:txBody>
          <a:bodyPr wrap="square" rtlCol="0">
            <a:spAutoFit/>
          </a:bodyPr>
          <a:lstStyle/>
          <a:p>
            <a:pPr algn="ctr"/>
            <a:r>
              <a:rPr lang="en-US" sz="3200" dirty="0"/>
              <a:t>Bricks</a:t>
            </a:r>
          </a:p>
        </p:txBody>
      </p:sp>
      <p:sp>
        <p:nvSpPr>
          <p:cNvPr id="30" name="TextBox 29">
            <a:extLst>
              <a:ext uri="{FF2B5EF4-FFF2-40B4-BE49-F238E27FC236}">
                <a16:creationId xmlns:a16="http://schemas.microsoft.com/office/drawing/2014/main" id="{F4AF030E-49DD-4A72-B193-4595803107A6}"/>
              </a:ext>
            </a:extLst>
          </p:cNvPr>
          <p:cNvSpPr txBox="1"/>
          <p:nvPr/>
        </p:nvSpPr>
        <p:spPr>
          <a:xfrm>
            <a:off x="8072486" y="10166358"/>
            <a:ext cx="2122794" cy="584775"/>
          </a:xfrm>
          <a:prstGeom prst="rect">
            <a:avLst/>
          </a:prstGeom>
          <a:noFill/>
        </p:spPr>
        <p:txBody>
          <a:bodyPr wrap="square" rtlCol="0">
            <a:spAutoFit/>
          </a:bodyPr>
          <a:lstStyle/>
          <a:p>
            <a:pPr algn="ctr"/>
            <a:r>
              <a:rPr lang="en-US" sz="3200" dirty="0"/>
              <a:t>Metals</a:t>
            </a:r>
          </a:p>
        </p:txBody>
      </p:sp>
      <p:pic>
        <p:nvPicPr>
          <p:cNvPr id="32" name="Picture 31">
            <a:extLst>
              <a:ext uri="{FF2B5EF4-FFF2-40B4-BE49-F238E27FC236}">
                <a16:creationId xmlns:a16="http://schemas.microsoft.com/office/drawing/2014/main" id="{B744A2D9-3B72-4241-90AC-4187BB6567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2622" y="6513847"/>
            <a:ext cx="2981026" cy="3699739"/>
          </a:xfrm>
          <a:prstGeom prst="rect">
            <a:avLst/>
          </a:prstGeom>
        </p:spPr>
      </p:pic>
      <p:sp>
        <p:nvSpPr>
          <p:cNvPr id="31" name="Rectangle 30">
            <a:extLst>
              <a:ext uri="{FF2B5EF4-FFF2-40B4-BE49-F238E27FC236}">
                <a16:creationId xmlns:a16="http://schemas.microsoft.com/office/drawing/2014/main" id="{12B78646-1AE2-4A45-88CA-1DE0B8910229}"/>
              </a:ext>
            </a:extLst>
          </p:cNvPr>
          <p:cNvSpPr/>
          <p:nvPr/>
        </p:nvSpPr>
        <p:spPr>
          <a:xfrm>
            <a:off x="2010860" y="2720685"/>
            <a:ext cx="8184420" cy="923330"/>
          </a:xfrm>
          <a:prstGeom prst="rect">
            <a:avLst/>
          </a:prstGeom>
          <a:noFill/>
        </p:spPr>
        <p:txBody>
          <a:bodyPr wrap="none" lIns="91440" tIns="45720" rIns="91440" bIns="45720">
            <a:spAutoFit/>
          </a:bodyPr>
          <a:lstStyle/>
          <a:p>
            <a:pPr algn="ctr"/>
            <a:r>
              <a:rPr lang="en-US" sz="5400" b="0" cap="none" spc="0" dirty="0">
                <a:ln w="0"/>
                <a:solidFill>
                  <a:schemeClr val="tx1"/>
                </a:solidFill>
                <a:effectLst>
                  <a:outerShdw blurRad="38100" dist="19050" dir="2700000" algn="tl" rotWithShape="0">
                    <a:schemeClr val="dk1">
                      <a:alpha val="40000"/>
                    </a:schemeClr>
                  </a:outerShdw>
                </a:effectLst>
              </a:rPr>
              <a:t>Waste is </a:t>
            </a:r>
            <a:r>
              <a:rPr lang="en-US" sz="5400" dirty="0">
                <a:ln w="0"/>
                <a:effectLst>
                  <a:outerShdw blurRad="38100" dist="19050" dir="2700000" algn="tl" rotWithShape="0">
                    <a:schemeClr val="dk1">
                      <a:alpha val="40000"/>
                    </a:schemeClr>
                  </a:outerShdw>
                </a:effectLst>
              </a:rPr>
              <a:t>Being </a:t>
            </a:r>
            <a:r>
              <a:rPr lang="en-US" sz="5400" b="0" cap="none" spc="0" dirty="0">
                <a:ln w="0"/>
                <a:solidFill>
                  <a:schemeClr val="tx1"/>
                </a:solidFill>
                <a:effectLst>
                  <a:outerShdw blurRad="38100" dist="19050" dir="2700000" algn="tl" rotWithShape="0">
                    <a:schemeClr val="dk1">
                      <a:alpha val="40000"/>
                    </a:schemeClr>
                  </a:outerShdw>
                </a:effectLst>
              </a:rPr>
              <a:t>Recycled……..</a:t>
            </a:r>
          </a:p>
        </p:txBody>
      </p:sp>
    </p:spTree>
    <p:extLst>
      <p:ext uri="{BB962C8B-B14F-4D97-AF65-F5344CB8AC3E}">
        <p14:creationId xmlns:p14="http://schemas.microsoft.com/office/powerpoint/2010/main" val="1360357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8" presetClass="entr" presetSubtype="0" accel="50000" fill="hold" grpId="0" nodeType="afterEffect">
                                  <p:stCondLst>
                                    <p:cond delay="0"/>
                                  </p:stCondLst>
                                  <p:iterate type="lt">
                                    <p:tmPct val="50000"/>
                                  </p:iterate>
                                  <p:childTnLst>
                                    <p:set>
                                      <p:cBhvr>
                                        <p:cTn id="6" dur="1" fill="hold">
                                          <p:stCondLst>
                                            <p:cond delay="0"/>
                                          </p:stCondLst>
                                        </p:cTn>
                                        <p:tgtEl>
                                          <p:spTgt spid="31"/>
                                        </p:tgtEl>
                                        <p:attrNameLst>
                                          <p:attrName>style.visibility</p:attrName>
                                        </p:attrNameLst>
                                      </p:cBhvr>
                                      <p:to>
                                        <p:strVal val="visible"/>
                                      </p:to>
                                    </p:set>
                                    <p:set>
                                      <p:cBhvr>
                                        <p:cTn id="7" dur="227" fill="hold">
                                          <p:stCondLst>
                                            <p:cond delay="0"/>
                                          </p:stCondLst>
                                        </p:cTn>
                                        <p:tgtEl>
                                          <p:spTgt spid="31"/>
                                        </p:tgtEl>
                                        <p:attrNameLst>
                                          <p:attrName>style.rotation</p:attrName>
                                        </p:attrNameLst>
                                      </p:cBhvr>
                                      <p:to>
                                        <p:strVal val="-45.0"/>
                                      </p:to>
                                    </p:set>
                                    <p:anim calcmode="lin" valueType="num">
                                      <p:cBhvr>
                                        <p:cTn id="8" dur="227" fill="hold">
                                          <p:stCondLst>
                                            <p:cond delay="227"/>
                                          </p:stCondLst>
                                        </p:cTn>
                                        <p:tgtEl>
                                          <p:spTgt spid="31"/>
                                        </p:tgtEl>
                                        <p:attrNameLst>
                                          <p:attrName>style.rotation</p:attrName>
                                        </p:attrNameLst>
                                      </p:cBhvr>
                                      <p:tavLst>
                                        <p:tav tm="0">
                                          <p:val>
                                            <p:fltVal val="-45"/>
                                          </p:val>
                                        </p:tav>
                                        <p:tav tm="69900">
                                          <p:val>
                                            <p:fltVal val="45"/>
                                          </p:val>
                                        </p:tav>
                                        <p:tav tm="100000">
                                          <p:val>
                                            <p:fltVal val="0"/>
                                          </p:val>
                                        </p:tav>
                                      </p:tavLst>
                                    </p:anim>
                                    <p:anim calcmode="lin" valueType="num">
                                      <p:cBhvr>
                                        <p:cTn id="9" dur="227" fill="hold">
                                          <p:stCondLst>
                                            <p:cond delay="0"/>
                                          </p:stCondLst>
                                        </p:cTn>
                                        <p:tgtEl>
                                          <p:spTgt spid="31"/>
                                        </p:tgtEl>
                                        <p:attrNameLst>
                                          <p:attrName>ppt_y</p:attrName>
                                        </p:attrNameLst>
                                      </p:cBhvr>
                                      <p:tavLst>
                                        <p:tav tm="0">
                                          <p:val>
                                            <p:strVal val="#ppt_y-1"/>
                                          </p:val>
                                        </p:tav>
                                        <p:tav tm="100000">
                                          <p:val>
                                            <p:strVal val="#ppt_y-(0.354*#ppt_w-0.172*#ppt_h)"/>
                                          </p:val>
                                        </p:tav>
                                      </p:tavLst>
                                    </p:anim>
                                    <p:anim calcmode="lin" valueType="num">
                                      <p:cBhvr>
                                        <p:cTn id="10" dur="78" decel="50000" autoRev="1" fill="hold">
                                          <p:stCondLst>
                                            <p:cond delay="227"/>
                                          </p:stCondLst>
                                        </p:cTn>
                                        <p:tgtEl>
                                          <p:spTgt spid="31"/>
                                        </p:tgtEl>
                                        <p:attrNameLst>
                                          <p:attrName>ppt_y</p:attrName>
                                        </p:attrNameLst>
                                      </p:cBhvr>
                                      <p:tavLst>
                                        <p:tav tm="0">
                                          <p:val>
                                            <p:strVal val="#ppt_y-(0.354*#ppt_w-0.172*#ppt_h)"/>
                                          </p:val>
                                        </p:tav>
                                        <p:tav tm="100000">
                                          <p:val>
                                            <p:strVal val="#ppt_y-(0.354*#ppt_w-0.172*#ppt_h)-#ppt_h/2"/>
                                          </p:val>
                                        </p:tav>
                                      </p:tavLst>
                                    </p:anim>
                                    <p:anim calcmode="lin" valueType="num">
                                      <p:cBhvr>
                                        <p:cTn id="11" dur="68" fill="hold">
                                          <p:stCondLst>
                                            <p:cond delay="432"/>
                                          </p:stCondLst>
                                        </p:cTn>
                                        <p:tgtEl>
                                          <p:spTgt spid="31"/>
                                        </p:tgtEl>
                                        <p:attrNameLst>
                                          <p:attrName>ppt_y</p:attrName>
                                        </p:attrNameLst>
                                      </p:cBhvr>
                                      <p:tavLst>
                                        <p:tav tm="0">
                                          <p:val>
                                            <p:strVal val="#ppt_y-(0.354*#ppt_w-0.172*#ppt_h)"/>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CFFF220A-E445-48F6-8BC3-81C40E764C6D}"/>
              </a:ext>
            </a:extLst>
          </p:cNvPr>
          <p:cNvSpPr txBox="1"/>
          <p:nvPr/>
        </p:nvSpPr>
        <p:spPr>
          <a:xfrm>
            <a:off x="1633520" y="2344149"/>
            <a:ext cx="3090880" cy="2282163"/>
          </a:xfrm>
          <a:custGeom>
            <a:avLst/>
            <a:gdLst/>
            <a:ahLst/>
            <a:cxnLst/>
            <a:rect l="l" t="t" r="r" b="b"/>
            <a:pathLst>
              <a:path w="5349152" h="3836263">
                <a:moveTo>
                  <a:pt x="1219814" y="597093"/>
                </a:moveTo>
                <a:cubicBezTo>
                  <a:pt x="1132684" y="597093"/>
                  <a:pt x="1054951" y="624855"/>
                  <a:pt x="986614" y="680379"/>
                </a:cubicBezTo>
                <a:cubicBezTo>
                  <a:pt x="918277" y="735903"/>
                  <a:pt x="865316" y="835418"/>
                  <a:pt x="827731" y="978926"/>
                </a:cubicBezTo>
                <a:cubicBezTo>
                  <a:pt x="778186" y="1165144"/>
                  <a:pt x="753414" y="1478639"/>
                  <a:pt x="753414" y="1919412"/>
                </a:cubicBezTo>
                <a:cubicBezTo>
                  <a:pt x="753414" y="2360186"/>
                  <a:pt x="775624" y="2663004"/>
                  <a:pt x="820043" y="2827866"/>
                </a:cubicBezTo>
                <a:cubicBezTo>
                  <a:pt x="864462" y="2992729"/>
                  <a:pt x="920413" y="3102496"/>
                  <a:pt x="987895" y="3157165"/>
                </a:cubicBezTo>
                <a:cubicBezTo>
                  <a:pt x="1055378" y="3211835"/>
                  <a:pt x="1132684" y="3239169"/>
                  <a:pt x="1219814" y="3239169"/>
                </a:cubicBezTo>
                <a:cubicBezTo>
                  <a:pt x="1306943" y="3239169"/>
                  <a:pt x="1384677" y="3211408"/>
                  <a:pt x="1453014" y="3155884"/>
                </a:cubicBezTo>
                <a:cubicBezTo>
                  <a:pt x="1521351" y="3100360"/>
                  <a:pt x="1574312" y="3000844"/>
                  <a:pt x="1611897" y="2857337"/>
                </a:cubicBezTo>
                <a:cubicBezTo>
                  <a:pt x="1661441" y="2672827"/>
                  <a:pt x="1686213" y="2360186"/>
                  <a:pt x="1686213" y="1919412"/>
                </a:cubicBezTo>
                <a:cubicBezTo>
                  <a:pt x="1686213" y="1478639"/>
                  <a:pt x="1664004" y="1175821"/>
                  <a:pt x="1619585" y="1010959"/>
                </a:cubicBezTo>
                <a:cubicBezTo>
                  <a:pt x="1575166" y="846096"/>
                  <a:pt x="1519215" y="735903"/>
                  <a:pt x="1451732" y="680379"/>
                </a:cubicBezTo>
                <a:cubicBezTo>
                  <a:pt x="1384250" y="624855"/>
                  <a:pt x="1306943" y="597093"/>
                  <a:pt x="1219814" y="597093"/>
                </a:cubicBezTo>
                <a:close/>
                <a:moveTo>
                  <a:pt x="4157527" y="0"/>
                </a:moveTo>
                <a:cubicBezTo>
                  <a:pt x="4528255" y="0"/>
                  <a:pt x="4819541" y="99942"/>
                  <a:pt x="5031385" y="299828"/>
                </a:cubicBezTo>
                <a:cubicBezTo>
                  <a:pt x="5243230" y="499713"/>
                  <a:pt x="5349152" y="748289"/>
                  <a:pt x="5349152" y="1045554"/>
                </a:cubicBezTo>
                <a:cubicBezTo>
                  <a:pt x="5349152" y="1214688"/>
                  <a:pt x="5318827" y="1375707"/>
                  <a:pt x="5258179" y="1528611"/>
                </a:cubicBezTo>
                <a:cubicBezTo>
                  <a:pt x="5197529" y="1681515"/>
                  <a:pt x="5101431" y="1841679"/>
                  <a:pt x="4969882" y="2009105"/>
                </a:cubicBezTo>
                <a:cubicBezTo>
                  <a:pt x="4882753" y="2120152"/>
                  <a:pt x="4725577" y="2279890"/>
                  <a:pt x="4498357" y="2488317"/>
                </a:cubicBezTo>
                <a:cubicBezTo>
                  <a:pt x="4271137" y="2696745"/>
                  <a:pt x="4127203" y="2835127"/>
                  <a:pt x="4066553" y="2903464"/>
                </a:cubicBezTo>
                <a:cubicBezTo>
                  <a:pt x="4005905" y="2971801"/>
                  <a:pt x="3956787" y="3038430"/>
                  <a:pt x="3919202" y="3103350"/>
                </a:cubicBezTo>
                <a:lnTo>
                  <a:pt x="5349152" y="3103350"/>
                </a:lnTo>
                <a:lnTo>
                  <a:pt x="5349152" y="3772197"/>
                </a:lnTo>
                <a:lnTo>
                  <a:pt x="2824957" y="3772197"/>
                </a:lnTo>
                <a:cubicBezTo>
                  <a:pt x="2852292" y="3519351"/>
                  <a:pt x="2934297" y="3279744"/>
                  <a:pt x="3070970" y="3053378"/>
                </a:cubicBezTo>
                <a:cubicBezTo>
                  <a:pt x="3207644" y="2827012"/>
                  <a:pt x="3477575" y="2526757"/>
                  <a:pt x="3880763" y="2152612"/>
                </a:cubicBezTo>
                <a:cubicBezTo>
                  <a:pt x="4205363" y="1850222"/>
                  <a:pt x="4404395" y="1645211"/>
                  <a:pt x="4477857" y="1537580"/>
                </a:cubicBezTo>
                <a:cubicBezTo>
                  <a:pt x="4576945" y="1388947"/>
                  <a:pt x="4626489" y="1242023"/>
                  <a:pt x="4626489" y="1096807"/>
                </a:cubicBezTo>
                <a:cubicBezTo>
                  <a:pt x="4626489" y="936216"/>
                  <a:pt x="4583351" y="812782"/>
                  <a:pt x="4497077" y="726506"/>
                </a:cubicBezTo>
                <a:cubicBezTo>
                  <a:pt x="4410801" y="640231"/>
                  <a:pt x="4291639" y="597093"/>
                  <a:pt x="4139589" y="597093"/>
                </a:cubicBezTo>
                <a:cubicBezTo>
                  <a:pt x="3989247" y="597093"/>
                  <a:pt x="3869658" y="642366"/>
                  <a:pt x="3780820" y="732913"/>
                </a:cubicBezTo>
                <a:cubicBezTo>
                  <a:pt x="3691982" y="823459"/>
                  <a:pt x="3640729" y="973801"/>
                  <a:pt x="3627062" y="1183936"/>
                </a:cubicBezTo>
                <a:lnTo>
                  <a:pt x="2909524" y="1112183"/>
                </a:lnTo>
                <a:cubicBezTo>
                  <a:pt x="2952235" y="715829"/>
                  <a:pt x="3086346" y="431376"/>
                  <a:pt x="3311858" y="258826"/>
                </a:cubicBezTo>
                <a:cubicBezTo>
                  <a:pt x="3537370" y="86275"/>
                  <a:pt x="3819259" y="0"/>
                  <a:pt x="4157527" y="0"/>
                </a:cubicBezTo>
                <a:close/>
                <a:moveTo>
                  <a:pt x="1219814" y="0"/>
                </a:moveTo>
                <a:cubicBezTo>
                  <a:pt x="1583708" y="0"/>
                  <a:pt x="1868160" y="129840"/>
                  <a:pt x="2073171" y="389520"/>
                </a:cubicBezTo>
                <a:cubicBezTo>
                  <a:pt x="2317475" y="697036"/>
                  <a:pt x="2439627" y="1207000"/>
                  <a:pt x="2439627" y="1919412"/>
                </a:cubicBezTo>
                <a:cubicBezTo>
                  <a:pt x="2439627" y="2630116"/>
                  <a:pt x="2316621" y="3140935"/>
                  <a:pt x="2070608" y="3451868"/>
                </a:cubicBezTo>
                <a:cubicBezTo>
                  <a:pt x="1867306" y="3708131"/>
                  <a:pt x="1583708" y="3836263"/>
                  <a:pt x="1219814" y="3836263"/>
                </a:cubicBezTo>
                <a:cubicBezTo>
                  <a:pt x="854211" y="3836263"/>
                  <a:pt x="559508" y="3695745"/>
                  <a:pt x="335705" y="3414710"/>
                </a:cubicBezTo>
                <a:cubicBezTo>
                  <a:pt x="111902" y="3133674"/>
                  <a:pt x="0" y="2632679"/>
                  <a:pt x="0" y="1911725"/>
                </a:cubicBezTo>
                <a:cubicBezTo>
                  <a:pt x="0" y="1204437"/>
                  <a:pt x="123006" y="695328"/>
                  <a:pt x="369019" y="384395"/>
                </a:cubicBezTo>
                <a:cubicBezTo>
                  <a:pt x="572322" y="128131"/>
                  <a:pt x="855920" y="0"/>
                  <a:pt x="1219814" y="0"/>
                </a:cubicBezTo>
                <a:close/>
              </a:path>
            </a:pathLst>
          </a:custGeom>
          <a:blipFill dpi="0" rotWithShape="1">
            <a:blip r:embed="rId5" cstate="print">
              <a:extLst>
                <a:ext uri="{28A0092B-C50C-407E-A947-70E740481C1C}">
                  <a14:useLocalDpi xmlns:a14="http://schemas.microsoft.com/office/drawing/2010/main" val="0"/>
                </a:ext>
              </a:extLst>
            </a:blip>
            <a:srcRect/>
            <a:stretch>
              <a:fillRect/>
            </a:stretch>
          </a:bli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41300" b="1" dirty="0">
              <a:solidFill>
                <a:schemeClr val="bg1"/>
              </a:solidFill>
              <a:latin typeface="Arial" panose="020B0604020202020204" pitchFamily="34" charset="0"/>
              <a:cs typeface="Arial" panose="020B0604020202020204" pitchFamily="34" charset="0"/>
            </a:endParaRPr>
          </a:p>
        </p:txBody>
      </p:sp>
      <p:graphicFrame>
        <p:nvGraphicFramePr>
          <p:cNvPr id="10" name="Object 9">
            <a:extLst>
              <a:ext uri="{FF2B5EF4-FFF2-40B4-BE49-F238E27FC236}">
                <a16:creationId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6" imgW="344" imgH="344" progId="TCLayout.ActiveDocument.1">
                  <p:embed/>
                </p:oleObj>
              </mc:Choice>
              <mc:Fallback>
                <p:oleObj name="think-cell Slide" r:id="rId6"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TextBox 8">
            <a:extLst>
              <a:ext uri="{FF2B5EF4-FFF2-40B4-BE49-F238E27FC236}">
                <a16:creationId xmlns:a16="http://schemas.microsoft.com/office/drawing/2014/main" id="{60CD49EC-E6A4-4053-A5B4-CB9DBB8C3F88}"/>
              </a:ext>
            </a:extLst>
          </p:cNvPr>
          <p:cNvSpPr txBox="1"/>
          <p:nvPr/>
        </p:nvSpPr>
        <p:spPr>
          <a:xfrm>
            <a:off x="5637229" y="2344149"/>
            <a:ext cx="6554771" cy="2492990"/>
          </a:xfrm>
          <a:prstGeom prst="rect">
            <a:avLst/>
          </a:prstGeom>
          <a:noFill/>
        </p:spPr>
        <p:txBody>
          <a:bodyPr wrap="square" lIns="0" tIns="0" rIns="0" bIns="0" numCol="1" rtlCol="0">
            <a:spAutoFit/>
          </a:bodyPr>
          <a:lstStyle/>
          <a:p>
            <a:r>
              <a:rPr lang="de-DE" altLang="de-DE" sz="5400" dirty="0">
                <a:solidFill>
                  <a:srgbClr val="0070C0"/>
                </a:solidFill>
                <a:latin typeface="Arial" panose="020B0604020202020204" pitchFamily="34" charset="0"/>
                <a:cs typeface="Arial" panose="020B0604020202020204" pitchFamily="34" charset="0"/>
              </a:rPr>
              <a:t>What is Construction And Demolition Waste ?</a:t>
            </a:r>
            <a:endParaRPr lang="de-DE" altLang="de-DE" sz="6600" dirty="0">
              <a:solidFill>
                <a:srgbClr val="0070C0"/>
              </a:solidFill>
              <a:latin typeface="Arial" panose="020B060402020202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6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2" presetClass="entr" presetSubtype="2" fill="hold" grpId="0" nodeType="withEffect">
                                  <p:stCondLst>
                                    <p:cond delay="50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1250" fill="hold"/>
                                        <p:tgtEl>
                                          <p:spTgt spid="12"/>
                                        </p:tgtEl>
                                        <p:attrNameLst>
                                          <p:attrName>ppt_x</p:attrName>
                                        </p:attrNameLst>
                                      </p:cBhvr>
                                      <p:tavLst>
                                        <p:tav tm="0">
                                          <p:val>
                                            <p:strVal val="1+#ppt_w/2"/>
                                          </p:val>
                                        </p:tav>
                                        <p:tav tm="100000">
                                          <p:val>
                                            <p:strVal val="#ppt_x"/>
                                          </p:val>
                                        </p:tav>
                                      </p:tavLst>
                                    </p:anim>
                                    <p:anim calcmode="lin" valueType="num">
                                      <p:cBhvr additive="base">
                                        <p:cTn id="15" dur="12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9"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12B78646-1AE2-4A45-88CA-1DE0B8910229}"/>
              </a:ext>
            </a:extLst>
          </p:cNvPr>
          <p:cNvSpPr/>
          <p:nvPr/>
        </p:nvSpPr>
        <p:spPr>
          <a:xfrm>
            <a:off x="683932" y="1844827"/>
            <a:ext cx="10449125" cy="2585323"/>
          </a:xfrm>
          <a:prstGeom prst="rect">
            <a:avLst/>
          </a:prstGeom>
          <a:noFill/>
        </p:spPr>
        <p:txBody>
          <a:bodyPr wrap="square" lIns="91440" tIns="45720" rIns="91440" bIns="45720">
            <a:spAutoFit/>
          </a:bodyPr>
          <a:lstStyle/>
          <a:p>
            <a:pPr algn="ctr"/>
            <a:r>
              <a:rPr lang="en-US" sz="5400" dirty="0">
                <a:ln w="0"/>
                <a:effectLst>
                  <a:outerShdw blurRad="38100" dist="19050" dir="2700000" algn="tl" rotWithShape="0">
                    <a:schemeClr val="dk1">
                      <a:alpha val="40000"/>
                    </a:schemeClr>
                  </a:outerShdw>
                </a:effectLst>
              </a:rPr>
              <a:t>After Complete Recycling Process This Products Are Sent To Market And Are Used For Making</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3553427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45B05587-4FBD-4998-83D7-8FD4C5B2DD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668202"/>
            <a:ext cx="12192000" cy="508122"/>
          </a:xfrm>
          <a:prstGeom prst="rect">
            <a:avLst/>
          </a:prstGeom>
        </p:spPr>
      </p:pic>
      <p:pic>
        <p:nvPicPr>
          <p:cNvPr id="47" name="Picture 46">
            <a:extLst>
              <a:ext uri="{FF2B5EF4-FFF2-40B4-BE49-F238E27FC236}">
                <a16:creationId xmlns:a16="http://schemas.microsoft.com/office/drawing/2014/main" id="{C339C253-8114-433B-B03C-4C62B89223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655628"/>
            <a:ext cx="12192000" cy="1216327"/>
          </a:xfrm>
          <a:prstGeom prst="rect">
            <a:avLst/>
          </a:prstGeom>
        </p:spPr>
      </p:pic>
      <p:pic>
        <p:nvPicPr>
          <p:cNvPr id="7" name="Picture 6">
            <a:extLst>
              <a:ext uri="{FF2B5EF4-FFF2-40B4-BE49-F238E27FC236}">
                <a16:creationId xmlns:a16="http://schemas.microsoft.com/office/drawing/2014/main" id="{F5BBBC0D-96CF-4418-BF68-645CB54330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202936"/>
            <a:ext cx="12192000" cy="1655064"/>
          </a:xfrm>
          <a:prstGeom prst="rect">
            <a:avLst/>
          </a:prstGeom>
        </p:spPr>
      </p:pic>
      <p:pic>
        <p:nvPicPr>
          <p:cNvPr id="43" name="Picture 42">
            <a:extLst>
              <a:ext uri="{FF2B5EF4-FFF2-40B4-BE49-F238E27FC236}">
                <a16:creationId xmlns:a16="http://schemas.microsoft.com/office/drawing/2014/main" id="{EBD16A32-2E12-47C3-957B-9D54EA8A21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12006028" y="3879547"/>
            <a:ext cx="6600825" cy="2447925"/>
          </a:xfrm>
          <a:prstGeom prst="rect">
            <a:avLst/>
          </a:prstGeom>
        </p:spPr>
      </p:pic>
      <p:sp>
        <p:nvSpPr>
          <p:cNvPr id="4" name="TextBox 3">
            <a:extLst>
              <a:ext uri="{FF2B5EF4-FFF2-40B4-BE49-F238E27FC236}">
                <a16:creationId xmlns:a16="http://schemas.microsoft.com/office/drawing/2014/main" id="{95F6234A-FEA3-454E-B792-9077607C77A7}"/>
              </a:ext>
            </a:extLst>
          </p:cNvPr>
          <p:cNvSpPr txBox="1"/>
          <p:nvPr/>
        </p:nvSpPr>
        <p:spPr>
          <a:xfrm>
            <a:off x="283464" y="408217"/>
            <a:ext cx="5266944" cy="646331"/>
          </a:xfrm>
          <a:prstGeom prst="rect">
            <a:avLst/>
          </a:prstGeom>
          <a:noFill/>
        </p:spPr>
        <p:txBody>
          <a:bodyPr wrap="square" rtlCol="0">
            <a:spAutoFit/>
          </a:bodyPr>
          <a:lstStyle/>
          <a:p>
            <a:pPr algn="ctr"/>
            <a:r>
              <a:rPr lang="en-US" sz="3600" dirty="0"/>
              <a:t>Road</a:t>
            </a:r>
            <a:r>
              <a:rPr lang="en-US" sz="2800" dirty="0"/>
              <a:t> </a:t>
            </a:r>
            <a:r>
              <a:rPr lang="en-US" sz="3600" dirty="0"/>
              <a:t>Pavements</a:t>
            </a:r>
            <a:endParaRPr lang="en-US" sz="2800" dirty="0"/>
          </a:p>
        </p:txBody>
      </p:sp>
    </p:spTree>
    <p:extLst>
      <p:ext uri="{BB962C8B-B14F-4D97-AF65-F5344CB8AC3E}">
        <p14:creationId xmlns:p14="http://schemas.microsoft.com/office/powerpoint/2010/main" val="14934739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fill="hold" nodeType="clickEffect" p14:presetBounceEnd="52000">
                                      <p:stCondLst>
                                        <p:cond delay="0"/>
                                      </p:stCondLst>
                                      <p:childTnLst>
                                        <p:animMotion origin="layout" path="M 0.00377 -0.0199 L -1.57591 -0.03379 " pathEditMode="relative" rAng="0" ptsTypes="AA" p14:bounceEnd="52000">
                                          <p:cBhvr>
                                            <p:cTn id="6" dur="7000" fill="hold"/>
                                            <p:tgtEl>
                                              <p:spTgt spid="43"/>
                                            </p:tgtEl>
                                            <p:attrNameLst>
                                              <p:attrName>ppt_x</p:attrName>
                                              <p:attrName>ppt_y</p:attrName>
                                            </p:attrNameLst>
                                          </p:cBhvr>
                                          <p:rCtr x="-78984" y="-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fill="hold" nodeType="clickEffect">
                                      <p:stCondLst>
                                        <p:cond delay="0"/>
                                      </p:stCondLst>
                                      <p:childTnLst>
                                        <p:animMotion origin="layout" path="M 0.00377 -0.0199 L -1.57591 -0.03379 " pathEditMode="relative" rAng="0" ptsTypes="AA">
                                          <p:cBhvr>
                                            <p:cTn id="6" dur="7000" fill="hold"/>
                                            <p:tgtEl>
                                              <p:spTgt spid="43"/>
                                            </p:tgtEl>
                                            <p:attrNameLst>
                                              <p:attrName>ppt_x</p:attrName>
                                              <p:attrName>ppt_y</p:attrName>
                                            </p:attrNameLst>
                                          </p:cBhvr>
                                          <p:rCtr x="-78984" y="-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C2E1A7-B288-462E-82AE-5F5845220E7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76882" y="-184636"/>
            <a:ext cx="6761438" cy="6659327"/>
          </a:xfrm>
          <a:prstGeom prst="rect">
            <a:avLst/>
          </a:prstGeom>
        </p:spPr>
      </p:pic>
      <p:sp>
        <p:nvSpPr>
          <p:cNvPr id="6" name="TextBox 5">
            <a:extLst>
              <a:ext uri="{FF2B5EF4-FFF2-40B4-BE49-F238E27FC236}">
                <a16:creationId xmlns:a16="http://schemas.microsoft.com/office/drawing/2014/main" id="{D26B8B97-3E04-4C71-86FC-6B66C2E5DAF0}"/>
              </a:ext>
            </a:extLst>
          </p:cNvPr>
          <p:cNvSpPr txBox="1"/>
          <p:nvPr/>
        </p:nvSpPr>
        <p:spPr>
          <a:xfrm>
            <a:off x="969818" y="374072"/>
            <a:ext cx="5126182" cy="1200329"/>
          </a:xfrm>
          <a:prstGeom prst="rect">
            <a:avLst/>
          </a:prstGeom>
          <a:noFill/>
        </p:spPr>
        <p:txBody>
          <a:bodyPr wrap="square" rtlCol="0">
            <a:spAutoFit/>
          </a:bodyPr>
          <a:lstStyle/>
          <a:p>
            <a:r>
              <a:rPr lang="en-US" sz="3600" dirty="0"/>
              <a:t>Non Structural Buildings</a:t>
            </a:r>
          </a:p>
          <a:p>
            <a:r>
              <a:rPr lang="en-US" sz="3600" dirty="0"/>
              <a:t>                        </a:t>
            </a:r>
            <a:r>
              <a:rPr lang="en-US" sz="2000" dirty="0">
                <a:cs typeface="Calibri"/>
              </a:rPr>
              <a:t>INR</a:t>
            </a:r>
            <a:r>
              <a:rPr lang="en-US" sz="2000" spc="-20" dirty="0">
                <a:cs typeface="Calibri"/>
              </a:rPr>
              <a:t> </a:t>
            </a:r>
            <a:r>
              <a:rPr lang="en-US" sz="2000" dirty="0">
                <a:cs typeface="Calibri"/>
              </a:rPr>
              <a:t>4500/</a:t>
            </a:r>
            <a:r>
              <a:rPr lang="en-US" sz="2000" spc="-15" dirty="0">
                <a:cs typeface="Calibri"/>
              </a:rPr>
              <a:t> </a:t>
            </a:r>
            <a:r>
              <a:rPr lang="en-US" sz="2000" dirty="0">
                <a:cs typeface="Calibri"/>
              </a:rPr>
              <a:t>1000</a:t>
            </a:r>
            <a:r>
              <a:rPr lang="en-US" sz="2000" spc="-20" dirty="0">
                <a:cs typeface="Calibri"/>
              </a:rPr>
              <a:t> </a:t>
            </a:r>
            <a:r>
              <a:rPr lang="en-US" sz="2000" spc="-10" dirty="0">
                <a:cs typeface="Calibri"/>
              </a:rPr>
              <a:t>bricks</a:t>
            </a:r>
            <a:endParaRPr lang="en-US" sz="3600" dirty="0">
              <a:cs typeface="Calibri"/>
            </a:endParaRPr>
          </a:p>
        </p:txBody>
      </p:sp>
      <p:pic>
        <p:nvPicPr>
          <p:cNvPr id="11" name="Picture 10">
            <a:extLst>
              <a:ext uri="{FF2B5EF4-FFF2-40B4-BE49-F238E27FC236}">
                <a16:creationId xmlns:a16="http://schemas.microsoft.com/office/drawing/2014/main" id="{1AB58B76-B71A-4098-86C4-5E8305A128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952205"/>
            <a:ext cx="5375285" cy="4707214"/>
          </a:xfrm>
          <a:prstGeom prst="rect">
            <a:avLst/>
          </a:prstGeom>
        </p:spPr>
      </p:pic>
    </p:spTree>
    <p:extLst>
      <p:ext uri="{BB962C8B-B14F-4D97-AF65-F5344CB8AC3E}">
        <p14:creationId xmlns:p14="http://schemas.microsoft.com/office/powerpoint/2010/main" val="238538021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900" decel="100000" fill="hold"/>
                                        <p:tgtEl>
                                          <p:spTgt spid="3"/>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3"/>
                                        </p:tgtEl>
                                        <p:attrNameLst>
                                          <p:attrName>ppt_y</p:attrName>
                                        </p:attrNameLst>
                                      </p:cBhvr>
                                      <p:tavLst>
                                        <p:tav tm="0">
                                          <p:val>
                                            <p:strVal val="#ppt_y-.03"/>
                                          </p:val>
                                        </p:tav>
                                        <p:tav tm="100000">
                                          <p:val>
                                            <p:strVal val="#ppt_y"/>
                                          </p:val>
                                        </p:tav>
                                      </p:tavLst>
                                    </p:anim>
                                  </p:childTnLst>
                                </p:cTn>
                              </p:par>
                              <p:par>
                                <p:cTn id="11" presetID="37"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000"/>
                                        <p:tgtEl>
                                          <p:spTgt spid="11"/>
                                        </p:tgtEl>
                                      </p:cBhvr>
                                    </p:animEffect>
                                    <p:anim calcmode="lin" valueType="num">
                                      <p:cBhvr>
                                        <p:cTn id="14" dur="1000" fill="hold"/>
                                        <p:tgtEl>
                                          <p:spTgt spid="11"/>
                                        </p:tgtEl>
                                        <p:attrNameLst>
                                          <p:attrName>ppt_x</p:attrName>
                                        </p:attrNameLst>
                                      </p:cBhvr>
                                      <p:tavLst>
                                        <p:tav tm="0">
                                          <p:val>
                                            <p:strVal val="#ppt_x"/>
                                          </p:val>
                                        </p:tav>
                                        <p:tav tm="100000">
                                          <p:val>
                                            <p:strVal val="#ppt_x"/>
                                          </p:val>
                                        </p:tav>
                                      </p:tavLst>
                                    </p:anim>
                                    <p:anim calcmode="lin" valueType="num">
                                      <p:cBhvr>
                                        <p:cTn id="15" dur="900" decel="100000" fill="hold"/>
                                        <p:tgtEl>
                                          <p:spTgt spid="11"/>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11"/>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26B8B97-3E04-4C71-86FC-6B66C2E5DAF0}"/>
              </a:ext>
            </a:extLst>
          </p:cNvPr>
          <p:cNvSpPr txBox="1"/>
          <p:nvPr/>
        </p:nvSpPr>
        <p:spPr>
          <a:xfrm>
            <a:off x="969818" y="374072"/>
            <a:ext cx="5126182" cy="646331"/>
          </a:xfrm>
          <a:prstGeom prst="rect">
            <a:avLst/>
          </a:prstGeom>
          <a:noFill/>
        </p:spPr>
        <p:txBody>
          <a:bodyPr wrap="square" rtlCol="0">
            <a:spAutoFit/>
          </a:bodyPr>
          <a:lstStyle/>
          <a:p>
            <a:pPr algn="ctr"/>
            <a:r>
              <a:rPr lang="en-US" sz="3600" dirty="0"/>
              <a:t>Tiles</a:t>
            </a:r>
          </a:p>
        </p:txBody>
      </p:sp>
      <p:pic>
        <p:nvPicPr>
          <p:cNvPr id="4" name="Picture 3">
            <a:extLst>
              <a:ext uri="{FF2B5EF4-FFF2-40B4-BE49-F238E27FC236}">
                <a16:creationId xmlns:a16="http://schemas.microsoft.com/office/drawing/2014/main" id="{0FB92FA2-977A-432C-B1FF-4FE503E7FEA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0958" y="2001824"/>
            <a:ext cx="6723902" cy="4148336"/>
          </a:xfrm>
          <a:prstGeom prst="rect">
            <a:avLst/>
          </a:prstGeom>
        </p:spPr>
      </p:pic>
      <p:pic>
        <p:nvPicPr>
          <p:cNvPr id="7" name="Picture 6">
            <a:extLst>
              <a:ext uri="{FF2B5EF4-FFF2-40B4-BE49-F238E27FC236}">
                <a16:creationId xmlns:a16="http://schemas.microsoft.com/office/drawing/2014/main" id="{FFD4CD43-4F00-4E19-A037-43655CEDAE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9803" y="546754"/>
            <a:ext cx="6037039" cy="6037039"/>
          </a:xfrm>
          <a:prstGeom prst="rect">
            <a:avLst/>
          </a:prstGeom>
        </p:spPr>
      </p:pic>
    </p:spTree>
    <p:extLst>
      <p:ext uri="{BB962C8B-B14F-4D97-AF65-F5344CB8AC3E}">
        <p14:creationId xmlns:p14="http://schemas.microsoft.com/office/powerpoint/2010/main" val="214294597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1000"/>
                                        <p:tgtEl>
                                          <p:spTgt spid="7"/>
                                        </p:tgtEl>
                                      </p:cBhvr>
                                    </p:animEffect>
                                  </p:childTnLst>
                                </p:cTn>
                              </p:par>
                              <p:par>
                                <p:cTn id="8" presetID="22" presetClass="entr" presetSubtype="4"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C1F05B3-6948-46D5-BEF2-1A0C4231750C}"/>
              </a:ext>
            </a:extLst>
          </p:cNvPr>
          <p:cNvSpPr txBox="1"/>
          <p:nvPr/>
        </p:nvSpPr>
        <p:spPr>
          <a:xfrm>
            <a:off x="378692" y="2659559"/>
            <a:ext cx="11813308" cy="769441"/>
          </a:xfrm>
          <a:prstGeom prst="rect">
            <a:avLst/>
          </a:prstGeom>
          <a:noFill/>
        </p:spPr>
        <p:txBody>
          <a:bodyPr wrap="square" rtlCol="0">
            <a:spAutoFit/>
          </a:bodyPr>
          <a:lstStyle/>
          <a:p>
            <a:r>
              <a:rPr lang="en-US" sz="4400" dirty="0"/>
              <a:t>And Are Used For Various Other Works……………..</a:t>
            </a:r>
          </a:p>
        </p:txBody>
      </p:sp>
    </p:spTree>
    <p:extLst>
      <p:ext uri="{BB962C8B-B14F-4D97-AF65-F5344CB8AC3E}">
        <p14:creationId xmlns:p14="http://schemas.microsoft.com/office/powerpoint/2010/main" val="1659757605"/>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DCF169DA-4DBE-48E3-9D4C-A02E8D704309}"/>
              </a:ext>
            </a:extLst>
          </p:cNvPr>
          <p:cNvCxnSpPr>
            <a:cxnSpLocks/>
            <a:endCxn id="12" idx="0"/>
          </p:cNvCxnSpPr>
          <p:nvPr/>
        </p:nvCxnSpPr>
        <p:spPr>
          <a:xfrm>
            <a:off x="3581686" y="3345751"/>
            <a:ext cx="0" cy="940360"/>
          </a:xfrm>
          <a:prstGeom prst="straightConnector1">
            <a:avLst/>
          </a:prstGeom>
          <a:ln w="38100">
            <a:solidFill>
              <a:srgbClr val="FF0000"/>
            </a:solidFill>
            <a:tailEnd type="triangle"/>
          </a:ln>
        </p:spPr>
        <p:style>
          <a:lnRef idx="1">
            <a:schemeClr val="dk1"/>
          </a:lnRef>
          <a:fillRef idx="3">
            <a:schemeClr val="dk1"/>
          </a:fillRef>
          <a:effectRef idx="2">
            <a:schemeClr val="dk1"/>
          </a:effectRef>
          <a:fontRef idx="minor">
            <a:schemeClr val="lt1"/>
          </a:fontRef>
        </p:style>
      </p:cxnSp>
      <p:cxnSp>
        <p:nvCxnSpPr>
          <p:cNvPr id="21" name="Straight Arrow Connector 20">
            <a:extLst>
              <a:ext uri="{FF2B5EF4-FFF2-40B4-BE49-F238E27FC236}">
                <a16:creationId xmlns:a16="http://schemas.microsoft.com/office/drawing/2014/main" id="{C2F6A53F-F735-4CE4-AED4-DAC4AB2F2946}"/>
              </a:ext>
            </a:extLst>
          </p:cNvPr>
          <p:cNvCxnSpPr>
            <a:cxnSpLocks/>
            <a:endCxn id="13" idx="0"/>
          </p:cNvCxnSpPr>
          <p:nvPr/>
        </p:nvCxnSpPr>
        <p:spPr>
          <a:xfrm>
            <a:off x="5636120" y="3375802"/>
            <a:ext cx="1" cy="1774133"/>
          </a:xfrm>
          <a:prstGeom prst="straightConnector1">
            <a:avLst/>
          </a:prstGeom>
          <a:ln w="38100">
            <a:solidFill>
              <a:srgbClr val="FF0000"/>
            </a:solidFill>
            <a:tailEnd type="triangle"/>
          </a:ln>
        </p:spPr>
        <p:style>
          <a:lnRef idx="1">
            <a:schemeClr val="dk1"/>
          </a:lnRef>
          <a:fillRef idx="3">
            <a:schemeClr val="dk1"/>
          </a:fillRef>
          <a:effectRef idx="2">
            <a:schemeClr val="dk1"/>
          </a:effectRef>
          <a:fontRef idx="minor">
            <a:schemeClr val="lt1"/>
          </a:fontRef>
        </p:style>
      </p:cxnSp>
      <p:cxnSp>
        <p:nvCxnSpPr>
          <p:cNvPr id="24" name="Straight Arrow Connector 23">
            <a:extLst>
              <a:ext uri="{FF2B5EF4-FFF2-40B4-BE49-F238E27FC236}">
                <a16:creationId xmlns:a16="http://schemas.microsoft.com/office/drawing/2014/main" id="{B7B6A3EE-6577-44AD-8729-B23208526AB7}"/>
              </a:ext>
            </a:extLst>
          </p:cNvPr>
          <p:cNvCxnSpPr>
            <a:cxnSpLocks/>
            <a:endCxn id="14" idx="0"/>
          </p:cNvCxnSpPr>
          <p:nvPr/>
        </p:nvCxnSpPr>
        <p:spPr>
          <a:xfrm>
            <a:off x="7279362" y="3375802"/>
            <a:ext cx="0" cy="857703"/>
          </a:xfrm>
          <a:prstGeom prst="straightConnector1">
            <a:avLst/>
          </a:prstGeom>
          <a:ln w="38100">
            <a:solidFill>
              <a:srgbClr val="FF0000"/>
            </a:solidFill>
            <a:tailEnd type="triangle"/>
          </a:ln>
        </p:spPr>
        <p:style>
          <a:lnRef idx="1">
            <a:schemeClr val="dk1"/>
          </a:lnRef>
          <a:fillRef idx="3">
            <a:schemeClr val="dk1"/>
          </a:fillRef>
          <a:effectRef idx="2">
            <a:schemeClr val="dk1"/>
          </a:effectRef>
          <a:fontRef idx="minor">
            <a:schemeClr val="lt1"/>
          </a:fontRef>
        </p:style>
      </p:cxnSp>
      <p:cxnSp>
        <p:nvCxnSpPr>
          <p:cNvPr id="27" name="Straight Arrow Connector 26">
            <a:extLst>
              <a:ext uri="{FF2B5EF4-FFF2-40B4-BE49-F238E27FC236}">
                <a16:creationId xmlns:a16="http://schemas.microsoft.com/office/drawing/2014/main" id="{17BD12AE-DD69-4BF9-ADA2-629201CA82B0}"/>
              </a:ext>
            </a:extLst>
          </p:cNvPr>
          <p:cNvCxnSpPr>
            <a:cxnSpLocks/>
            <a:endCxn id="15" idx="0"/>
          </p:cNvCxnSpPr>
          <p:nvPr/>
        </p:nvCxnSpPr>
        <p:spPr>
          <a:xfrm>
            <a:off x="8820555" y="3368510"/>
            <a:ext cx="0" cy="1780556"/>
          </a:xfrm>
          <a:prstGeom prst="straightConnector1">
            <a:avLst/>
          </a:prstGeom>
          <a:ln w="38100">
            <a:solidFill>
              <a:srgbClr val="FF0000"/>
            </a:solidFill>
            <a:tailEnd type="triangle"/>
          </a:ln>
        </p:spPr>
        <p:style>
          <a:lnRef idx="1">
            <a:schemeClr val="dk1"/>
          </a:lnRef>
          <a:fillRef idx="3">
            <a:schemeClr val="dk1"/>
          </a:fillRef>
          <a:effectRef idx="2">
            <a:schemeClr val="dk1"/>
          </a:effectRef>
          <a:fontRef idx="minor">
            <a:schemeClr val="lt1"/>
          </a:fontRef>
        </p:style>
      </p:cxnSp>
      <p:cxnSp>
        <p:nvCxnSpPr>
          <p:cNvPr id="31" name="Straight Arrow Connector 30">
            <a:extLst>
              <a:ext uri="{FF2B5EF4-FFF2-40B4-BE49-F238E27FC236}">
                <a16:creationId xmlns:a16="http://schemas.microsoft.com/office/drawing/2014/main" id="{843ECAEA-379D-4DC1-B666-8570A8BA4AE2}"/>
              </a:ext>
            </a:extLst>
          </p:cNvPr>
          <p:cNvCxnSpPr>
            <a:cxnSpLocks/>
          </p:cNvCxnSpPr>
          <p:nvPr/>
        </p:nvCxnSpPr>
        <p:spPr>
          <a:xfrm flipV="1">
            <a:off x="3592826" y="2126272"/>
            <a:ext cx="0" cy="1220351"/>
          </a:xfrm>
          <a:prstGeom prst="straightConnector1">
            <a:avLst/>
          </a:prstGeom>
          <a:ln w="38100">
            <a:solidFill>
              <a:srgbClr val="00B050"/>
            </a:solidFill>
            <a:tailEnd type="triangle"/>
          </a:ln>
        </p:spPr>
        <p:style>
          <a:lnRef idx="3">
            <a:schemeClr val="accent6"/>
          </a:lnRef>
          <a:fillRef idx="0">
            <a:schemeClr val="accent6"/>
          </a:fillRef>
          <a:effectRef idx="2">
            <a:schemeClr val="accent6"/>
          </a:effectRef>
          <a:fontRef idx="minor">
            <a:schemeClr val="tx1"/>
          </a:fontRef>
        </p:style>
      </p:cxnSp>
      <p:cxnSp>
        <p:nvCxnSpPr>
          <p:cNvPr id="33" name="Straight Arrow Connector 32">
            <a:extLst>
              <a:ext uri="{FF2B5EF4-FFF2-40B4-BE49-F238E27FC236}">
                <a16:creationId xmlns:a16="http://schemas.microsoft.com/office/drawing/2014/main" id="{4A16075D-79E0-4A5E-8829-68ABD65A9CEC}"/>
              </a:ext>
            </a:extLst>
          </p:cNvPr>
          <p:cNvCxnSpPr>
            <a:cxnSpLocks/>
          </p:cNvCxnSpPr>
          <p:nvPr/>
        </p:nvCxnSpPr>
        <p:spPr>
          <a:xfrm flipV="1">
            <a:off x="6231921" y="2126272"/>
            <a:ext cx="0" cy="1249529"/>
          </a:xfrm>
          <a:prstGeom prst="straightConnector1">
            <a:avLst/>
          </a:prstGeom>
          <a:ln w="38100">
            <a:solidFill>
              <a:srgbClr val="00B050"/>
            </a:solidFill>
            <a:tailEnd type="triangle"/>
          </a:ln>
        </p:spPr>
        <p:style>
          <a:lnRef idx="3">
            <a:schemeClr val="accent6"/>
          </a:lnRef>
          <a:fillRef idx="0">
            <a:schemeClr val="accent6"/>
          </a:fillRef>
          <a:effectRef idx="2">
            <a:schemeClr val="accent6"/>
          </a:effectRef>
          <a:fontRef idx="minor">
            <a:schemeClr val="tx1"/>
          </a:fontRef>
        </p:style>
      </p:cxnSp>
      <p:cxnSp>
        <p:nvCxnSpPr>
          <p:cNvPr id="35" name="Straight Arrow Connector 34">
            <a:extLst>
              <a:ext uri="{FF2B5EF4-FFF2-40B4-BE49-F238E27FC236}">
                <a16:creationId xmlns:a16="http://schemas.microsoft.com/office/drawing/2014/main" id="{629002AE-F712-4431-BCCF-280559F5865C}"/>
              </a:ext>
            </a:extLst>
          </p:cNvPr>
          <p:cNvCxnSpPr>
            <a:cxnSpLocks/>
          </p:cNvCxnSpPr>
          <p:nvPr/>
        </p:nvCxnSpPr>
        <p:spPr>
          <a:xfrm flipV="1">
            <a:off x="8598554" y="2121945"/>
            <a:ext cx="0" cy="1239270"/>
          </a:xfrm>
          <a:prstGeom prst="straightConnector1">
            <a:avLst/>
          </a:prstGeom>
          <a:ln w="38100">
            <a:solidFill>
              <a:srgbClr val="00B050"/>
            </a:solidFill>
            <a:tailEnd type="triangle"/>
          </a:ln>
        </p:spPr>
        <p:style>
          <a:lnRef idx="3">
            <a:schemeClr val="accent6"/>
          </a:lnRef>
          <a:fillRef idx="0">
            <a:schemeClr val="accent6"/>
          </a:fillRef>
          <a:effectRef idx="2">
            <a:schemeClr val="accent6"/>
          </a:effectRef>
          <a:fontRef idx="minor">
            <a:schemeClr val="tx1"/>
          </a:fontRef>
        </p:style>
      </p:cxnSp>
      <p:sp>
        <p:nvSpPr>
          <p:cNvPr id="4" name="object 4"/>
          <p:cNvSpPr txBox="1">
            <a:spLocks noGrp="1"/>
          </p:cNvSpPr>
          <p:nvPr>
            <p:ph type="title"/>
          </p:nvPr>
        </p:nvSpPr>
        <p:spPr>
          <a:xfrm>
            <a:off x="2766123" y="179362"/>
            <a:ext cx="6659754" cy="567463"/>
          </a:xfrm>
          <a:prstGeom prst="rect">
            <a:avLst/>
          </a:prstGeom>
        </p:spPr>
        <p:txBody>
          <a:bodyPr vert="horz" wrap="square" lIns="0" tIns="13335" rIns="0" bIns="0" rtlCol="0" anchor="ctr">
            <a:spAutoFit/>
          </a:bodyPr>
          <a:lstStyle/>
          <a:p>
            <a:pPr marL="12700" algn="ctr">
              <a:lnSpc>
                <a:spcPct val="100000"/>
              </a:lnSpc>
              <a:spcBef>
                <a:spcPts val="105"/>
              </a:spcBef>
            </a:pPr>
            <a:r>
              <a:rPr sz="36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Cost Analysis in Waste Processing</a:t>
            </a:r>
          </a:p>
        </p:txBody>
      </p:sp>
      <p:sp>
        <p:nvSpPr>
          <p:cNvPr id="7" name="Flowchart: Alternate Process 6">
            <a:extLst>
              <a:ext uri="{FF2B5EF4-FFF2-40B4-BE49-F238E27FC236}">
                <a16:creationId xmlns:a16="http://schemas.microsoft.com/office/drawing/2014/main" id="{BEE87AF0-6A12-486A-B24B-D1C75E377761}"/>
              </a:ext>
            </a:extLst>
          </p:cNvPr>
          <p:cNvSpPr/>
          <p:nvPr/>
        </p:nvSpPr>
        <p:spPr>
          <a:xfrm>
            <a:off x="2583040" y="1342933"/>
            <a:ext cx="2019572" cy="783339"/>
          </a:xfrm>
          <a:prstGeom prst="flowChartAlternateProcess">
            <a:avLst/>
          </a:prstGeom>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Charges For lifting C &amp; D Waste</a:t>
            </a:r>
          </a:p>
        </p:txBody>
      </p:sp>
      <p:sp>
        <p:nvSpPr>
          <p:cNvPr id="8" name="Rectangle: Rounded Corners 7">
            <a:extLst>
              <a:ext uri="{FF2B5EF4-FFF2-40B4-BE49-F238E27FC236}">
                <a16:creationId xmlns:a16="http://schemas.microsoft.com/office/drawing/2014/main" id="{01CBE193-80B4-4DFC-9DF1-431E3F2E3028}"/>
              </a:ext>
            </a:extLst>
          </p:cNvPr>
          <p:cNvSpPr/>
          <p:nvPr/>
        </p:nvSpPr>
        <p:spPr>
          <a:xfrm>
            <a:off x="5222137" y="1342933"/>
            <a:ext cx="2019569" cy="783339"/>
          </a:xfrm>
          <a:prstGeom prst="roundRect">
            <a:avLst/>
          </a:prstGeom>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Fe Scrap, Compact Waste to W2E Plant</a:t>
            </a:r>
          </a:p>
        </p:txBody>
      </p:sp>
      <p:sp>
        <p:nvSpPr>
          <p:cNvPr id="9" name="Flowchart: Alternate Process 8">
            <a:extLst>
              <a:ext uri="{FF2B5EF4-FFF2-40B4-BE49-F238E27FC236}">
                <a16:creationId xmlns:a16="http://schemas.microsoft.com/office/drawing/2014/main" id="{A3ADB6B2-7328-403B-9261-22C603F7FCDF}"/>
              </a:ext>
            </a:extLst>
          </p:cNvPr>
          <p:cNvSpPr/>
          <p:nvPr/>
        </p:nvSpPr>
        <p:spPr>
          <a:xfrm>
            <a:off x="7619548" y="1338607"/>
            <a:ext cx="1958013" cy="783339"/>
          </a:xfrm>
          <a:prstGeom prst="flowChartAlternateProcess">
            <a:avLst/>
          </a:prstGeom>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Recycled Aggregates, Pavements, Tiles</a:t>
            </a:r>
          </a:p>
        </p:txBody>
      </p:sp>
      <p:sp>
        <p:nvSpPr>
          <p:cNvPr id="10" name="Oval 9">
            <a:extLst>
              <a:ext uri="{FF2B5EF4-FFF2-40B4-BE49-F238E27FC236}">
                <a16:creationId xmlns:a16="http://schemas.microsoft.com/office/drawing/2014/main" id="{1CA1482C-4552-4FE8-B49C-355111BB7646}"/>
              </a:ext>
            </a:extLst>
          </p:cNvPr>
          <p:cNvSpPr/>
          <p:nvPr/>
        </p:nvSpPr>
        <p:spPr>
          <a:xfrm>
            <a:off x="1528462" y="2762584"/>
            <a:ext cx="1276965" cy="1168081"/>
          </a:xfrm>
          <a:prstGeom prst="ellipse">
            <a:avLst/>
          </a:prstGeom>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Waste</a:t>
            </a:r>
          </a:p>
        </p:txBody>
      </p:sp>
      <p:sp>
        <p:nvSpPr>
          <p:cNvPr id="11" name="Oval 10">
            <a:extLst>
              <a:ext uri="{FF2B5EF4-FFF2-40B4-BE49-F238E27FC236}">
                <a16:creationId xmlns:a16="http://schemas.microsoft.com/office/drawing/2014/main" id="{631A0111-F9F7-41D3-A151-D5AF428D0516}"/>
              </a:ext>
            </a:extLst>
          </p:cNvPr>
          <p:cNvSpPr/>
          <p:nvPr/>
        </p:nvSpPr>
        <p:spPr>
          <a:xfrm>
            <a:off x="9218081" y="2762585"/>
            <a:ext cx="1445457" cy="1226439"/>
          </a:xfrm>
          <a:prstGeom prst="ellipse">
            <a:avLst/>
          </a:prstGeom>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Recycle</a:t>
            </a:r>
          </a:p>
        </p:txBody>
      </p:sp>
      <p:sp>
        <p:nvSpPr>
          <p:cNvPr id="12" name="Rectangle 11">
            <a:extLst>
              <a:ext uri="{FF2B5EF4-FFF2-40B4-BE49-F238E27FC236}">
                <a16:creationId xmlns:a16="http://schemas.microsoft.com/office/drawing/2014/main" id="{E8D2FF98-E74A-4C8B-98D1-225479DE43BE}"/>
              </a:ext>
            </a:extLst>
          </p:cNvPr>
          <p:cNvSpPr/>
          <p:nvPr/>
        </p:nvSpPr>
        <p:spPr>
          <a:xfrm>
            <a:off x="2409043" y="4286111"/>
            <a:ext cx="2345285" cy="713708"/>
          </a:xfrm>
          <a:prstGeom prst="rect">
            <a:avLst/>
          </a:prstGeom>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Fuel And Transportation cost</a:t>
            </a:r>
          </a:p>
        </p:txBody>
      </p:sp>
      <p:sp>
        <p:nvSpPr>
          <p:cNvPr id="13" name="Rectangle 12">
            <a:extLst>
              <a:ext uri="{FF2B5EF4-FFF2-40B4-BE49-F238E27FC236}">
                <a16:creationId xmlns:a16="http://schemas.microsoft.com/office/drawing/2014/main" id="{B0DCE56E-FB41-416C-B62D-290FE0237AB2}"/>
              </a:ext>
            </a:extLst>
          </p:cNvPr>
          <p:cNvSpPr/>
          <p:nvPr/>
        </p:nvSpPr>
        <p:spPr>
          <a:xfrm>
            <a:off x="4642868" y="5149935"/>
            <a:ext cx="1986505" cy="813599"/>
          </a:xfrm>
          <a:prstGeom prst="rect">
            <a:avLst/>
          </a:prstGeom>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terial Handling Cost</a:t>
            </a:r>
          </a:p>
        </p:txBody>
      </p:sp>
      <p:sp>
        <p:nvSpPr>
          <p:cNvPr id="14" name="Rectangle 13">
            <a:extLst>
              <a:ext uri="{FF2B5EF4-FFF2-40B4-BE49-F238E27FC236}">
                <a16:creationId xmlns:a16="http://schemas.microsoft.com/office/drawing/2014/main" id="{8020ECA7-F39C-4B51-9F38-AB384F17AB49}"/>
              </a:ext>
            </a:extLst>
          </p:cNvPr>
          <p:cNvSpPr/>
          <p:nvPr/>
        </p:nvSpPr>
        <p:spPr>
          <a:xfrm>
            <a:off x="6315437" y="4233505"/>
            <a:ext cx="1927852" cy="813599"/>
          </a:xfrm>
          <a:prstGeom prst="rect">
            <a:avLst/>
          </a:prstGeom>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jor Machine Running Cost</a:t>
            </a:r>
          </a:p>
        </p:txBody>
      </p:sp>
      <p:sp>
        <p:nvSpPr>
          <p:cNvPr id="15" name="Rectangle 14">
            <a:extLst>
              <a:ext uri="{FF2B5EF4-FFF2-40B4-BE49-F238E27FC236}">
                <a16:creationId xmlns:a16="http://schemas.microsoft.com/office/drawing/2014/main" id="{B1ABEE68-F88C-44FD-8F77-81C4D656D79B}"/>
              </a:ext>
            </a:extLst>
          </p:cNvPr>
          <p:cNvSpPr/>
          <p:nvPr/>
        </p:nvSpPr>
        <p:spPr>
          <a:xfrm>
            <a:off x="7856629" y="5149066"/>
            <a:ext cx="1927852" cy="813599"/>
          </a:xfrm>
          <a:prstGeom prst="rect">
            <a:avLst/>
          </a:prstGeom>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Water And Electricity</a:t>
            </a:r>
          </a:p>
        </p:txBody>
      </p:sp>
      <p:cxnSp>
        <p:nvCxnSpPr>
          <p:cNvPr id="17" name="Straight Arrow Connector 16">
            <a:extLst>
              <a:ext uri="{FF2B5EF4-FFF2-40B4-BE49-F238E27FC236}">
                <a16:creationId xmlns:a16="http://schemas.microsoft.com/office/drawing/2014/main" id="{DD8B7045-9C58-49AC-B656-6618F687A1AE}"/>
              </a:ext>
            </a:extLst>
          </p:cNvPr>
          <p:cNvCxnSpPr>
            <a:cxnSpLocks/>
            <a:stCxn id="10" idx="6"/>
            <a:endCxn id="11" idx="2"/>
          </p:cNvCxnSpPr>
          <p:nvPr/>
        </p:nvCxnSpPr>
        <p:spPr>
          <a:xfrm>
            <a:off x="2805428" y="3346624"/>
            <a:ext cx="6412654" cy="29180"/>
          </a:xfrm>
          <a:prstGeom prst="straightConnector1">
            <a:avLst/>
          </a:prstGeom>
          <a:ln w="38100">
            <a:solidFill>
              <a:schemeClr val="tx1"/>
            </a:solidFill>
            <a:tailEnd type="triangle"/>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4255924008"/>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C1F05B3-6948-46D5-BEF2-1A0C4231750C}"/>
              </a:ext>
            </a:extLst>
          </p:cNvPr>
          <p:cNvSpPr txBox="1"/>
          <p:nvPr/>
        </p:nvSpPr>
        <p:spPr>
          <a:xfrm>
            <a:off x="1905834" y="123749"/>
            <a:ext cx="8633333" cy="769441"/>
          </a:xfrm>
          <a:prstGeom prst="rect">
            <a:avLst/>
          </a:prstGeom>
          <a:noFill/>
        </p:spPr>
        <p:txBody>
          <a:bodyPr wrap="square" rtlCol="0">
            <a:spAutoFit/>
          </a:bodyPr>
          <a:lstStyle/>
          <a:p>
            <a:r>
              <a:rPr lang="en-US" sz="4400" dirty="0"/>
              <a:t>Example Of Machine Used In Plant</a:t>
            </a:r>
          </a:p>
        </p:txBody>
      </p:sp>
      <p:pic>
        <p:nvPicPr>
          <p:cNvPr id="3" name="Picture 2">
            <a:extLst>
              <a:ext uri="{FF2B5EF4-FFF2-40B4-BE49-F238E27FC236}">
                <a16:creationId xmlns:a16="http://schemas.microsoft.com/office/drawing/2014/main" id="{09BD8E4D-6F96-4AFD-8CC1-575CD369EC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2342" y="1025164"/>
            <a:ext cx="9747315" cy="5482864"/>
          </a:xfrm>
          <a:prstGeom prst="rect">
            <a:avLst/>
          </a:prstGeom>
        </p:spPr>
      </p:pic>
    </p:spTree>
    <p:extLst>
      <p:ext uri="{BB962C8B-B14F-4D97-AF65-F5344CB8AC3E}">
        <p14:creationId xmlns:p14="http://schemas.microsoft.com/office/powerpoint/2010/main" val="3051840738"/>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B67929-770E-4637-85F6-CB7C43AEC50B}"/>
              </a:ext>
            </a:extLst>
          </p:cNvPr>
          <p:cNvSpPr/>
          <p:nvPr/>
        </p:nvSpPr>
        <p:spPr>
          <a:xfrm>
            <a:off x="0" y="-254524"/>
            <a:ext cx="12192000" cy="3429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2453A4B3-A8AD-450F-88A2-06D22F2E937B}"/>
              </a:ext>
            </a:extLst>
          </p:cNvPr>
          <p:cNvSpPr>
            <a:spLocks/>
          </p:cNvSpPr>
          <p:nvPr/>
        </p:nvSpPr>
        <p:spPr>
          <a:xfrm>
            <a:off x="769256" y="2743200"/>
            <a:ext cx="1828800" cy="13716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FCFD0A3-73F8-4A16-AF78-C3D62556E0CE}"/>
              </a:ext>
            </a:extLst>
          </p:cNvPr>
          <p:cNvSpPr>
            <a:spLocks/>
          </p:cNvSpPr>
          <p:nvPr/>
        </p:nvSpPr>
        <p:spPr>
          <a:xfrm>
            <a:off x="1683657" y="2286000"/>
            <a:ext cx="3657600" cy="228600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13EEA04-564A-4995-BEF2-2E3B88AE2F26}"/>
              </a:ext>
            </a:extLst>
          </p:cNvPr>
          <p:cNvSpPr>
            <a:spLocks/>
          </p:cNvSpPr>
          <p:nvPr/>
        </p:nvSpPr>
        <p:spPr>
          <a:xfrm>
            <a:off x="9593943" y="2743200"/>
            <a:ext cx="1828800" cy="137160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87D4299-F2CF-46C4-8011-6DE51481EB0A}"/>
              </a:ext>
            </a:extLst>
          </p:cNvPr>
          <p:cNvSpPr>
            <a:spLocks/>
          </p:cNvSpPr>
          <p:nvPr/>
        </p:nvSpPr>
        <p:spPr>
          <a:xfrm>
            <a:off x="6850745" y="2325764"/>
            <a:ext cx="3657600" cy="2286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2E126D1-9DBC-4E55-928F-69431A31D473}"/>
              </a:ext>
            </a:extLst>
          </p:cNvPr>
          <p:cNvSpPr>
            <a:spLocks/>
          </p:cNvSpPr>
          <p:nvPr/>
        </p:nvSpPr>
        <p:spPr>
          <a:xfrm>
            <a:off x="2895600" y="1371600"/>
            <a:ext cx="6400800" cy="4114800"/>
          </a:xfrm>
          <a:prstGeom prst="rect">
            <a:avLst/>
          </a:prstGeom>
          <a:blipFill dpi="0" rotWithShape="1">
            <a:blip r:embed="rId6">
              <a:extLst>
                <a:ext uri="{28A0092B-C50C-407E-A947-70E740481C1C}">
                  <a14:useLocalDpi xmlns:a14="http://schemas.microsoft.com/office/drawing/2010/main" val="0"/>
                </a:ext>
              </a:extLst>
            </a:blip>
            <a:srcRect/>
            <a:stretch>
              <a:fillRect t="-25746" b="-2981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lte">
            <a:extLst>
              <a:ext uri="{FF2B5EF4-FFF2-40B4-BE49-F238E27FC236}">
                <a16:creationId xmlns:a16="http://schemas.microsoft.com/office/drawing/2014/main" id="{F8B2FCF7-CAEA-46A7-ADA0-A8A29093F860}"/>
              </a:ext>
            </a:extLst>
          </p:cNvPr>
          <p:cNvSpPr txBox="1"/>
          <p:nvPr/>
        </p:nvSpPr>
        <p:spPr>
          <a:xfrm>
            <a:off x="4119545" y="5526164"/>
            <a:ext cx="3952910" cy="523220"/>
          </a:xfrm>
          <a:prstGeom prst="rect">
            <a:avLst/>
          </a:prstGeom>
          <a:noFill/>
        </p:spPr>
        <p:txBody>
          <a:bodyPr wrap="square" rtlCol="0">
            <a:spAutoFit/>
          </a:bodyPr>
          <a:lstStyle/>
          <a:p>
            <a:r>
              <a:rPr lang="en-US" sz="2800" b="1" dirty="0"/>
              <a:t>Natural Resource Savings </a:t>
            </a:r>
          </a:p>
        </p:txBody>
      </p:sp>
      <p:sp>
        <p:nvSpPr>
          <p:cNvPr id="2" name="Rectangle 1">
            <a:extLst>
              <a:ext uri="{FF2B5EF4-FFF2-40B4-BE49-F238E27FC236}">
                <a16:creationId xmlns:a16="http://schemas.microsoft.com/office/drawing/2014/main" id="{5A692114-441C-4378-B19E-B431B7FDDED2}"/>
              </a:ext>
            </a:extLst>
          </p:cNvPr>
          <p:cNvSpPr/>
          <p:nvPr/>
        </p:nvSpPr>
        <p:spPr>
          <a:xfrm>
            <a:off x="0" y="13840"/>
            <a:ext cx="12192000" cy="92333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4">
                    <a:lumMod val="20000"/>
                    <a:lumOff val="80000"/>
                  </a:schemeClr>
                </a:solidFill>
              </a:rPr>
              <a:t>Merits Of C &amp; D Waste Recycling</a:t>
            </a:r>
          </a:p>
        </p:txBody>
      </p:sp>
    </p:spTree>
    <p:extLst>
      <p:ext uri="{BB962C8B-B14F-4D97-AF65-F5344CB8AC3E}">
        <p14:creationId xmlns:p14="http://schemas.microsoft.com/office/powerpoint/2010/main" val="3072013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B67929-770E-4637-85F6-CB7C43AEC50B}"/>
              </a:ext>
            </a:extLst>
          </p:cNvPr>
          <p:cNvSpPr/>
          <p:nvPr/>
        </p:nvSpPr>
        <p:spPr>
          <a:xfrm>
            <a:off x="0" y="-254524"/>
            <a:ext cx="12192000" cy="3429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2453A4B3-A8AD-450F-88A2-06D22F2E937B}"/>
              </a:ext>
            </a:extLst>
          </p:cNvPr>
          <p:cNvSpPr>
            <a:spLocks/>
          </p:cNvSpPr>
          <p:nvPr/>
        </p:nvSpPr>
        <p:spPr>
          <a:xfrm>
            <a:off x="9593943" y="2743200"/>
            <a:ext cx="1828800" cy="13716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FCFD0A3-73F8-4A16-AF78-C3D62556E0CE}"/>
              </a:ext>
            </a:extLst>
          </p:cNvPr>
          <p:cNvSpPr>
            <a:spLocks/>
          </p:cNvSpPr>
          <p:nvPr/>
        </p:nvSpPr>
        <p:spPr>
          <a:xfrm>
            <a:off x="769256" y="2743200"/>
            <a:ext cx="1828800" cy="13716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37456DA-C306-4844-A74E-6DAC94C111F3}"/>
              </a:ext>
            </a:extLst>
          </p:cNvPr>
          <p:cNvSpPr>
            <a:spLocks/>
          </p:cNvSpPr>
          <p:nvPr/>
        </p:nvSpPr>
        <p:spPr>
          <a:xfrm>
            <a:off x="1683656" y="2286000"/>
            <a:ext cx="3657600" cy="2286000"/>
          </a:xfrm>
          <a:prstGeom prst="rect">
            <a:avLst/>
          </a:prstGeom>
          <a:blipFill dpi="0" rotWithShape="1">
            <a:blip r:embed="rId4" cstate="print">
              <a:extLst>
                <a:ext uri="{28A0092B-C50C-407E-A947-70E740481C1C}">
                  <a14:useLocalDpi xmlns:a14="http://schemas.microsoft.com/office/drawing/2010/main" val="0"/>
                </a:ext>
              </a:extLst>
            </a:blip>
            <a:srcRect/>
            <a:stretch>
              <a:fillRect t="-30000" b="-3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13EEA04-564A-4995-BEF2-2E3B88AE2F26}"/>
              </a:ext>
            </a:extLst>
          </p:cNvPr>
          <p:cNvSpPr>
            <a:spLocks/>
          </p:cNvSpPr>
          <p:nvPr/>
        </p:nvSpPr>
        <p:spPr>
          <a:xfrm>
            <a:off x="6736442" y="2286000"/>
            <a:ext cx="3657600" cy="2286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87D4299-F2CF-46C4-8011-6DE51481EB0A}"/>
              </a:ext>
            </a:extLst>
          </p:cNvPr>
          <p:cNvSpPr>
            <a:spLocks/>
          </p:cNvSpPr>
          <p:nvPr/>
        </p:nvSpPr>
        <p:spPr>
          <a:xfrm>
            <a:off x="2895600" y="1371600"/>
            <a:ext cx="6400799" cy="4114800"/>
          </a:xfrm>
          <a:prstGeom prst="rect">
            <a:avLst/>
          </a:pr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521A1216-8780-4945-A0D2-EBDC21FB23A7}"/>
              </a:ext>
            </a:extLst>
          </p:cNvPr>
          <p:cNvSpPr txBox="1"/>
          <p:nvPr/>
        </p:nvSpPr>
        <p:spPr>
          <a:xfrm>
            <a:off x="4035395" y="5601970"/>
            <a:ext cx="4121208" cy="523220"/>
          </a:xfrm>
          <a:prstGeom prst="rect">
            <a:avLst/>
          </a:prstGeom>
          <a:noFill/>
        </p:spPr>
        <p:txBody>
          <a:bodyPr wrap="square" rtlCol="0">
            <a:spAutoFit/>
          </a:bodyPr>
          <a:lstStyle/>
          <a:p>
            <a:r>
              <a:rPr lang="en-US" sz="2800" b="1" dirty="0"/>
              <a:t>Avoided Landfills Disposal</a:t>
            </a:r>
            <a:endParaRPr lang="en-US" sz="2800" dirty="0"/>
          </a:p>
        </p:txBody>
      </p:sp>
      <p:sp>
        <p:nvSpPr>
          <p:cNvPr id="12" name="Rectangle 11">
            <a:extLst>
              <a:ext uri="{FF2B5EF4-FFF2-40B4-BE49-F238E27FC236}">
                <a16:creationId xmlns:a16="http://schemas.microsoft.com/office/drawing/2014/main" id="{D8AF1797-4281-4F75-8478-C93BBE0C7005}"/>
              </a:ext>
            </a:extLst>
          </p:cNvPr>
          <p:cNvSpPr/>
          <p:nvPr/>
        </p:nvSpPr>
        <p:spPr>
          <a:xfrm>
            <a:off x="0" y="13840"/>
            <a:ext cx="12192000" cy="92333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4">
                    <a:lumMod val="20000"/>
                    <a:lumOff val="80000"/>
                  </a:schemeClr>
                </a:solidFill>
              </a:rPr>
              <a:t>Merits Of C &amp; D Waste Recycling</a:t>
            </a:r>
          </a:p>
        </p:txBody>
      </p:sp>
    </p:spTree>
    <p:extLst>
      <p:ext uri="{BB962C8B-B14F-4D97-AF65-F5344CB8AC3E}">
        <p14:creationId xmlns:p14="http://schemas.microsoft.com/office/powerpoint/2010/main" val="27183860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2D8741D-4B21-4A0E-B08C-06D20B568B1E}"/>
              </a:ext>
            </a:extLst>
          </p:cNvPr>
          <p:cNvSpPr/>
          <p:nvPr/>
        </p:nvSpPr>
        <p:spPr>
          <a:xfrm>
            <a:off x="0" y="0"/>
            <a:ext cx="12192000" cy="3429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72BC0D2-7EB5-44B6-8B91-3E319842D1DD}"/>
              </a:ext>
            </a:extLst>
          </p:cNvPr>
          <p:cNvSpPr>
            <a:spLocks/>
          </p:cNvSpPr>
          <p:nvPr/>
        </p:nvSpPr>
        <p:spPr>
          <a:xfrm>
            <a:off x="769256" y="2743200"/>
            <a:ext cx="1828800" cy="1371601"/>
          </a:xfrm>
          <a:prstGeom prst="rect">
            <a:avLst/>
          </a:prstGeom>
          <a:blipFill dpi="0" rotWithShape="1">
            <a:blip r:embed="rId2" cstate="print">
              <a:extLst>
                <a:ext uri="{28A0092B-C50C-407E-A947-70E740481C1C}">
                  <a14:useLocalDpi xmlns:a14="http://schemas.microsoft.com/office/drawing/2010/main" val="0"/>
                </a:ext>
              </a:extLst>
            </a:blip>
            <a:srcRect/>
            <a:stretch>
              <a:fillRect t="-30000" b="-3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5F54729-7E02-4ADE-8210-1B6FD2132B70}"/>
              </a:ext>
            </a:extLst>
          </p:cNvPr>
          <p:cNvSpPr>
            <a:spLocks/>
          </p:cNvSpPr>
          <p:nvPr/>
        </p:nvSpPr>
        <p:spPr>
          <a:xfrm>
            <a:off x="1683657" y="2286000"/>
            <a:ext cx="3657600" cy="228600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F0ACBDC-DFE0-40CF-81CC-B3128E24D33B}"/>
              </a:ext>
            </a:extLst>
          </p:cNvPr>
          <p:cNvSpPr>
            <a:spLocks/>
          </p:cNvSpPr>
          <p:nvPr/>
        </p:nvSpPr>
        <p:spPr>
          <a:xfrm>
            <a:off x="9593943" y="2971800"/>
            <a:ext cx="1828800" cy="137160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8FC3573-7BA7-4FF6-A5B7-9554CA5911A7}"/>
              </a:ext>
            </a:extLst>
          </p:cNvPr>
          <p:cNvSpPr>
            <a:spLocks/>
          </p:cNvSpPr>
          <p:nvPr/>
        </p:nvSpPr>
        <p:spPr>
          <a:xfrm>
            <a:off x="6850744" y="2514600"/>
            <a:ext cx="3657600" cy="2286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2923252-4FB4-46E0-B292-B1F4D3D5DC4A}"/>
              </a:ext>
            </a:extLst>
          </p:cNvPr>
          <p:cNvSpPr>
            <a:spLocks/>
          </p:cNvSpPr>
          <p:nvPr/>
        </p:nvSpPr>
        <p:spPr>
          <a:xfrm>
            <a:off x="2895600" y="1371600"/>
            <a:ext cx="6400800" cy="4114800"/>
          </a:xfrm>
          <a:prstGeom prst="rect">
            <a:avLst/>
          </a:pr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9DDBAC90-14DB-4A5B-9D70-F7B3D246026B}"/>
              </a:ext>
            </a:extLst>
          </p:cNvPr>
          <p:cNvSpPr txBox="1"/>
          <p:nvPr/>
        </p:nvSpPr>
        <p:spPr>
          <a:xfrm>
            <a:off x="5027735" y="5681990"/>
            <a:ext cx="2136531" cy="523220"/>
          </a:xfrm>
          <a:prstGeom prst="rect">
            <a:avLst/>
          </a:prstGeom>
          <a:noFill/>
        </p:spPr>
        <p:txBody>
          <a:bodyPr wrap="square" rtlCol="0">
            <a:spAutoFit/>
          </a:bodyPr>
          <a:lstStyle/>
          <a:p>
            <a:r>
              <a:rPr lang="en-US" sz="2800" b="1" dirty="0"/>
              <a:t>Job Creation</a:t>
            </a:r>
            <a:endParaRPr lang="en-US" dirty="0"/>
          </a:p>
        </p:txBody>
      </p:sp>
      <p:sp>
        <p:nvSpPr>
          <p:cNvPr id="16" name="Rectangle 15">
            <a:extLst>
              <a:ext uri="{FF2B5EF4-FFF2-40B4-BE49-F238E27FC236}">
                <a16:creationId xmlns:a16="http://schemas.microsoft.com/office/drawing/2014/main" id="{59321597-876A-4C97-A5A3-DE6E433137B8}"/>
              </a:ext>
            </a:extLst>
          </p:cNvPr>
          <p:cNvSpPr/>
          <p:nvPr/>
        </p:nvSpPr>
        <p:spPr>
          <a:xfrm>
            <a:off x="0" y="13840"/>
            <a:ext cx="12192000" cy="92333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4">
                    <a:lumMod val="20000"/>
                    <a:lumOff val="80000"/>
                  </a:schemeClr>
                </a:solidFill>
              </a:rPr>
              <a:t>Merits Of C &amp; D Waste Recycling</a:t>
            </a:r>
          </a:p>
        </p:txBody>
      </p:sp>
    </p:spTree>
    <p:extLst>
      <p:ext uri="{BB962C8B-B14F-4D97-AF65-F5344CB8AC3E}">
        <p14:creationId xmlns:p14="http://schemas.microsoft.com/office/powerpoint/2010/main" val="3896317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DD301B4-30E6-46FA-97FF-19C131429E93}"/>
              </a:ext>
            </a:extLst>
          </p:cNvPr>
          <p:cNvSpPr txBox="1"/>
          <p:nvPr/>
        </p:nvSpPr>
        <p:spPr>
          <a:xfrm>
            <a:off x="1806024" y="1740159"/>
            <a:ext cx="8229600" cy="4257576"/>
          </a:xfrm>
          <a:prstGeom prst="rect">
            <a:avLst/>
          </a:prstGeom>
          <a:noFill/>
        </p:spPr>
        <p:txBody>
          <a:bodyPr wrap="square" rtlCol="0">
            <a:spAutoFit/>
          </a:bodyPr>
          <a:lstStyle/>
          <a:p>
            <a:pPr marL="469900" indent="-457200">
              <a:lnSpc>
                <a:spcPct val="100000"/>
              </a:lnSpc>
              <a:spcBef>
                <a:spcPts val="1305"/>
              </a:spcBef>
              <a:buClr>
                <a:srgbClr val="006FC0"/>
              </a:buClr>
              <a:buSzPct val="90000"/>
              <a:buFont typeface="Wingdings" panose="05000000000000000000" pitchFamily="2" charset="2"/>
              <a:buChar char="Ø"/>
              <a:tabLst>
                <a:tab pos="354965" algn="l"/>
                <a:tab pos="355600" algn="l"/>
              </a:tabLst>
            </a:pPr>
            <a:r>
              <a:rPr lang="en-US" sz="2800" spc="-5" dirty="0">
                <a:solidFill>
                  <a:srgbClr val="00B0F0"/>
                </a:solidFill>
                <a:latin typeface="Calibri"/>
                <a:cs typeface="Calibri"/>
              </a:rPr>
              <a:t>More</a:t>
            </a:r>
            <a:r>
              <a:rPr lang="en-US" sz="2800" spc="-15" dirty="0">
                <a:solidFill>
                  <a:srgbClr val="00B0F0"/>
                </a:solidFill>
                <a:latin typeface="Calibri"/>
                <a:cs typeface="Calibri"/>
              </a:rPr>
              <a:t> </a:t>
            </a:r>
            <a:r>
              <a:rPr lang="en-US" sz="2800" dirty="0">
                <a:solidFill>
                  <a:srgbClr val="00B0F0"/>
                </a:solidFill>
                <a:latin typeface="Calibri"/>
                <a:cs typeface="Calibri"/>
              </a:rPr>
              <a:t>than</a:t>
            </a:r>
            <a:r>
              <a:rPr lang="en-US" sz="2800" spc="-10" dirty="0">
                <a:solidFill>
                  <a:srgbClr val="00B0F0"/>
                </a:solidFill>
                <a:latin typeface="Calibri"/>
                <a:cs typeface="Calibri"/>
              </a:rPr>
              <a:t> </a:t>
            </a:r>
            <a:r>
              <a:rPr lang="en-US" sz="2800" dirty="0">
                <a:solidFill>
                  <a:srgbClr val="00B0F0"/>
                </a:solidFill>
                <a:latin typeface="Calibri"/>
                <a:cs typeface="Calibri"/>
              </a:rPr>
              <a:t>50%</a:t>
            </a:r>
            <a:r>
              <a:rPr lang="en-US" sz="2800" spc="-30" dirty="0">
                <a:solidFill>
                  <a:srgbClr val="00B0F0"/>
                </a:solidFill>
                <a:latin typeface="Calibri"/>
                <a:cs typeface="Calibri"/>
              </a:rPr>
              <a:t> </a:t>
            </a:r>
            <a:r>
              <a:rPr lang="en-US" sz="2800" spc="-20" dirty="0">
                <a:solidFill>
                  <a:srgbClr val="00B0F0"/>
                </a:solidFill>
                <a:latin typeface="Calibri"/>
                <a:cs typeface="Calibri"/>
              </a:rPr>
              <a:t>waste</a:t>
            </a:r>
            <a:r>
              <a:rPr lang="en-US" sz="2800" spc="5" dirty="0">
                <a:solidFill>
                  <a:srgbClr val="00B0F0"/>
                </a:solidFill>
                <a:latin typeface="Calibri"/>
                <a:cs typeface="Calibri"/>
              </a:rPr>
              <a:t> </a:t>
            </a:r>
            <a:r>
              <a:rPr lang="en-US" sz="2800" spc="-10" dirty="0">
                <a:solidFill>
                  <a:srgbClr val="00B0F0"/>
                </a:solidFill>
                <a:latin typeface="Calibri"/>
                <a:cs typeface="Calibri"/>
              </a:rPr>
              <a:t>generated</a:t>
            </a:r>
            <a:r>
              <a:rPr lang="en-US" sz="2800" dirty="0">
                <a:solidFill>
                  <a:srgbClr val="00B0F0"/>
                </a:solidFill>
                <a:latin typeface="Calibri"/>
                <a:cs typeface="Calibri"/>
              </a:rPr>
              <a:t> </a:t>
            </a:r>
            <a:r>
              <a:rPr lang="en-US" sz="2800" spc="-5" dirty="0">
                <a:solidFill>
                  <a:srgbClr val="00B0F0"/>
                </a:solidFill>
                <a:latin typeface="Calibri"/>
                <a:cs typeface="Calibri"/>
              </a:rPr>
              <a:t>worldwide</a:t>
            </a:r>
            <a:r>
              <a:rPr lang="en-US" sz="2800" spc="-15" dirty="0">
                <a:solidFill>
                  <a:srgbClr val="00B0F0"/>
                </a:solidFill>
                <a:latin typeface="Calibri"/>
                <a:cs typeface="Calibri"/>
              </a:rPr>
              <a:t> </a:t>
            </a:r>
            <a:r>
              <a:rPr lang="en-US" sz="2800" dirty="0">
                <a:solidFill>
                  <a:srgbClr val="00B0F0"/>
                </a:solidFill>
                <a:latin typeface="Calibri"/>
                <a:cs typeface="Calibri"/>
              </a:rPr>
              <a:t>is </a:t>
            </a:r>
            <a:r>
              <a:rPr lang="en-US" sz="2800" spc="-5" dirty="0">
                <a:solidFill>
                  <a:srgbClr val="00B0F0"/>
                </a:solidFill>
                <a:latin typeface="Calibri"/>
                <a:cs typeface="Calibri"/>
              </a:rPr>
              <a:t>C&amp;D.</a:t>
            </a:r>
            <a:endParaRPr lang="en-US" sz="2800" dirty="0">
              <a:solidFill>
                <a:srgbClr val="00B0F0"/>
              </a:solidFill>
              <a:latin typeface="Calibri"/>
              <a:cs typeface="Calibri"/>
            </a:endParaRPr>
          </a:p>
          <a:p>
            <a:pPr marL="469900" indent="-457200">
              <a:lnSpc>
                <a:spcPct val="100000"/>
              </a:lnSpc>
              <a:spcBef>
                <a:spcPts val="1680"/>
              </a:spcBef>
              <a:buClr>
                <a:srgbClr val="006FC0"/>
              </a:buClr>
              <a:buSzPct val="90000"/>
              <a:buFont typeface="Wingdings" panose="05000000000000000000" pitchFamily="2" charset="2"/>
              <a:buChar char="Ø"/>
              <a:tabLst>
                <a:tab pos="354965" algn="l"/>
                <a:tab pos="355600" algn="l"/>
              </a:tabLst>
            </a:pPr>
            <a:r>
              <a:rPr lang="en-US" sz="2800" spc="-5" dirty="0">
                <a:solidFill>
                  <a:srgbClr val="00B0F0"/>
                </a:solidFill>
                <a:latin typeface="Calibri"/>
                <a:cs typeface="Calibri"/>
              </a:rPr>
              <a:t>Many</a:t>
            </a:r>
            <a:r>
              <a:rPr lang="en-US" sz="2800" spc="-20" dirty="0">
                <a:solidFill>
                  <a:srgbClr val="00B0F0"/>
                </a:solidFill>
                <a:latin typeface="Calibri"/>
                <a:cs typeface="Calibri"/>
              </a:rPr>
              <a:t> </a:t>
            </a:r>
            <a:r>
              <a:rPr lang="en-US" sz="2800" spc="-5" dirty="0">
                <a:solidFill>
                  <a:srgbClr val="00B0F0"/>
                </a:solidFill>
                <a:latin typeface="Calibri"/>
                <a:cs typeface="Calibri"/>
              </a:rPr>
              <a:t>European</a:t>
            </a:r>
            <a:r>
              <a:rPr lang="en-US" sz="2800" spc="-15" dirty="0">
                <a:solidFill>
                  <a:srgbClr val="00B0F0"/>
                </a:solidFill>
                <a:latin typeface="Calibri"/>
                <a:cs typeface="Calibri"/>
              </a:rPr>
              <a:t> </a:t>
            </a:r>
            <a:r>
              <a:rPr lang="en-US" sz="2800" spc="-5" dirty="0">
                <a:solidFill>
                  <a:srgbClr val="00B0F0"/>
                </a:solidFill>
                <a:latin typeface="Calibri"/>
                <a:cs typeface="Calibri"/>
              </a:rPr>
              <a:t>countries</a:t>
            </a:r>
            <a:r>
              <a:rPr lang="en-US" sz="2800" dirty="0">
                <a:solidFill>
                  <a:srgbClr val="00B0F0"/>
                </a:solidFill>
                <a:latin typeface="Calibri"/>
                <a:cs typeface="Calibri"/>
              </a:rPr>
              <a:t> </a:t>
            </a:r>
            <a:r>
              <a:rPr lang="en-US" sz="2800" spc="-5" dirty="0">
                <a:solidFill>
                  <a:srgbClr val="00B0F0"/>
                </a:solidFill>
                <a:latin typeface="Calibri"/>
                <a:cs typeface="Calibri"/>
              </a:rPr>
              <a:t>achieving</a:t>
            </a:r>
            <a:r>
              <a:rPr lang="en-US" sz="2800" dirty="0">
                <a:solidFill>
                  <a:srgbClr val="00B0F0"/>
                </a:solidFill>
                <a:latin typeface="Calibri"/>
                <a:cs typeface="Calibri"/>
              </a:rPr>
              <a:t> 90%+</a:t>
            </a:r>
            <a:r>
              <a:rPr lang="en-US" sz="2800" spc="-25" dirty="0">
                <a:solidFill>
                  <a:srgbClr val="00B0F0"/>
                </a:solidFill>
                <a:latin typeface="Calibri"/>
                <a:cs typeface="Calibri"/>
              </a:rPr>
              <a:t> </a:t>
            </a:r>
            <a:r>
              <a:rPr lang="en-US" sz="2800" spc="-5" dirty="0">
                <a:solidFill>
                  <a:srgbClr val="00B0F0"/>
                </a:solidFill>
                <a:latin typeface="Calibri"/>
                <a:cs typeface="Calibri"/>
              </a:rPr>
              <a:t>recycling.</a:t>
            </a:r>
            <a:endParaRPr lang="en-US" sz="2800" dirty="0">
              <a:solidFill>
                <a:srgbClr val="00B0F0"/>
              </a:solidFill>
              <a:latin typeface="Calibri"/>
              <a:cs typeface="Calibri"/>
            </a:endParaRPr>
          </a:p>
          <a:p>
            <a:pPr marL="469900" indent="-457200">
              <a:lnSpc>
                <a:spcPct val="100000"/>
              </a:lnSpc>
              <a:spcBef>
                <a:spcPts val="1680"/>
              </a:spcBef>
              <a:buClr>
                <a:srgbClr val="006FC0"/>
              </a:buClr>
              <a:buSzPct val="90000"/>
              <a:buFont typeface="Wingdings" panose="05000000000000000000" pitchFamily="2" charset="2"/>
              <a:buChar char="Ø"/>
              <a:tabLst>
                <a:tab pos="354965" algn="l"/>
                <a:tab pos="355600" algn="l"/>
              </a:tabLst>
            </a:pPr>
            <a:r>
              <a:rPr lang="en-US" sz="2800" dirty="0">
                <a:solidFill>
                  <a:srgbClr val="00B0F0"/>
                </a:solidFill>
                <a:latin typeface="Calibri"/>
                <a:cs typeface="Calibri"/>
              </a:rPr>
              <a:t>Other</a:t>
            </a:r>
            <a:r>
              <a:rPr lang="en-US" sz="2800" spc="-20" dirty="0">
                <a:solidFill>
                  <a:srgbClr val="00B0F0"/>
                </a:solidFill>
                <a:latin typeface="Calibri"/>
                <a:cs typeface="Calibri"/>
              </a:rPr>
              <a:t> </a:t>
            </a:r>
            <a:r>
              <a:rPr lang="en-US" sz="2800" spc="-5" dirty="0">
                <a:solidFill>
                  <a:srgbClr val="00B0F0"/>
                </a:solidFill>
                <a:latin typeface="Calibri"/>
                <a:cs typeface="Calibri"/>
              </a:rPr>
              <a:t>developed</a:t>
            </a:r>
            <a:r>
              <a:rPr lang="en-US" sz="2800" spc="5" dirty="0">
                <a:solidFill>
                  <a:srgbClr val="00B0F0"/>
                </a:solidFill>
                <a:latin typeface="Calibri"/>
                <a:cs typeface="Calibri"/>
              </a:rPr>
              <a:t> </a:t>
            </a:r>
            <a:r>
              <a:rPr lang="en-US" sz="2800" spc="-5" dirty="0">
                <a:solidFill>
                  <a:srgbClr val="00B0F0"/>
                </a:solidFill>
                <a:latin typeface="Calibri"/>
                <a:cs typeface="Calibri"/>
              </a:rPr>
              <a:t>countries </a:t>
            </a:r>
            <a:r>
              <a:rPr lang="en-US" sz="2800" dirty="0">
                <a:solidFill>
                  <a:srgbClr val="00B0F0"/>
                </a:solidFill>
                <a:latin typeface="Calibri"/>
                <a:cs typeface="Calibri"/>
              </a:rPr>
              <a:t>struggling</a:t>
            </a:r>
            <a:r>
              <a:rPr lang="en-US" sz="2800" spc="-15" dirty="0">
                <a:solidFill>
                  <a:srgbClr val="00B0F0"/>
                </a:solidFill>
                <a:latin typeface="Calibri"/>
                <a:cs typeface="Calibri"/>
              </a:rPr>
              <a:t> to improve.</a:t>
            </a:r>
            <a:endParaRPr lang="en-US" sz="2800" dirty="0">
              <a:solidFill>
                <a:srgbClr val="00B0F0"/>
              </a:solidFill>
              <a:latin typeface="Calibri"/>
              <a:cs typeface="Calibri"/>
            </a:endParaRPr>
          </a:p>
          <a:p>
            <a:pPr marL="469900" indent="-457200">
              <a:lnSpc>
                <a:spcPct val="100000"/>
              </a:lnSpc>
              <a:spcBef>
                <a:spcPts val="1685"/>
              </a:spcBef>
              <a:buClr>
                <a:srgbClr val="006FC0"/>
              </a:buClr>
              <a:buSzPct val="90000"/>
              <a:buFont typeface="Wingdings" panose="05000000000000000000" pitchFamily="2" charset="2"/>
              <a:buChar char="Ø"/>
              <a:tabLst>
                <a:tab pos="354965" algn="l"/>
                <a:tab pos="355600" algn="l"/>
              </a:tabLst>
            </a:pPr>
            <a:r>
              <a:rPr lang="en-US" sz="2800" spc="-10" dirty="0">
                <a:solidFill>
                  <a:srgbClr val="00B0F0"/>
                </a:solidFill>
                <a:latin typeface="Calibri"/>
                <a:cs typeface="Calibri"/>
              </a:rPr>
              <a:t>Approx.</a:t>
            </a:r>
            <a:r>
              <a:rPr lang="en-US" sz="2800" spc="-30" dirty="0">
                <a:solidFill>
                  <a:srgbClr val="00B0F0"/>
                </a:solidFill>
                <a:latin typeface="Calibri"/>
                <a:cs typeface="Calibri"/>
              </a:rPr>
              <a:t> </a:t>
            </a:r>
            <a:r>
              <a:rPr lang="en-US" sz="2800" dirty="0">
                <a:solidFill>
                  <a:srgbClr val="00B0F0"/>
                </a:solidFill>
                <a:latin typeface="Calibri"/>
                <a:cs typeface="Calibri"/>
              </a:rPr>
              <a:t>95%</a:t>
            </a:r>
            <a:r>
              <a:rPr lang="en-US" sz="2800" spc="-20" dirty="0">
                <a:solidFill>
                  <a:srgbClr val="00B0F0"/>
                </a:solidFill>
                <a:latin typeface="Calibri"/>
                <a:cs typeface="Calibri"/>
              </a:rPr>
              <a:t> </a:t>
            </a:r>
            <a:r>
              <a:rPr lang="en-US" sz="2800" spc="-5" dirty="0">
                <a:solidFill>
                  <a:srgbClr val="00B0F0"/>
                </a:solidFill>
                <a:latin typeface="Calibri"/>
                <a:cs typeface="Calibri"/>
              </a:rPr>
              <a:t>of </a:t>
            </a:r>
            <a:r>
              <a:rPr lang="en-US" sz="2800" spc="-20" dirty="0">
                <a:solidFill>
                  <a:srgbClr val="00B0F0"/>
                </a:solidFill>
                <a:latin typeface="Calibri"/>
                <a:cs typeface="Calibri"/>
              </a:rPr>
              <a:t>waste</a:t>
            </a:r>
            <a:r>
              <a:rPr lang="en-US" sz="2800" spc="15" dirty="0">
                <a:solidFill>
                  <a:srgbClr val="00B0F0"/>
                </a:solidFill>
                <a:latin typeface="Calibri"/>
                <a:cs typeface="Calibri"/>
              </a:rPr>
              <a:t> </a:t>
            </a:r>
            <a:r>
              <a:rPr lang="en-US" sz="2800" spc="-5" dirty="0">
                <a:solidFill>
                  <a:srgbClr val="00B0F0"/>
                </a:solidFill>
                <a:latin typeface="Calibri"/>
                <a:cs typeface="Calibri"/>
              </a:rPr>
              <a:t>on </a:t>
            </a:r>
            <a:r>
              <a:rPr lang="en-US" sz="2800" dirty="0">
                <a:solidFill>
                  <a:srgbClr val="00B0F0"/>
                </a:solidFill>
                <a:latin typeface="Calibri"/>
                <a:cs typeface="Calibri"/>
              </a:rPr>
              <a:t>typical</a:t>
            </a:r>
            <a:r>
              <a:rPr lang="en-US" sz="2800" spc="-10" dirty="0">
                <a:solidFill>
                  <a:srgbClr val="00B0F0"/>
                </a:solidFill>
                <a:latin typeface="Calibri"/>
                <a:cs typeface="Calibri"/>
              </a:rPr>
              <a:t> </a:t>
            </a:r>
            <a:r>
              <a:rPr lang="en-US" sz="2800" spc="-5" dirty="0">
                <a:solidFill>
                  <a:srgbClr val="00B0F0"/>
                </a:solidFill>
                <a:latin typeface="Calibri"/>
                <a:cs typeface="Calibri"/>
              </a:rPr>
              <a:t>construction</a:t>
            </a:r>
            <a:r>
              <a:rPr lang="en-US" sz="2800" spc="-15" dirty="0">
                <a:solidFill>
                  <a:srgbClr val="00B0F0"/>
                </a:solidFill>
                <a:latin typeface="Calibri"/>
                <a:cs typeface="Calibri"/>
              </a:rPr>
              <a:t> </a:t>
            </a:r>
            <a:r>
              <a:rPr lang="en-US" sz="2800" spc="-10" dirty="0">
                <a:solidFill>
                  <a:srgbClr val="00B0F0"/>
                </a:solidFill>
                <a:latin typeface="Calibri"/>
                <a:cs typeface="Calibri"/>
              </a:rPr>
              <a:t>sites</a:t>
            </a:r>
            <a:r>
              <a:rPr lang="en-US" sz="2800" spc="20" dirty="0">
                <a:solidFill>
                  <a:srgbClr val="00B0F0"/>
                </a:solidFill>
                <a:latin typeface="Calibri"/>
                <a:cs typeface="Calibri"/>
              </a:rPr>
              <a:t> </a:t>
            </a:r>
            <a:r>
              <a:rPr lang="en-US" sz="2800" spc="-5" dirty="0">
                <a:solidFill>
                  <a:srgbClr val="00B0F0"/>
                </a:solidFill>
                <a:latin typeface="Calibri"/>
                <a:cs typeface="Calibri"/>
              </a:rPr>
              <a:t>can</a:t>
            </a:r>
            <a:r>
              <a:rPr lang="en-US" sz="2800" dirty="0">
                <a:solidFill>
                  <a:srgbClr val="00B0F0"/>
                </a:solidFill>
                <a:latin typeface="Calibri"/>
                <a:cs typeface="Calibri"/>
              </a:rPr>
              <a:t> be</a:t>
            </a:r>
            <a:r>
              <a:rPr lang="en-US" sz="2800" spc="-10" dirty="0">
                <a:solidFill>
                  <a:srgbClr val="00B0F0"/>
                </a:solidFill>
                <a:latin typeface="Calibri"/>
                <a:cs typeface="Calibri"/>
              </a:rPr>
              <a:t> </a:t>
            </a:r>
            <a:r>
              <a:rPr lang="en-US" sz="2800" spc="-5" dirty="0">
                <a:solidFill>
                  <a:srgbClr val="00B0F0"/>
                </a:solidFill>
                <a:latin typeface="Calibri"/>
                <a:cs typeface="Calibri"/>
              </a:rPr>
              <a:t>recycled.</a:t>
            </a:r>
            <a:endParaRPr lang="en-US" sz="2800" dirty="0">
              <a:solidFill>
                <a:srgbClr val="00B0F0"/>
              </a:solidFill>
              <a:latin typeface="Calibri"/>
              <a:cs typeface="Calibri"/>
            </a:endParaRPr>
          </a:p>
          <a:p>
            <a:pPr marL="469900" indent="-457200">
              <a:lnSpc>
                <a:spcPct val="100000"/>
              </a:lnSpc>
              <a:spcBef>
                <a:spcPts val="1680"/>
              </a:spcBef>
              <a:buClr>
                <a:srgbClr val="006FC0"/>
              </a:buClr>
              <a:buSzPct val="90000"/>
              <a:buFont typeface="Wingdings" panose="05000000000000000000" pitchFamily="2" charset="2"/>
              <a:buChar char="Ø"/>
              <a:tabLst>
                <a:tab pos="354965" algn="l"/>
                <a:tab pos="355600" algn="l"/>
              </a:tabLst>
            </a:pPr>
            <a:r>
              <a:rPr lang="en-US" sz="2800" spc="-5" dirty="0">
                <a:solidFill>
                  <a:srgbClr val="00B0F0"/>
                </a:solidFill>
                <a:latin typeface="Calibri"/>
                <a:cs typeface="Calibri"/>
              </a:rPr>
              <a:t>C&amp;D</a:t>
            </a:r>
            <a:r>
              <a:rPr lang="en-US" sz="2800" spc="-10" dirty="0">
                <a:solidFill>
                  <a:srgbClr val="00B0F0"/>
                </a:solidFill>
                <a:latin typeface="Calibri"/>
                <a:cs typeface="Calibri"/>
              </a:rPr>
              <a:t> </a:t>
            </a:r>
            <a:r>
              <a:rPr lang="en-US" sz="2800" spc="-20" dirty="0">
                <a:solidFill>
                  <a:srgbClr val="00B0F0"/>
                </a:solidFill>
                <a:latin typeface="Calibri"/>
                <a:cs typeface="Calibri"/>
              </a:rPr>
              <a:t>waste</a:t>
            </a:r>
            <a:r>
              <a:rPr lang="en-US" sz="2800" spc="15" dirty="0">
                <a:solidFill>
                  <a:srgbClr val="00B0F0"/>
                </a:solidFill>
                <a:latin typeface="Calibri"/>
                <a:cs typeface="Calibri"/>
              </a:rPr>
              <a:t> </a:t>
            </a:r>
            <a:r>
              <a:rPr lang="en-US" sz="2800" dirty="0">
                <a:solidFill>
                  <a:srgbClr val="00B0F0"/>
                </a:solidFill>
                <a:latin typeface="Calibri"/>
                <a:cs typeface="Calibri"/>
              </a:rPr>
              <a:t>shouldn’t</a:t>
            </a:r>
            <a:r>
              <a:rPr lang="en-US" sz="2800" spc="-20" dirty="0">
                <a:solidFill>
                  <a:srgbClr val="00B0F0"/>
                </a:solidFill>
                <a:latin typeface="Calibri"/>
                <a:cs typeface="Calibri"/>
              </a:rPr>
              <a:t> </a:t>
            </a:r>
            <a:r>
              <a:rPr lang="en-US" sz="2800" dirty="0">
                <a:solidFill>
                  <a:srgbClr val="00B0F0"/>
                </a:solidFill>
                <a:latin typeface="Calibri"/>
                <a:cs typeface="Calibri"/>
              </a:rPr>
              <a:t>be</a:t>
            </a:r>
            <a:r>
              <a:rPr lang="en-US" sz="2800" spc="-5" dirty="0">
                <a:solidFill>
                  <a:srgbClr val="00B0F0"/>
                </a:solidFill>
                <a:latin typeface="Calibri"/>
                <a:cs typeface="Calibri"/>
              </a:rPr>
              <a:t> disposed</a:t>
            </a:r>
            <a:r>
              <a:rPr lang="en-US" sz="2800" spc="5" dirty="0">
                <a:solidFill>
                  <a:srgbClr val="00B0F0"/>
                </a:solidFill>
                <a:latin typeface="Calibri"/>
                <a:cs typeface="Calibri"/>
              </a:rPr>
              <a:t> </a:t>
            </a:r>
            <a:r>
              <a:rPr lang="en-US" sz="2800" spc="-5" dirty="0">
                <a:solidFill>
                  <a:srgbClr val="00B0F0"/>
                </a:solidFill>
                <a:latin typeface="Calibri"/>
                <a:cs typeface="Calibri"/>
              </a:rPr>
              <a:t>of in</a:t>
            </a:r>
            <a:r>
              <a:rPr lang="en-US" sz="2800" dirty="0">
                <a:solidFill>
                  <a:srgbClr val="00B0F0"/>
                </a:solidFill>
                <a:latin typeface="Calibri"/>
                <a:cs typeface="Calibri"/>
              </a:rPr>
              <a:t> MSW</a:t>
            </a:r>
            <a:r>
              <a:rPr lang="en-US" sz="2800" spc="-15" dirty="0">
                <a:solidFill>
                  <a:srgbClr val="00B0F0"/>
                </a:solidFill>
                <a:latin typeface="Calibri"/>
                <a:cs typeface="Calibri"/>
              </a:rPr>
              <a:t> </a:t>
            </a:r>
            <a:r>
              <a:rPr lang="en-US" sz="2800" dirty="0">
                <a:solidFill>
                  <a:srgbClr val="00B0F0"/>
                </a:solidFill>
                <a:latin typeface="Calibri"/>
                <a:cs typeface="Calibri"/>
              </a:rPr>
              <a:t>land</a:t>
            </a:r>
            <a:r>
              <a:rPr lang="en-US" sz="2800" spc="5" dirty="0">
                <a:solidFill>
                  <a:srgbClr val="00B0F0"/>
                </a:solidFill>
                <a:latin typeface="Calibri"/>
                <a:cs typeface="Calibri"/>
              </a:rPr>
              <a:t> </a:t>
            </a:r>
            <a:r>
              <a:rPr lang="en-US" sz="2800" spc="-10" dirty="0">
                <a:solidFill>
                  <a:srgbClr val="00B0F0"/>
                </a:solidFill>
                <a:latin typeface="Calibri"/>
                <a:cs typeface="Calibri"/>
              </a:rPr>
              <a:t>fills.</a:t>
            </a:r>
            <a:endParaRPr lang="en-US" sz="2800" dirty="0">
              <a:solidFill>
                <a:srgbClr val="00B0F0"/>
              </a:solidFill>
              <a:latin typeface="Calibri"/>
              <a:cs typeface="Calibri"/>
            </a:endParaRPr>
          </a:p>
          <a:p>
            <a:endParaRPr lang="en-US" dirty="0"/>
          </a:p>
        </p:txBody>
      </p:sp>
      <p:sp>
        <p:nvSpPr>
          <p:cNvPr id="8" name="TextBox 7">
            <a:extLst>
              <a:ext uri="{FF2B5EF4-FFF2-40B4-BE49-F238E27FC236}">
                <a16:creationId xmlns:a16="http://schemas.microsoft.com/office/drawing/2014/main" id="{E65D821F-018A-4016-9D18-D371CA378440}"/>
              </a:ext>
            </a:extLst>
          </p:cNvPr>
          <p:cNvSpPr txBox="1"/>
          <p:nvPr/>
        </p:nvSpPr>
        <p:spPr>
          <a:xfrm>
            <a:off x="2716749" y="319216"/>
            <a:ext cx="5916302" cy="769441"/>
          </a:xfrm>
          <a:prstGeom prst="rect">
            <a:avLst/>
          </a:prstGeom>
          <a:noFill/>
        </p:spPr>
        <p:txBody>
          <a:bodyPr wrap="square" rtlCol="0">
            <a:spAutoFit/>
            <a:scene3d>
              <a:camera prst="orthographicFront"/>
              <a:lightRig rig="soft" dir="t">
                <a:rot lat="0" lon="0" rev="15600000"/>
              </a:lightRig>
            </a:scene3d>
            <a:sp3d extrusionH="57150" prstMaterial="softEdge">
              <a:bevelT w="25400" h="38100"/>
            </a:sp3d>
          </a:bodyPr>
          <a:lstStyle/>
          <a:p>
            <a:r>
              <a:rPr lang="en-US" sz="4400" b="1" dirty="0">
                <a:ln/>
                <a:solidFill>
                  <a:schemeClr val="tx2"/>
                </a:solidFill>
              </a:rPr>
              <a:t>Some Important Facts</a:t>
            </a:r>
          </a:p>
        </p:txBody>
      </p:sp>
    </p:spTree>
    <p:extLst>
      <p:ext uri="{BB962C8B-B14F-4D97-AF65-F5344CB8AC3E}">
        <p14:creationId xmlns:p14="http://schemas.microsoft.com/office/powerpoint/2010/main" val="131086501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0-#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B9772A-C520-4B42-A827-BC53CF48F749}"/>
              </a:ext>
            </a:extLst>
          </p:cNvPr>
          <p:cNvSpPr/>
          <p:nvPr/>
        </p:nvSpPr>
        <p:spPr>
          <a:xfrm>
            <a:off x="0" y="0"/>
            <a:ext cx="12192000" cy="3429000"/>
          </a:xfrm>
          <a:prstGeom prst="rect">
            <a:avLst/>
          </a:prstGeom>
          <a:solidFill>
            <a:srgbClr val="D3AD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6696BAD-5DD1-46F9-BE55-F5AAC8C3407A}"/>
              </a:ext>
            </a:extLst>
          </p:cNvPr>
          <p:cNvSpPr>
            <a:spLocks/>
          </p:cNvSpPr>
          <p:nvPr/>
        </p:nvSpPr>
        <p:spPr>
          <a:xfrm>
            <a:off x="769256" y="2743200"/>
            <a:ext cx="1828800" cy="13716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E71934B-5AED-493F-AF75-59DEB5308857}"/>
              </a:ext>
            </a:extLst>
          </p:cNvPr>
          <p:cNvSpPr>
            <a:spLocks/>
          </p:cNvSpPr>
          <p:nvPr/>
        </p:nvSpPr>
        <p:spPr>
          <a:xfrm>
            <a:off x="1683657" y="2286000"/>
            <a:ext cx="3657600" cy="228600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59B8C9A-9C67-421C-8245-D40696BE10AB}"/>
              </a:ext>
            </a:extLst>
          </p:cNvPr>
          <p:cNvSpPr>
            <a:spLocks/>
          </p:cNvSpPr>
          <p:nvPr/>
        </p:nvSpPr>
        <p:spPr>
          <a:xfrm>
            <a:off x="9593944" y="2743200"/>
            <a:ext cx="1828800" cy="1371601"/>
          </a:xfrm>
          <a:prstGeom prst="rect">
            <a:avLst/>
          </a:prstGeom>
          <a:blipFill dpi="0" rotWithShape="1">
            <a:blip r:embed="rId4" cstate="print">
              <a:extLst>
                <a:ext uri="{28A0092B-C50C-407E-A947-70E740481C1C}">
                  <a14:useLocalDpi xmlns:a14="http://schemas.microsoft.com/office/drawing/2010/main" val="0"/>
                </a:ext>
              </a:extLst>
            </a:blip>
            <a:srcRect/>
            <a:stretch>
              <a:fillRect t="-30000" b="-3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5D7A3F7-BF81-4536-A147-006E0AEFC1D7}"/>
              </a:ext>
            </a:extLst>
          </p:cNvPr>
          <p:cNvSpPr>
            <a:spLocks/>
          </p:cNvSpPr>
          <p:nvPr/>
        </p:nvSpPr>
        <p:spPr>
          <a:xfrm>
            <a:off x="6850745" y="2294792"/>
            <a:ext cx="3657600" cy="2286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0ED674D-139F-4475-B68F-46EC37574844}"/>
              </a:ext>
            </a:extLst>
          </p:cNvPr>
          <p:cNvSpPr>
            <a:spLocks/>
          </p:cNvSpPr>
          <p:nvPr/>
        </p:nvSpPr>
        <p:spPr>
          <a:xfrm>
            <a:off x="2895600" y="1371600"/>
            <a:ext cx="6400800" cy="4114800"/>
          </a:xfrm>
          <a:prstGeom prst="rect">
            <a:avLst/>
          </a:pr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0E70CD5C-53E8-44AF-9F31-9476FEF91021}"/>
              </a:ext>
            </a:extLst>
          </p:cNvPr>
          <p:cNvSpPr txBox="1"/>
          <p:nvPr/>
        </p:nvSpPr>
        <p:spPr>
          <a:xfrm>
            <a:off x="4644537" y="5609493"/>
            <a:ext cx="2902927" cy="523220"/>
          </a:xfrm>
          <a:prstGeom prst="rect">
            <a:avLst/>
          </a:prstGeom>
          <a:noFill/>
        </p:spPr>
        <p:txBody>
          <a:bodyPr wrap="square" rtlCol="0">
            <a:spAutoFit/>
          </a:bodyPr>
          <a:lstStyle/>
          <a:p>
            <a:pPr algn="ctr"/>
            <a:r>
              <a:rPr lang="en-US" sz="2800" b="1" dirty="0"/>
              <a:t>Economic Benefits</a:t>
            </a:r>
            <a:endParaRPr lang="en-US" sz="2800" dirty="0"/>
          </a:p>
        </p:txBody>
      </p:sp>
      <p:sp>
        <p:nvSpPr>
          <p:cNvPr id="12" name="Rectangle 11">
            <a:extLst>
              <a:ext uri="{FF2B5EF4-FFF2-40B4-BE49-F238E27FC236}">
                <a16:creationId xmlns:a16="http://schemas.microsoft.com/office/drawing/2014/main" id="{401A5B5C-7B73-45A6-A85F-BA177F759E2C}"/>
              </a:ext>
            </a:extLst>
          </p:cNvPr>
          <p:cNvSpPr/>
          <p:nvPr/>
        </p:nvSpPr>
        <p:spPr>
          <a:xfrm>
            <a:off x="0" y="13840"/>
            <a:ext cx="12192000" cy="92333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4">
                    <a:lumMod val="20000"/>
                    <a:lumOff val="80000"/>
                  </a:schemeClr>
                </a:solidFill>
              </a:rPr>
              <a:t>Merits Of C &amp; D Waste Recycling</a:t>
            </a:r>
          </a:p>
        </p:txBody>
      </p:sp>
    </p:spTree>
    <p:extLst>
      <p:ext uri="{BB962C8B-B14F-4D97-AF65-F5344CB8AC3E}">
        <p14:creationId xmlns:p14="http://schemas.microsoft.com/office/powerpoint/2010/main" val="3213325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B9772A-C520-4B42-A827-BC53CF48F749}"/>
              </a:ext>
            </a:extLst>
          </p:cNvPr>
          <p:cNvSpPr/>
          <p:nvPr/>
        </p:nvSpPr>
        <p:spPr>
          <a:xfrm>
            <a:off x="0" y="0"/>
            <a:ext cx="12192000" cy="3429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6696BAD-5DD1-46F9-BE55-F5AAC8C3407A}"/>
              </a:ext>
            </a:extLst>
          </p:cNvPr>
          <p:cNvSpPr>
            <a:spLocks/>
          </p:cNvSpPr>
          <p:nvPr/>
        </p:nvSpPr>
        <p:spPr>
          <a:xfrm>
            <a:off x="9589857" y="2743200"/>
            <a:ext cx="1828800" cy="13716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59B8C9A-9C67-421C-8245-D40696BE10AB}"/>
              </a:ext>
            </a:extLst>
          </p:cNvPr>
          <p:cNvSpPr>
            <a:spLocks/>
          </p:cNvSpPr>
          <p:nvPr/>
        </p:nvSpPr>
        <p:spPr>
          <a:xfrm>
            <a:off x="6850750" y="2297152"/>
            <a:ext cx="3657600" cy="2286000"/>
          </a:xfrm>
          <a:prstGeom prst="rect">
            <a:avLst/>
          </a:prstGeom>
          <a:blipFill dpi="0" rotWithShape="1">
            <a:blip r:embed="rId3" cstate="print">
              <a:extLst>
                <a:ext uri="{28A0092B-C50C-407E-A947-70E740481C1C}">
                  <a14:useLocalDpi xmlns:a14="http://schemas.microsoft.com/office/drawing/2010/main" val="0"/>
                </a:ext>
              </a:extLst>
            </a:blip>
            <a:srcRect/>
            <a:stretch>
              <a:fillRect t="-30000" b="-3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E71934B-5AED-493F-AF75-59DEB5308857}"/>
              </a:ext>
            </a:extLst>
          </p:cNvPr>
          <p:cNvSpPr>
            <a:spLocks/>
          </p:cNvSpPr>
          <p:nvPr/>
        </p:nvSpPr>
        <p:spPr>
          <a:xfrm>
            <a:off x="769250" y="2743200"/>
            <a:ext cx="1828800" cy="137160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0ED674D-139F-4475-B68F-46EC37574844}"/>
              </a:ext>
            </a:extLst>
          </p:cNvPr>
          <p:cNvSpPr>
            <a:spLocks/>
          </p:cNvSpPr>
          <p:nvPr/>
        </p:nvSpPr>
        <p:spPr>
          <a:xfrm>
            <a:off x="1691268" y="2297149"/>
            <a:ext cx="3657600" cy="2286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5D7A3F7-BF81-4536-A147-006E0AEFC1D7}"/>
              </a:ext>
            </a:extLst>
          </p:cNvPr>
          <p:cNvSpPr>
            <a:spLocks/>
          </p:cNvSpPr>
          <p:nvPr/>
        </p:nvSpPr>
        <p:spPr>
          <a:xfrm>
            <a:off x="2895600" y="1371600"/>
            <a:ext cx="6400800" cy="4114800"/>
          </a:xfrm>
          <a:prstGeom prst="rect">
            <a:avLst/>
          </a:pr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E8F6925A-9360-42D9-BCBE-3192380EEC6F}"/>
              </a:ext>
            </a:extLst>
          </p:cNvPr>
          <p:cNvSpPr txBox="1"/>
          <p:nvPr/>
        </p:nvSpPr>
        <p:spPr>
          <a:xfrm>
            <a:off x="4104640" y="5628640"/>
            <a:ext cx="3850640" cy="523220"/>
          </a:xfrm>
          <a:prstGeom prst="rect">
            <a:avLst/>
          </a:prstGeom>
          <a:noFill/>
        </p:spPr>
        <p:txBody>
          <a:bodyPr wrap="square" rtlCol="0">
            <a:spAutoFit/>
          </a:bodyPr>
          <a:lstStyle/>
          <a:p>
            <a:pPr algn="ctr"/>
            <a:r>
              <a:rPr lang="en-US" sz="2800" b="1" dirty="0"/>
              <a:t>Saves Energy</a:t>
            </a:r>
          </a:p>
        </p:txBody>
      </p:sp>
      <p:sp>
        <p:nvSpPr>
          <p:cNvPr id="12" name="Rectangle 11">
            <a:extLst>
              <a:ext uri="{FF2B5EF4-FFF2-40B4-BE49-F238E27FC236}">
                <a16:creationId xmlns:a16="http://schemas.microsoft.com/office/drawing/2014/main" id="{83B8A2B8-153D-416F-9629-C28DD2FFC2AA}"/>
              </a:ext>
            </a:extLst>
          </p:cNvPr>
          <p:cNvSpPr/>
          <p:nvPr/>
        </p:nvSpPr>
        <p:spPr>
          <a:xfrm>
            <a:off x="0" y="13840"/>
            <a:ext cx="12192000" cy="92333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4">
                    <a:lumMod val="20000"/>
                    <a:lumOff val="80000"/>
                  </a:schemeClr>
                </a:solidFill>
              </a:rPr>
              <a:t>Merits Of C &amp; D Waste Recycling</a:t>
            </a:r>
          </a:p>
        </p:txBody>
      </p:sp>
    </p:spTree>
    <p:extLst>
      <p:ext uri="{BB962C8B-B14F-4D97-AF65-F5344CB8AC3E}">
        <p14:creationId xmlns:p14="http://schemas.microsoft.com/office/powerpoint/2010/main" val="29250988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B67929-770E-4637-85F6-CB7C43AEC50B}"/>
              </a:ext>
            </a:extLst>
          </p:cNvPr>
          <p:cNvSpPr/>
          <p:nvPr/>
        </p:nvSpPr>
        <p:spPr>
          <a:xfrm>
            <a:off x="0" y="-508524"/>
            <a:ext cx="12192000" cy="34290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AFCFD0A3-73F8-4A16-AF78-C3D62556E0CE}"/>
              </a:ext>
            </a:extLst>
          </p:cNvPr>
          <p:cNvSpPr>
            <a:spLocks/>
          </p:cNvSpPr>
          <p:nvPr/>
        </p:nvSpPr>
        <p:spPr>
          <a:xfrm>
            <a:off x="344686" y="2285999"/>
            <a:ext cx="3657600" cy="2286000"/>
          </a:xfrm>
          <a:prstGeom prst="rect">
            <a:avLst/>
          </a:prstGeom>
          <a:blipFill dpi="0" rotWithShape="1">
            <a:blip r:embed="rId2" cstate="print">
              <a:extLst>
                <a:ext uri="{28A0092B-C50C-407E-A947-70E740481C1C}">
                  <a14:useLocalDpi xmlns:a14="http://schemas.microsoft.com/office/drawing/2010/main" val="0"/>
                </a:ext>
              </a:extLst>
            </a:blip>
            <a:srcRect/>
            <a:stretch>
              <a:fillRect l="-555" t="-4973" r="555" b="-3910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87D4299-F2CF-46C4-8011-6DE51481EB0A}"/>
              </a:ext>
            </a:extLst>
          </p:cNvPr>
          <p:cNvSpPr>
            <a:spLocks/>
          </p:cNvSpPr>
          <p:nvPr/>
        </p:nvSpPr>
        <p:spPr>
          <a:xfrm>
            <a:off x="8072455" y="2285999"/>
            <a:ext cx="3657600" cy="2286000"/>
          </a:xfrm>
          <a:prstGeom prst="rect">
            <a:avLst/>
          </a:prstGeom>
          <a:blipFill dpi="0" rotWithShape="1">
            <a:blip r:embed="rId3" cstate="print">
              <a:extLst>
                <a:ext uri="{28A0092B-C50C-407E-A947-70E740481C1C}">
                  <a14:useLocalDpi xmlns:a14="http://schemas.microsoft.com/office/drawing/2010/main" val="0"/>
                </a:ext>
              </a:extLst>
            </a:blip>
            <a:srcRect/>
            <a:stretch>
              <a:fillRect l="38" t="-54743" r="-38" b="-5858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2E126D1-9DBC-4E55-928F-69431A31D473}"/>
              </a:ext>
            </a:extLst>
          </p:cNvPr>
          <p:cNvSpPr>
            <a:spLocks/>
          </p:cNvSpPr>
          <p:nvPr/>
        </p:nvSpPr>
        <p:spPr>
          <a:xfrm>
            <a:off x="2877443" y="1371600"/>
            <a:ext cx="6400800" cy="4114800"/>
          </a:xfrm>
          <a:prstGeom prst="rect">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lte">
            <a:extLst>
              <a:ext uri="{FF2B5EF4-FFF2-40B4-BE49-F238E27FC236}">
                <a16:creationId xmlns:a16="http://schemas.microsoft.com/office/drawing/2014/main" id="{F8B2FCF7-CAEA-46A7-ADA0-A8A29093F860}"/>
              </a:ext>
            </a:extLst>
          </p:cNvPr>
          <p:cNvSpPr txBox="1"/>
          <p:nvPr/>
        </p:nvSpPr>
        <p:spPr>
          <a:xfrm>
            <a:off x="4119545" y="5526164"/>
            <a:ext cx="3952910" cy="523220"/>
          </a:xfrm>
          <a:prstGeom prst="rect">
            <a:avLst/>
          </a:prstGeom>
          <a:noFill/>
        </p:spPr>
        <p:txBody>
          <a:bodyPr wrap="square" rtlCol="0">
            <a:spAutoFit/>
          </a:bodyPr>
          <a:lstStyle/>
          <a:p>
            <a:pPr algn="ctr"/>
            <a:r>
              <a:rPr lang="en-US" sz="2800" b="1" dirty="0"/>
              <a:t>Less Durable</a:t>
            </a:r>
          </a:p>
        </p:txBody>
      </p:sp>
      <p:sp>
        <p:nvSpPr>
          <p:cNvPr id="9" name="Rectangle 8">
            <a:extLst>
              <a:ext uri="{FF2B5EF4-FFF2-40B4-BE49-F238E27FC236}">
                <a16:creationId xmlns:a16="http://schemas.microsoft.com/office/drawing/2014/main" id="{C5474431-3123-4F97-9C09-004141A68F21}"/>
              </a:ext>
            </a:extLst>
          </p:cNvPr>
          <p:cNvSpPr/>
          <p:nvPr/>
        </p:nvSpPr>
        <p:spPr>
          <a:xfrm>
            <a:off x="0" y="13840"/>
            <a:ext cx="12192000" cy="92333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4">
                    <a:lumMod val="20000"/>
                    <a:lumOff val="80000"/>
                  </a:schemeClr>
                </a:solidFill>
              </a:rPr>
              <a:t>Demerits Of C &amp; D Waste Recycling</a:t>
            </a:r>
          </a:p>
        </p:txBody>
      </p:sp>
    </p:spTree>
    <p:extLst>
      <p:ext uri="{BB962C8B-B14F-4D97-AF65-F5344CB8AC3E}">
        <p14:creationId xmlns:p14="http://schemas.microsoft.com/office/powerpoint/2010/main" val="39536513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B67929-770E-4637-85F6-CB7C43AEC50B}"/>
              </a:ext>
            </a:extLst>
          </p:cNvPr>
          <p:cNvSpPr/>
          <p:nvPr/>
        </p:nvSpPr>
        <p:spPr>
          <a:xfrm>
            <a:off x="0" y="-508524"/>
            <a:ext cx="12192000" cy="3429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B2E126D1-9DBC-4E55-928F-69431A31D473}"/>
              </a:ext>
            </a:extLst>
          </p:cNvPr>
          <p:cNvSpPr>
            <a:spLocks/>
          </p:cNvSpPr>
          <p:nvPr/>
        </p:nvSpPr>
        <p:spPr>
          <a:xfrm>
            <a:off x="344686" y="2211906"/>
            <a:ext cx="3657600" cy="2286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AFCFD0A3-73F8-4A16-AF78-C3D62556E0CE}"/>
              </a:ext>
            </a:extLst>
          </p:cNvPr>
          <p:cNvSpPr>
            <a:spLocks/>
          </p:cNvSpPr>
          <p:nvPr/>
        </p:nvSpPr>
        <p:spPr>
          <a:xfrm>
            <a:off x="7860595" y="2207942"/>
            <a:ext cx="3657600" cy="2286000"/>
          </a:xfrm>
          <a:prstGeom prst="rect">
            <a:avLst/>
          </a:prstGeom>
          <a:blipFill dpi="0" rotWithShape="1">
            <a:blip r:embed="rId3" cstate="print">
              <a:extLst>
                <a:ext uri="{28A0092B-C50C-407E-A947-70E740481C1C}">
                  <a14:useLocalDpi xmlns:a14="http://schemas.microsoft.com/office/drawing/2010/main" val="0"/>
                </a:ext>
              </a:extLst>
            </a:blip>
            <a:srcRect/>
            <a:stretch>
              <a:fillRect l="-555" t="-4973" r="555" b="-3910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87D4299-F2CF-46C4-8011-6DE51481EB0A}"/>
              </a:ext>
            </a:extLst>
          </p:cNvPr>
          <p:cNvSpPr>
            <a:spLocks/>
          </p:cNvSpPr>
          <p:nvPr/>
        </p:nvSpPr>
        <p:spPr>
          <a:xfrm>
            <a:off x="2877443" y="1371600"/>
            <a:ext cx="6400800" cy="4114800"/>
          </a:xfrm>
          <a:prstGeom prst="rect">
            <a:avLst/>
          </a:prstGeom>
          <a:blipFill dpi="0" rotWithShape="1">
            <a:blip r:embed="rId4" cstate="print">
              <a:extLst>
                <a:ext uri="{28A0092B-C50C-407E-A947-70E740481C1C}">
                  <a14:useLocalDpi xmlns:a14="http://schemas.microsoft.com/office/drawing/2010/main" val="0"/>
                </a:ext>
              </a:extLst>
            </a:blip>
            <a:srcRect/>
            <a:stretch>
              <a:fillRect l="38" t="-54743" r="-38" b="-5858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lte">
            <a:extLst>
              <a:ext uri="{FF2B5EF4-FFF2-40B4-BE49-F238E27FC236}">
                <a16:creationId xmlns:a16="http://schemas.microsoft.com/office/drawing/2014/main" id="{F8B2FCF7-CAEA-46A7-ADA0-A8A29093F860}"/>
              </a:ext>
            </a:extLst>
          </p:cNvPr>
          <p:cNvSpPr txBox="1"/>
          <p:nvPr/>
        </p:nvSpPr>
        <p:spPr>
          <a:xfrm>
            <a:off x="2877442" y="5526164"/>
            <a:ext cx="6400799" cy="1384995"/>
          </a:xfrm>
          <a:prstGeom prst="rect">
            <a:avLst/>
          </a:prstGeom>
          <a:noFill/>
        </p:spPr>
        <p:txBody>
          <a:bodyPr wrap="square" rtlCol="0">
            <a:spAutoFit/>
          </a:bodyPr>
          <a:lstStyle/>
          <a:p>
            <a:pPr algn="ctr"/>
            <a:r>
              <a:rPr lang="en-US" sz="2800" b="1" dirty="0"/>
              <a:t>Recycling sites are always unhygienic, unsafe and unsightly</a:t>
            </a:r>
            <a:br>
              <a:rPr lang="en-US" sz="2800" dirty="0"/>
            </a:br>
            <a:endParaRPr lang="en-US" sz="2800" dirty="0"/>
          </a:p>
        </p:txBody>
      </p:sp>
      <p:sp>
        <p:nvSpPr>
          <p:cNvPr id="8" name="Rectangle 7">
            <a:extLst>
              <a:ext uri="{FF2B5EF4-FFF2-40B4-BE49-F238E27FC236}">
                <a16:creationId xmlns:a16="http://schemas.microsoft.com/office/drawing/2014/main" id="{60C63189-CB34-4211-8169-61989A94E651}"/>
              </a:ext>
            </a:extLst>
          </p:cNvPr>
          <p:cNvSpPr/>
          <p:nvPr/>
        </p:nvSpPr>
        <p:spPr>
          <a:xfrm>
            <a:off x="0" y="13840"/>
            <a:ext cx="12192000" cy="92333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4">
                    <a:lumMod val="20000"/>
                    <a:lumOff val="80000"/>
                  </a:schemeClr>
                </a:solidFill>
              </a:rPr>
              <a:t>Demerits Of C &amp; D Waste Recycling</a:t>
            </a:r>
          </a:p>
        </p:txBody>
      </p:sp>
    </p:spTree>
    <p:extLst>
      <p:ext uri="{BB962C8B-B14F-4D97-AF65-F5344CB8AC3E}">
        <p14:creationId xmlns:p14="http://schemas.microsoft.com/office/powerpoint/2010/main" val="2018526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B67929-770E-4637-85F6-CB7C43AEC50B}"/>
              </a:ext>
            </a:extLst>
          </p:cNvPr>
          <p:cNvSpPr/>
          <p:nvPr/>
        </p:nvSpPr>
        <p:spPr>
          <a:xfrm>
            <a:off x="0" y="-254524"/>
            <a:ext cx="12192000" cy="3429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5EF99842-5EAF-47BB-9C1A-E4A5F8D75B0F}"/>
              </a:ext>
            </a:extLst>
          </p:cNvPr>
          <p:cNvSpPr>
            <a:spLocks/>
          </p:cNvSpPr>
          <p:nvPr/>
        </p:nvSpPr>
        <p:spPr>
          <a:xfrm>
            <a:off x="8149674" y="2336799"/>
            <a:ext cx="3657600" cy="2286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A154E2DB-0C48-42F2-9053-140EFEC1307C}"/>
              </a:ext>
            </a:extLst>
          </p:cNvPr>
          <p:cNvSpPr>
            <a:spLocks/>
          </p:cNvSpPr>
          <p:nvPr/>
        </p:nvSpPr>
        <p:spPr>
          <a:xfrm>
            <a:off x="340360" y="2286000"/>
            <a:ext cx="3657600" cy="2286000"/>
          </a:xfrm>
          <a:prstGeom prst="rect">
            <a:avLst/>
          </a:prstGeom>
          <a:blipFill dpi="0" rotWithShape="1">
            <a:blip r:embed="rId3" cstate="print">
              <a:extLst>
                <a:ext uri="{28A0092B-C50C-407E-A947-70E740481C1C}">
                  <a14:useLocalDpi xmlns:a14="http://schemas.microsoft.com/office/drawing/2010/main" val="0"/>
                </a:ext>
              </a:extLst>
            </a:blip>
            <a:srcRect/>
            <a:stretch>
              <a:fillRect l="38" t="-54743" r="-38" b="-5858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lte">
            <a:extLst>
              <a:ext uri="{FF2B5EF4-FFF2-40B4-BE49-F238E27FC236}">
                <a16:creationId xmlns:a16="http://schemas.microsoft.com/office/drawing/2014/main" id="{F8B2FCF7-CAEA-46A7-ADA0-A8A29093F860}"/>
              </a:ext>
            </a:extLst>
          </p:cNvPr>
          <p:cNvSpPr txBox="1"/>
          <p:nvPr/>
        </p:nvSpPr>
        <p:spPr>
          <a:xfrm>
            <a:off x="2876745" y="5526164"/>
            <a:ext cx="6400800" cy="954107"/>
          </a:xfrm>
          <a:prstGeom prst="rect">
            <a:avLst/>
          </a:prstGeom>
          <a:noFill/>
        </p:spPr>
        <p:txBody>
          <a:bodyPr wrap="square" rtlCol="0">
            <a:spAutoFit/>
          </a:bodyPr>
          <a:lstStyle/>
          <a:p>
            <a:pPr algn="ctr"/>
            <a:r>
              <a:rPr lang="en-US" sz="2800" b="1" dirty="0"/>
              <a:t>Recycling is not widespread on large scale</a:t>
            </a:r>
          </a:p>
          <a:p>
            <a:endParaRPr lang="en-US" sz="2800" b="1" dirty="0"/>
          </a:p>
        </p:txBody>
      </p:sp>
      <p:sp>
        <p:nvSpPr>
          <p:cNvPr id="8" name="Rectangle 7">
            <a:extLst>
              <a:ext uri="{FF2B5EF4-FFF2-40B4-BE49-F238E27FC236}">
                <a16:creationId xmlns:a16="http://schemas.microsoft.com/office/drawing/2014/main" id="{4F2C15B6-DDC8-4050-8097-2671C0ECBD35}"/>
              </a:ext>
            </a:extLst>
          </p:cNvPr>
          <p:cNvSpPr>
            <a:spLocks/>
          </p:cNvSpPr>
          <p:nvPr/>
        </p:nvSpPr>
        <p:spPr>
          <a:xfrm>
            <a:off x="2876745" y="1365558"/>
            <a:ext cx="6394144" cy="4114800"/>
          </a:xfrm>
          <a:prstGeom prst="rect">
            <a:avLst/>
          </a:prstGeom>
          <a:blipFill dpi="0" rotWithShape="1">
            <a:blip r:embed="rId4" cstate="print">
              <a:extLst>
                <a:ext uri="{28A0092B-C50C-407E-A947-70E740481C1C}">
                  <a14:useLocalDpi xmlns:a14="http://schemas.microsoft.com/office/drawing/2010/main" val="0"/>
                </a:ext>
              </a:extLst>
            </a:blip>
            <a:srcRect/>
            <a:stretch>
              <a:fillRect l="-555" t="-4973" r="555" b="-3910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AA2D664-6D78-48E0-8DBD-071EF5494D51}"/>
              </a:ext>
            </a:extLst>
          </p:cNvPr>
          <p:cNvSpPr/>
          <p:nvPr/>
        </p:nvSpPr>
        <p:spPr>
          <a:xfrm>
            <a:off x="0" y="13840"/>
            <a:ext cx="12192000" cy="92333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4">
                    <a:lumMod val="20000"/>
                    <a:lumOff val="80000"/>
                  </a:schemeClr>
                </a:solidFill>
              </a:rPr>
              <a:t>Demerits Of C &amp; D Waste Recycling</a:t>
            </a:r>
          </a:p>
        </p:txBody>
      </p:sp>
    </p:spTree>
    <p:extLst>
      <p:ext uri="{BB962C8B-B14F-4D97-AF65-F5344CB8AC3E}">
        <p14:creationId xmlns:p14="http://schemas.microsoft.com/office/powerpoint/2010/main" val="34701761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5F3F1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D0D090-6B7C-4291-ADF9-5B763FEFC8B9}"/>
              </a:ext>
            </a:extLst>
          </p:cNvPr>
          <p:cNvSpPr/>
          <p:nvPr/>
        </p:nvSpPr>
        <p:spPr>
          <a:xfrm>
            <a:off x="6269501" y="337625"/>
            <a:ext cx="5064369" cy="6077243"/>
          </a:xfrm>
          <a:prstGeom prst="rect">
            <a:avLst/>
          </a:prstGeom>
          <a:solidFill>
            <a:srgbClr val="24201F"/>
          </a:solidFill>
          <a:ln>
            <a:noFill/>
          </a:ln>
          <a:effectLst>
            <a:outerShdw blurRad="50800" dist="1016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4E7CD148-78FB-471A-B5CC-7D2C980C36DF}"/>
              </a:ext>
            </a:extLst>
          </p:cNvPr>
          <p:cNvSpPr/>
          <p:nvPr/>
        </p:nvSpPr>
        <p:spPr>
          <a:xfrm flipH="1" flipV="1">
            <a:off x="10892637" y="390377"/>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ight Triangle 8">
            <a:extLst>
              <a:ext uri="{FF2B5EF4-FFF2-40B4-BE49-F238E27FC236}">
                <a16:creationId xmlns:a16="http://schemas.microsoft.com/office/drawing/2014/main" id="{A281906A-EEAF-4826-B085-D8FC8E11968D}"/>
              </a:ext>
            </a:extLst>
          </p:cNvPr>
          <p:cNvSpPr/>
          <p:nvPr/>
        </p:nvSpPr>
        <p:spPr>
          <a:xfrm flipH="1">
            <a:off x="1092814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ectangle 11">
            <a:extLst>
              <a:ext uri="{FF2B5EF4-FFF2-40B4-BE49-F238E27FC236}">
                <a16:creationId xmlns:a16="http://schemas.microsoft.com/office/drawing/2014/main" id="{517B4086-6155-47C5-9C6C-968FCF46B7B4}"/>
              </a:ext>
            </a:extLst>
          </p:cNvPr>
          <p:cNvSpPr/>
          <p:nvPr/>
        </p:nvSpPr>
        <p:spPr>
          <a:xfrm>
            <a:off x="6327112" y="642257"/>
            <a:ext cx="218385" cy="5573486"/>
          </a:xfrm>
          <a:prstGeom prst="rect">
            <a:avLst/>
          </a:prstGeom>
          <a:solidFill>
            <a:srgbClr val="E4D7B4">
              <a:alpha val="2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0" name="Group 89">
            <a:extLst>
              <a:ext uri="{FF2B5EF4-FFF2-40B4-BE49-F238E27FC236}">
                <a16:creationId xmlns:a16="http://schemas.microsoft.com/office/drawing/2014/main" id="{4F0CDE8A-B12E-40CB-BB4B-53F064AECBFB}"/>
              </a:ext>
            </a:extLst>
          </p:cNvPr>
          <p:cNvGrpSpPr/>
          <p:nvPr/>
        </p:nvGrpSpPr>
        <p:grpSpPr>
          <a:xfrm>
            <a:off x="6095999" y="868383"/>
            <a:ext cx="373171" cy="5049396"/>
            <a:chOff x="5772183" y="784514"/>
            <a:chExt cx="717314" cy="5049396"/>
          </a:xfrm>
          <a:effectLst>
            <a:outerShdw blurRad="50800" dist="38100" dir="5400000" algn="t" rotWithShape="0">
              <a:prstClr val="black">
                <a:alpha val="40000"/>
              </a:prstClr>
            </a:outerShdw>
          </a:effectLst>
        </p:grpSpPr>
        <p:grpSp>
          <p:nvGrpSpPr>
            <p:cNvPr id="16" name="Group 15">
              <a:extLst>
                <a:ext uri="{FF2B5EF4-FFF2-40B4-BE49-F238E27FC236}">
                  <a16:creationId xmlns:a16="http://schemas.microsoft.com/office/drawing/2014/main" id="{7083AC48-F29D-474C-B03B-BD556737251E}"/>
                </a:ext>
              </a:extLst>
            </p:cNvPr>
            <p:cNvGrpSpPr/>
            <p:nvPr/>
          </p:nvGrpSpPr>
          <p:grpSpPr>
            <a:xfrm>
              <a:off x="5772183" y="784514"/>
              <a:ext cx="703246" cy="99031"/>
              <a:chOff x="5772183" y="784514"/>
              <a:chExt cx="703246" cy="99031"/>
            </a:xfrm>
          </p:grpSpPr>
          <p:sp>
            <p:nvSpPr>
              <p:cNvPr id="13" name="Oval 12">
                <a:extLst>
                  <a:ext uri="{FF2B5EF4-FFF2-40B4-BE49-F238E27FC236}">
                    <a16:creationId xmlns:a16="http://schemas.microsoft.com/office/drawing/2014/main" id="{7C0C5BC9-033C-4E74-AC75-9EEA3423CEF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2CF74482-0721-4E4D-865B-85AC01A8B29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CE51A6AC-044C-4486-8025-8CFE52F31EF9}"/>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B88A290A-757F-4266-891F-1B12C105248D}"/>
                </a:ext>
              </a:extLst>
            </p:cNvPr>
            <p:cNvGrpSpPr/>
            <p:nvPr/>
          </p:nvGrpSpPr>
          <p:grpSpPr>
            <a:xfrm>
              <a:off x="5786251" y="1085906"/>
              <a:ext cx="703246" cy="4748004"/>
              <a:chOff x="5786251" y="1085906"/>
              <a:chExt cx="703246" cy="4748004"/>
            </a:xfrm>
          </p:grpSpPr>
          <p:grpSp>
            <p:nvGrpSpPr>
              <p:cNvPr id="17" name="Group 16">
                <a:extLst>
                  <a:ext uri="{FF2B5EF4-FFF2-40B4-BE49-F238E27FC236}">
                    <a16:creationId xmlns:a16="http://schemas.microsoft.com/office/drawing/2014/main" id="{6E8C30D7-3D0F-4E84-B3BD-EB23A0E7BDF5}"/>
                  </a:ext>
                </a:extLst>
              </p:cNvPr>
              <p:cNvGrpSpPr/>
              <p:nvPr/>
            </p:nvGrpSpPr>
            <p:grpSpPr>
              <a:xfrm>
                <a:off x="5786251" y="1085906"/>
                <a:ext cx="703246" cy="99031"/>
                <a:chOff x="5772183" y="784514"/>
                <a:chExt cx="703246" cy="99031"/>
              </a:xfrm>
            </p:grpSpPr>
            <p:sp>
              <p:nvSpPr>
                <p:cNvPr id="18" name="Oval 17">
                  <a:extLst>
                    <a:ext uri="{FF2B5EF4-FFF2-40B4-BE49-F238E27FC236}">
                      <a16:creationId xmlns:a16="http://schemas.microsoft.com/office/drawing/2014/main" id="{229D4F0D-9B2F-479E-B3FA-2A69B7DD0C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6A9C1A3-9268-46F2-9F79-0E15859118B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06BC3828-A6CC-4833-BE7A-1640A1A6901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F42A8CC2-9150-46F8-B41D-DC8E6CB9B121}"/>
                  </a:ext>
                </a:extLst>
              </p:cNvPr>
              <p:cNvGrpSpPr/>
              <p:nvPr/>
            </p:nvGrpSpPr>
            <p:grpSpPr>
              <a:xfrm>
                <a:off x="5786251" y="1359375"/>
                <a:ext cx="703246" cy="99031"/>
                <a:chOff x="5772183" y="784514"/>
                <a:chExt cx="703246" cy="99031"/>
              </a:xfrm>
            </p:grpSpPr>
            <p:sp>
              <p:nvSpPr>
                <p:cNvPr id="22" name="Oval 21">
                  <a:extLst>
                    <a:ext uri="{FF2B5EF4-FFF2-40B4-BE49-F238E27FC236}">
                      <a16:creationId xmlns:a16="http://schemas.microsoft.com/office/drawing/2014/main" id="{1B2D122F-9ED7-4761-BCB8-659B8193C67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D40D170-0540-4C45-8113-3F16E48265C1}"/>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F71E06F7-8770-44C4-AAC4-0BD07EFFAC5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F079EA5-CA68-4EAE-9AE0-8B9F054E1816}"/>
                  </a:ext>
                </a:extLst>
              </p:cNvPr>
              <p:cNvGrpSpPr/>
              <p:nvPr/>
            </p:nvGrpSpPr>
            <p:grpSpPr>
              <a:xfrm>
                <a:off x="5786251" y="1632844"/>
                <a:ext cx="703246" cy="99031"/>
                <a:chOff x="5772183" y="784514"/>
                <a:chExt cx="703246" cy="99031"/>
              </a:xfrm>
            </p:grpSpPr>
            <p:sp>
              <p:nvSpPr>
                <p:cNvPr id="26" name="Oval 25">
                  <a:extLst>
                    <a:ext uri="{FF2B5EF4-FFF2-40B4-BE49-F238E27FC236}">
                      <a16:creationId xmlns:a16="http://schemas.microsoft.com/office/drawing/2014/main" id="{C7B8A345-412B-4064-B951-81A37EBAC8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14A49EB-C283-427A-AF09-86907DA5F6C9}"/>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AB10A0AE-E505-4683-A947-6E977A4576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F619E5D5-847F-44A4-AAFD-AC2092EBF188}"/>
                  </a:ext>
                </a:extLst>
              </p:cNvPr>
              <p:cNvGrpSpPr/>
              <p:nvPr/>
            </p:nvGrpSpPr>
            <p:grpSpPr>
              <a:xfrm>
                <a:off x="5786251" y="1906313"/>
                <a:ext cx="703246" cy="99031"/>
                <a:chOff x="5772183" y="784514"/>
                <a:chExt cx="703246" cy="99031"/>
              </a:xfrm>
            </p:grpSpPr>
            <p:sp>
              <p:nvSpPr>
                <p:cNvPr id="30" name="Oval 29">
                  <a:extLst>
                    <a:ext uri="{FF2B5EF4-FFF2-40B4-BE49-F238E27FC236}">
                      <a16:creationId xmlns:a16="http://schemas.microsoft.com/office/drawing/2014/main" id="{56DA8E35-B9FC-46FB-BDAC-5D0F64D8CA5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EC121BE-4678-4D34-9D92-13A84BECD038}"/>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a:extLst>
                    <a:ext uri="{FF2B5EF4-FFF2-40B4-BE49-F238E27FC236}">
                      <a16:creationId xmlns:a16="http://schemas.microsoft.com/office/drawing/2014/main" id="{511A5AC4-02D8-4B10-8702-3150BBC473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2DB7D2B5-10A1-4F14-A298-866D381E0B82}"/>
                  </a:ext>
                </a:extLst>
              </p:cNvPr>
              <p:cNvGrpSpPr/>
              <p:nvPr/>
            </p:nvGrpSpPr>
            <p:grpSpPr>
              <a:xfrm>
                <a:off x="5786251" y="2179782"/>
                <a:ext cx="703246" cy="99031"/>
                <a:chOff x="5772183" y="784514"/>
                <a:chExt cx="703246" cy="99031"/>
              </a:xfrm>
            </p:grpSpPr>
            <p:sp>
              <p:nvSpPr>
                <p:cNvPr id="34" name="Oval 33">
                  <a:extLst>
                    <a:ext uri="{FF2B5EF4-FFF2-40B4-BE49-F238E27FC236}">
                      <a16:creationId xmlns:a16="http://schemas.microsoft.com/office/drawing/2014/main" id="{699255F7-A8A1-4F97-A980-2FDA5059608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026EC098-8A28-46DA-9580-257004AB49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9F65917F-B712-427F-8691-F2BE23650F24}"/>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925C3343-DDED-44EF-8547-F0F882EFAACF}"/>
                  </a:ext>
                </a:extLst>
              </p:cNvPr>
              <p:cNvGrpSpPr/>
              <p:nvPr/>
            </p:nvGrpSpPr>
            <p:grpSpPr>
              <a:xfrm>
                <a:off x="5786251" y="2453251"/>
                <a:ext cx="703246" cy="99031"/>
                <a:chOff x="5772183" y="784514"/>
                <a:chExt cx="703246" cy="99031"/>
              </a:xfrm>
            </p:grpSpPr>
            <p:sp>
              <p:nvSpPr>
                <p:cNvPr id="38" name="Oval 37">
                  <a:extLst>
                    <a:ext uri="{FF2B5EF4-FFF2-40B4-BE49-F238E27FC236}">
                      <a16:creationId xmlns:a16="http://schemas.microsoft.com/office/drawing/2014/main" id="{8263B869-699F-4C05-8041-ED7F28BF759C}"/>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3E633260-843E-4BEC-8B8F-E21700E7CB5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0CF12A6-94C3-4AF2-B82F-9689075A9A0E}"/>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EA8D3157-269F-4673-83F8-1B52721C8BDE}"/>
                  </a:ext>
                </a:extLst>
              </p:cNvPr>
              <p:cNvGrpSpPr/>
              <p:nvPr/>
            </p:nvGrpSpPr>
            <p:grpSpPr>
              <a:xfrm>
                <a:off x="5786251" y="2726720"/>
                <a:ext cx="703246" cy="99031"/>
                <a:chOff x="5772183" y="784514"/>
                <a:chExt cx="703246" cy="99031"/>
              </a:xfrm>
            </p:grpSpPr>
            <p:sp>
              <p:nvSpPr>
                <p:cNvPr id="42" name="Oval 41">
                  <a:extLst>
                    <a:ext uri="{FF2B5EF4-FFF2-40B4-BE49-F238E27FC236}">
                      <a16:creationId xmlns:a16="http://schemas.microsoft.com/office/drawing/2014/main" id="{BB4859AA-C91B-4512-90BD-AD7456E083D5}"/>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E8AF206B-AC95-4597-930C-58890211554C}"/>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5713328D-3155-4F4D-B73C-1A065E2D6A96}"/>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id="{05DDEDF6-96E8-42E2-A225-582D8DF5C850}"/>
                  </a:ext>
                </a:extLst>
              </p:cNvPr>
              <p:cNvGrpSpPr/>
              <p:nvPr/>
            </p:nvGrpSpPr>
            <p:grpSpPr>
              <a:xfrm>
                <a:off x="5786251" y="3000189"/>
                <a:ext cx="703246" cy="99031"/>
                <a:chOff x="5772183" y="784514"/>
                <a:chExt cx="703246" cy="99031"/>
              </a:xfrm>
            </p:grpSpPr>
            <p:sp>
              <p:nvSpPr>
                <p:cNvPr id="46" name="Oval 45">
                  <a:extLst>
                    <a:ext uri="{FF2B5EF4-FFF2-40B4-BE49-F238E27FC236}">
                      <a16:creationId xmlns:a16="http://schemas.microsoft.com/office/drawing/2014/main" id="{097D8FFC-DA7D-452F-9679-5866D589710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F82EE929-47A5-4605-9E8F-24727B1D86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Rounded Corners 47">
                  <a:extLst>
                    <a:ext uri="{FF2B5EF4-FFF2-40B4-BE49-F238E27FC236}">
                      <a16:creationId xmlns:a16="http://schemas.microsoft.com/office/drawing/2014/main" id="{E0F855A2-5E0F-40C0-83D5-56E313E340D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id="{45EB6991-130D-4817-B3C7-BFC0A2C58D4F}"/>
                  </a:ext>
                </a:extLst>
              </p:cNvPr>
              <p:cNvGrpSpPr/>
              <p:nvPr/>
            </p:nvGrpSpPr>
            <p:grpSpPr>
              <a:xfrm>
                <a:off x="5786251" y="3273658"/>
                <a:ext cx="703246" cy="99031"/>
                <a:chOff x="5772183" y="784514"/>
                <a:chExt cx="703246" cy="99031"/>
              </a:xfrm>
            </p:grpSpPr>
            <p:sp>
              <p:nvSpPr>
                <p:cNvPr id="50" name="Oval 49">
                  <a:extLst>
                    <a:ext uri="{FF2B5EF4-FFF2-40B4-BE49-F238E27FC236}">
                      <a16:creationId xmlns:a16="http://schemas.microsoft.com/office/drawing/2014/main" id="{8EE10D3C-3EEE-48F6-B575-0B6A3D24101E}"/>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0A36B39F-D831-4F8B-858D-4A986A1E35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AC33A827-4F29-4898-A6F5-2C7FB0120771}"/>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31587573-D46D-4D4F-B882-E0D1816A3F56}"/>
                  </a:ext>
                </a:extLst>
              </p:cNvPr>
              <p:cNvGrpSpPr/>
              <p:nvPr/>
            </p:nvGrpSpPr>
            <p:grpSpPr>
              <a:xfrm>
                <a:off x="5786251" y="3547127"/>
                <a:ext cx="703246" cy="99031"/>
                <a:chOff x="5772183" y="784514"/>
                <a:chExt cx="703246" cy="99031"/>
              </a:xfrm>
            </p:grpSpPr>
            <p:sp>
              <p:nvSpPr>
                <p:cNvPr id="54" name="Oval 53">
                  <a:extLst>
                    <a:ext uri="{FF2B5EF4-FFF2-40B4-BE49-F238E27FC236}">
                      <a16:creationId xmlns:a16="http://schemas.microsoft.com/office/drawing/2014/main" id="{91CE6A00-E8F0-4362-880D-7DABF30DA30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8BFD6C2-2DB6-4795-B830-DD39F0FAB84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FB076EA1-1F7F-41DA-8734-792E19483EA5}"/>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a:extLst>
                  <a:ext uri="{FF2B5EF4-FFF2-40B4-BE49-F238E27FC236}">
                    <a16:creationId xmlns:a16="http://schemas.microsoft.com/office/drawing/2014/main" id="{33B3DC1C-DF1A-4FC3-B178-32DDD4DBFEB9}"/>
                  </a:ext>
                </a:extLst>
              </p:cNvPr>
              <p:cNvGrpSpPr/>
              <p:nvPr/>
            </p:nvGrpSpPr>
            <p:grpSpPr>
              <a:xfrm>
                <a:off x="5786251" y="3820596"/>
                <a:ext cx="703246" cy="99031"/>
                <a:chOff x="5772183" y="784514"/>
                <a:chExt cx="703246" cy="99031"/>
              </a:xfrm>
            </p:grpSpPr>
            <p:sp>
              <p:nvSpPr>
                <p:cNvPr id="58" name="Oval 57">
                  <a:extLst>
                    <a:ext uri="{FF2B5EF4-FFF2-40B4-BE49-F238E27FC236}">
                      <a16:creationId xmlns:a16="http://schemas.microsoft.com/office/drawing/2014/main" id="{1D5A2429-69DF-44E0-9163-B770F4FDB6E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EA68E2B5-A909-4344-A56E-C452F4B8E66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EC8D3A18-41C1-4976-BAD6-DDD5D5CE7AB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C7479AE0-A201-499D-8779-6534410C2D2C}"/>
                  </a:ext>
                </a:extLst>
              </p:cNvPr>
              <p:cNvGrpSpPr/>
              <p:nvPr/>
            </p:nvGrpSpPr>
            <p:grpSpPr>
              <a:xfrm>
                <a:off x="5786251" y="4094065"/>
                <a:ext cx="703246" cy="99031"/>
                <a:chOff x="5772183" y="784514"/>
                <a:chExt cx="703246" cy="99031"/>
              </a:xfrm>
            </p:grpSpPr>
            <p:sp>
              <p:nvSpPr>
                <p:cNvPr id="62" name="Oval 61">
                  <a:extLst>
                    <a:ext uri="{FF2B5EF4-FFF2-40B4-BE49-F238E27FC236}">
                      <a16:creationId xmlns:a16="http://schemas.microsoft.com/office/drawing/2014/main" id="{A8477BBF-E12A-43E1-B7EC-2D46952A0B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1FE4722E-89FF-4789-91D4-920E097217EF}"/>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79701F66-4B93-43D1-9A8B-AC7C181048DF}"/>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EBE77565-1A6C-471E-A785-FCD4718B03C4}"/>
                  </a:ext>
                </a:extLst>
              </p:cNvPr>
              <p:cNvGrpSpPr/>
              <p:nvPr/>
            </p:nvGrpSpPr>
            <p:grpSpPr>
              <a:xfrm>
                <a:off x="5786251" y="4367534"/>
                <a:ext cx="703246" cy="99031"/>
                <a:chOff x="5772183" y="784514"/>
                <a:chExt cx="703246" cy="99031"/>
              </a:xfrm>
            </p:grpSpPr>
            <p:sp>
              <p:nvSpPr>
                <p:cNvPr id="66" name="Oval 65">
                  <a:extLst>
                    <a:ext uri="{FF2B5EF4-FFF2-40B4-BE49-F238E27FC236}">
                      <a16:creationId xmlns:a16="http://schemas.microsoft.com/office/drawing/2014/main" id="{4C22B865-7B00-494E-B7A1-4F3E1CBB686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87FD4322-1AE9-40A0-8FF6-216390BCFE66}"/>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B63B4880-230A-4965-9A13-D91DCF1F0F7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id="{08BA085B-FF23-4DA6-9717-7E613D962E06}"/>
                  </a:ext>
                </a:extLst>
              </p:cNvPr>
              <p:cNvGrpSpPr/>
              <p:nvPr/>
            </p:nvGrpSpPr>
            <p:grpSpPr>
              <a:xfrm>
                <a:off x="5786251" y="4641003"/>
                <a:ext cx="703246" cy="99031"/>
                <a:chOff x="5772183" y="784514"/>
                <a:chExt cx="703246" cy="99031"/>
              </a:xfrm>
            </p:grpSpPr>
            <p:sp>
              <p:nvSpPr>
                <p:cNvPr id="70" name="Oval 69">
                  <a:extLst>
                    <a:ext uri="{FF2B5EF4-FFF2-40B4-BE49-F238E27FC236}">
                      <a16:creationId xmlns:a16="http://schemas.microsoft.com/office/drawing/2014/main" id="{FABE7803-C897-4308-B0AE-CC1762AE46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A0B77336-AE90-48C7-8752-A4164B15717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EE08141D-36CE-412A-88E7-81FDA104169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72">
                <a:extLst>
                  <a:ext uri="{FF2B5EF4-FFF2-40B4-BE49-F238E27FC236}">
                    <a16:creationId xmlns:a16="http://schemas.microsoft.com/office/drawing/2014/main" id="{FD64D312-A581-4141-88B4-7D98B618A858}"/>
                  </a:ext>
                </a:extLst>
              </p:cNvPr>
              <p:cNvGrpSpPr/>
              <p:nvPr/>
            </p:nvGrpSpPr>
            <p:grpSpPr>
              <a:xfrm>
                <a:off x="5786251" y="4914472"/>
                <a:ext cx="703246" cy="99031"/>
                <a:chOff x="5772183" y="784514"/>
                <a:chExt cx="703246" cy="99031"/>
              </a:xfrm>
            </p:grpSpPr>
            <p:sp>
              <p:nvSpPr>
                <p:cNvPr id="74" name="Oval 73">
                  <a:extLst>
                    <a:ext uri="{FF2B5EF4-FFF2-40B4-BE49-F238E27FC236}">
                      <a16:creationId xmlns:a16="http://schemas.microsoft.com/office/drawing/2014/main" id="{DD042721-E23E-45AE-88DA-C3F2BFDC8E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A510B24-09E6-4493-AF86-74D41E858663}"/>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Rounded Corners 75">
                  <a:extLst>
                    <a:ext uri="{FF2B5EF4-FFF2-40B4-BE49-F238E27FC236}">
                      <a16:creationId xmlns:a16="http://schemas.microsoft.com/office/drawing/2014/main" id="{27A9774E-6D5E-4C7C-8676-D367E78003C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1D7B68A7-C497-4076-AF38-884C66AEE27C}"/>
                  </a:ext>
                </a:extLst>
              </p:cNvPr>
              <p:cNvGrpSpPr/>
              <p:nvPr/>
            </p:nvGrpSpPr>
            <p:grpSpPr>
              <a:xfrm>
                <a:off x="5786251" y="5187941"/>
                <a:ext cx="703246" cy="99031"/>
                <a:chOff x="5772183" y="784514"/>
                <a:chExt cx="703246" cy="99031"/>
              </a:xfrm>
            </p:grpSpPr>
            <p:sp>
              <p:nvSpPr>
                <p:cNvPr id="78" name="Oval 77">
                  <a:extLst>
                    <a:ext uri="{FF2B5EF4-FFF2-40B4-BE49-F238E27FC236}">
                      <a16:creationId xmlns:a16="http://schemas.microsoft.com/office/drawing/2014/main" id="{57A72422-6FE1-4EE8-8BCB-2229C55F558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606420FE-D661-4878-81EC-D6697945DFDE}"/>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Rounded Corners 79">
                  <a:extLst>
                    <a:ext uri="{FF2B5EF4-FFF2-40B4-BE49-F238E27FC236}">
                      <a16:creationId xmlns:a16="http://schemas.microsoft.com/office/drawing/2014/main" id="{9D809EEC-3D77-4E91-B99E-AC567C75AA4B}"/>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2E57B8A1-F6C4-465A-B727-35E9EEAE3828}"/>
                  </a:ext>
                </a:extLst>
              </p:cNvPr>
              <p:cNvGrpSpPr/>
              <p:nvPr/>
            </p:nvGrpSpPr>
            <p:grpSpPr>
              <a:xfrm>
                <a:off x="5786251" y="5461410"/>
                <a:ext cx="703246" cy="99031"/>
                <a:chOff x="5772183" y="784514"/>
                <a:chExt cx="703246" cy="99031"/>
              </a:xfrm>
            </p:grpSpPr>
            <p:sp>
              <p:nvSpPr>
                <p:cNvPr id="82" name="Oval 81">
                  <a:extLst>
                    <a:ext uri="{FF2B5EF4-FFF2-40B4-BE49-F238E27FC236}">
                      <a16:creationId xmlns:a16="http://schemas.microsoft.com/office/drawing/2014/main" id="{4AFF475F-A0AA-436A-A978-1B8962CD55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BB1B2212-D2F5-460C-89C5-0D97234B64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Rounded Corners 83">
                  <a:extLst>
                    <a:ext uri="{FF2B5EF4-FFF2-40B4-BE49-F238E27FC236}">
                      <a16:creationId xmlns:a16="http://schemas.microsoft.com/office/drawing/2014/main" id="{4178A7D8-7476-48AA-9D3B-21197308F683}"/>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D3461062-5FB6-41CC-835F-FCFA4A5A6DB3}"/>
                  </a:ext>
                </a:extLst>
              </p:cNvPr>
              <p:cNvGrpSpPr/>
              <p:nvPr/>
            </p:nvGrpSpPr>
            <p:grpSpPr>
              <a:xfrm>
                <a:off x="5786251" y="5734879"/>
                <a:ext cx="703246" cy="99031"/>
                <a:chOff x="5772183" y="784514"/>
                <a:chExt cx="703246" cy="99031"/>
              </a:xfrm>
            </p:grpSpPr>
            <p:sp>
              <p:nvSpPr>
                <p:cNvPr id="86" name="Oval 85">
                  <a:extLst>
                    <a:ext uri="{FF2B5EF4-FFF2-40B4-BE49-F238E27FC236}">
                      <a16:creationId xmlns:a16="http://schemas.microsoft.com/office/drawing/2014/main" id="{6221F8BB-6631-493D-9744-C6A1C0B8FF0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4CFB3B53-81EF-4434-AA54-1C5771D49E2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Rounded Corners 87">
                  <a:extLst>
                    <a:ext uri="{FF2B5EF4-FFF2-40B4-BE49-F238E27FC236}">
                      <a16:creationId xmlns:a16="http://schemas.microsoft.com/office/drawing/2014/main" id="{3E55D94F-6CDA-4C6F-B36E-A4773E51F9A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99" name="TextBox 98">
            <a:extLst>
              <a:ext uri="{FF2B5EF4-FFF2-40B4-BE49-F238E27FC236}">
                <a16:creationId xmlns:a16="http://schemas.microsoft.com/office/drawing/2014/main" id="{4CF4011B-82D3-4402-ACE5-373C668CC9A3}"/>
              </a:ext>
            </a:extLst>
          </p:cNvPr>
          <p:cNvSpPr txBox="1"/>
          <p:nvPr/>
        </p:nvSpPr>
        <p:spPr>
          <a:xfrm>
            <a:off x="7136450" y="2447447"/>
            <a:ext cx="3606466" cy="1323439"/>
          </a:xfrm>
          <a:prstGeom prst="rect">
            <a:avLst/>
          </a:prstGeom>
          <a:noFill/>
        </p:spPr>
        <p:txBody>
          <a:bodyPr wrap="square" rtlCol="0">
            <a:spAutoFit/>
          </a:bodyPr>
          <a:lstStyle/>
          <a:p>
            <a:pPr algn="ctr"/>
            <a:r>
              <a:rPr lang="en-US" sz="4000" dirty="0">
                <a:solidFill>
                  <a:srgbClr val="DCCB9C">
                    <a:alpha val="50000"/>
                  </a:srgbClr>
                </a:solidFill>
                <a:effectLst>
                  <a:outerShdw blurRad="50800" dist="38100" dir="2700000" algn="tl" rotWithShape="0">
                    <a:prstClr val="black">
                      <a:alpha val="40000"/>
                    </a:prstClr>
                  </a:outerShdw>
                </a:effectLst>
                <a:latin typeface="Stencil Std" panose="04020904080802020404" pitchFamily="82" charset="0"/>
                <a:ea typeface="Hand Of Sean" panose="02000500000000000000" pitchFamily="2" charset="-128"/>
              </a:rPr>
              <a:t>Duties of various sectors </a:t>
            </a:r>
          </a:p>
        </p:txBody>
      </p:sp>
    </p:spTree>
    <p:extLst>
      <p:ext uri="{BB962C8B-B14F-4D97-AF65-F5344CB8AC3E}">
        <p14:creationId xmlns:p14="http://schemas.microsoft.com/office/powerpoint/2010/main" val="36317574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5F3F1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C7CE5A-6D03-4826-A612-1F39F7556EC8}"/>
              </a:ext>
            </a:extLst>
          </p:cNvPr>
          <p:cNvSpPr/>
          <p:nvPr/>
        </p:nvSpPr>
        <p:spPr>
          <a:xfrm>
            <a:off x="858130" y="372793"/>
            <a:ext cx="5064369" cy="6077243"/>
          </a:xfrm>
          <a:prstGeom prst="rect">
            <a:avLst/>
          </a:prstGeom>
          <a:solidFill>
            <a:srgbClr val="24201F"/>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AD0D090-6B7C-4291-ADF9-5B763FEFC8B9}"/>
              </a:ext>
            </a:extLst>
          </p:cNvPr>
          <p:cNvSpPr/>
          <p:nvPr/>
        </p:nvSpPr>
        <p:spPr>
          <a:xfrm>
            <a:off x="6269501" y="390377"/>
            <a:ext cx="5064369" cy="6077243"/>
          </a:xfrm>
          <a:prstGeom prst="rect">
            <a:avLst/>
          </a:prstGeom>
          <a:solidFill>
            <a:srgbClr val="24201F"/>
          </a:solidFill>
          <a:ln>
            <a:noFill/>
          </a:ln>
          <a:effectLst>
            <a:outerShdw blurRad="50800" dist="1016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ight Triangle 1">
            <a:extLst>
              <a:ext uri="{FF2B5EF4-FFF2-40B4-BE49-F238E27FC236}">
                <a16:creationId xmlns:a16="http://schemas.microsoft.com/office/drawing/2014/main" id="{AA6C2927-43EE-4C25-9E20-CBDA1FD87AA4}"/>
              </a:ext>
            </a:extLst>
          </p:cNvPr>
          <p:cNvSpPr/>
          <p:nvPr/>
        </p:nvSpPr>
        <p:spPr>
          <a:xfrm>
            <a:off x="80186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ight Triangle 6">
            <a:extLst>
              <a:ext uri="{FF2B5EF4-FFF2-40B4-BE49-F238E27FC236}">
                <a16:creationId xmlns:a16="http://schemas.microsoft.com/office/drawing/2014/main" id="{52E4EB6D-0A66-447B-ABB1-CB1A8083E581}"/>
              </a:ext>
            </a:extLst>
          </p:cNvPr>
          <p:cNvSpPr/>
          <p:nvPr/>
        </p:nvSpPr>
        <p:spPr>
          <a:xfrm flipV="1">
            <a:off x="785335" y="372775"/>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4E7CD148-78FB-471A-B5CC-7D2C980C36DF}"/>
              </a:ext>
            </a:extLst>
          </p:cNvPr>
          <p:cNvSpPr/>
          <p:nvPr/>
        </p:nvSpPr>
        <p:spPr>
          <a:xfrm flipH="1" flipV="1">
            <a:off x="10892637" y="390377"/>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ight Triangle 8">
            <a:extLst>
              <a:ext uri="{FF2B5EF4-FFF2-40B4-BE49-F238E27FC236}">
                <a16:creationId xmlns:a16="http://schemas.microsoft.com/office/drawing/2014/main" id="{A281906A-EEAF-4826-B085-D8FC8E11968D}"/>
              </a:ext>
            </a:extLst>
          </p:cNvPr>
          <p:cNvSpPr/>
          <p:nvPr/>
        </p:nvSpPr>
        <p:spPr>
          <a:xfrm flipH="1">
            <a:off x="1092814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Rectangle 2">
            <a:extLst>
              <a:ext uri="{FF2B5EF4-FFF2-40B4-BE49-F238E27FC236}">
                <a16:creationId xmlns:a16="http://schemas.microsoft.com/office/drawing/2014/main" id="{7277BF1C-0BBE-4AA4-9125-8E43356A46AA}"/>
              </a:ext>
            </a:extLst>
          </p:cNvPr>
          <p:cNvSpPr/>
          <p:nvPr/>
        </p:nvSpPr>
        <p:spPr>
          <a:xfrm>
            <a:off x="1262743" y="642255"/>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6459EE-1C02-4C56-9402-64DF331AD870}"/>
              </a:ext>
            </a:extLst>
          </p:cNvPr>
          <p:cNvSpPr/>
          <p:nvPr/>
        </p:nvSpPr>
        <p:spPr>
          <a:xfrm>
            <a:off x="6298084" y="642257"/>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C030149-99F3-4298-B7C9-06D399F8E0ED}"/>
              </a:ext>
            </a:extLst>
          </p:cNvPr>
          <p:cNvSpPr/>
          <p:nvPr/>
        </p:nvSpPr>
        <p:spPr>
          <a:xfrm>
            <a:off x="5704114" y="642255"/>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17B4086-6155-47C5-9C6C-968FCF46B7B4}"/>
              </a:ext>
            </a:extLst>
          </p:cNvPr>
          <p:cNvSpPr/>
          <p:nvPr/>
        </p:nvSpPr>
        <p:spPr>
          <a:xfrm>
            <a:off x="6327112" y="642257"/>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0" name="Group 89">
            <a:extLst>
              <a:ext uri="{FF2B5EF4-FFF2-40B4-BE49-F238E27FC236}">
                <a16:creationId xmlns:a16="http://schemas.microsoft.com/office/drawing/2014/main" id="{4F0CDE8A-B12E-40CB-BB4B-53F064AECBFB}"/>
              </a:ext>
            </a:extLst>
          </p:cNvPr>
          <p:cNvGrpSpPr/>
          <p:nvPr/>
        </p:nvGrpSpPr>
        <p:grpSpPr>
          <a:xfrm>
            <a:off x="5751857" y="868383"/>
            <a:ext cx="717314" cy="5049396"/>
            <a:chOff x="5772183" y="784514"/>
            <a:chExt cx="717314" cy="5049396"/>
          </a:xfrm>
          <a:effectLst>
            <a:outerShdw blurRad="50800" dist="38100" dir="5400000" algn="t" rotWithShape="0">
              <a:prstClr val="black">
                <a:alpha val="40000"/>
              </a:prstClr>
            </a:outerShdw>
          </a:effectLst>
        </p:grpSpPr>
        <p:grpSp>
          <p:nvGrpSpPr>
            <p:cNvPr id="16" name="Group 15">
              <a:extLst>
                <a:ext uri="{FF2B5EF4-FFF2-40B4-BE49-F238E27FC236}">
                  <a16:creationId xmlns:a16="http://schemas.microsoft.com/office/drawing/2014/main" id="{7083AC48-F29D-474C-B03B-BD556737251E}"/>
                </a:ext>
              </a:extLst>
            </p:cNvPr>
            <p:cNvGrpSpPr/>
            <p:nvPr/>
          </p:nvGrpSpPr>
          <p:grpSpPr>
            <a:xfrm>
              <a:off x="5772183" y="784514"/>
              <a:ext cx="703246" cy="99031"/>
              <a:chOff x="5772183" y="784514"/>
              <a:chExt cx="703246" cy="99031"/>
            </a:xfrm>
          </p:grpSpPr>
          <p:sp>
            <p:nvSpPr>
              <p:cNvPr id="13" name="Oval 12">
                <a:extLst>
                  <a:ext uri="{FF2B5EF4-FFF2-40B4-BE49-F238E27FC236}">
                    <a16:creationId xmlns:a16="http://schemas.microsoft.com/office/drawing/2014/main" id="{7C0C5BC9-033C-4E74-AC75-9EEA3423CEF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2CF74482-0721-4E4D-865B-85AC01A8B29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CE51A6AC-044C-4486-8025-8CFE52F31EF9}"/>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B88A290A-757F-4266-891F-1B12C105248D}"/>
                </a:ext>
              </a:extLst>
            </p:cNvPr>
            <p:cNvGrpSpPr/>
            <p:nvPr/>
          </p:nvGrpSpPr>
          <p:grpSpPr>
            <a:xfrm>
              <a:off x="5786251" y="1085906"/>
              <a:ext cx="703246" cy="4748004"/>
              <a:chOff x="5786251" y="1085906"/>
              <a:chExt cx="703246" cy="4748004"/>
            </a:xfrm>
          </p:grpSpPr>
          <p:grpSp>
            <p:nvGrpSpPr>
              <p:cNvPr id="17" name="Group 16">
                <a:extLst>
                  <a:ext uri="{FF2B5EF4-FFF2-40B4-BE49-F238E27FC236}">
                    <a16:creationId xmlns:a16="http://schemas.microsoft.com/office/drawing/2014/main" id="{6E8C30D7-3D0F-4E84-B3BD-EB23A0E7BDF5}"/>
                  </a:ext>
                </a:extLst>
              </p:cNvPr>
              <p:cNvGrpSpPr/>
              <p:nvPr/>
            </p:nvGrpSpPr>
            <p:grpSpPr>
              <a:xfrm>
                <a:off x="5786251" y="1085906"/>
                <a:ext cx="703246" cy="99031"/>
                <a:chOff x="5772183" y="784514"/>
                <a:chExt cx="703246" cy="99031"/>
              </a:xfrm>
            </p:grpSpPr>
            <p:sp>
              <p:nvSpPr>
                <p:cNvPr id="18" name="Oval 17">
                  <a:extLst>
                    <a:ext uri="{FF2B5EF4-FFF2-40B4-BE49-F238E27FC236}">
                      <a16:creationId xmlns:a16="http://schemas.microsoft.com/office/drawing/2014/main" id="{229D4F0D-9B2F-479E-B3FA-2A69B7DD0C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6A9C1A3-9268-46F2-9F79-0E15859118B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06BC3828-A6CC-4833-BE7A-1640A1A6901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F42A8CC2-9150-46F8-B41D-DC8E6CB9B121}"/>
                  </a:ext>
                </a:extLst>
              </p:cNvPr>
              <p:cNvGrpSpPr/>
              <p:nvPr/>
            </p:nvGrpSpPr>
            <p:grpSpPr>
              <a:xfrm>
                <a:off x="5786251" y="1359375"/>
                <a:ext cx="703246" cy="99031"/>
                <a:chOff x="5772183" y="784514"/>
                <a:chExt cx="703246" cy="99031"/>
              </a:xfrm>
            </p:grpSpPr>
            <p:sp>
              <p:nvSpPr>
                <p:cNvPr id="22" name="Oval 21">
                  <a:extLst>
                    <a:ext uri="{FF2B5EF4-FFF2-40B4-BE49-F238E27FC236}">
                      <a16:creationId xmlns:a16="http://schemas.microsoft.com/office/drawing/2014/main" id="{1B2D122F-9ED7-4761-BCB8-659B8193C67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D40D170-0540-4C45-8113-3F16E48265C1}"/>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F71E06F7-8770-44C4-AAC4-0BD07EFFAC5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F079EA5-CA68-4EAE-9AE0-8B9F054E1816}"/>
                  </a:ext>
                </a:extLst>
              </p:cNvPr>
              <p:cNvGrpSpPr/>
              <p:nvPr/>
            </p:nvGrpSpPr>
            <p:grpSpPr>
              <a:xfrm>
                <a:off x="5786251" y="1632844"/>
                <a:ext cx="703246" cy="99031"/>
                <a:chOff x="5772183" y="784514"/>
                <a:chExt cx="703246" cy="99031"/>
              </a:xfrm>
            </p:grpSpPr>
            <p:sp>
              <p:nvSpPr>
                <p:cNvPr id="26" name="Oval 25">
                  <a:extLst>
                    <a:ext uri="{FF2B5EF4-FFF2-40B4-BE49-F238E27FC236}">
                      <a16:creationId xmlns:a16="http://schemas.microsoft.com/office/drawing/2014/main" id="{C7B8A345-412B-4064-B951-81A37EBAC8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14A49EB-C283-427A-AF09-86907DA5F6C9}"/>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AB10A0AE-E505-4683-A947-6E977A4576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F619E5D5-847F-44A4-AAFD-AC2092EBF188}"/>
                  </a:ext>
                </a:extLst>
              </p:cNvPr>
              <p:cNvGrpSpPr/>
              <p:nvPr/>
            </p:nvGrpSpPr>
            <p:grpSpPr>
              <a:xfrm>
                <a:off x="5786251" y="1906313"/>
                <a:ext cx="703246" cy="99031"/>
                <a:chOff x="5772183" y="784514"/>
                <a:chExt cx="703246" cy="99031"/>
              </a:xfrm>
            </p:grpSpPr>
            <p:sp>
              <p:nvSpPr>
                <p:cNvPr id="30" name="Oval 29">
                  <a:extLst>
                    <a:ext uri="{FF2B5EF4-FFF2-40B4-BE49-F238E27FC236}">
                      <a16:creationId xmlns:a16="http://schemas.microsoft.com/office/drawing/2014/main" id="{56DA8E35-B9FC-46FB-BDAC-5D0F64D8CA5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EC121BE-4678-4D34-9D92-13A84BECD038}"/>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a:extLst>
                    <a:ext uri="{FF2B5EF4-FFF2-40B4-BE49-F238E27FC236}">
                      <a16:creationId xmlns:a16="http://schemas.microsoft.com/office/drawing/2014/main" id="{511A5AC4-02D8-4B10-8702-3150BBC473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2DB7D2B5-10A1-4F14-A298-866D381E0B82}"/>
                  </a:ext>
                </a:extLst>
              </p:cNvPr>
              <p:cNvGrpSpPr/>
              <p:nvPr/>
            </p:nvGrpSpPr>
            <p:grpSpPr>
              <a:xfrm>
                <a:off x="5786251" y="2179782"/>
                <a:ext cx="703246" cy="99031"/>
                <a:chOff x="5772183" y="784514"/>
                <a:chExt cx="703246" cy="99031"/>
              </a:xfrm>
            </p:grpSpPr>
            <p:sp>
              <p:nvSpPr>
                <p:cNvPr id="34" name="Oval 33">
                  <a:extLst>
                    <a:ext uri="{FF2B5EF4-FFF2-40B4-BE49-F238E27FC236}">
                      <a16:creationId xmlns:a16="http://schemas.microsoft.com/office/drawing/2014/main" id="{699255F7-A8A1-4F97-A980-2FDA5059608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026EC098-8A28-46DA-9580-257004AB49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9F65917F-B712-427F-8691-F2BE23650F24}"/>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925C3343-DDED-44EF-8547-F0F882EFAACF}"/>
                  </a:ext>
                </a:extLst>
              </p:cNvPr>
              <p:cNvGrpSpPr/>
              <p:nvPr/>
            </p:nvGrpSpPr>
            <p:grpSpPr>
              <a:xfrm>
                <a:off x="5786251" y="2453251"/>
                <a:ext cx="703246" cy="99031"/>
                <a:chOff x="5772183" y="784514"/>
                <a:chExt cx="703246" cy="99031"/>
              </a:xfrm>
            </p:grpSpPr>
            <p:sp>
              <p:nvSpPr>
                <p:cNvPr id="38" name="Oval 37">
                  <a:extLst>
                    <a:ext uri="{FF2B5EF4-FFF2-40B4-BE49-F238E27FC236}">
                      <a16:creationId xmlns:a16="http://schemas.microsoft.com/office/drawing/2014/main" id="{8263B869-699F-4C05-8041-ED7F28BF759C}"/>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3E633260-843E-4BEC-8B8F-E21700E7CB5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0CF12A6-94C3-4AF2-B82F-9689075A9A0E}"/>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EA8D3157-269F-4673-83F8-1B52721C8BDE}"/>
                  </a:ext>
                </a:extLst>
              </p:cNvPr>
              <p:cNvGrpSpPr/>
              <p:nvPr/>
            </p:nvGrpSpPr>
            <p:grpSpPr>
              <a:xfrm>
                <a:off x="5786251" y="2726720"/>
                <a:ext cx="703246" cy="99031"/>
                <a:chOff x="5772183" y="784514"/>
                <a:chExt cx="703246" cy="99031"/>
              </a:xfrm>
            </p:grpSpPr>
            <p:sp>
              <p:nvSpPr>
                <p:cNvPr id="42" name="Oval 41">
                  <a:extLst>
                    <a:ext uri="{FF2B5EF4-FFF2-40B4-BE49-F238E27FC236}">
                      <a16:creationId xmlns:a16="http://schemas.microsoft.com/office/drawing/2014/main" id="{BB4859AA-C91B-4512-90BD-AD7456E083D5}"/>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E8AF206B-AC95-4597-930C-58890211554C}"/>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5713328D-3155-4F4D-B73C-1A065E2D6A96}"/>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id="{05DDEDF6-96E8-42E2-A225-582D8DF5C850}"/>
                  </a:ext>
                </a:extLst>
              </p:cNvPr>
              <p:cNvGrpSpPr/>
              <p:nvPr/>
            </p:nvGrpSpPr>
            <p:grpSpPr>
              <a:xfrm>
                <a:off x="5786251" y="3000189"/>
                <a:ext cx="703246" cy="99031"/>
                <a:chOff x="5772183" y="784514"/>
                <a:chExt cx="703246" cy="99031"/>
              </a:xfrm>
            </p:grpSpPr>
            <p:sp>
              <p:nvSpPr>
                <p:cNvPr id="46" name="Oval 45">
                  <a:extLst>
                    <a:ext uri="{FF2B5EF4-FFF2-40B4-BE49-F238E27FC236}">
                      <a16:creationId xmlns:a16="http://schemas.microsoft.com/office/drawing/2014/main" id="{097D8FFC-DA7D-452F-9679-5866D589710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F82EE929-47A5-4605-9E8F-24727B1D86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Rounded Corners 47">
                  <a:extLst>
                    <a:ext uri="{FF2B5EF4-FFF2-40B4-BE49-F238E27FC236}">
                      <a16:creationId xmlns:a16="http://schemas.microsoft.com/office/drawing/2014/main" id="{E0F855A2-5E0F-40C0-83D5-56E313E340D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id="{45EB6991-130D-4817-B3C7-BFC0A2C58D4F}"/>
                  </a:ext>
                </a:extLst>
              </p:cNvPr>
              <p:cNvGrpSpPr/>
              <p:nvPr/>
            </p:nvGrpSpPr>
            <p:grpSpPr>
              <a:xfrm>
                <a:off x="5786251" y="3273658"/>
                <a:ext cx="703246" cy="99031"/>
                <a:chOff x="5772183" y="784514"/>
                <a:chExt cx="703246" cy="99031"/>
              </a:xfrm>
            </p:grpSpPr>
            <p:sp>
              <p:nvSpPr>
                <p:cNvPr id="50" name="Oval 49">
                  <a:extLst>
                    <a:ext uri="{FF2B5EF4-FFF2-40B4-BE49-F238E27FC236}">
                      <a16:creationId xmlns:a16="http://schemas.microsoft.com/office/drawing/2014/main" id="{8EE10D3C-3EEE-48F6-B575-0B6A3D24101E}"/>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0A36B39F-D831-4F8B-858D-4A986A1E35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AC33A827-4F29-4898-A6F5-2C7FB0120771}"/>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31587573-D46D-4D4F-B882-E0D1816A3F56}"/>
                  </a:ext>
                </a:extLst>
              </p:cNvPr>
              <p:cNvGrpSpPr/>
              <p:nvPr/>
            </p:nvGrpSpPr>
            <p:grpSpPr>
              <a:xfrm>
                <a:off x="5786251" y="3547127"/>
                <a:ext cx="703246" cy="99031"/>
                <a:chOff x="5772183" y="784514"/>
                <a:chExt cx="703246" cy="99031"/>
              </a:xfrm>
            </p:grpSpPr>
            <p:sp>
              <p:nvSpPr>
                <p:cNvPr id="54" name="Oval 53">
                  <a:extLst>
                    <a:ext uri="{FF2B5EF4-FFF2-40B4-BE49-F238E27FC236}">
                      <a16:creationId xmlns:a16="http://schemas.microsoft.com/office/drawing/2014/main" id="{91CE6A00-E8F0-4362-880D-7DABF30DA30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8BFD6C2-2DB6-4795-B830-DD39F0FAB84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FB076EA1-1F7F-41DA-8734-792E19483EA5}"/>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a:extLst>
                  <a:ext uri="{FF2B5EF4-FFF2-40B4-BE49-F238E27FC236}">
                    <a16:creationId xmlns:a16="http://schemas.microsoft.com/office/drawing/2014/main" id="{33B3DC1C-DF1A-4FC3-B178-32DDD4DBFEB9}"/>
                  </a:ext>
                </a:extLst>
              </p:cNvPr>
              <p:cNvGrpSpPr/>
              <p:nvPr/>
            </p:nvGrpSpPr>
            <p:grpSpPr>
              <a:xfrm>
                <a:off x="5786251" y="3820596"/>
                <a:ext cx="703246" cy="99031"/>
                <a:chOff x="5772183" y="784514"/>
                <a:chExt cx="703246" cy="99031"/>
              </a:xfrm>
            </p:grpSpPr>
            <p:sp>
              <p:nvSpPr>
                <p:cNvPr id="58" name="Oval 57">
                  <a:extLst>
                    <a:ext uri="{FF2B5EF4-FFF2-40B4-BE49-F238E27FC236}">
                      <a16:creationId xmlns:a16="http://schemas.microsoft.com/office/drawing/2014/main" id="{1D5A2429-69DF-44E0-9163-B770F4FDB6E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EA68E2B5-A909-4344-A56E-C452F4B8E66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EC8D3A18-41C1-4976-BAD6-DDD5D5CE7AB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C7479AE0-A201-499D-8779-6534410C2D2C}"/>
                  </a:ext>
                </a:extLst>
              </p:cNvPr>
              <p:cNvGrpSpPr/>
              <p:nvPr/>
            </p:nvGrpSpPr>
            <p:grpSpPr>
              <a:xfrm>
                <a:off x="5786251" y="4094065"/>
                <a:ext cx="703246" cy="99031"/>
                <a:chOff x="5772183" y="784514"/>
                <a:chExt cx="703246" cy="99031"/>
              </a:xfrm>
            </p:grpSpPr>
            <p:sp>
              <p:nvSpPr>
                <p:cNvPr id="62" name="Oval 61">
                  <a:extLst>
                    <a:ext uri="{FF2B5EF4-FFF2-40B4-BE49-F238E27FC236}">
                      <a16:creationId xmlns:a16="http://schemas.microsoft.com/office/drawing/2014/main" id="{A8477BBF-E12A-43E1-B7EC-2D46952A0B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1FE4722E-89FF-4789-91D4-920E097217EF}"/>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79701F66-4B93-43D1-9A8B-AC7C181048DF}"/>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EBE77565-1A6C-471E-A785-FCD4718B03C4}"/>
                  </a:ext>
                </a:extLst>
              </p:cNvPr>
              <p:cNvGrpSpPr/>
              <p:nvPr/>
            </p:nvGrpSpPr>
            <p:grpSpPr>
              <a:xfrm>
                <a:off x="5786251" y="4367534"/>
                <a:ext cx="703246" cy="99031"/>
                <a:chOff x="5772183" y="784514"/>
                <a:chExt cx="703246" cy="99031"/>
              </a:xfrm>
            </p:grpSpPr>
            <p:sp>
              <p:nvSpPr>
                <p:cNvPr id="66" name="Oval 65">
                  <a:extLst>
                    <a:ext uri="{FF2B5EF4-FFF2-40B4-BE49-F238E27FC236}">
                      <a16:creationId xmlns:a16="http://schemas.microsoft.com/office/drawing/2014/main" id="{4C22B865-7B00-494E-B7A1-4F3E1CBB686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87FD4322-1AE9-40A0-8FF6-216390BCFE66}"/>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B63B4880-230A-4965-9A13-D91DCF1F0F7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id="{08BA085B-FF23-4DA6-9717-7E613D962E06}"/>
                  </a:ext>
                </a:extLst>
              </p:cNvPr>
              <p:cNvGrpSpPr/>
              <p:nvPr/>
            </p:nvGrpSpPr>
            <p:grpSpPr>
              <a:xfrm>
                <a:off x="5786251" y="4641003"/>
                <a:ext cx="703246" cy="99031"/>
                <a:chOff x="5772183" y="784514"/>
                <a:chExt cx="703246" cy="99031"/>
              </a:xfrm>
            </p:grpSpPr>
            <p:sp>
              <p:nvSpPr>
                <p:cNvPr id="70" name="Oval 69">
                  <a:extLst>
                    <a:ext uri="{FF2B5EF4-FFF2-40B4-BE49-F238E27FC236}">
                      <a16:creationId xmlns:a16="http://schemas.microsoft.com/office/drawing/2014/main" id="{FABE7803-C897-4308-B0AE-CC1762AE46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A0B77336-AE90-48C7-8752-A4164B15717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EE08141D-36CE-412A-88E7-81FDA104169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72">
                <a:extLst>
                  <a:ext uri="{FF2B5EF4-FFF2-40B4-BE49-F238E27FC236}">
                    <a16:creationId xmlns:a16="http://schemas.microsoft.com/office/drawing/2014/main" id="{FD64D312-A581-4141-88B4-7D98B618A858}"/>
                  </a:ext>
                </a:extLst>
              </p:cNvPr>
              <p:cNvGrpSpPr/>
              <p:nvPr/>
            </p:nvGrpSpPr>
            <p:grpSpPr>
              <a:xfrm>
                <a:off x="5786251" y="4914472"/>
                <a:ext cx="703246" cy="99031"/>
                <a:chOff x="5772183" y="784514"/>
                <a:chExt cx="703246" cy="99031"/>
              </a:xfrm>
            </p:grpSpPr>
            <p:sp>
              <p:nvSpPr>
                <p:cNvPr id="74" name="Oval 73">
                  <a:extLst>
                    <a:ext uri="{FF2B5EF4-FFF2-40B4-BE49-F238E27FC236}">
                      <a16:creationId xmlns:a16="http://schemas.microsoft.com/office/drawing/2014/main" id="{DD042721-E23E-45AE-88DA-C3F2BFDC8E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A510B24-09E6-4493-AF86-74D41E858663}"/>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Rounded Corners 75">
                  <a:extLst>
                    <a:ext uri="{FF2B5EF4-FFF2-40B4-BE49-F238E27FC236}">
                      <a16:creationId xmlns:a16="http://schemas.microsoft.com/office/drawing/2014/main" id="{27A9774E-6D5E-4C7C-8676-D367E78003C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1D7B68A7-C497-4076-AF38-884C66AEE27C}"/>
                  </a:ext>
                </a:extLst>
              </p:cNvPr>
              <p:cNvGrpSpPr/>
              <p:nvPr/>
            </p:nvGrpSpPr>
            <p:grpSpPr>
              <a:xfrm>
                <a:off x="5786251" y="5187941"/>
                <a:ext cx="703246" cy="99031"/>
                <a:chOff x="5772183" y="784514"/>
                <a:chExt cx="703246" cy="99031"/>
              </a:xfrm>
            </p:grpSpPr>
            <p:sp>
              <p:nvSpPr>
                <p:cNvPr id="78" name="Oval 77">
                  <a:extLst>
                    <a:ext uri="{FF2B5EF4-FFF2-40B4-BE49-F238E27FC236}">
                      <a16:creationId xmlns:a16="http://schemas.microsoft.com/office/drawing/2014/main" id="{57A72422-6FE1-4EE8-8BCB-2229C55F558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606420FE-D661-4878-81EC-D6697945DFDE}"/>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Rounded Corners 79">
                  <a:extLst>
                    <a:ext uri="{FF2B5EF4-FFF2-40B4-BE49-F238E27FC236}">
                      <a16:creationId xmlns:a16="http://schemas.microsoft.com/office/drawing/2014/main" id="{9D809EEC-3D77-4E91-B99E-AC567C75AA4B}"/>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2E57B8A1-F6C4-465A-B727-35E9EEAE3828}"/>
                  </a:ext>
                </a:extLst>
              </p:cNvPr>
              <p:cNvGrpSpPr/>
              <p:nvPr/>
            </p:nvGrpSpPr>
            <p:grpSpPr>
              <a:xfrm>
                <a:off x="5786251" y="5461410"/>
                <a:ext cx="703246" cy="99031"/>
                <a:chOff x="5772183" y="784514"/>
                <a:chExt cx="703246" cy="99031"/>
              </a:xfrm>
            </p:grpSpPr>
            <p:sp>
              <p:nvSpPr>
                <p:cNvPr id="82" name="Oval 81">
                  <a:extLst>
                    <a:ext uri="{FF2B5EF4-FFF2-40B4-BE49-F238E27FC236}">
                      <a16:creationId xmlns:a16="http://schemas.microsoft.com/office/drawing/2014/main" id="{4AFF475F-A0AA-436A-A978-1B8962CD55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BB1B2212-D2F5-460C-89C5-0D97234B64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Rounded Corners 83">
                  <a:extLst>
                    <a:ext uri="{FF2B5EF4-FFF2-40B4-BE49-F238E27FC236}">
                      <a16:creationId xmlns:a16="http://schemas.microsoft.com/office/drawing/2014/main" id="{4178A7D8-7476-48AA-9D3B-21197308F683}"/>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D3461062-5FB6-41CC-835F-FCFA4A5A6DB3}"/>
                  </a:ext>
                </a:extLst>
              </p:cNvPr>
              <p:cNvGrpSpPr/>
              <p:nvPr/>
            </p:nvGrpSpPr>
            <p:grpSpPr>
              <a:xfrm>
                <a:off x="5786251" y="5734879"/>
                <a:ext cx="703246" cy="99031"/>
                <a:chOff x="5772183" y="784514"/>
                <a:chExt cx="703246" cy="99031"/>
              </a:xfrm>
            </p:grpSpPr>
            <p:sp>
              <p:nvSpPr>
                <p:cNvPr id="86" name="Oval 85">
                  <a:extLst>
                    <a:ext uri="{FF2B5EF4-FFF2-40B4-BE49-F238E27FC236}">
                      <a16:creationId xmlns:a16="http://schemas.microsoft.com/office/drawing/2014/main" id="{6221F8BB-6631-493D-9744-C6A1C0B8FF0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4CFB3B53-81EF-4434-AA54-1C5771D49E2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Rounded Corners 87">
                  <a:extLst>
                    <a:ext uri="{FF2B5EF4-FFF2-40B4-BE49-F238E27FC236}">
                      <a16:creationId xmlns:a16="http://schemas.microsoft.com/office/drawing/2014/main" id="{3E55D94F-6CDA-4C6F-B36E-A4773E51F9A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4" name="TextBox 3">
            <a:extLst>
              <a:ext uri="{FF2B5EF4-FFF2-40B4-BE49-F238E27FC236}">
                <a16:creationId xmlns:a16="http://schemas.microsoft.com/office/drawing/2014/main" id="{33D513E3-F7D1-44AB-8DD9-39E3A2590891}"/>
              </a:ext>
            </a:extLst>
          </p:cNvPr>
          <p:cNvSpPr txBox="1"/>
          <p:nvPr/>
        </p:nvSpPr>
        <p:spPr>
          <a:xfrm>
            <a:off x="6727867" y="837413"/>
            <a:ext cx="4054357" cy="830997"/>
          </a:xfrm>
          <a:prstGeom prst="rect">
            <a:avLst/>
          </a:prstGeom>
          <a:noFill/>
        </p:spPr>
        <p:txBody>
          <a:bodyPr wrap="square" rtlCol="0">
            <a:spAutoFit/>
          </a:bodyPr>
          <a:lstStyle/>
          <a:p>
            <a:r>
              <a:rPr lang="en-US" sz="2800" dirty="0">
                <a:latin typeface="Gloucester MT Extra Condensed" panose="02030808020601010101" pitchFamily="18" charset="0"/>
              </a:rPr>
              <a:t>C &amp; D Waste Management Rules, 2016 </a:t>
            </a:r>
            <a:endParaRPr lang="en-US" sz="72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Gloucester MT Extra Condensed" panose="02030808020601010101" pitchFamily="18" charset="0"/>
            </a:endParaRPr>
          </a:p>
          <a:p>
            <a:endParaRPr lang="en-US" sz="2000" dirty="0"/>
          </a:p>
        </p:txBody>
      </p:sp>
      <p:sp>
        <p:nvSpPr>
          <p:cNvPr id="101" name="TextBox 100">
            <a:extLst>
              <a:ext uri="{FF2B5EF4-FFF2-40B4-BE49-F238E27FC236}">
                <a16:creationId xmlns:a16="http://schemas.microsoft.com/office/drawing/2014/main" id="{F602B951-38CA-472E-996D-BACF20677810}"/>
              </a:ext>
            </a:extLst>
          </p:cNvPr>
          <p:cNvSpPr txBox="1"/>
          <p:nvPr/>
        </p:nvSpPr>
        <p:spPr>
          <a:xfrm>
            <a:off x="6588525" y="1798955"/>
            <a:ext cx="4202491" cy="2893100"/>
          </a:xfrm>
          <a:prstGeom prst="rect">
            <a:avLst/>
          </a:prstGeom>
          <a:noFill/>
        </p:spPr>
        <p:txBody>
          <a:bodyPr wrap="square" rtlCol="0">
            <a:spAutoFit/>
          </a:bodyPr>
          <a:lstStyle/>
          <a:p>
            <a:r>
              <a:rPr lang="en-US" sz="2000" spc="-100" dirty="0">
                <a:latin typeface="Bodoni MT" panose="02070603080606020203" pitchFamily="18" charset="0"/>
              </a:rPr>
              <a:t>Bureau </a:t>
            </a:r>
            <a:r>
              <a:rPr lang="en-US" sz="2000" b="1" spc="-100" dirty="0">
                <a:latin typeface="Bodoni MT" panose="02070603080606020203" pitchFamily="18" charset="0"/>
              </a:rPr>
              <a:t>of</a:t>
            </a:r>
            <a:r>
              <a:rPr lang="en-US" sz="2000" spc="-100" dirty="0">
                <a:latin typeface="Bodoni MT" panose="02070603080606020203" pitchFamily="18" charset="0"/>
              </a:rPr>
              <a:t> Indian Standards (BIS ): </a:t>
            </a:r>
          </a:p>
          <a:p>
            <a:pPr algn="just"/>
            <a:r>
              <a:rPr lang="en-US" spc="-100" dirty="0">
                <a:latin typeface="Bodoni MT" panose="02070603080606020203" pitchFamily="18" charset="0"/>
              </a:rPr>
              <a:t>                                    </a:t>
            </a:r>
          </a:p>
          <a:p>
            <a:pPr algn="just"/>
            <a:r>
              <a:rPr lang="en-US" spc="-100" dirty="0">
                <a:latin typeface="Bodoni MT" panose="02070603080606020203" pitchFamily="18" charset="0"/>
              </a:rPr>
              <a:t>Under the Construction and Demolition (</a:t>
            </a:r>
            <a:r>
              <a:rPr lang="en-US" b="1" spc="-100" dirty="0">
                <a:latin typeface="Bodoni MT" panose="02070603080606020203" pitchFamily="18" charset="0"/>
              </a:rPr>
              <a:t>C&amp;D</a:t>
            </a:r>
            <a:r>
              <a:rPr lang="en-US" spc="-100" dirty="0">
                <a:latin typeface="Bodoni MT" panose="02070603080606020203" pitchFamily="18" charset="0"/>
              </a:rPr>
              <a:t>) Waste Management </a:t>
            </a:r>
            <a:r>
              <a:rPr lang="en-US" b="1" spc="-100" dirty="0">
                <a:latin typeface="Bodoni MT" panose="02070603080606020203" pitchFamily="18" charset="0"/>
              </a:rPr>
              <a:t>Rules</a:t>
            </a:r>
            <a:r>
              <a:rPr lang="en-US" spc="-100" dirty="0">
                <a:latin typeface="Bodoni MT" panose="02070603080606020203" pitchFamily="18" charset="0"/>
              </a:rPr>
              <a:t>, 2016 </a:t>
            </a:r>
            <a:r>
              <a:rPr lang="en-US" b="1" spc="-100" dirty="0">
                <a:latin typeface="Bodoni MT" panose="02070603080606020203" pitchFamily="18" charset="0"/>
              </a:rPr>
              <a:t>Rule</a:t>
            </a:r>
            <a:r>
              <a:rPr lang="en-US" spc="-100" dirty="0">
                <a:latin typeface="Bodoni MT" panose="02070603080606020203" pitchFamily="18" charset="0"/>
              </a:rPr>
              <a:t> under Duties </a:t>
            </a:r>
            <a:r>
              <a:rPr lang="en-US" b="1" spc="-100" dirty="0">
                <a:latin typeface="Bodoni MT" panose="02070603080606020203" pitchFamily="18" charset="0"/>
              </a:rPr>
              <a:t>of</a:t>
            </a:r>
            <a:r>
              <a:rPr lang="en-US" spc="-100" dirty="0">
                <a:latin typeface="Bodoni MT" panose="02070603080606020203" pitchFamily="18" charset="0"/>
              </a:rPr>
              <a:t> Bureau </a:t>
            </a:r>
            <a:r>
              <a:rPr lang="en-US" b="1" spc="-100" dirty="0">
                <a:latin typeface="Bodoni MT" panose="02070603080606020203" pitchFamily="18" charset="0"/>
              </a:rPr>
              <a:t>of</a:t>
            </a:r>
            <a:r>
              <a:rPr lang="en-US" spc="-100" dirty="0">
                <a:latin typeface="Bodoni MT" panose="02070603080606020203" pitchFamily="18" charset="0"/>
              </a:rPr>
              <a:t> Indian Standards (BIS) and Indian Roads Congress (IRC).</a:t>
            </a:r>
            <a:r>
              <a:rPr lang="en-US" spc="-100" dirty="0">
                <a:latin typeface="Bodoni MT" panose="02070603080606020203" pitchFamily="18" charset="0"/>
                <a:cs typeface="Calibri"/>
              </a:rPr>
              <a:t> Bureau of Indian Standards is responsible for preparation of code of practices and standards for use of recycled materials in construction  activities.</a:t>
            </a:r>
          </a:p>
          <a:p>
            <a:endParaRPr lang="en-US" dirty="0"/>
          </a:p>
        </p:txBody>
      </p:sp>
    </p:spTree>
    <p:extLst>
      <p:ext uri="{BB962C8B-B14F-4D97-AF65-F5344CB8AC3E}">
        <p14:creationId xmlns:p14="http://schemas.microsoft.com/office/powerpoint/2010/main" val="76230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5F3F1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C7CE5A-6D03-4826-A612-1F39F7556EC8}"/>
              </a:ext>
            </a:extLst>
          </p:cNvPr>
          <p:cNvSpPr/>
          <p:nvPr/>
        </p:nvSpPr>
        <p:spPr>
          <a:xfrm>
            <a:off x="858130" y="390378"/>
            <a:ext cx="5064369" cy="6077243"/>
          </a:xfrm>
          <a:prstGeom prst="rect">
            <a:avLst/>
          </a:prstGeom>
          <a:solidFill>
            <a:srgbClr val="24201F"/>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AD0D090-6B7C-4291-ADF9-5B763FEFC8B9}"/>
              </a:ext>
            </a:extLst>
          </p:cNvPr>
          <p:cNvSpPr/>
          <p:nvPr/>
        </p:nvSpPr>
        <p:spPr>
          <a:xfrm>
            <a:off x="6269501" y="390377"/>
            <a:ext cx="5064369" cy="6077243"/>
          </a:xfrm>
          <a:prstGeom prst="rect">
            <a:avLst/>
          </a:prstGeom>
          <a:solidFill>
            <a:srgbClr val="24201F"/>
          </a:solidFill>
          <a:ln>
            <a:noFill/>
          </a:ln>
          <a:effectLst>
            <a:outerShdw blurRad="50800" dist="1016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ight Triangle 1">
            <a:extLst>
              <a:ext uri="{FF2B5EF4-FFF2-40B4-BE49-F238E27FC236}">
                <a16:creationId xmlns:a16="http://schemas.microsoft.com/office/drawing/2014/main" id="{AA6C2927-43EE-4C25-9E20-CBDA1FD87AA4}"/>
              </a:ext>
            </a:extLst>
          </p:cNvPr>
          <p:cNvSpPr/>
          <p:nvPr/>
        </p:nvSpPr>
        <p:spPr>
          <a:xfrm>
            <a:off x="80186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ight Triangle 6">
            <a:extLst>
              <a:ext uri="{FF2B5EF4-FFF2-40B4-BE49-F238E27FC236}">
                <a16:creationId xmlns:a16="http://schemas.microsoft.com/office/drawing/2014/main" id="{52E4EB6D-0A66-447B-ABB1-CB1A8083E581}"/>
              </a:ext>
            </a:extLst>
          </p:cNvPr>
          <p:cNvSpPr/>
          <p:nvPr/>
        </p:nvSpPr>
        <p:spPr>
          <a:xfrm flipV="1">
            <a:off x="785335" y="372775"/>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4E7CD148-78FB-471A-B5CC-7D2C980C36DF}"/>
              </a:ext>
            </a:extLst>
          </p:cNvPr>
          <p:cNvSpPr/>
          <p:nvPr/>
        </p:nvSpPr>
        <p:spPr>
          <a:xfrm flipH="1" flipV="1">
            <a:off x="10892637" y="390377"/>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ight Triangle 8">
            <a:extLst>
              <a:ext uri="{FF2B5EF4-FFF2-40B4-BE49-F238E27FC236}">
                <a16:creationId xmlns:a16="http://schemas.microsoft.com/office/drawing/2014/main" id="{A281906A-EEAF-4826-B085-D8FC8E11968D}"/>
              </a:ext>
            </a:extLst>
          </p:cNvPr>
          <p:cNvSpPr/>
          <p:nvPr/>
        </p:nvSpPr>
        <p:spPr>
          <a:xfrm flipH="1">
            <a:off x="1092814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Rectangle 2">
            <a:extLst>
              <a:ext uri="{FF2B5EF4-FFF2-40B4-BE49-F238E27FC236}">
                <a16:creationId xmlns:a16="http://schemas.microsoft.com/office/drawing/2014/main" id="{7277BF1C-0BBE-4AA4-9125-8E43356A46AA}"/>
              </a:ext>
            </a:extLst>
          </p:cNvPr>
          <p:cNvSpPr/>
          <p:nvPr/>
        </p:nvSpPr>
        <p:spPr>
          <a:xfrm>
            <a:off x="1262743" y="642255"/>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6459EE-1C02-4C56-9402-64DF331AD870}"/>
              </a:ext>
            </a:extLst>
          </p:cNvPr>
          <p:cNvSpPr/>
          <p:nvPr/>
        </p:nvSpPr>
        <p:spPr>
          <a:xfrm>
            <a:off x="6298084" y="642257"/>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C030149-99F3-4298-B7C9-06D399F8E0ED}"/>
              </a:ext>
            </a:extLst>
          </p:cNvPr>
          <p:cNvSpPr/>
          <p:nvPr/>
        </p:nvSpPr>
        <p:spPr>
          <a:xfrm>
            <a:off x="5704114" y="642255"/>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17B4086-6155-47C5-9C6C-968FCF46B7B4}"/>
              </a:ext>
            </a:extLst>
          </p:cNvPr>
          <p:cNvSpPr/>
          <p:nvPr/>
        </p:nvSpPr>
        <p:spPr>
          <a:xfrm>
            <a:off x="6327112" y="642257"/>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0" name="Group 89">
            <a:extLst>
              <a:ext uri="{FF2B5EF4-FFF2-40B4-BE49-F238E27FC236}">
                <a16:creationId xmlns:a16="http://schemas.microsoft.com/office/drawing/2014/main" id="{4F0CDE8A-B12E-40CB-BB4B-53F064AECBFB}"/>
              </a:ext>
            </a:extLst>
          </p:cNvPr>
          <p:cNvGrpSpPr/>
          <p:nvPr/>
        </p:nvGrpSpPr>
        <p:grpSpPr>
          <a:xfrm>
            <a:off x="5751857" y="868383"/>
            <a:ext cx="717314" cy="5049396"/>
            <a:chOff x="5772183" y="784514"/>
            <a:chExt cx="717314" cy="5049396"/>
          </a:xfrm>
          <a:effectLst>
            <a:outerShdw blurRad="50800" dist="38100" dir="5400000" algn="t" rotWithShape="0">
              <a:prstClr val="black">
                <a:alpha val="40000"/>
              </a:prstClr>
            </a:outerShdw>
          </a:effectLst>
        </p:grpSpPr>
        <p:grpSp>
          <p:nvGrpSpPr>
            <p:cNvPr id="16" name="Group 15">
              <a:extLst>
                <a:ext uri="{FF2B5EF4-FFF2-40B4-BE49-F238E27FC236}">
                  <a16:creationId xmlns:a16="http://schemas.microsoft.com/office/drawing/2014/main" id="{7083AC48-F29D-474C-B03B-BD556737251E}"/>
                </a:ext>
              </a:extLst>
            </p:cNvPr>
            <p:cNvGrpSpPr/>
            <p:nvPr/>
          </p:nvGrpSpPr>
          <p:grpSpPr>
            <a:xfrm>
              <a:off x="5772183" y="784514"/>
              <a:ext cx="703246" cy="99031"/>
              <a:chOff x="5772183" y="784514"/>
              <a:chExt cx="703246" cy="99031"/>
            </a:xfrm>
          </p:grpSpPr>
          <p:sp>
            <p:nvSpPr>
              <p:cNvPr id="13" name="Oval 12">
                <a:extLst>
                  <a:ext uri="{FF2B5EF4-FFF2-40B4-BE49-F238E27FC236}">
                    <a16:creationId xmlns:a16="http://schemas.microsoft.com/office/drawing/2014/main" id="{7C0C5BC9-033C-4E74-AC75-9EEA3423CEF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2CF74482-0721-4E4D-865B-85AC01A8B29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CE51A6AC-044C-4486-8025-8CFE52F31EF9}"/>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B88A290A-757F-4266-891F-1B12C105248D}"/>
                </a:ext>
              </a:extLst>
            </p:cNvPr>
            <p:cNvGrpSpPr/>
            <p:nvPr/>
          </p:nvGrpSpPr>
          <p:grpSpPr>
            <a:xfrm>
              <a:off x="5786251" y="1085906"/>
              <a:ext cx="703246" cy="4748004"/>
              <a:chOff x="5786251" y="1085906"/>
              <a:chExt cx="703246" cy="4748004"/>
            </a:xfrm>
          </p:grpSpPr>
          <p:grpSp>
            <p:nvGrpSpPr>
              <p:cNvPr id="17" name="Group 16">
                <a:extLst>
                  <a:ext uri="{FF2B5EF4-FFF2-40B4-BE49-F238E27FC236}">
                    <a16:creationId xmlns:a16="http://schemas.microsoft.com/office/drawing/2014/main" id="{6E8C30D7-3D0F-4E84-B3BD-EB23A0E7BDF5}"/>
                  </a:ext>
                </a:extLst>
              </p:cNvPr>
              <p:cNvGrpSpPr/>
              <p:nvPr/>
            </p:nvGrpSpPr>
            <p:grpSpPr>
              <a:xfrm>
                <a:off x="5786251" y="1085906"/>
                <a:ext cx="703246" cy="99031"/>
                <a:chOff x="5772183" y="784514"/>
                <a:chExt cx="703246" cy="99031"/>
              </a:xfrm>
            </p:grpSpPr>
            <p:sp>
              <p:nvSpPr>
                <p:cNvPr id="18" name="Oval 17">
                  <a:extLst>
                    <a:ext uri="{FF2B5EF4-FFF2-40B4-BE49-F238E27FC236}">
                      <a16:creationId xmlns:a16="http://schemas.microsoft.com/office/drawing/2014/main" id="{229D4F0D-9B2F-479E-B3FA-2A69B7DD0C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6A9C1A3-9268-46F2-9F79-0E15859118B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06BC3828-A6CC-4833-BE7A-1640A1A6901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F42A8CC2-9150-46F8-B41D-DC8E6CB9B121}"/>
                  </a:ext>
                </a:extLst>
              </p:cNvPr>
              <p:cNvGrpSpPr/>
              <p:nvPr/>
            </p:nvGrpSpPr>
            <p:grpSpPr>
              <a:xfrm>
                <a:off x="5786251" y="1359375"/>
                <a:ext cx="703246" cy="99031"/>
                <a:chOff x="5772183" y="784514"/>
                <a:chExt cx="703246" cy="99031"/>
              </a:xfrm>
            </p:grpSpPr>
            <p:sp>
              <p:nvSpPr>
                <p:cNvPr id="22" name="Oval 21">
                  <a:extLst>
                    <a:ext uri="{FF2B5EF4-FFF2-40B4-BE49-F238E27FC236}">
                      <a16:creationId xmlns:a16="http://schemas.microsoft.com/office/drawing/2014/main" id="{1B2D122F-9ED7-4761-BCB8-659B8193C67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D40D170-0540-4C45-8113-3F16E48265C1}"/>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F71E06F7-8770-44C4-AAC4-0BD07EFFAC5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F079EA5-CA68-4EAE-9AE0-8B9F054E1816}"/>
                  </a:ext>
                </a:extLst>
              </p:cNvPr>
              <p:cNvGrpSpPr/>
              <p:nvPr/>
            </p:nvGrpSpPr>
            <p:grpSpPr>
              <a:xfrm>
                <a:off x="5786251" y="1632844"/>
                <a:ext cx="703246" cy="99031"/>
                <a:chOff x="5772183" y="784514"/>
                <a:chExt cx="703246" cy="99031"/>
              </a:xfrm>
            </p:grpSpPr>
            <p:sp>
              <p:nvSpPr>
                <p:cNvPr id="26" name="Oval 25">
                  <a:extLst>
                    <a:ext uri="{FF2B5EF4-FFF2-40B4-BE49-F238E27FC236}">
                      <a16:creationId xmlns:a16="http://schemas.microsoft.com/office/drawing/2014/main" id="{C7B8A345-412B-4064-B951-81A37EBAC8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14A49EB-C283-427A-AF09-86907DA5F6C9}"/>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AB10A0AE-E505-4683-A947-6E977A4576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F619E5D5-847F-44A4-AAFD-AC2092EBF188}"/>
                  </a:ext>
                </a:extLst>
              </p:cNvPr>
              <p:cNvGrpSpPr/>
              <p:nvPr/>
            </p:nvGrpSpPr>
            <p:grpSpPr>
              <a:xfrm>
                <a:off x="5786251" y="1906313"/>
                <a:ext cx="703246" cy="99031"/>
                <a:chOff x="5772183" y="784514"/>
                <a:chExt cx="703246" cy="99031"/>
              </a:xfrm>
            </p:grpSpPr>
            <p:sp>
              <p:nvSpPr>
                <p:cNvPr id="30" name="Oval 29">
                  <a:extLst>
                    <a:ext uri="{FF2B5EF4-FFF2-40B4-BE49-F238E27FC236}">
                      <a16:creationId xmlns:a16="http://schemas.microsoft.com/office/drawing/2014/main" id="{56DA8E35-B9FC-46FB-BDAC-5D0F64D8CA5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EC121BE-4678-4D34-9D92-13A84BECD038}"/>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a:extLst>
                    <a:ext uri="{FF2B5EF4-FFF2-40B4-BE49-F238E27FC236}">
                      <a16:creationId xmlns:a16="http://schemas.microsoft.com/office/drawing/2014/main" id="{511A5AC4-02D8-4B10-8702-3150BBC473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2DB7D2B5-10A1-4F14-A298-866D381E0B82}"/>
                  </a:ext>
                </a:extLst>
              </p:cNvPr>
              <p:cNvGrpSpPr/>
              <p:nvPr/>
            </p:nvGrpSpPr>
            <p:grpSpPr>
              <a:xfrm>
                <a:off x="5786251" y="2179782"/>
                <a:ext cx="703246" cy="99031"/>
                <a:chOff x="5772183" y="784514"/>
                <a:chExt cx="703246" cy="99031"/>
              </a:xfrm>
            </p:grpSpPr>
            <p:sp>
              <p:nvSpPr>
                <p:cNvPr id="34" name="Oval 33">
                  <a:extLst>
                    <a:ext uri="{FF2B5EF4-FFF2-40B4-BE49-F238E27FC236}">
                      <a16:creationId xmlns:a16="http://schemas.microsoft.com/office/drawing/2014/main" id="{699255F7-A8A1-4F97-A980-2FDA5059608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026EC098-8A28-46DA-9580-257004AB49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9F65917F-B712-427F-8691-F2BE23650F24}"/>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925C3343-DDED-44EF-8547-F0F882EFAACF}"/>
                  </a:ext>
                </a:extLst>
              </p:cNvPr>
              <p:cNvGrpSpPr/>
              <p:nvPr/>
            </p:nvGrpSpPr>
            <p:grpSpPr>
              <a:xfrm>
                <a:off x="5786251" y="2453251"/>
                <a:ext cx="703246" cy="99031"/>
                <a:chOff x="5772183" y="784514"/>
                <a:chExt cx="703246" cy="99031"/>
              </a:xfrm>
            </p:grpSpPr>
            <p:sp>
              <p:nvSpPr>
                <p:cNvPr id="38" name="Oval 37">
                  <a:extLst>
                    <a:ext uri="{FF2B5EF4-FFF2-40B4-BE49-F238E27FC236}">
                      <a16:creationId xmlns:a16="http://schemas.microsoft.com/office/drawing/2014/main" id="{8263B869-699F-4C05-8041-ED7F28BF759C}"/>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3E633260-843E-4BEC-8B8F-E21700E7CB5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0CF12A6-94C3-4AF2-B82F-9689075A9A0E}"/>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EA8D3157-269F-4673-83F8-1B52721C8BDE}"/>
                  </a:ext>
                </a:extLst>
              </p:cNvPr>
              <p:cNvGrpSpPr/>
              <p:nvPr/>
            </p:nvGrpSpPr>
            <p:grpSpPr>
              <a:xfrm>
                <a:off x="5786251" y="2726720"/>
                <a:ext cx="703246" cy="99031"/>
                <a:chOff x="5772183" y="784514"/>
                <a:chExt cx="703246" cy="99031"/>
              </a:xfrm>
            </p:grpSpPr>
            <p:sp>
              <p:nvSpPr>
                <p:cNvPr id="42" name="Oval 41">
                  <a:extLst>
                    <a:ext uri="{FF2B5EF4-FFF2-40B4-BE49-F238E27FC236}">
                      <a16:creationId xmlns:a16="http://schemas.microsoft.com/office/drawing/2014/main" id="{BB4859AA-C91B-4512-90BD-AD7456E083D5}"/>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E8AF206B-AC95-4597-930C-58890211554C}"/>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5713328D-3155-4F4D-B73C-1A065E2D6A96}"/>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id="{05DDEDF6-96E8-42E2-A225-582D8DF5C850}"/>
                  </a:ext>
                </a:extLst>
              </p:cNvPr>
              <p:cNvGrpSpPr/>
              <p:nvPr/>
            </p:nvGrpSpPr>
            <p:grpSpPr>
              <a:xfrm>
                <a:off x="5786251" y="3000189"/>
                <a:ext cx="703246" cy="99031"/>
                <a:chOff x="5772183" y="784514"/>
                <a:chExt cx="703246" cy="99031"/>
              </a:xfrm>
            </p:grpSpPr>
            <p:sp>
              <p:nvSpPr>
                <p:cNvPr id="46" name="Oval 45">
                  <a:extLst>
                    <a:ext uri="{FF2B5EF4-FFF2-40B4-BE49-F238E27FC236}">
                      <a16:creationId xmlns:a16="http://schemas.microsoft.com/office/drawing/2014/main" id="{097D8FFC-DA7D-452F-9679-5866D589710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F82EE929-47A5-4605-9E8F-24727B1D86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Rounded Corners 47">
                  <a:extLst>
                    <a:ext uri="{FF2B5EF4-FFF2-40B4-BE49-F238E27FC236}">
                      <a16:creationId xmlns:a16="http://schemas.microsoft.com/office/drawing/2014/main" id="{E0F855A2-5E0F-40C0-83D5-56E313E340D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id="{45EB6991-130D-4817-B3C7-BFC0A2C58D4F}"/>
                  </a:ext>
                </a:extLst>
              </p:cNvPr>
              <p:cNvGrpSpPr/>
              <p:nvPr/>
            </p:nvGrpSpPr>
            <p:grpSpPr>
              <a:xfrm>
                <a:off x="5786251" y="3273658"/>
                <a:ext cx="703246" cy="99031"/>
                <a:chOff x="5772183" y="784514"/>
                <a:chExt cx="703246" cy="99031"/>
              </a:xfrm>
            </p:grpSpPr>
            <p:sp>
              <p:nvSpPr>
                <p:cNvPr id="50" name="Oval 49">
                  <a:extLst>
                    <a:ext uri="{FF2B5EF4-FFF2-40B4-BE49-F238E27FC236}">
                      <a16:creationId xmlns:a16="http://schemas.microsoft.com/office/drawing/2014/main" id="{8EE10D3C-3EEE-48F6-B575-0B6A3D24101E}"/>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0A36B39F-D831-4F8B-858D-4A986A1E35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AC33A827-4F29-4898-A6F5-2C7FB0120771}"/>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31587573-D46D-4D4F-B882-E0D1816A3F56}"/>
                  </a:ext>
                </a:extLst>
              </p:cNvPr>
              <p:cNvGrpSpPr/>
              <p:nvPr/>
            </p:nvGrpSpPr>
            <p:grpSpPr>
              <a:xfrm>
                <a:off x="5786251" y="3547127"/>
                <a:ext cx="703246" cy="99031"/>
                <a:chOff x="5772183" y="784514"/>
                <a:chExt cx="703246" cy="99031"/>
              </a:xfrm>
            </p:grpSpPr>
            <p:sp>
              <p:nvSpPr>
                <p:cNvPr id="54" name="Oval 53">
                  <a:extLst>
                    <a:ext uri="{FF2B5EF4-FFF2-40B4-BE49-F238E27FC236}">
                      <a16:creationId xmlns:a16="http://schemas.microsoft.com/office/drawing/2014/main" id="{91CE6A00-E8F0-4362-880D-7DABF30DA30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8BFD6C2-2DB6-4795-B830-DD39F0FAB84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FB076EA1-1F7F-41DA-8734-792E19483EA5}"/>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a:extLst>
                  <a:ext uri="{FF2B5EF4-FFF2-40B4-BE49-F238E27FC236}">
                    <a16:creationId xmlns:a16="http://schemas.microsoft.com/office/drawing/2014/main" id="{33B3DC1C-DF1A-4FC3-B178-32DDD4DBFEB9}"/>
                  </a:ext>
                </a:extLst>
              </p:cNvPr>
              <p:cNvGrpSpPr/>
              <p:nvPr/>
            </p:nvGrpSpPr>
            <p:grpSpPr>
              <a:xfrm>
                <a:off x="5786251" y="3820596"/>
                <a:ext cx="703246" cy="99031"/>
                <a:chOff x="5772183" y="784514"/>
                <a:chExt cx="703246" cy="99031"/>
              </a:xfrm>
            </p:grpSpPr>
            <p:sp>
              <p:nvSpPr>
                <p:cNvPr id="58" name="Oval 57">
                  <a:extLst>
                    <a:ext uri="{FF2B5EF4-FFF2-40B4-BE49-F238E27FC236}">
                      <a16:creationId xmlns:a16="http://schemas.microsoft.com/office/drawing/2014/main" id="{1D5A2429-69DF-44E0-9163-B770F4FDB6E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EA68E2B5-A909-4344-A56E-C452F4B8E66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EC8D3A18-41C1-4976-BAD6-DDD5D5CE7AB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C7479AE0-A201-499D-8779-6534410C2D2C}"/>
                  </a:ext>
                </a:extLst>
              </p:cNvPr>
              <p:cNvGrpSpPr/>
              <p:nvPr/>
            </p:nvGrpSpPr>
            <p:grpSpPr>
              <a:xfrm>
                <a:off x="5786251" y="4094065"/>
                <a:ext cx="703246" cy="99031"/>
                <a:chOff x="5772183" y="784514"/>
                <a:chExt cx="703246" cy="99031"/>
              </a:xfrm>
            </p:grpSpPr>
            <p:sp>
              <p:nvSpPr>
                <p:cNvPr id="62" name="Oval 61">
                  <a:extLst>
                    <a:ext uri="{FF2B5EF4-FFF2-40B4-BE49-F238E27FC236}">
                      <a16:creationId xmlns:a16="http://schemas.microsoft.com/office/drawing/2014/main" id="{A8477BBF-E12A-43E1-B7EC-2D46952A0B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1FE4722E-89FF-4789-91D4-920E097217EF}"/>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79701F66-4B93-43D1-9A8B-AC7C181048DF}"/>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EBE77565-1A6C-471E-A785-FCD4718B03C4}"/>
                  </a:ext>
                </a:extLst>
              </p:cNvPr>
              <p:cNvGrpSpPr/>
              <p:nvPr/>
            </p:nvGrpSpPr>
            <p:grpSpPr>
              <a:xfrm>
                <a:off x="5786251" y="4367534"/>
                <a:ext cx="703246" cy="99031"/>
                <a:chOff x="5772183" y="784514"/>
                <a:chExt cx="703246" cy="99031"/>
              </a:xfrm>
            </p:grpSpPr>
            <p:sp>
              <p:nvSpPr>
                <p:cNvPr id="66" name="Oval 65">
                  <a:extLst>
                    <a:ext uri="{FF2B5EF4-FFF2-40B4-BE49-F238E27FC236}">
                      <a16:creationId xmlns:a16="http://schemas.microsoft.com/office/drawing/2014/main" id="{4C22B865-7B00-494E-B7A1-4F3E1CBB686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87FD4322-1AE9-40A0-8FF6-216390BCFE66}"/>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B63B4880-230A-4965-9A13-D91DCF1F0F7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id="{08BA085B-FF23-4DA6-9717-7E613D962E06}"/>
                  </a:ext>
                </a:extLst>
              </p:cNvPr>
              <p:cNvGrpSpPr/>
              <p:nvPr/>
            </p:nvGrpSpPr>
            <p:grpSpPr>
              <a:xfrm>
                <a:off x="5786251" y="4641003"/>
                <a:ext cx="703246" cy="99031"/>
                <a:chOff x="5772183" y="784514"/>
                <a:chExt cx="703246" cy="99031"/>
              </a:xfrm>
            </p:grpSpPr>
            <p:sp>
              <p:nvSpPr>
                <p:cNvPr id="70" name="Oval 69">
                  <a:extLst>
                    <a:ext uri="{FF2B5EF4-FFF2-40B4-BE49-F238E27FC236}">
                      <a16:creationId xmlns:a16="http://schemas.microsoft.com/office/drawing/2014/main" id="{FABE7803-C897-4308-B0AE-CC1762AE46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A0B77336-AE90-48C7-8752-A4164B15717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EE08141D-36CE-412A-88E7-81FDA104169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72">
                <a:extLst>
                  <a:ext uri="{FF2B5EF4-FFF2-40B4-BE49-F238E27FC236}">
                    <a16:creationId xmlns:a16="http://schemas.microsoft.com/office/drawing/2014/main" id="{FD64D312-A581-4141-88B4-7D98B618A858}"/>
                  </a:ext>
                </a:extLst>
              </p:cNvPr>
              <p:cNvGrpSpPr/>
              <p:nvPr/>
            </p:nvGrpSpPr>
            <p:grpSpPr>
              <a:xfrm>
                <a:off x="5786251" y="4914472"/>
                <a:ext cx="703246" cy="99031"/>
                <a:chOff x="5772183" y="784514"/>
                <a:chExt cx="703246" cy="99031"/>
              </a:xfrm>
            </p:grpSpPr>
            <p:sp>
              <p:nvSpPr>
                <p:cNvPr id="74" name="Oval 73">
                  <a:extLst>
                    <a:ext uri="{FF2B5EF4-FFF2-40B4-BE49-F238E27FC236}">
                      <a16:creationId xmlns:a16="http://schemas.microsoft.com/office/drawing/2014/main" id="{DD042721-E23E-45AE-88DA-C3F2BFDC8E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A510B24-09E6-4493-AF86-74D41E858663}"/>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Rounded Corners 75">
                  <a:extLst>
                    <a:ext uri="{FF2B5EF4-FFF2-40B4-BE49-F238E27FC236}">
                      <a16:creationId xmlns:a16="http://schemas.microsoft.com/office/drawing/2014/main" id="{27A9774E-6D5E-4C7C-8676-D367E78003C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1D7B68A7-C497-4076-AF38-884C66AEE27C}"/>
                  </a:ext>
                </a:extLst>
              </p:cNvPr>
              <p:cNvGrpSpPr/>
              <p:nvPr/>
            </p:nvGrpSpPr>
            <p:grpSpPr>
              <a:xfrm>
                <a:off x="5786251" y="5187941"/>
                <a:ext cx="703246" cy="99031"/>
                <a:chOff x="5772183" y="784514"/>
                <a:chExt cx="703246" cy="99031"/>
              </a:xfrm>
            </p:grpSpPr>
            <p:sp>
              <p:nvSpPr>
                <p:cNvPr id="78" name="Oval 77">
                  <a:extLst>
                    <a:ext uri="{FF2B5EF4-FFF2-40B4-BE49-F238E27FC236}">
                      <a16:creationId xmlns:a16="http://schemas.microsoft.com/office/drawing/2014/main" id="{57A72422-6FE1-4EE8-8BCB-2229C55F558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606420FE-D661-4878-81EC-D6697945DFDE}"/>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Rounded Corners 79">
                  <a:extLst>
                    <a:ext uri="{FF2B5EF4-FFF2-40B4-BE49-F238E27FC236}">
                      <a16:creationId xmlns:a16="http://schemas.microsoft.com/office/drawing/2014/main" id="{9D809EEC-3D77-4E91-B99E-AC567C75AA4B}"/>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2E57B8A1-F6C4-465A-B727-35E9EEAE3828}"/>
                  </a:ext>
                </a:extLst>
              </p:cNvPr>
              <p:cNvGrpSpPr/>
              <p:nvPr/>
            </p:nvGrpSpPr>
            <p:grpSpPr>
              <a:xfrm>
                <a:off x="5786251" y="5461410"/>
                <a:ext cx="703246" cy="99031"/>
                <a:chOff x="5772183" y="784514"/>
                <a:chExt cx="703246" cy="99031"/>
              </a:xfrm>
            </p:grpSpPr>
            <p:sp>
              <p:nvSpPr>
                <p:cNvPr id="82" name="Oval 81">
                  <a:extLst>
                    <a:ext uri="{FF2B5EF4-FFF2-40B4-BE49-F238E27FC236}">
                      <a16:creationId xmlns:a16="http://schemas.microsoft.com/office/drawing/2014/main" id="{4AFF475F-A0AA-436A-A978-1B8962CD55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BB1B2212-D2F5-460C-89C5-0D97234B64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Rounded Corners 83">
                  <a:extLst>
                    <a:ext uri="{FF2B5EF4-FFF2-40B4-BE49-F238E27FC236}">
                      <a16:creationId xmlns:a16="http://schemas.microsoft.com/office/drawing/2014/main" id="{4178A7D8-7476-48AA-9D3B-21197308F683}"/>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D3461062-5FB6-41CC-835F-FCFA4A5A6DB3}"/>
                  </a:ext>
                </a:extLst>
              </p:cNvPr>
              <p:cNvGrpSpPr/>
              <p:nvPr/>
            </p:nvGrpSpPr>
            <p:grpSpPr>
              <a:xfrm>
                <a:off x="5786251" y="5734879"/>
                <a:ext cx="703246" cy="99031"/>
                <a:chOff x="5772183" y="784514"/>
                <a:chExt cx="703246" cy="99031"/>
              </a:xfrm>
            </p:grpSpPr>
            <p:sp>
              <p:nvSpPr>
                <p:cNvPr id="86" name="Oval 85">
                  <a:extLst>
                    <a:ext uri="{FF2B5EF4-FFF2-40B4-BE49-F238E27FC236}">
                      <a16:creationId xmlns:a16="http://schemas.microsoft.com/office/drawing/2014/main" id="{6221F8BB-6631-493D-9744-C6A1C0B8FF0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4CFB3B53-81EF-4434-AA54-1C5771D49E2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Rounded Corners 87">
                  <a:extLst>
                    <a:ext uri="{FF2B5EF4-FFF2-40B4-BE49-F238E27FC236}">
                      <a16:creationId xmlns:a16="http://schemas.microsoft.com/office/drawing/2014/main" id="{3E55D94F-6CDA-4C6F-B36E-A4773E51F9A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4" name="TextBox 3">
            <a:extLst>
              <a:ext uri="{FF2B5EF4-FFF2-40B4-BE49-F238E27FC236}">
                <a16:creationId xmlns:a16="http://schemas.microsoft.com/office/drawing/2014/main" id="{4DB2C819-8539-4076-9A0F-0352FAD7670A}"/>
              </a:ext>
            </a:extLst>
          </p:cNvPr>
          <p:cNvSpPr txBox="1"/>
          <p:nvPr/>
        </p:nvSpPr>
        <p:spPr>
          <a:xfrm>
            <a:off x="1770184" y="753599"/>
            <a:ext cx="4048815" cy="800219"/>
          </a:xfrm>
          <a:prstGeom prst="rect">
            <a:avLst/>
          </a:prstGeom>
          <a:noFill/>
        </p:spPr>
        <p:txBody>
          <a:bodyPr wrap="square" rtlCol="0">
            <a:spAutoFit/>
          </a:bodyPr>
          <a:lstStyle/>
          <a:p>
            <a:r>
              <a:rPr lang="en-US" sz="2800" spc="-5" dirty="0">
                <a:solidFill>
                  <a:srgbClr val="24201F"/>
                </a:solidFill>
                <a:latin typeface="Gloucester MT Extra Condensed" panose="02030808020601010101" pitchFamily="18" charset="0"/>
                <a:cs typeface="Times New Roman" panose="02020603050405020304" pitchFamily="18" charset="0"/>
              </a:rPr>
              <a:t>Duties</a:t>
            </a:r>
            <a:r>
              <a:rPr lang="en-US" sz="2800" spc="-20" dirty="0">
                <a:solidFill>
                  <a:srgbClr val="24201F"/>
                </a:solidFill>
                <a:latin typeface="Gloucester MT Extra Condensed" panose="02030808020601010101" pitchFamily="18" charset="0"/>
                <a:cs typeface="Times New Roman" panose="02020603050405020304" pitchFamily="18" charset="0"/>
              </a:rPr>
              <a:t> Of</a:t>
            </a:r>
            <a:r>
              <a:rPr lang="en-US" sz="2800" spc="-10" dirty="0">
                <a:solidFill>
                  <a:srgbClr val="24201F"/>
                </a:solidFill>
                <a:latin typeface="Gloucester MT Extra Condensed" panose="02030808020601010101" pitchFamily="18" charset="0"/>
                <a:cs typeface="Times New Roman" panose="02020603050405020304" pitchFamily="18" charset="0"/>
              </a:rPr>
              <a:t> T</a:t>
            </a:r>
            <a:r>
              <a:rPr lang="en-US" sz="2800" dirty="0">
                <a:solidFill>
                  <a:srgbClr val="24201F"/>
                </a:solidFill>
                <a:latin typeface="Gloucester MT Extra Condensed" panose="02030808020601010101" pitchFamily="18" charset="0"/>
                <a:cs typeface="Times New Roman" panose="02020603050405020304" pitchFamily="18" charset="0"/>
              </a:rPr>
              <a:t>he </a:t>
            </a:r>
            <a:r>
              <a:rPr lang="en-US" sz="2800" spc="-15" dirty="0">
                <a:solidFill>
                  <a:srgbClr val="24201F"/>
                </a:solidFill>
                <a:latin typeface="Gloucester MT Extra Condensed" panose="02030808020601010101" pitchFamily="18" charset="0"/>
                <a:cs typeface="Times New Roman" panose="02020603050405020304" pitchFamily="18" charset="0"/>
              </a:rPr>
              <a:t>Waste</a:t>
            </a:r>
            <a:r>
              <a:rPr lang="en-US" sz="2800" spc="-35" dirty="0">
                <a:solidFill>
                  <a:srgbClr val="24201F"/>
                </a:solidFill>
                <a:latin typeface="Gloucester MT Extra Condensed" panose="02030808020601010101" pitchFamily="18" charset="0"/>
                <a:cs typeface="Times New Roman" panose="02020603050405020304" pitchFamily="18" charset="0"/>
              </a:rPr>
              <a:t> </a:t>
            </a:r>
            <a:r>
              <a:rPr lang="en-US" sz="2800" spc="-15" dirty="0">
                <a:solidFill>
                  <a:srgbClr val="24201F"/>
                </a:solidFill>
                <a:latin typeface="Gloucester MT Extra Condensed" panose="02030808020601010101" pitchFamily="18" charset="0"/>
                <a:cs typeface="Times New Roman" panose="02020603050405020304" pitchFamily="18" charset="0"/>
              </a:rPr>
              <a:t>Generator</a:t>
            </a:r>
            <a:endParaRPr lang="en-US" sz="2800" dirty="0">
              <a:solidFill>
                <a:srgbClr val="24201F"/>
              </a:solidFill>
              <a:latin typeface="Gloucester MT Extra Condensed" panose="02030808020601010101" pitchFamily="18" charset="0"/>
              <a:cs typeface="Times New Roman" panose="02020603050405020304" pitchFamily="18" charset="0"/>
            </a:endParaRPr>
          </a:p>
          <a:p>
            <a:endParaRPr lang="en-US" dirty="0"/>
          </a:p>
        </p:txBody>
      </p:sp>
      <p:sp>
        <p:nvSpPr>
          <p:cNvPr id="101" name="TextBox 100">
            <a:extLst>
              <a:ext uri="{FF2B5EF4-FFF2-40B4-BE49-F238E27FC236}">
                <a16:creationId xmlns:a16="http://schemas.microsoft.com/office/drawing/2014/main" id="{E122338D-0A32-4237-AB1D-3B6F88B6FCE2}"/>
              </a:ext>
            </a:extLst>
          </p:cNvPr>
          <p:cNvSpPr txBox="1"/>
          <p:nvPr/>
        </p:nvSpPr>
        <p:spPr>
          <a:xfrm>
            <a:off x="1291771" y="1475757"/>
            <a:ext cx="4336017" cy="4555093"/>
          </a:xfrm>
          <a:prstGeom prst="rect">
            <a:avLst/>
          </a:prstGeom>
          <a:noFill/>
        </p:spPr>
        <p:txBody>
          <a:bodyPr wrap="square" rtlCol="0">
            <a:spAutoFit/>
          </a:bodyPr>
          <a:lstStyle/>
          <a:p>
            <a:pPr marL="349250" marR="54610" indent="-285750">
              <a:lnSpc>
                <a:spcPct val="100000"/>
              </a:lnSpc>
              <a:buClr>
                <a:schemeClr val="tx1"/>
              </a:buClr>
              <a:buSzPct val="90000"/>
              <a:buFont typeface="Courier New" panose="02070309020205020404" pitchFamily="49" charset="0"/>
              <a:buChar char="o"/>
              <a:tabLst>
                <a:tab pos="405765" algn="l"/>
                <a:tab pos="406400" algn="l"/>
                <a:tab pos="1143635" algn="l"/>
                <a:tab pos="1924050" algn="l"/>
                <a:tab pos="3113405" algn="l"/>
                <a:tab pos="3445510" algn="l"/>
                <a:tab pos="4809490" algn="l"/>
                <a:tab pos="5280660" algn="l"/>
                <a:tab pos="6521450" algn="l"/>
                <a:tab pos="7899400" algn="l"/>
              </a:tabLst>
            </a:pPr>
            <a:r>
              <a:rPr lang="en-US" spc="-45" dirty="0">
                <a:latin typeface="Bodoni MT" panose="02070603080606020203" pitchFamily="18" charset="0"/>
                <a:cs typeface="Calibri"/>
              </a:rPr>
              <a:t>E</a:t>
            </a:r>
            <a:r>
              <a:rPr lang="en-US" spc="-30" dirty="0">
                <a:latin typeface="Bodoni MT" panose="02070603080606020203" pitchFamily="18" charset="0"/>
                <a:cs typeface="Calibri"/>
              </a:rPr>
              <a:t>v</a:t>
            </a:r>
            <a:r>
              <a:rPr lang="en-US" dirty="0">
                <a:latin typeface="Bodoni MT" panose="02070603080606020203" pitchFamily="18" charset="0"/>
                <a:cs typeface="Calibri"/>
              </a:rPr>
              <a:t>ery </a:t>
            </a:r>
            <a:r>
              <a:rPr lang="en-US" spc="-30" dirty="0">
                <a:latin typeface="Bodoni MT" panose="02070603080606020203" pitchFamily="18" charset="0"/>
                <a:cs typeface="Calibri"/>
              </a:rPr>
              <a:t>W</a:t>
            </a:r>
            <a:r>
              <a:rPr lang="en-US" dirty="0">
                <a:latin typeface="Bodoni MT" panose="02070603080606020203" pitchFamily="18" charset="0"/>
                <a:cs typeface="Calibri"/>
              </a:rPr>
              <a:t>a</a:t>
            </a:r>
            <a:r>
              <a:rPr lang="en-US" spc="-30" dirty="0">
                <a:latin typeface="Bodoni MT" panose="02070603080606020203" pitchFamily="18" charset="0"/>
                <a:cs typeface="Calibri"/>
              </a:rPr>
              <a:t>s</a:t>
            </a:r>
            <a:r>
              <a:rPr lang="en-US" spc="-25" dirty="0">
                <a:latin typeface="Bodoni MT" panose="02070603080606020203" pitchFamily="18" charset="0"/>
                <a:cs typeface="Calibri"/>
              </a:rPr>
              <a:t>t</a:t>
            </a:r>
            <a:r>
              <a:rPr lang="en-US" dirty="0">
                <a:latin typeface="Bodoni MT" panose="02070603080606020203" pitchFamily="18" charset="0"/>
                <a:cs typeface="Calibri"/>
              </a:rPr>
              <a:t>e </a:t>
            </a:r>
            <a:r>
              <a:rPr lang="en-US" spc="-10" dirty="0">
                <a:latin typeface="Bodoni MT" panose="02070603080606020203" pitchFamily="18" charset="0"/>
                <a:cs typeface="Calibri"/>
              </a:rPr>
              <a:t>G</a:t>
            </a:r>
            <a:r>
              <a:rPr lang="en-US" dirty="0">
                <a:latin typeface="Bodoni MT" panose="02070603080606020203" pitchFamily="18" charset="0"/>
                <a:cs typeface="Calibri"/>
              </a:rPr>
              <a:t>ene</a:t>
            </a:r>
            <a:r>
              <a:rPr lang="en-US" spc="-40" dirty="0">
                <a:latin typeface="Bodoni MT" panose="02070603080606020203" pitchFamily="18" charset="0"/>
                <a:cs typeface="Calibri"/>
              </a:rPr>
              <a:t>r</a:t>
            </a:r>
            <a:r>
              <a:rPr lang="en-US" spc="-25" dirty="0">
                <a:latin typeface="Bodoni MT" panose="02070603080606020203" pitchFamily="18" charset="0"/>
                <a:cs typeface="Calibri"/>
              </a:rPr>
              <a:t>at</a:t>
            </a:r>
            <a:r>
              <a:rPr lang="en-US" spc="-5" dirty="0">
                <a:latin typeface="Bodoni MT" panose="02070603080606020203" pitchFamily="18" charset="0"/>
                <a:cs typeface="Calibri"/>
              </a:rPr>
              <a:t>o</a:t>
            </a:r>
            <a:r>
              <a:rPr lang="en-US" dirty="0">
                <a:latin typeface="Bodoni MT" panose="02070603080606020203" pitchFamily="18" charset="0"/>
                <a:cs typeface="Calibri"/>
              </a:rPr>
              <a:t>r </a:t>
            </a:r>
            <a:r>
              <a:rPr lang="en-US" spc="-5" dirty="0">
                <a:latin typeface="Bodoni MT" panose="02070603080606020203" pitchFamily="18" charset="0"/>
                <a:cs typeface="Calibri"/>
              </a:rPr>
              <a:t>I</a:t>
            </a:r>
            <a:r>
              <a:rPr lang="en-US" dirty="0">
                <a:latin typeface="Bodoni MT" panose="02070603080606020203" pitchFamily="18" charset="0"/>
                <a:cs typeface="Calibri"/>
              </a:rPr>
              <a:t>s </a:t>
            </a:r>
            <a:r>
              <a:rPr lang="en-US" spc="-30" dirty="0">
                <a:latin typeface="Bodoni MT" panose="02070603080606020203" pitchFamily="18" charset="0"/>
                <a:cs typeface="Calibri"/>
              </a:rPr>
              <a:t>R</a:t>
            </a:r>
            <a:r>
              <a:rPr lang="en-US" dirty="0">
                <a:latin typeface="Bodoni MT" panose="02070603080606020203" pitchFamily="18" charset="0"/>
                <a:cs typeface="Calibri"/>
              </a:rPr>
              <a:t>espons</a:t>
            </a:r>
            <a:r>
              <a:rPr lang="en-US" spc="-10" dirty="0">
                <a:latin typeface="Bodoni MT" panose="02070603080606020203" pitchFamily="18" charset="0"/>
                <a:cs typeface="Calibri"/>
              </a:rPr>
              <a:t>i</a:t>
            </a:r>
            <a:r>
              <a:rPr lang="en-US" spc="-5" dirty="0">
                <a:latin typeface="Bodoni MT" panose="02070603080606020203" pitchFamily="18" charset="0"/>
                <a:cs typeface="Calibri"/>
              </a:rPr>
              <a:t>bl</a:t>
            </a:r>
            <a:r>
              <a:rPr lang="en-US" dirty="0">
                <a:latin typeface="Bodoni MT" panose="02070603080606020203" pitchFamily="18" charset="0"/>
                <a:cs typeface="Calibri"/>
              </a:rPr>
              <a:t>e </a:t>
            </a:r>
            <a:r>
              <a:rPr lang="en-US" spc="-40" dirty="0">
                <a:latin typeface="Bodoni MT" panose="02070603080606020203" pitchFamily="18" charset="0"/>
                <a:cs typeface="Calibri"/>
              </a:rPr>
              <a:t>F</a:t>
            </a:r>
            <a:r>
              <a:rPr lang="en-US" spc="-5" dirty="0">
                <a:latin typeface="Bodoni MT" panose="02070603080606020203" pitchFamily="18" charset="0"/>
                <a:cs typeface="Calibri"/>
              </a:rPr>
              <a:t>o</a:t>
            </a:r>
            <a:r>
              <a:rPr lang="en-US" dirty="0">
                <a:latin typeface="Bodoni MT" panose="02070603080606020203" pitchFamily="18" charset="0"/>
                <a:cs typeface="Calibri"/>
              </a:rPr>
              <a:t>r </a:t>
            </a:r>
            <a:r>
              <a:rPr lang="en-US" spc="-20" dirty="0">
                <a:latin typeface="Bodoni MT" panose="02070603080606020203" pitchFamily="18" charset="0"/>
                <a:cs typeface="Calibri"/>
              </a:rPr>
              <a:t>C</a:t>
            </a:r>
            <a:r>
              <a:rPr lang="en-US" spc="-5" dirty="0">
                <a:latin typeface="Bodoni MT" panose="02070603080606020203" pitchFamily="18" charset="0"/>
                <a:cs typeface="Calibri"/>
              </a:rPr>
              <a:t>ol</a:t>
            </a:r>
            <a:r>
              <a:rPr lang="en-US" spc="-15" dirty="0">
                <a:latin typeface="Bodoni MT" panose="02070603080606020203" pitchFamily="18" charset="0"/>
                <a:cs typeface="Calibri"/>
              </a:rPr>
              <a:t>l</a:t>
            </a:r>
            <a:r>
              <a:rPr lang="en-US" dirty="0">
                <a:latin typeface="Bodoni MT" panose="02070603080606020203" pitchFamily="18" charset="0"/>
                <a:cs typeface="Calibri"/>
              </a:rPr>
              <a:t>ection, </a:t>
            </a:r>
            <a:r>
              <a:rPr lang="en-US" spc="-5" dirty="0">
                <a:latin typeface="Bodoni MT" panose="02070603080606020203" pitchFamily="18" charset="0"/>
                <a:cs typeface="Calibri"/>
              </a:rPr>
              <a:t>Seg</a:t>
            </a:r>
            <a:r>
              <a:rPr lang="en-US" spc="-30" dirty="0">
                <a:latin typeface="Bodoni MT" panose="02070603080606020203" pitchFamily="18" charset="0"/>
                <a:cs typeface="Calibri"/>
              </a:rPr>
              <a:t>r</a:t>
            </a:r>
            <a:r>
              <a:rPr lang="en-US" dirty="0">
                <a:latin typeface="Bodoni MT" panose="02070603080606020203" pitchFamily="18" charset="0"/>
                <a:cs typeface="Calibri"/>
              </a:rPr>
              <a:t>e</a:t>
            </a:r>
            <a:r>
              <a:rPr lang="en-US" spc="-35" dirty="0">
                <a:latin typeface="Bodoni MT" panose="02070603080606020203" pitchFamily="18" charset="0"/>
                <a:cs typeface="Calibri"/>
              </a:rPr>
              <a:t>g</a:t>
            </a:r>
            <a:r>
              <a:rPr lang="en-US" spc="-25" dirty="0">
                <a:latin typeface="Bodoni MT" panose="02070603080606020203" pitchFamily="18" charset="0"/>
                <a:cs typeface="Calibri"/>
              </a:rPr>
              <a:t>a</a:t>
            </a:r>
            <a:r>
              <a:rPr lang="en-US" dirty="0">
                <a:latin typeface="Bodoni MT" panose="02070603080606020203" pitchFamily="18" charset="0"/>
                <a:cs typeface="Calibri"/>
              </a:rPr>
              <a:t>tion O</a:t>
            </a:r>
            <a:r>
              <a:rPr lang="en-US" spc="-5" dirty="0">
                <a:latin typeface="Bodoni MT" panose="02070603080606020203" pitchFamily="18" charset="0"/>
                <a:cs typeface="Calibri"/>
              </a:rPr>
              <a:t>f  </a:t>
            </a:r>
            <a:r>
              <a:rPr lang="en-US" spc="-10" dirty="0">
                <a:latin typeface="Bodoni MT" panose="02070603080606020203" pitchFamily="18" charset="0"/>
                <a:cs typeface="Calibri"/>
              </a:rPr>
              <a:t>Concrete, </a:t>
            </a:r>
            <a:r>
              <a:rPr lang="en-US" spc="-5" dirty="0">
                <a:latin typeface="Bodoni MT" panose="02070603080606020203" pitchFamily="18" charset="0"/>
                <a:cs typeface="Calibri"/>
              </a:rPr>
              <a:t>Soil,</a:t>
            </a:r>
            <a:r>
              <a:rPr lang="en-US" dirty="0">
                <a:latin typeface="Bodoni MT" panose="02070603080606020203" pitchFamily="18" charset="0"/>
                <a:cs typeface="Calibri"/>
              </a:rPr>
              <a:t> And</a:t>
            </a:r>
            <a:r>
              <a:rPr lang="en-US" spc="-5" dirty="0">
                <a:latin typeface="Bodoni MT" panose="02070603080606020203" pitchFamily="18" charset="0"/>
                <a:cs typeface="Calibri"/>
              </a:rPr>
              <a:t> </a:t>
            </a:r>
            <a:r>
              <a:rPr lang="en-US" spc="-10" dirty="0">
                <a:latin typeface="Bodoni MT" panose="02070603080606020203" pitchFamily="18" charset="0"/>
                <a:cs typeface="Calibri"/>
              </a:rPr>
              <a:t>Others</a:t>
            </a:r>
            <a:r>
              <a:rPr lang="en-US" spc="5" dirty="0">
                <a:latin typeface="Bodoni MT" panose="02070603080606020203" pitchFamily="18" charset="0"/>
                <a:cs typeface="Calibri"/>
              </a:rPr>
              <a:t> </a:t>
            </a:r>
            <a:r>
              <a:rPr lang="en-US" dirty="0">
                <a:latin typeface="Bodoni MT" panose="02070603080606020203" pitchFamily="18" charset="0"/>
                <a:cs typeface="Calibri"/>
              </a:rPr>
              <a:t>And</a:t>
            </a:r>
            <a:r>
              <a:rPr lang="en-US" spc="-5" dirty="0">
                <a:latin typeface="Bodoni MT" panose="02070603080606020203" pitchFamily="18" charset="0"/>
                <a:cs typeface="Calibri"/>
              </a:rPr>
              <a:t> </a:t>
            </a:r>
            <a:r>
              <a:rPr lang="en-US" spc="-15" dirty="0">
                <a:latin typeface="Bodoni MT" panose="02070603080606020203" pitchFamily="18" charset="0"/>
                <a:cs typeface="Calibri"/>
              </a:rPr>
              <a:t>Storage.</a:t>
            </a:r>
            <a:endParaRPr lang="en-US" dirty="0">
              <a:latin typeface="Bodoni MT" panose="02070603080606020203" pitchFamily="18" charset="0"/>
              <a:cs typeface="Calibri"/>
            </a:endParaRPr>
          </a:p>
          <a:p>
            <a:pPr marL="342900" indent="-342900">
              <a:lnSpc>
                <a:spcPct val="100000"/>
              </a:lnSpc>
              <a:spcBef>
                <a:spcPts val="5"/>
              </a:spcBef>
              <a:buClr>
                <a:srgbClr val="006FC0"/>
              </a:buClr>
              <a:buFont typeface="Courier New" panose="02070309020205020404" pitchFamily="49" charset="0"/>
              <a:buChar char="o"/>
            </a:pPr>
            <a:endParaRPr lang="en-US" dirty="0">
              <a:latin typeface="Bodoni MT" panose="02070603080606020203" pitchFamily="18" charset="0"/>
              <a:cs typeface="Calibri"/>
            </a:endParaRPr>
          </a:p>
          <a:p>
            <a:pPr marL="349250" marR="55880" indent="-285750">
              <a:lnSpc>
                <a:spcPct val="100000"/>
              </a:lnSpc>
              <a:buSzPct val="90000"/>
              <a:buFont typeface="Courier New" panose="02070309020205020404" pitchFamily="49" charset="0"/>
              <a:buChar char="o"/>
              <a:tabLst>
                <a:tab pos="405765" algn="l"/>
                <a:tab pos="406400" algn="l"/>
                <a:tab pos="948690" algn="l"/>
                <a:tab pos="2120900" algn="l"/>
                <a:tab pos="2750820" algn="l"/>
                <a:tab pos="3616325" algn="l"/>
                <a:tab pos="4198620" algn="l"/>
                <a:tab pos="4925695" algn="l"/>
                <a:tab pos="5690870" algn="l"/>
                <a:tab pos="6402070" algn="l"/>
                <a:tab pos="6782434" algn="l"/>
                <a:tab pos="7425055" algn="l"/>
              </a:tabLst>
            </a:pPr>
            <a:r>
              <a:rPr lang="en-US" spc="-5" dirty="0">
                <a:latin typeface="Bodoni MT" panose="02070603080606020203" pitchFamily="18" charset="0"/>
                <a:cs typeface="Calibri"/>
              </a:rPr>
              <a:t>Th</a:t>
            </a:r>
            <a:r>
              <a:rPr lang="en-US" dirty="0">
                <a:latin typeface="Bodoni MT" panose="02070603080606020203" pitchFamily="18" charset="0"/>
                <a:cs typeface="Calibri"/>
              </a:rPr>
              <a:t>e G</a:t>
            </a:r>
            <a:r>
              <a:rPr lang="en-US" spc="-15" dirty="0">
                <a:latin typeface="Bodoni MT" panose="02070603080606020203" pitchFamily="18" charset="0"/>
                <a:cs typeface="Calibri"/>
              </a:rPr>
              <a:t>e</a:t>
            </a:r>
            <a:r>
              <a:rPr lang="en-US" spc="-5" dirty="0">
                <a:latin typeface="Bodoni MT" panose="02070603080606020203" pitchFamily="18" charset="0"/>
                <a:cs typeface="Calibri"/>
              </a:rPr>
              <a:t>ne</a:t>
            </a:r>
            <a:r>
              <a:rPr lang="en-US" spc="-40" dirty="0">
                <a:latin typeface="Bodoni MT" panose="02070603080606020203" pitchFamily="18" charset="0"/>
                <a:cs typeface="Calibri"/>
              </a:rPr>
              <a:t>r</a:t>
            </a:r>
            <a:r>
              <a:rPr lang="en-US" spc="-25" dirty="0">
                <a:latin typeface="Bodoni MT" panose="02070603080606020203" pitchFamily="18" charset="0"/>
                <a:cs typeface="Calibri"/>
              </a:rPr>
              <a:t>at</a:t>
            </a:r>
            <a:r>
              <a:rPr lang="en-US" spc="-5" dirty="0">
                <a:latin typeface="Bodoni MT" panose="02070603080606020203" pitchFamily="18" charset="0"/>
                <a:cs typeface="Calibri"/>
              </a:rPr>
              <a:t>o</a:t>
            </a:r>
            <a:r>
              <a:rPr lang="en-US" dirty="0">
                <a:latin typeface="Bodoni MT" panose="02070603080606020203" pitchFamily="18" charset="0"/>
                <a:cs typeface="Calibri"/>
              </a:rPr>
              <a:t>r </a:t>
            </a:r>
            <a:r>
              <a:rPr lang="en-US" spc="-5" dirty="0">
                <a:latin typeface="Bodoni MT" panose="02070603080606020203" pitchFamily="18" charset="0"/>
                <a:cs typeface="Calibri"/>
              </a:rPr>
              <a:t>Shal</a:t>
            </a:r>
            <a:r>
              <a:rPr lang="en-US" dirty="0">
                <a:latin typeface="Bodoni MT" panose="02070603080606020203" pitchFamily="18" charset="0"/>
                <a:cs typeface="Calibri"/>
              </a:rPr>
              <a:t>l Ensu</a:t>
            </a:r>
            <a:r>
              <a:rPr lang="en-US" spc="-30" dirty="0">
                <a:latin typeface="Bodoni MT" panose="02070603080606020203" pitchFamily="18" charset="0"/>
                <a:cs typeface="Calibri"/>
              </a:rPr>
              <a:t>r</a:t>
            </a:r>
            <a:r>
              <a:rPr lang="en-US" dirty="0">
                <a:latin typeface="Bodoni MT" panose="02070603080606020203" pitchFamily="18" charset="0"/>
                <a:cs typeface="Calibri"/>
              </a:rPr>
              <a:t>e Th</a:t>
            </a:r>
            <a:r>
              <a:rPr lang="en-US" spc="-20" dirty="0">
                <a:latin typeface="Bodoni MT" panose="02070603080606020203" pitchFamily="18" charset="0"/>
                <a:cs typeface="Calibri"/>
              </a:rPr>
              <a:t>a</a:t>
            </a:r>
            <a:r>
              <a:rPr lang="en-US" dirty="0">
                <a:latin typeface="Bodoni MT" panose="02070603080606020203" pitchFamily="18" charset="0"/>
                <a:cs typeface="Calibri"/>
              </a:rPr>
              <a:t>t O</a:t>
            </a:r>
            <a:r>
              <a:rPr lang="en-US" spc="-5" dirty="0">
                <a:latin typeface="Bodoni MT" panose="02070603080606020203" pitchFamily="18" charset="0"/>
                <a:cs typeface="Calibri"/>
              </a:rPr>
              <a:t>the</a:t>
            </a:r>
            <a:r>
              <a:rPr lang="en-US" dirty="0">
                <a:latin typeface="Bodoni MT" panose="02070603080606020203" pitchFamily="18" charset="0"/>
                <a:cs typeface="Calibri"/>
              </a:rPr>
              <a:t>r </a:t>
            </a:r>
            <a:r>
              <a:rPr lang="en-US" spc="-30" dirty="0">
                <a:latin typeface="Bodoni MT" panose="02070603080606020203" pitchFamily="18" charset="0"/>
                <a:cs typeface="Calibri"/>
              </a:rPr>
              <a:t>W</a:t>
            </a:r>
            <a:r>
              <a:rPr lang="en-US" dirty="0">
                <a:latin typeface="Bodoni MT" panose="02070603080606020203" pitchFamily="18" charset="0"/>
                <a:cs typeface="Calibri"/>
              </a:rPr>
              <a:t>a</a:t>
            </a:r>
            <a:r>
              <a:rPr lang="en-US" spc="-30" dirty="0">
                <a:latin typeface="Bodoni MT" panose="02070603080606020203" pitchFamily="18" charset="0"/>
                <a:cs typeface="Calibri"/>
              </a:rPr>
              <a:t>s</a:t>
            </a:r>
            <a:r>
              <a:rPr lang="en-US" spc="-15" dirty="0">
                <a:latin typeface="Bodoni MT" panose="02070603080606020203" pitchFamily="18" charset="0"/>
                <a:cs typeface="Calibri"/>
              </a:rPr>
              <a:t>t</a:t>
            </a:r>
            <a:r>
              <a:rPr lang="en-US" dirty="0">
                <a:latin typeface="Bodoni MT" panose="02070603080606020203" pitchFamily="18" charset="0"/>
                <a:cs typeface="Calibri"/>
              </a:rPr>
              <a:t>e </a:t>
            </a:r>
            <a:r>
              <a:rPr lang="en-US" spc="-5" dirty="0">
                <a:latin typeface="Bodoni MT" panose="02070603080606020203" pitchFamily="18" charset="0"/>
                <a:cs typeface="Calibri"/>
              </a:rPr>
              <a:t>(Su</a:t>
            </a:r>
            <a:r>
              <a:rPr lang="en-US" spc="5" dirty="0">
                <a:latin typeface="Bodoni MT" panose="02070603080606020203" pitchFamily="18" charset="0"/>
                <a:cs typeface="Calibri"/>
              </a:rPr>
              <a:t>c</a:t>
            </a:r>
            <a:r>
              <a:rPr lang="en-US" dirty="0">
                <a:latin typeface="Bodoni MT" panose="02070603080606020203" pitchFamily="18" charset="0"/>
                <a:cs typeface="Calibri"/>
              </a:rPr>
              <a:t>h As </a:t>
            </a:r>
            <a:r>
              <a:rPr lang="en-US" spc="-5" dirty="0">
                <a:latin typeface="Bodoni MT" panose="02070603080606020203" pitchFamily="18" charset="0"/>
                <a:cs typeface="Calibri"/>
              </a:rPr>
              <a:t>Soli</a:t>
            </a:r>
            <a:r>
              <a:rPr lang="en-US" dirty="0">
                <a:latin typeface="Bodoni MT" panose="02070603080606020203" pitchFamily="18" charset="0"/>
                <a:cs typeface="Calibri"/>
              </a:rPr>
              <a:t>d </a:t>
            </a:r>
            <a:r>
              <a:rPr lang="en-US" spc="-30" dirty="0">
                <a:latin typeface="Bodoni MT" panose="02070603080606020203" pitchFamily="18" charset="0"/>
                <a:cs typeface="Calibri"/>
              </a:rPr>
              <a:t>W</a:t>
            </a:r>
            <a:r>
              <a:rPr lang="en-US" dirty="0">
                <a:latin typeface="Bodoni MT" panose="02070603080606020203" pitchFamily="18" charset="0"/>
                <a:cs typeface="Calibri"/>
              </a:rPr>
              <a:t>a</a:t>
            </a:r>
            <a:r>
              <a:rPr lang="en-US" spc="-30" dirty="0">
                <a:latin typeface="Bodoni MT" panose="02070603080606020203" pitchFamily="18" charset="0"/>
                <a:cs typeface="Calibri"/>
              </a:rPr>
              <a:t>s</a:t>
            </a:r>
            <a:r>
              <a:rPr lang="en-US" spc="-15" dirty="0">
                <a:latin typeface="Bodoni MT" panose="02070603080606020203" pitchFamily="18" charset="0"/>
                <a:cs typeface="Calibri"/>
              </a:rPr>
              <a:t>t</a:t>
            </a:r>
            <a:r>
              <a:rPr lang="en-US" dirty="0">
                <a:latin typeface="Bodoni MT" panose="02070603080606020203" pitchFamily="18" charset="0"/>
                <a:cs typeface="Calibri"/>
              </a:rPr>
              <a:t>e)  Shouldn’t</a:t>
            </a:r>
            <a:r>
              <a:rPr lang="en-US" spc="-35" dirty="0">
                <a:latin typeface="Bodoni MT" panose="02070603080606020203" pitchFamily="18" charset="0"/>
                <a:cs typeface="Calibri"/>
              </a:rPr>
              <a:t> </a:t>
            </a:r>
            <a:r>
              <a:rPr lang="en-US" spc="-10" dirty="0">
                <a:latin typeface="Bodoni MT" panose="02070603080606020203" pitchFamily="18" charset="0"/>
                <a:cs typeface="Calibri"/>
              </a:rPr>
              <a:t>Get Mixed.</a:t>
            </a:r>
          </a:p>
          <a:p>
            <a:pPr marL="349250" marR="55880" indent="-285750">
              <a:lnSpc>
                <a:spcPct val="100000"/>
              </a:lnSpc>
              <a:buSzPct val="90000"/>
              <a:buFont typeface="Courier New" panose="02070309020205020404" pitchFamily="49" charset="0"/>
              <a:buChar char="o"/>
              <a:tabLst>
                <a:tab pos="405765" algn="l"/>
                <a:tab pos="406400" algn="l"/>
                <a:tab pos="948690" algn="l"/>
                <a:tab pos="2120900" algn="l"/>
                <a:tab pos="2750820" algn="l"/>
                <a:tab pos="3616325" algn="l"/>
                <a:tab pos="4198620" algn="l"/>
                <a:tab pos="4925695" algn="l"/>
                <a:tab pos="5690870" algn="l"/>
                <a:tab pos="6402070" algn="l"/>
                <a:tab pos="6782434" algn="l"/>
                <a:tab pos="7425055" algn="l"/>
              </a:tabLst>
            </a:pPr>
            <a:endParaRPr lang="en-US" dirty="0">
              <a:latin typeface="Bodoni MT" panose="02070603080606020203" pitchFamily="18" charset="0"/>
              <a:cs typeface="Calibri"/>
            </a:endParaRPr>
          </a:p>
          <a:p>
            <a:pPr marL="355600" marR="5080" indent="-342900">
              <a:lnSpc>
                <a:spcPct val="100000"/>
              </a:lnSpc>
              <a:buClr>
                <a:schemeClr val="tx1"/>
              </a:buClr>
              <a:buSzPct val="90000"/>
              <a:buFont typeface="Courier New" panose="02070309020205020404" pitchFamily="49" charset="0"/>
              <a:buChar char="o"/>
              <a:tabLst>
                <a:tab pos="354965" algn="l"/>
                <a:tab pos="355600" algn="l"/>
              </a:tabLst>
            </a:pPr>
            <a:r>
              <a:rPr lang="en-US" dirty="0">
                <a:latin typeface="Bodoni MT" panose="02070603080606020203" pitchFamily="18" charset="0"/>
                <a:cs typeface="Calibri"/>
              </a:rPr>
              <a:t>Shall Submit Waste Management Plan And Get Appropriate Approvals From  The Local Authority.</a:t>
            </a:r>
          </a:p>
          <a:p>
            <a:pPr marL="355600" marR="5080" indent="-342900">
              <a:lnSpc>
                <a:spcPct val="100000"/>
              </a:lnSpc>
              <a:buClr>
                <a:schemeClr val="tx1"/>
              </a:buClr>
              <a:buSzPct val="90000"/>
              <a:buFont typeface="Courier New" panose="02070309020205020404" pitchFamily="49" charset="0"/>
              <a:buChar char="o"/>
              <a:tabLst>
                <a:tab pos="354965" algn="l"/>
                <a:tab pos="355600" algn="l"/>
              </a:tabLst>
            </a:pPr>
            <a:endParaRPr lang="en-US" spc="-100" dirty="0">
              <a:latin typeface="Bodoni MT" panose="02070603080606020203" pitchFamily="18" charset="0"/>
              <a:cs typeface="Calibri"/>
            </a:endParaRPr>
          </a:p>
          <a:p>
            <a:pPr marL="355600" marR="5080" indent="-342900">
              <a:lnSpc>
                <a:spcPct val="100000"/>
              </a:lnSpc>
              <a:buClr>
                <a:schemeClr val="tx1"/>
              </a:buClr>
              <a:buSzPct val="90000"/>
              <a:buFont typeface="Courier New" panose="02070309020205020404" pitchFamily="49" charset="0"/>
              <a:buChar char="o"/>
              <a:tabLst>
                <a:tab pos="354965" algn="l"/>
                <a:tab pos="355600" algn="l"/>
              </a:tabLst>
            </a:pPr>
            <a:endParaRPr lang="en-US" spc="-100" dirty="0">
              <a:latin typeface="Bodoni MT" panose="02070603080606020203" pitchFamily="18" charset="0"/>
              <a:cs typeface="Calibri"/>
            </a:endParaRPr>
          </a:p>
          <a:p>
            <a:pPr marL="349250" marR="55880" indent="-285750">
              <a:lnSpc>
                <a:spcPct val="100000"/>
              </a:lnSpc>
              <a:buSzPct val="90000"/>
              <a:buFont typeface="Courier New" panose="02070309020205020404" pitchFamily="49" charset="0"/>
              <a:buChar char="o"/>
              <a:tabLst>
                <a:tab pos="405765" algn="l"/>
                <a:tab pos="406400" algn="l"/>
                <a:tab pos="948690" algn="l"/>
                <a:tab pos="2120900" algn="l"/>
                <a:tab pos="2750820" algn="l"/>
                <a:tab pos="3616325" algn="l"/>
                <a:tab pos="4198620" algn="l"/>
                <a:tab pos="4925695" algn="l"/>
                <a:tab pos="5690870" algn="l"/>
                <a:tab pos="6402070" algn="l"/>
                <a:tab pos="6782434" algn="l"/>
                <a:tab pos="7425055" algn="l"/>
              </a:tabLst>
            </a:pPr>
            <a:endParaRPr lang="en-US" spc="-10" dirty="0">
              <a:latin typeface="Bodoni MT" panose="02070603080606020203" pitchFamily="18" charset="0"/>
              <a:cs typeface="Calibri"/>
            </a:endParaRPr>
          </a:p>
          <a:p>
            <a:pPr marL="285750" indent="-285750">
              <a:buFont typeface="Arial" panose="020B0604020202020204" pitchFamily="34" charset="0"/>
              <a:buChar char="•"/>
            </a:pPr>
            <a:endParaRPr lang="en-US" dirty="0"/>
          </a:p>
        </p:txBody>
      </p:sp>
      <p:sp>
        <p:nvSpPr>
          <p:cNvPr id="102" name="TextBox 101">
            <a:extLst>
              <a:ext uri="{FF2B5EF4-FFF2-40B4-BE49-F238E27FC236}">
                <a16:creationId xmlns:a16="http://schemas.microsoft.com/office/drawing/2014/main" id="{2AFA7695-BD05-4996-A237-86804EE6D125}"/>
              </a:ext>
            </a:extLst>
          </p:cNvPr>
          <p:cNvSpPr txBox="1"/>
          <p:nvPr/>
        </p:nvSpPr>
        <p:spPr>
          <a:xfrm>
            <a:off x="6752589" y="961816"/>
            <a:ext cx="3903688" cy="4537139"/>
          </a:xfrm>
          <a:prstGeom prst="rect">
            <a:avLst/>
          </a:prstGeom>
          <a:noFill/>
        </p:spPr>
        <p:txBody>
          <a:bodyPr wrap="square" rtlCol="0">
            <a:spAutoFit/>
          </a:bodyPr>
          <a:lstStyle/>
          <a:p>
            <a:pPr marL="355600" indent="-342900">
              <a:lnSpc>
                <a:spcPct val="100000"/>
              </a:lnSpc>
              <a:spcBef>
                <a:spcPts val="105"/>
              </a:spcBef>
              <a:buClr>
                <a:schemeClr val="tx1"/>
              </a:buClr>
              <a:buSzPct val="90000"/>
              <a:buFont typeface="Courier New" panose="02070309020205020404" pitchFamily="49" charset="0"/>
              <a:buChar char="o"/>
              <a:tabLst>
                <a:tab pos="354965" algn="l"/>
                <a:tab pos="355600" algn="l"/>
                <a:tab pos="4742180" algn="l"/>
                <a:tab pos="6525259" algn="l"/>
              </a:tabLst>
            </a:pPr>
            <a:r>
              <a:rPr lang="en-US" spc="-10" dirty="0">
                <a:latin typeface="Bodoni MT" panose="02070603080606020203" pitchFamily="18" charset="0"/>
                <a:cs typeface="Calibri"/>
              </a:rPr>
              <a:t>Generator</a:t>
            </a:r>
            <a:r>
              <a:rPr lang="en-US" spc="545" dirty="0">
                <a:latin typeface="Bodoni MT" panose="02070603080606020203" pitchFamily="18" charset="0"/>
                <a:cs typeface="Calibri"/>
              </a:rPr>
              <a:t> </a:t>
            </a:r>
            <a:r>
              <a:rPr lang="en-US" dirty="0">
                <a:latin typeface="Bodoni MT" panose="02070603080606020203" pitchFamily="18" charset="0"/>
                <a:cs typeface="Calibri"/>
              </a:rPr>
              <a:t>Shall</a:t>
            </a:r>
            <a:r>
              <a:rPr lang="en-US" spc="535" dirty="0">
                <a:latin typeface="Bodoni MT" panose="02070603080606020203" pitchFamily="18" charset="0"/>
                <a:cs typeface="Calibri"/>
              </a:rPr>
              <a:t> </a:t>
            </a:r>
            <a:r>
              <a:rPr lang="en-US" spc="-15" dirty="0">
                <a:latin typeface="Bodoni MT" panose="02070603080606020203" pitchFamily="18" charset="0"/>
                <a:cs typeface="Calibri"/>
              </a:rPr>
              <a:t>Keep</a:t>
            </a:r>
            <a:r>
              <a:rPr lang="en-US" spc="550" dirty="0">
                <a:latin typeface="Bodoni MT" panose="02070603080606020203" pitchFamily="18" charset="0"/>
                <a:cs typeface="Calibri"/>
              </a:rPr>
              <a:t> </a:t>
            </a:r>
            <a:r>
              <a:rPr lang="en-US" dirty="0">
                <a:latin typeface="Bodoni MT" panose="02070603080606020203" pitchFamily="18" charset="0"/>
                <a:cs typeface="Calibri"/>
              </a:rPr>
              <a:t>The</a:t>
            </a:r>
            <a:r>
              <a:rPr lang="en-US" spc="550" dirty="0">
                <a:latin typeface="Bodoni MT" panose="02070603080606020203" pitchFamily="18" charset="0"/>
                <a:cs typeface="Calibri"/>
              </a:rPr>
              <a:t> </a:t>
            </a:r>
            <a:r>
              <a:rPr lang="en-US" spc="-15" dirty="0">
                <a:latin typeface="Bodoni MT" panose="02070603080606020203" pitchFamily="18" charset="0"/>
                <a:cs typeface="Calibri"/>
              </a:rPr>
              <a:t>Waste</a:t>
            </a:r>
            <a:r>
              <a:rPr lang="en-US" spc="550" dirty="0">
                <a:latin typeface="Bodoni MT" panose="02070603080606020203" pitchFamily="18" charset="0"/>
                <a:cs typeface="Calibri"/>
              </a:rPr>
              <a:t> </a:t>
            </a:r>
            <a:r>
              <a:rPr lang="en-US" dirty="0">
                <a:latin typeface="Bodoni MT" panose="02070603080606020203" pitchFamily="18" charset="0"/>
                <a:cs typeface="Calibri"/>
              </a:rPr>
              <a:t>Within The</a:t>
            </a:r>
            <a:r>
              <a:rPr lang="en-US" spc="550" dirty="0">
                <a:latin typeface="Bodoni MT" panose="02070603080606020203" pitchFamily="18" charset="0"/>
                <a:cs typeface="Calibri"/>
              </a:rPr>
              <a:t> </a:t>
            </a:r>
            <a:r>
              <a:rPr lang="en-US" spc="-5" dirty="0">
                <a:latin typeface="Bodoni MT" panose="02070603080606020203" pitchFamily="18" charset="0"/>
                <a:cs typeface="Calibri"/>
              </a:rPr>
              <a:t>Premise</a:t>
            </a:r>
            <a:r>
              <a:rPr lang="en-US" spc="550" dirty="0">
                <a:latin typeface="Bodoni MT" panose="02070603080606020203" pitchFamily="18" charset="0"/>
                <a:cs typeface="Calibri"/>
              </a:rPr>
              <a:t> </a:t>
            </a:r>
            <a:r>
              <a:rPr lang="en-US" spc="-5" dirty="0">
                <a:latin typeface="Bodoni MT" panose="02070603080606020203" pitchFamily="18" charset="0"/>
                <a:cs typeface="Calibri"/>
              </a:rPr>
              <a:t>Or </a:t>
            </a:r>
            <a:r>
              <a:rPr lang="en-US" spc="-10" dirty="0">
                <a:latin typeface="Bodoni MT" panose="02070603080606020203" pitchFamily="18" charset="0"/>
                <a:cs typeface="Calibri"/>
              </a:rPr>
              <a:t>Get</a:t>
            </a:r>
            <a:r>
              <a:rPr lang="en-US" spc="520" dirty="0">
                <a:latin typeface="Bodoni MT" panose="02070603080606020203" pitchFamily="18" charset="0"/>
                <a:cs typeface="Calibri"/>
              </a:rPr>
              <a:t> </a:t>
            </a:r>
            <a:r>
              <a:rPr lang="en-US" dirty="0">
                <a:latin typeface="Bodoni MT" panose="02070603080606020203" pitchFamily="18" charset="0"/>
                <a:cs typeface="Calibri"/>
              </a:rPr>
              <a:t>The</a:t>
            </a:r>
            <a:r>
              <a:rPr lang="en-US" spc="515" dirty="0">
                <a:latin typeface="Bodoni MT" panose="02070603080606020203" pitchFamily="18" charset="0"/>
                <a:cs typeface="Calibri"/>
              </a:rPr>
              <a:t> </a:t>
            </a:r>
            <a:r>
              <a:rPr lang="en-US" spc="-20" dirty="0">
                <a:latin typeface="Bodoni MT" panose="02070603080606020203" pitchFamily="18" charset="0"/>
                <a:cs typeface="Calibri"/>
              </a:rPr>
              <a:t>Waste </a:t>
            </a:r>
            <a:r>
              <a:rPr lang="en-US" spc="-5" dirty="0">
                <a:latin typeface="Bodoni MT" panose="02070603080606020203" pitchFamily="18" charset="0"/>
                <a:cs typeface="Calibri"/>
              </a:rPr>
              <a:t>Deposited </a:t>
            </a:r>
            <a:r>
              <a:rPr lang="en-US" spc="-15" dirty="0">
                <a:latin typeface="Bodoni MT" panose="02070603080606020203" pitchFamily="18" charset="0"/>
                <a:cs typeface="Calibri"/>
              </a:rPr>
              <a:t>At</a:t>
            </a:r>
            <a:r>
              <a:rPr lang="en-US" dirty="0">
                <a:latin typeface="Bodoni MT" panose="02070603080606020203" pitchFamily="18" charset="0"/>
                <a:cs typeface="Calibri"/>
              </a:rPr>
              <a:t> </a:t>
            </a:r>
            <a:r>
              <a:rPr lang="en-US" spc="-5" dirty="0">
                <a:latin typeface="Bodoni MT" panose="02070603080606020203" pitchFamily="18" charset="0"/>
                <a:cs typeface="Calibri"/>
              </a:rPr>
              <a:t>Collection </a:t>
            </a:r>
            <a:r>
              <a:rPr lang="en-US" spc="-10" dirty="0">
                <a:latin typeface="Bodoni MT" panose="02070603080606020203" pitchFamily="18" charset="0"/>
                <a:cs typeface="Calibri"/>
              </a:rPr>
              <a:t>Centre.</a:t>
            </a:r>
          </a:p>
          <a:p>
            <a:pPr marL="298450" indent="-285750">
              <a:lnSpc>
                <a:spcPct val="100000"/>
              </a:lnSpc>
              <a:spcBef>
                <a:spcPts val="105"/>
              </a:spcBef>
              <a:buClr>
                <a:schemeClr val="tx1"/>
              </a:buClr>
              <a:buSzPct val="90000"/>
              <a:buFont typeface="Courier New" panose="02070309020205020404" pitchFamily="49" charset="0"/>
              <a:buChar char="o"/>
              <a:tabLst>
                <a:tab pos="354965" algn="l"/>
                <a:tab pos="355600" algn="l"/>
                <a:tab pos="4742180" algn="l"/>
                <a:tab pos="6525259" algn="l"/>
              </a:tabLst>
            </a:pPr>
            <a:endParaRPr lang="en-US" dirty="0">
              <a:latin typeface="Bodoni MT" panose="02070603080606020203" pitchFamily="18" charset="0"/>
              <a:cs typeface="Calibri"/>
            </a:endParaRPr>
          </a:p>
          <a:p>
            <a:pPr marL="355600" marR="5080" indent="-342900">
              <a:lnSpc>
                <a:spcPct val="100000"/>
              </a:lnSpc>
              <a:spcBef>
                <a:spcPts val="5"/>
              </a:spcBef>
              <a:buClr>
                <a:schemeClr val="tx1"/>
              </a:buClr>
              <a:buSzPct val="90000"/>
              <a:buFont typeface="Courier New" panose="02070309020205020404" pitchFamily="49" charset="0"/>
              <a:buChar char="o"/>
              <a:tabLst>
                <a:tab pos="354965" algn="l"/>
                <a:tab pos="355600" algn="l"/>
              </a:tabLst>
            </a:pPr>
            <a:r>
              <a:rPr lang="en-US" dirty="0">
                <a:latin typeface="Bodoni MT" panose="02070603080606020203" pitchFamily="18" charset="0"/>
                <a:cs typeface="Calibri"/>
              </a:rPr>
              <a:t>Shall</a:t>
            </a:r>
            <a:r>
              <a:rPr lang="en-US" spc="175" dirty="0">
                <a:latin typeface="Bodoni MT" panose="02070603080606020203" pitchFamily="18" charset="0"/>
                <a:cs typeface="Calibri"/>
              </a:rPr>
              <a:t> </a:t>
            </a:r>
            <a:r>
              <a:rPr lang="en-US" spc="-5" dirty="0">
                <a:latin typeface="Bodoni MT" panose="02070603080606020203" pitchFamily="18" charset="0"/>
                <a:cs typeface="Calibri"/>
              </a:rPr>
              <a:t>Ensure</a:t>
            </a:r>
            <a:r>
              <a:rPr lang="en-US" spc="180" dirty="0">
                <a:latin typeface="Bodoni MT" panose="02070603080606020203" pitchFamily="18" charset="0"/>
                <a:cs typeface="Calibri"/>
              </a:rPr>
              <a:t> </a:t>
            </a:r>
            <a:r>
              <a:rPr lang="en-US" spc="-5" dirty="0">
                <a:latin typeface="Bodoni MT" panose="02070603080606020203" pitchFamily="18" charset="0"/>
                <a:cs typeface="Calibri"/>
              </a:rPr>
              <a:t>That</a:t>
            </a:r>
            <a:r>
              <a:rPr lang="en-US" spc="185" dirty="0">
                <a:latin typeface="Bodoni MT" panose="02070603080606020203" pitchFamily="18" charset="0"/>
                <a:cs typeface="Calibri"/>
              </a:rPr>
              <a:t> </a:t>
            </a:r>
            <a:r>
              <a:rPr lang="en-US" spc="-5" dirty="0">
                <a:latin typeface="Bodoni MT" panose="02070603080606020203" pitchFamily="18" charset="0"/>
                <a:cs typeface="Calibri"/>
              </a:rPr>
              <a:t>There</a:t>
            </a:r>
            <a:r>
              <a:rPr lang="en-US" spc="190" dirty="0">
                <a:latin typeface="Bodoni MT" panose="02070603080606020203" pitchFamily="18" charset="0"/>
                <a:cs typeface="Calibri"/>
              </a:rPr>
              <a:t> </a:t>
            </a:r>
            <a:r>
              <a:rPr lang="en-US" spc="-5" dirty="0">
                <a:latin typeface="Bodoni MT" panose="02070603080606020203" pitchFamily="18" charset="0"/>
                <a:cs typeface="Calibri"/>
              </a:rPr>
              <a:t>Is</a:t>
            </a:r>
            <a:r>
              <a:rPr lang="en-US" spc="185" dirty="0">
                <a:latin typeface="Bodoni MT" panose="02070603080606020203" pitchFamily="18" charset="0"/>
                <a:cs typeface="Calibri"/>
              </a:rPr>
              <a:t> </a:t>
            </a:r>
            <a:r>
              <a:rPr lang="en-US" spc="-5" dirty="0">
                <a:latin typeface="Bodoni MT" panose="02070603080606020203" pitchFamily="18" charset="0"/>
                <a:cs typeface="Calibri"/>
              </a:rPr>
              <a:t>No</a:t>
            </a:r>
            <a:r>
              <a:rPr lang="en-US" spc="185" dirty="0">
                <a:latin typeface="Bodoni MT" panose="02070603080606020203" pitchFamily="18" charset="0"/>
                <a:cs typeface="Calibri"/>
              </a:rPr>
              <a:t> </a:t>
            </a:r>
            <a:r>
              <a:rPr lang="en-US" spc="-10" dirty="0">
                <a:latin typeface="Bodoni MT" panose="02070603080606020203" pitchFamily="18" charset="0"/>
                <a:cs typeface="Calibri"/>
              </a:rPr>
              <a:t>Littering</a:t>
            </a:r>
            <a:r>
              <a:rPr lang="en-US" spc="180" dirty="0">
                <a:latin typeface="Bodoni MT" panose="02070603080606020203" pitchFamily="18" charset="0"/>
                <a:cs typeface="Calibri"/>
              </a:rPr>
              <a:t> </a:t>
            </a:r>
            <a:r>
              <a:rPr lang="en-US" spc="-5" dirty="0">
                <a:latin typeface="Bodoni MT" panose="02070603080606020203" pitchFamily="18" charset="0"/>
                <a:cs typeface="Calibri"/>
              </a:rPr>
              <a:t>Or</a:t>
            </a:r>
            <a:r>
              <a:rPr lang="en-US" spc="175" dirty="0">
                <a:latin typeface="Bodoni MT" panose="02070603080606020203" pitchFamily="18" charset="0"/>
                <a:cs typeface="Calibri"/>
              </a:rPr>
              <a:t> </a:t>
            </a:r>
            <a:r>
              <a:rPr lang="en-US" spc="-5" dirty="0">
                <a:latin typeface="Bodoni MT" panose="02070603080606020203" pitchFamily="18" charset="0"/>
                <a:cs typeface="Calibri"/>
              </a:rPr>
              <a:t>Deposition</a:t>
            </a:r>
            <a:r>
              <a:rPr lang="en-US" spc="180" dirty="0">
                <a:latin typeface="Bodoni MT" panose="02070603080606020203" pitchFamily="18" charset="0"/>
                <a:cs typeface="Calibri"/>
              </a:rPr>
              <a:t> </a:t>
            </a:r>
            <a:r>
              <a:rPr lang="en-US" spc="-15" dirty="0">
                <a:latin typeface="Bodoni MT" panose="02070603080606020203" pitchFamily="18" charset="0"/>
                <a:cs typeface="Calibri"/>
              </a:rPr>
              <a:t>To</a:t>
            </a:r>
            <a:r>
              <a:rPr lang="en-US" spc="175" dirty="0">
                <a:latin typeface="Bodoni MT" panose="02070603080606020203" pitchFamily="18" charset="0"/>
                <a:cs typeface="Calibri"/>
              </a:rPr>
              <a:t> </a:t>
            </a:r>
            <a:r>
              <a:rPr lang="en-US" spc="-15" dirty="0">
                <a:latin typeface="Bodoni MT" panose="02070603080606020203" pitchFamily="18" charset="0"/>
                <a:cs typeface="Calibri"/>
              </a:rPr>
              <a:t>Prevent</a:t>
            </a:r>
            <a:r>
              <a:rPr lang="en-US" spc="190" dirty="0">
                <a:latin typeface="Bodoni MT" panose="02070603080606020203" pitchFamily="18" charset="0"/>
                <a:cs typeface="Calibri"/>
              </a:rPr>
              <a:t> </a:t>
            </a:r>
            <a:r>
              <a:rPr lang="en-US" spc="-10" dirty="0">
                <a:latin typeface="Bodoni MT" panose="02070603080606020203" pitchFamily="18" charset="0"/>
                <a:cs typeface="Calibri"/>
              </a:rPr>
              <a:t>Traffic</a:t>
            </a:r>
            <a:r>
              <a:rPr lang="en-US" spc="190" dirty="0">
                <a:latin typeface="Bodoni MT" panose="02070603080606020203" pitchFamily="18" charset="0"/>
                <a:cs typeface="Calibri"/>
              </a:rPr>
              <a:t> </a:t>
            </a:r>
            <a:r>
              <a:rPr lang="en-US" dirty="0">
                <a:latin typeface="Bodoni MT" panose="02070603080606020203" pitchFamily="18" charset="0"/>
                <a:cs typeface="Calibri"/>
              </a:rPr>
              <a:t>And </a:t>
            </a:r>
            <a:r>
              <a:rPr lang="en-US" spc="-440" dirty="0">
                <a:latin typeface="Bodoni MT" panose="02070603080606020203" pitchFamily="18" charset="0"/>
                <a:cs typeface="Calibri"/>
              </a:rPr>
              <a:t> </a:t>
            </a:r>
            <a:r>
              <a:rPr lang="en-US" spc="-10" dirty="0">
                <a:latin typeface="Bodoni MT" panose="02070603080606020203" pitchFamily="18" charset="0"/>
                <a:cs typeface="Calibri"/>
              </a:rPr>
              <a:t>Drain</a:t>
            </a:r>
            <a:r>
              <a:rPr lang="en-US" spc="-15" dirty="0">
                <a:latin typeface="Bodoni MT" panose="02070603080606020203" pitchFamily="18" charset="0"/>
                <a:cs typeface="Calibri"/>
              </a:rPr>
              <a:t> </a:t>
            </a:r>
            <a:r>
              <a:rPr lang="en-US" spc="-10" dirty="0">
                <a:latin typeface="Bodoni MT" panose="02070603080606020203" pitchFamily="18" charset="0"/>
                <a:cs typeface="Calibri"/>
              </a:rPr>
              <a:t>Flow</a:t>
            </a:r>
            <a:r>
              <a:rPr lang="en-US" dirty="0">
                <a:latin typeface="Bodoni MT" panose="02070603080606020203" pitchFamily="18" charset="0"/>
                <a:cs typeface="Calibri"/>
              </a:rPr>
              <a:t> </a:t>
            </a:r>
            <a:r>
              <a:rPr lang="en-US" spc="-5" dirty="0">
                <a:latin typeface="Bodoni MT" panose="02070603080606020203" pitchFamily="18" charset="0"/>
                <a:cs typeface="Calibri"/>
              </a:rPr>
              <a:t>Obstruction.</a:t>
            </a:r>
            <a:endParaRPr lang="en-US" dirty="0">
              <a:latin typeface="Bodoni MT" panose="02070603080606020203" pitchFamily="18" charset="0"/>
              <a:cs typeface="Calibri"/>
            </a:endParaRPr>
          </a:p>
          <a:p>
            <a:pPr marL="342900" indent="-342900">
              <a:lnSpc>
                <a:spcPct val="100000"/>
              </a:lnSpc>
              <a:spcBef>
                <a:spcPts val="5"/>
              </a:spcBef>
              <a:buClr>
                <a:schemeClr val="tx1"/>
              </a:buClr>
              <a:buFont typeface="Courier New" panose="02070309020205020404" pitchFamily="49" charset="0"/>
              <a:buChar char="o"/>
            </a:pPr>
            <a:endParaRPr lang="en-US" dirty="0">
              <a:latin typeface="Bodoni MT" panose="02070603080606020203" pitchFamily="18" charset="0"/>
              <a:cs typeface="Calibri"/>
            </a:endParaRPr>
          </a:p>
          <a:p>
            <a:pPr marL="355600" marR="5715" indent="-342900">
              <a:lnSpc>
                <a:spcPct val="100000"/>
              </a:lnSpc>
              <a:buClr>
                <a:schemeClr val="tx1"/>
              </a:buClr>
              <a:buSzPct val="90000"/>
              <a:buFont typeface="Courier New" panose="02070309020205020404" pitchFamily="49" charset="0"/>
              <a:buChar char="o"/>
              <a:tabLst>
                <a:tab pos="354965" algn="l"/>
                <a:tab pos="355600" algn="l"/>
              </a:tabLst>
            </a:pPr>
            <a:r>
              <a:rPr lang="en-US" spc="-10" dirty="0">
                <a:latin typeface="Bodoni MT" panose="02070603080606020203" pitchFamily="18" charset="0"/>
                <a:cs typeface="Calibri"/>
              </a:rPr>
              <a:t>Generator</a:t>
            </a:r>
            <a:r>
              <a:rPr lang="en-US" spc="425" dirty="0">
                <a:latin typeface="Bodoni MT" panose="02070603080606020203" pitchFamily="18" charset="0"/>
                <a:cs typeface="Calibri"/>
              </a:rPr>
              <a:t> </a:t>
            </a:r>
            <a:r>
              <a:rPr lang="en-US" spc="-5" dirty="0">
                <a:latin typeface="Bodoni MT" panose="02070603080606020203" pitchFamily="18" charset="0"/>
                <a:cs typeface="Calibri"/>
              </a:rPr>
              <a:t>Should</a:t>
            </a:r>
            <a:r>
              <a:rPr lang="en-US" spc="434" dirty="0">
                <a:latin typeface="Bodoni MT" panose="02070603080606020203" pitchFamily="18" charset="0"/>
                <a:cs typeface="Calibri"/>
              </a:rPr>
              <a:t> </a:t>
            </a:r>
            <a:r>
              <a:rPr lang="en-US" spc="-15" dirty="0">
                <a:latin typeface="Bodoni MT" panose="02070603080606020203" pitchFamily="18" charset="0"/>
                <a:cs typeface="Calibri"/>
              </a:rPr>
              <a:t>Pay</a:t>
            </a:r>
            <a:r>
              <a:rPr lang="en-US" spc="15" dirty="0">
                <a:latin typeface="Bodoni MT" panose="02070603080606020203" pitchFamily="18" charset="0"/>
                <a:cs typeface="Calibri"/>
              </a:rPr>
              <a:t> </a:t>
            </a:r>
            <a:r>
              <a:rPr lang="en-US" spc="-10" dirty="0">
                <a:latin typeface="Bodoni MT" panose="02070603080606020203" pitchFamily="18" charset="0"/>
                <a:cs typeface="Calibri"/>
              </a:rPr>
              <a:t>Charges</a:t>
            </a:r>
            <a:r>
              <a:rPr lang="en-US" spc="5" dirty="0">
                <a:latin typeface="Bodoni MT" panose="02070603080606020203" pitchFamily="18" charset="0"/>
                <a:cs typeface="Calibri"/>
              </a:rPr>
              <a:t> </a:t>
            </a:r>
            <a:r>
              <a:rPr lang="en-US" spc="-15" dirty="0">
                <a:latin typeface="Bodoni MT" panose="02070603080606020203" pitchFamily="18" charset="0"/>
                <a:cs typeface="Calibri"/>
              </a:rPr>
              <a:t>For</a:t>
            </a:r>
            <a:r>
              <a:rPr lang="en-US" spc="-5" dirty="0">
                <a:latin typeface="Bodoni MT" panose="02070603080606020203" pitchFamily="18" charset="0"/>
                <a:cs typeface="Calibri"/>
              </a:rPr>
              <a:t> Collection,</a:t>
            </a:r>
            <a:r>
              <a:rPr lang="en-US" spc="5" dirty="0">
                <a:latin typeface="Bodoni MT" panose="02070603080606020203" pitchFamily="18" charset="0"/>
                <a:cs typeface="Calibri"/>
              </a:rPr>
              <a:t> </a:t>
            </a:r>
            <a:r>
              <a:rPr lang="en-US" spc="-10" dirty="0">
                <a:latin typeface="Bodoni MT" panose="02070603080606020203" pitchFamily="18" charset="0"/>
                <a:cs typeface="Calibri"/>
              </a:rPr>
              <a:t>Transportation,</a:t>
            </a:r>
            <a:r>
              <a:rPr lang="en-US" dirty="0">
                <a:latin typeface="Bodoni MT" panose="02070603080606020203" pitchFamily="18" charset="0"/>
                <a:cs typeface="Calibri"/>
              </a:rPr>
              <a:t> </a:t>
            </a:r>
            <a:r>
              <a:rPr lang="en-US" spc="-10" dirty="0">
                <a:latin typeface="Bodoni MT" panose="02070603080606020203" pitchFamily="18" charset="0"/>
                <a:cs typeface="Calibri"/>
              </a:rPr>
              <a:t>Processing </a:t>
            </a:r>
            <a:r>
              <a:rPr lang="en-US" spc="-440" dirty="0">
                <a:latin typeface="Bodoni MT" panose="02070603080606020203" pitchFamily="18" charset="0"/>
                <a:cs typeface="Calibri"/>
              </a:rPr>
              <a:t> </a:t>
            </a:r>
            <a:r>
              <a:rPr lang="en-US" dirty="0">
                <a:latin typeface="Bodoni MT" panose="02070603080606020203" pitchFamily="18" charset="0"/>
                <a:cs typeface="Calibri"/>
              </a:rPr>
              <a:t>And</a:t>
            </a:r>
            <a:r>
              <a:rPr lang="en-US" spc="-5" dirty="0">
                <a:latin typeface="Bodoni MT" panose="02070603080606020203" pitchFamily="18" charset="0"/>
                <a:cs typeface="Calibri"/>
              </a:rPr>
              <a:t> Disposal If</a:t>
            </a:r>
            <a:r>
              <a:rPr lang="en-US" spc="5" dirty="0">
                <a:latin typeface="Bodoni MT" panose="02070603080606020203" pitchFamily="18" charset="0"/>
                <a:cs typeface="Calibri"/>
              </a:rPr>
              <a:t> </a:t>
            </a:r>
            <a:r>
              <a:rPr lang="en-US" spc="-10" dirty="0">
                <a:latin typeface="Bodoni MT" panose="02070603080606020203" pitchFamily="18" charset="0"/>
                <a:cs typeface="Calibri"/>
              </a:rPr>
              <a:t>Generating</a:t>
            </a:r>
            <a:r>
              <a:rPr lang="en-US" spc="-5" dirty="0">
                <a:latin typeface="Bodoni MT" panose="02070603080606020203" pitchFamily="18" charset="0"/>
                <a:cs typeface="Calibri"/>
              </a:rPr>
              <a:t> </a:t>
            </a:r>
            <a:r>
              <a:rPr lang="en-US" dirty="0">
                <a:latin typeface="Bodoni MT" panose="02070603080606020203" pitchFamily="18" charset="0"/>
                <a:cs typeface="Calibri"/>
              </a:rPr>
              <a:t>&gt;</a:t>
            </a:r>
            <a:r>
              <a:rPr lang="en-US" spc="5" dirty="0">
                <a:latin typeface="Bodoni MT" panose="02070603080606020203" pitchFamily="18" charset="0"/>
                <a:cs typeface="Calibri"/>
              </a:rPr>
              <a:t> </a:t>
            </a:r>
            <a:r>
              <a:rPr lang="en-US" dirty="0">
                <a:latin typeface="Bodoni MT" panose="02070603080606020203" pitchFamily="18" charset="0"/>
                <a:cs typeface="Calibri"/>
              </a:rPr>
              <a:t>20</a:t>
            </a:r>
            <a:r>
              <a:rPr lang="en-US" spc="-20" dirty="0">
                <a:latin typeface="Bodoni MT" panose="02070603080606020203" pitchFamily="18" charset="0"/>
                <a:cs typeface="Calibri"/>
              </a:rPr>
              <a:t> </a:t>
            </a:r>
            <a:r>
              <a:rPr lang="en-US" spc="-10" dirty="0">
                <a:latin typeface="Bodoni MT" panose="02070603080606020203" pitchFamily="18" charset="0"/>
                <a:cs typeface="Calibri"/>
              </a:rPr>
              <a:t>Tons/</a:t>
            </a:r>
            <a:r>
              <a:rPr lang="en-US" dirty="0">
                <a:latin typeface="Bodoni MT" panose="02070603080606020203" pitchFamily="18" charset="0"/>
                <a:cs typeface="Calibri"/>
              </a:rPr>
              <a:t> </a:t>
            </a:r>
            <a:r>
              <a:rPr lang="en-US" spc="-15" dirty="0">
                <a:latin typeface="Bodoni MT" panose="02070603080606020203" pitchFamily="18" charset="0"/>
                <a:cs typeface="Calibri"/>
              </a:rPr>
              <a:t>Day </a:t>
            </a:r>
            <a:r>
              <a:rPr lang="en-US" spc="-5" dirty="0">
                <a:latin typeface="Bodoni MT" panose="02070603080606020203" pitchFamily="18" charset="0"/>
                <a:cs typeface="Calibri"/>
              </a:rPr>
              <a:t>Or</a:t>
            </a:r>
            <a:r>
              <a:rPr lang="en-US" spc="5" dirty="0">
                <a:latin typeface="Bodoni MT" panose="02070603080606020203" pitchFamily="18" charset="0"/>
                <a:cs typeface="Calibri"/>
              </a:rPr>
              <a:t> </a:t>
            </a:r>
            <a:r>
              <a:rPr lang="en-US" dirty="0">
                <a:latin typeface="Bodoni MT" panose="02070603080606020203" pitchFamily="18" charset="0"/>
                <a:cs typeface="Calibri"/>
              </a:rPr>
              <a:t>300/</a:t>
            </a:r>
            <a:r>
              <a:rPr lang="en-US" spc="-30" dirty="0">
                <a:latin typeface="Bodoni MT" panose="02070603080606020203" pitchFamily="18" charset="0"/>
                <a:cs typeface="Calibri"/>
              </a:rPr>
              <a:t> </a:t>
            </a:r>
            <a:r>
              <a:rPr lang="en-US" spc="-10" dirty="0">
                <a:latin typeface="Bodoni MT" panose="02070603080606020203" pitchFamily="18" charset="0"/>
                <a:cs typeface="Calibri"/>
              </a:rPr>
              <a:t>Project/</a:t>
            </a:r>
            <a:r>
              <a:rPr lang="en-US" spc="5" dirty="0">
                <a:latin typeface="Bodoni MT" panose="02070603080606020203" pitchFamily="18" charset="0"/>
                <a:cs typeface="Calibri"/>
              </a:rPr>
              <a:t> </a:t>
            </a:r>
            <a:r>
              <a:rPr lang="en-US" spc="-5" dirty="0">
                <a:latin typeface="Bodoni MT" panose="02070603080606020203" pitchFamily="18" charset="0"/>
                <a:cs typeface="Calibri"/>
              </a:rPr>
              <a:t>Month.</a:t>
            </a:r>
            <a:endParaRPr lang="en-US" dirty="0">
              <a:latin typeface="Bodoni MT" panose="02070603080606020203" pitchFamily="18" charset="0"/>
              <a:cs typeface="Calibri"/>
            </a:endParaRPr>
          </a:p>
          <a:p>
            <a:pPr marL="285750" indent="-285750">
              <a:buClr>
                <a:schemeClr val="tx1"/>
              </a:buClr>
              <a:buFont typeface="Courier New" panose="02070309020205020404" pitchFamily="49" charset="0"/>
              <a:buChar char="o"/>
            </a:pPr>
            <a:endParaRPr lang="en-US" dirty="0"/>
          </a:p>
        </p:txBody>
      </p:sp>
    </p:spTree>
    <p:extLst>
      <p:ext uri="{BB962C8B-B14F-4D97-AF65-F5344CB8AC3E}">
        <p14:creationId xmlns:p14="http://schemas.microsoft.com/office/powerpoint/2010/main" val="16194198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5F3F1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C7CE5A-6D03-4826-A612-1F39F7556EC8}"/>
              </a:ext>
            </a:extLst>
          </p:cNvPr>
          <p:cNvSpPr/>
          <p:nvPr/>
        </p:nvSpPr>
        <p:spPr>
          <a:xfrm>
            <a:off x="858130" y="390378"/>
            <a:ext cx="5064369" cy="6077243"/>
          </a:xfrm>
          <a:prstGeom prst="rect">
            <a:avLst/>
          </a:prstGeom>
          <a:solidFill>
            <a:srgbClr val="24201F"/>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AD0D090-6B7C-4291-ADF9-5B763FEFC8B9}"/>
              </a:ext>
            </a:extLst>
          </p:cNvPr>
          <p:cNvSpPr/>
          <p:nvPr/>
        </p:nvSpPr>
        <p:spPr>
          <a:xfrm>
            <a:off x="6269501" y="390377"/>
            <a:ext cx="5064369" cy="6077243"/>
          </a:xfrm>
          <a:prstGeom prst="rect">
            <a:avLst/>
          </a:prstGeom>
          <a:solidFill>
            <a:srgbClr val="24201F"/>
          </a:solidFill>
          <a:ln>
            <a:noFill/>
          </a:ln>
          <a:effectLst>
            <a:outerShdw blurRad="50800" dist="1016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ight Triangle 1">
            <a:extLst>
              <a:ext uri="{FF2B5EF4-FFF2-40B4-BE49-F238E27FC236}">
                <a16:creationId xmlns:a16="http://schemas.microsoft.com/office/drawing/2014/main" id="{AA6C2927-43EE-4C25-9E20-CBDA1FD87AA4}"/>
              </a:ext>
            </a:extLst>
          </p:cNvPr>
          <p:cNvSpPr/>
          <p:nvPr/>
        </p:nvSpPr>
        <p:spPr>
          <a:xfrm>
            <a:off x="80186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ight Triangle 6">
            <a:extLst>
              <a:ext uri="{FF2B5EF4-FFF2-40B4-BE49-F238E27FC236}">
                <a16:creationId xmlns:a16="http://schemas.microsoft.com/office/drawing/2014/main" id="{52E4EB6D-0A66-447B-ABB1-CB1A8083E581}"/>
              </a:ext>
            </a:extLst>
          </p:cNvPr>
          <p:cNvSpPr/>
          <p:nvPr/>
        </p:nvSpPr>
        <p:spPr>
          <a:xfrm flipV="1">
            <a:off x="785335" y="372775"/>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4E7CD148-78FB-471A-B5CC-7D2C980C36DF}"/>
              </a:ext>
            </a:extLst>
          </p:cNvPr>
          <p:cNvSpPr/>
          <p:nvPr/>
        </p:nvSpPr>
        <p:spPr>
          <a:xfrm flipH="1" flipV="1">
            <a:off x="10892637" y="390377"/>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ight Triangle 8">
            <a:extLst>
              <a:ext uri="{FF2B5EF4-FFF2-40B4-BE49-F238E27FC236}">
                <a16:creationId xmlns:a16="http://schemas.microsoft.com/office/drawing/2014/main" id="{A281906A-EEAF-4826-B085-D8FC8E11968D}"/>
              </a:ext>
            </a:extLst>
          </p:cNvPr>
          <p:cNvSpPr/>
          <p:nvPr/>
        </p:nvSpPr>
        <p:spPr>
          <a:xfrm flipH="1">
            <a:off x="1092814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Rectangle 2">
            <a:extLst>
              <a:ext uri="{FF2B5EF4-FFF2-40B4-BE49-F238E27FC236}">
                <a16:creationId xmlns:a16="http://schemas.microsoft.com/office/drawing/2014/main" id="{7277BF1C-0BBE-4AA4-9125-8E43356A46AA}"/>
              </a:ext>
            </a:extLst>
          </p:cNvPr>
          <p:cNvSpPr/>
          <p:nvPr/>
        </p:nvSpPr>
        <p:spPr>
          <a:xfrm>
            <a:off x="1262743" y="642255"/>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6459EE-1C02-4C56-9402-64DF331AD870}"/>
              </a:ext>
            </a:extLst>
          </p:cNvPr>
          <p:cNvSpPr/>
          <p:nvPr/>
        </p:nvSpPr>
        <p:spPr>
          <a:xfrm>
            <a:off x="6298084" y="642257"/>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C030149-99F3-4298-B7C9-06D399F8E0ED}"/>
              </a:ext>
            </a:extLst>
          </p:cNvPr>
          <p:cNvSpPr/>
          <p:nvPr/>
        </p:nvSpPr>
        <p:spPr>
          <a:xfrm>
            <a:off x="5704114" y="642255"/>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17B4086-6155-47C5-9C6C-968FCF46B7B4}"/>
              </a:ext>
            </a:extLst>
          </p:cNvPr>
          <p:cNvSpPr/>
          <p:nvPr/>
        </p:nvSpPr>
        <p:spPr>
          <a:xfrm>
            <a:off x="6327112" y="642257"/>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0" name="Group 89">
            <a:extLst>
              <a:ext uri="{FF2B5EF4-FFF2-40B4-BE49-F238E27FC236}">
                <a16:creationId xmlns:a16="http://schemas.microsoft.com/office/drawing/2014/main" id="{4F0CDE8A-B12E-40CB-BB4B-53F064AECBFB}"/>
              </a:ext>
            </a:extLst>
          </p:cNvPr>
          <p:cNvGrpSpPr/>
          <p:nvPr/>
        </p:nvGrpSpPr>
        <p:grpSpPr>
          <a:xfrm>
            <a:off x="5751857" y="868383"/>
            <a:ext cx="717314" cy="5049396"/>
            <a:chOff x="5772183" y="784514"/>
            <a:chExt cx="717314" cy="5049396"/>
          </a:xfrm>
          <a:effectLst>
            <a:outerShdw blurRad="50800" dist="38100" dir="5400000" algn="t" rotWithShape="0">
              <a:prstClr val="black">
                <a:alpha val="40000"/>
              </a:prstClr>
            </a:outerShdw>
          </a:effectLst>
        </p:grpSpPr>
        <p:grpSp>
          <p:nvGrpSpPr>
            <p:cNvPr id="16" name="Group 15">
              <a:extLst>
                <a:ext uri="{FF2B5EF4-FFF2-40B4-BE49-F238E27FC236}">
                  <a16:creationId xmlns:a16="http://schemas.microsoft.com/office/drawing/2014/main" id="{7083AC48-F29D-474C-B03B-BD556737251E}"/>
                </a:ext>
              </a:extLst>
            </p:cNvPr>
            <p:cNvGrpSpPr/>
            <p:nvPr/>
          </p:nvGrpSpPr>
          <p:grpSpPr>
            <a:xfrm>
              <a:off x="5772183" y="784514"/>
              <a:ext cx="703246" cy="99031"/>
              <a:chOff x="5772183" y="784514"/>
              <a:chExt cx="703246" cy="99031"/>
            </a:xfrm>
          </p:grpSpPr>
          <p:sp>
            <p:nvSpPr>
              <p:cNvPr id="13" name="Oval 12">
                <a:extLst>
                  <a:ext uri="{FF2B5EF4-FFF2-40B4-BE49-F238E27FC236}">
                    <a16:creationId xmlns:a16="http://schemas.microsoft.com/office/drawing/2014/main" id="{7C0C5BC9-033C-4E74-AC75-9EEA3423CEF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2CF74482-0721-4E4D-865B-85AC01A8B29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CE51A6AC-044C-4486-8025-8CFE52F31EF9}"/>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B88A290A-757F-4266-891F-1B12C105248D}"/>
                </a:ext>
              </a:extLst>
            </p:cNvPr>
            <p:cNvGrpSpPr/>
            <p:nvPr/>
          </p:nvGrpSpPr>
          <p:grpSpPr>
            <a:xfrm>
              <a:off x="5786251" y="1085906"/>
              <a:ext cx="703246" cy="4748004"/>
              <a:chOff x="5786251" y="1085906"/>
              <a:chExt cx="703246" cy="4748004"/>
            </a:xfrm>
          </p:grpSpPr>
          <p:grpSp>
            <p:nvGrpSpPr>
              <p:cNvPr id="17" name="Group 16">
                <a:extLst>
                  <a:ext uri="{FF2B5EF4-FFF2-40B4-BE49-F238E27FC236}">
                    <a16:creationId xmlns:a16="http://schemas.microsoft.com/office/drawing/2014/main" id="{6E8C30D7-3D0F-4E84-B3BD-EB23A0E7BDF5}"/>
                  </a:ext>
                </a:extLst>
              </p:cNvPr>
              <p:cNvGrpSpPr/>
              <p:nvPr/>
            </p:nvGrpSpPr>
            <p:grpSpPr>
              <a:xfrm>
                <a:off x="5786251" y="1085906"/>
                <a:ext cx="703246" cy="99031"/>
                <a:chOff x="5772183" y="784514"/>
                <a:chExt cx="703246" cy="99031"/>
              </a:xfrm>
            </p:grpSpPr>
            <p:sp>
              <p:nvSpPr>
                <p:cNvPr id="18" name="Oval 17">
                  <a:extLst>
                    <a:ext uri="{FF2B5EF4-FFF2-40B4-BE49-F238E27FC236}">
                      <a16:creationId xmlns:a16="http://schemas.microsoft.com/office/drawing/2014/main" id="{229D4F0D-9B2F-479E-B3FA-2A69B7DD0C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6A9C1A3-9268-46F2-9F79-0E15859118B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06BC3828-A6CC-4833-BE7A-1640A1A6901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F42A8CC2-9150-46F8-B41D-DC8E6CB9B121}"/>
                  </a:ext>
                </a:extLst>
              </p:cNvPr>
              <p:cNvGrpSpPr/>
              <p:nvPr/>
            </p:nvGrpSpPr>
            <p:grpSpPr>
              <a:xfrm>
                <a:off x="5786251" y="1359375"/>
                <a:ext cx="703246" cy="99031"/>
                <a:chOff x="5772183" y="784514"/>
                <a:chExt cx="703246" cy="99031"/>
              </a:xfrm>
            </p:grpSpPr>
            <p:sp>
              <p:nvSpPr>
                <p:cNvPr id="22" name="Oval 21">
                  <a:extLst>
                    <a:ext uri="{FF2B5EF4-FFF2-40B4-BE49-F238E27FC236}">
                      <a16:creationId xmlns:a16="http://schemas.microsoft.com/office/drawing/2014/main" id="{1B2D122F-9ED7-4761-BCB8-659B8193C67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D40D170-0540-4C45-8113-3F16E48265C1}"/>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F71E06F7-8770-44C4-AAC4-0BD07EFFAC5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F079EA5-CA68-4EAE-9AE0-8B9F054E1816}"/>
                  </a:ext>
                </a:extLst>
              </p:cNvPr>
              <p:cNvGrpSpPr/>
              <p:nvPr/>
            </p:nvGrpSpPr>
            <p:grpSpPr>
              <a:xfrm>
                <a:off x="5786251" y="1632844"/>
                <a:ext cx="703246" cy="99031"/>
                <a:chOff x="5772183" y="784514"/>
                <a:chExt cx="703246" cy="99031"/>
              </a:xfrm>
            </p:grpSpPr>
            <p:sp>
              <p:nvSpPr>
                <p:cNvPr id="26" name="Oval 25">
                  <a:extLst>
                    <a:ext uri="{FF2B5EF4-FFF2-40B4-BE49-F238E27FC236}">
                      <a16:creationId xmlns:a16="http://schemas.microsoft.com/office/drawing/2014/main" id="{C7B8A345-412B-4064-B951-81A37EBAC8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14A49EB-C283-427A-AF09-86907DA5F6C9}"/>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AB10A0AE-E505-4683-A947-6E977A4576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F619E5D5-847F-44A4-AAFD-AC2092EBF188}"/>
                  </a:ext>
                </a:extLst>
              </p:cNvPr>
              <p:cNvGrpSpPr/>
              <p:nvPr/>
            </p:nvGrpSpPr>
            <p:grpSpPr>
              <a:xfrm>
                <a:off x="5786251" y="1906313"/>
                <a:ext cx="703246" cy="99031"/>
                <a:chOff x="5772183" y="784514"/>
                <a:chExt cx="703246" cy="99031"/>
              </a:xfrm>
            </p:grpSpPr>
            <p:sp>
              <p:nvSpPr>
                <p:cNvPr id="30" name="Oval 29">
                  <a:extLst>
                    <a:ext uri="{FF2B5EF4-FFF2-40B4-BE49-F238E27FC236}">
                      <a16:creationId xmlns:a16="http://schemas.microsoft.com/office/drawing/2014/main" id="{56DA8E35-B9FC-46FB-BDAC-5D0F64D8CA5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EC121BE-4678-4D34-9D92-13A84BECD038}"/>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a:extLst>
                    <a:ext uri="{FF2B5EF4-FFF2-40B4-BE49-F238E27FC236}">
                      <a16:creationId xmlns:a16="http://schemas.microsoft.com/office/drawing/2014/main" id="{511A5AC4-02D8-4B10-8702-3150BBC473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2DB7D2B5-10A1-4F14-A298-866D381E0B82}"/>
                  </a:ext>
                </a:extLst>
              </p:cNvPr>
              <p:cNvGrpSpPr/>
              <p:nvPr/>
            </p:nvGrpSpPr>
            <p:grpSpPr>
              <a:xfrm>
                <a:off x="5786251" y="2179782"/>
                <a:ext cx="703246" cy="99031"/>
                <a:chOff x="5772183" y="784514"/>
                <a:chExt cx="703246" cy="99031"/>
              </a:xfrm>
            </p:grpSpPr>
            <p:sp>
              <p:nvSpPr>
                <p:cNvPr id="34" name="Oval 33">
                  <a:extLst>
                    <a:ext uri="{FF2B5EF4-FFF2-40B4-BE49-F238E27FC236}">
                      <a16:creationId xmlns:a16="http://schemas.microsoft.com/office/drawing/2014/main" id="{699255F7-A8A1-4F97-A980-2FDA5059608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026EC098-8A28-46DA-9580-257004AB49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9F65917F-B712-427F-8691-F2BE23650F24}"/>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925C3343-DDED-44EF-8547-F0F882EFAACF}"/>
                  </a:ext>
                </a:extLst>
              </p:cNvPr>
              <p:cNvGrpSpPr/>
              <p:nvPr/>
            </p:nvGrpSpPr>
            <p:grpSpPr>
              <a:xfrm>
                <a:off x="5786251" y="2453251"/>
                <a:ext cx="703246" cy="99031"/>
                <a:chOff x="5772183" y="784514"/>
                <a:chExt cx="703246" cy="99031"/>
              </a:xfrm>
            </p:grpSpPr>
            <p:sp>
              <p:nvSpPr>
                <p:cNvPr id="38" name="Oval 37">
                  <a:extLst>
                    <a:ext uri="{FF2B5EF4-FFF2-40B4-BE49-F238E27FC236}">
                      <a16:creationId xmlns:a16="http://schemas.microsoft.com/office/drawing/2014/main" id="{8263B869-699F-4C05-8041-ED7F28BF759C}"/>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3E633260-843E-4BEC-8B8F-E21700E7CB5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0CF12A6-94C3-4AF2-B82F-9689075A9A0E}"/>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EA8D3157-269F-4673-83F8-1B52721C8BDE}"/>
                  </a:ext>
                </a:extLst>
              </p:cNvPr>
              <p:cNvGrpSpPr/>
              <p:nvPr/>
            </p:nvGrpSpPr>
            <p:grpSpPr>
              <a:xfrm>
                <a:off x="5786251" y="2726720"/>
                <a:ext cx="703246" cy="99031"/>
                <a:chOff x="5772183" y="784514"/>
                <a:chExt cx="703246" cy="99031"/>
              </a:xfrm>
            </p:grpSpPr>
            <p:sp>
              <p:nvSpPr>
                <p:cNvPr id="42" name="Oval 41">
                  <a:extLst>
                    <a:ext uri="{FF2B5EF4-FFF2-40B4-BE49-F238E27FC236}">
                      <a16:creationId xmlns:a16="http://schemas.microsoft.com/office/drawing/2014/main" id="{BB4859AA-C91B-4512-90BD-AD7456E083D5}"/>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E8AF206B-AC95-4597-930C-58890211554C}"/>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5713328D-3155-4F4D-B73C-1A065E2D6A96}"/>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id="{05DDEDF6-96E8-42E2-A225-582D8DF5C850}"/>
                  </a:ext>
                </a:extLst>
              </p:cNvPr>
              <p:cNvGrpSpPr/>
              <p:nvPr/>
            </p:nvGrpSpPr>
            <p:grpSpPr>
              <a:xfrm>
                <a:off x="5786251" y="3000189"/>
                <a:ext cx="703246" cy="99031"/>
                <a:chOff x="5772183" y="784514"/>
                <a:chExt cx="703246" cy="99031"/>
              </a:xfrm>
            </p:grpSpPr>
            <p:sp>
              <p:nvSpPr>
                <p:cNvPr id="46" name="Oval 45">
                  <a:extLst>
                    <a:ext uri="{FF2B5EF4-FFF2-40B4-BE49-F238E27FC236}">
                      <a16:creationId xmlns:a16="http://schemas.microsoft.com/office/drawing/2014/main" id="{097D8FFC-DA7D-452F-9679-5866D589710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F82EE929-47A5-4605-9E8F-24727B1D86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Rounded Corners 47">
                  <a:extLst>
                    <a:ext uri="{FF2B5EF4-FFF2-40B4-BE49-F238E27FC236}">
                      <a16:creationId xmlns:a16="http://schemas.microsoft.com/office/drawing/2014/main" id="{E0F855A2-5E0F-40C0-83D5-56E313E340D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id="{45EB6991-130D-4817-B3C7-BFC0A2C58D4F}"/>
                  </a:ext>
                </a:extLst>
              </p:cNvPr>
              <p:cNvGrpSpPr/>
              <p:nvPr/>
            </p:nvGrpSpPr>
            <p:grpSpPr>
              <a:xfrm>
                <a:off x="5786251" y="3273658"/>
                <a:ext cx="703246" cy="99031"/>
                <a:chOff x="5772183" y="784514"/>
                <a:chExt cx="703246" cy="99031"/>
              </a:xfrm>
            </p:grpSpPr>
            <p:sp>
              <p:nvSpPr>
                <p:cNvPr id="50" name="Oval 49">
                  <a:extLst>
                    <a:ext uri="{FF2B5EF4-FFF2-40B4-BE49-F238E27FC236}">
                      <a16:creationId xmlns:a16="http://schemas.microsoft.com/office/drawing/2014/main" id="{8EE10D3C-3EEE-48F6-B575-0B6A3D24101E}"/>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0A36B39F-D831-4F8B-858D-4A986A1E35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AC33A827-4F29-4898-A6F5-2C7FB0120771}"/>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31587573-D46D-4D4F-B882-E0D1816A3F56}"/>
                  </a:ext>
                </a:extLst>
              </p:cNvPr>
              <p:cNvGrpSpPr/>
              <p:nvPr/>
            </p:nvGrpSpPr>
            <p:grpSpPr>
              <a:xfrm>
                <a:off x="5786251" y="3547127"/>
                <a:ext cx="703246" cy="99031"/>
                <a:chOff x="5772183" y="784514"/>
                <a:chExt cx="703246" cy="99031"/>
              </a:xfrm>
            </p:grpSpPr>
            <p:sp>
              <p:nvSpPr>
                <p:cNvPr id="54" name="Oval 53">
                  <a:extLst>
                    <a:ext uri="{FF2B5EF4-FFF2-40B4-BE49-F238E27FC236}">
                      <a16:creationId xmlns:a16="http://schemas.microsoft.com/office/drawing/2014/main" id="{91CE6A00-E8F0-4362-880D-7DABF30DA30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8BFD6C2-2DB6-4795-B830-DD39F0FAB84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FB076EA1-1F7F-41DA-8734-792E19483EA5}"/>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a:extLst>
                  <a:ext uri="{FF2B5EF4-FFF2-40B4-BE49-F238E27FC236}">
                    <a16:creationId xmlns:a16="http://schemas.microsoft.com/office/drawing/2014/main" id="{33B3DC1C-DF1A-4FC3-B178-32DDD4DBFEB9}"/>
                  </a:ext>
                </a:extLst>
              </p:cNvPr>
              <p:cNvGrpSpPr/>
              <p:nvPr/>
            </p:nvGrpSpPr>
            <p:grpSpPr>
              <a:xfrm>
                <a:off x="5786251" y="3820596"/>
                <a:ext cx="703246" cy="99031"/>
                <a:chOff x="5772183" y="784514"/>
                <a:chExt cx="703246" cy="99031"/>
              </a:xfrm>
            </p:grpSpPr>
            <p:sp>
              <p:nvSpPr>
                <p:cNvPr id="58" name="Oval 57">
                  <a:extLst>
                    <a:ext uri="{FF2B5EF4-FFF2-40B4-BE49-F238E27FC236}">
                      <a16:creationId xmlns:a16="http://schemas.microsoft.com/office/drawing/2014/main" id="{1D5A2429-69DF-44E0-9163-B770F4FDB6E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EA68E2B5-A909-4344-A56E-C452F4B8E66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EC8D3A18-41C1-4976-BAD6-DDD5D5CE7AB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C7479AE0-A201-499D-8779-6534410C2D2C}"/>
                  </a:ext>
                </a:extLst>
              </p:cNvPr>
              <p:cNvGrpSpPr/>
              <p:nvPr/>
            </p:nvGrpSpPr>
            <p:grpSpPr>
              <a:xfrm>
                <a:off x="5786251" y="4094065"/>
                <a:ext cx="703246" cy="99031"/>
                <a:chOff x="5772183" y="784514"/>
                <a:chExt cx="703246" cy="99031"/>
              </a:xfrm>
            </p:grpSpPr>
            <p:sp>
              <p:nvSpPr>
                <p:cNvPr id="62" name="Oval 61">
                  <a:extLst>
                    <a:ext uri="{FF2B5EF4-FFF2-40B4-BE49-F238E27FC236}">
                      <a16:creationId xmlns:a16="http://schemas.microsoft.com/office/drawing/2014/main" id="{A8477BBF-E12A-43E1-B7EC-2D46952A0B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1FE4722E-89FF-4789-91D4-920E097217EF}"/>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79701F66-4B93-43D1-9A8B-AC7C181048DF}"/>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EBE77565-1A6C-471E-A785-FCD4718B03C4}"/>
                  </a:ext>
                </a:extLst>
              </p:cNvPr>
              <p:cNvGrpSpPr/>
              <p:nvPr/>
            </p:nvGrpSpPr>
            <p:grpSpPr>
              <a:xfrm>
                <a:off x="5786251" y="4367534"/>
                <a:ext cx="703246" cy="99031"/>
                <a:chOff x="5772183" y="784514"/>
                <a:chExt cx="703246" cy="99031"/>
              </a:xfrm>
            </p:grpSpPr>
            <p:sp>
              <p:nvSpPr>
                <p:cNvPr id="66" name="Oval 65">
                  <a:extLst>
                    <a:ext uri="{FF2B5EF4-FFF2-40B4-BE49-F238E27FC236}">
                      <a16:creationId xmlns:a16="http://schemas.microsoft.com/office/drawing/2014/main" id="{4C22B865-7B00-494E-B7A1-4F3E1CBB686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87FD4322-1AE9-40A0-8FF6-216390BCFE66}"/>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B63B4880-230A-4965-9A13-D91DCF1F0F7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id="{08BA085B-FF23-4DA6-9717-7E613D962E06}"/>
                  </a:ext>
                </a:extLst>
              </p:cNvPr>
              <p:cNvGrpSpPr/>
              <p:nvPr/>
            </p:nvGrpSpPr>
            <p:grpSpPr>
              <a:xfrm>
                <a:off x="5786251" y="4641003"/>
                <a:ext cx="703246" cy="99031"/>
                <a:chOff x="5772183" y="784514"/>
                <a:chExt cx="703246" cy="99031"/>
              </a:xfrm>
            </p:grpSpPr>
            <p:sp>
              <p:nvSpPr>
                <p:cNvPr id="70" name="Oval 69">
                  <a:extLst>
                    <a:ext uri="{FF2B5EF4-FFF2-40B4-BE49-F238E27FC236}">
                      <a16:creationId xmlns:a16="http://schemas.microsoft.com/office/drawing/2014/main" id="{FABE7803-C897-4308-B0AE-CC1762AE46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A0B77336-AE90-48C7-8752-A4164B15717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EE08141D-36CE-412A-88E7-81FDA104169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72">
                <a:extLst>
                  <a:ext uri="{FF2B5EF4-FFF2-40B4-BE49-F238E27FC236}">
                    <a16:creationId xmlns:a16="http://schemas.microsoft.com/office/drawing/2014/main" id="{FD64D312-A581-4141-88B4-7D98B618A858}"/>
                  </a:ext>
                </a:extLst>
              </p:cNvPr>
              <p:cNvGrpSpPr/>
              <p:nvPr/>
            </p:nvGrpSpPr>
            <p:grpSpPr>
              <a:xfrm>
                <a:off x="5786251" y="4914472"/>
                <a:ext cx="703246" cy="99031"/>
                <a:chOff x="5772183" y="784514"/>
                <a:chExt cx="703246" cy="99031"/>
              </a:xfrm>
            </p:grpSpPr>
            <p:sp>
              <p:nvSpPr>
                <p:cNvPr id="74" name="Oval 73">
                  <a:extLst>
                    <a:ext uri="{FF2B5EF4-FFF2-40B4-BE49-F238E27FC236}">
                      <a16:creationId xmlns:a16="http://schemas.microsoft.com/office/drawing/2014/main" id="{DD042721-E23E-45AE-88DA-C3F2BFDC8E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A510B24-09E6-4493-AF86-74D41E858663}"/>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Rounded Corners 75">
                  <a:extLst>
                    <a:ext uri="{FF2B5EF4-FFF2-40B4-BE49-F238E27FC236}">
                      <a16:creationId xmlns:a16="http://schemas.microsoft.com/office/drawing/2014/main" id="{27A9774E-6D5E-4C7C-8676-D367E78003C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1D7B68A7-C497-4076-AF38-884C66AEE27C}"/>
                  </a:ext>
                </a:extLst>
              </p:cNvPr>
              <p:cNvGrpSpPr/>
              <p:nvPr/>
            </p:nvGrpSpPr>
            <p:grpSpPr>
              <a:xfrm>
                <a:off x="5786251" y="5187941"/>
                <a:ext cx="703246" cy="99031"/>
                <a:chOff x="5772183" y="784514"/>
                <a:chExt cx="703246" cy="99031"/>
              </a:xfrm>
            </p:grpSpPr>
            <p:sp>
              <p:nvSpPr>
                <p:cNvPr id="78" name="Oval 77">
                  <a:extLst>
                    <a:ext uri="{FF2B5EF4-FFF2-40B4-BE49-F238E27FC236}">
                      <a16:creationId xmlns:a16="http://schemas.microsoft.com/office/drawing/2014/main" id="{57A72422-6FE1-4EE8-8BCB-2229C55F558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606420FE-D661-4878-81EC-D6697945DFDE}"/>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Rounded Corners 79">
                  <a:extLst>
                    <a:ext uri="{FF2B5EF4-FFF2-40B4-BE49-F238E27FC236}">
                      <a16:creationId xmlns:a16="http://schemas.microsoft.com/office/drawing/2014/main" id="{9D809EEC-3D77-4E91-B99E-AC567C75AA4B}"/>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2E57B8A1-F6C4-465A-B727-35E9EEAE3828}"/>
                  </a:ext>
                </a:extLst>
              </p:cNvPr>
              <p:cNvGrpSpPr/>
              <p:nvPr/>
            </p:nvGrpSpPr>
            <p:grpSpPr>
              <a:xfrm>
                <a:off x="5786251" y="5461410"/>
                <a:ext cx="703246" cy="99031"/>
                <a:chOff x="5772183" y="784514"/>
                <a:chExt cx="703246" cy="99031"/>
              </a:xfrm>
            </p:grpSpPr>
            <p:sp>
              <p:nvSpPr>
                <p:cNvPr id="82" name="Oval 81">
                  <a:extLst>
                    <a:ext uri="{FF2B5EF4-FFF2-40B4-BE49-F238E27FC236}">
                      <a16:creationId xmlns:a16="http://schemas.microsoft.com/office/drawing/2014/main" id="{4AFF475F-A0AA-436A-A978-1B8962CD55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BB1B2212-D2F5-460C-89C5-0D97234B64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Rounded Corners 83">
                  <a:extLst>
                    <a:ext uri="{FF2B5EF4-FFF2-40B4-BE49-F238E27FC236}">
                      <a16:creationId xmlns:a16="http://schemas.microsoft.com/office/drawing/2014/main" id="{4178A7D8-7476-48AA-9D3B-21197308F683}"/>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D3461062-5FB6-41CC-835F-FCFA4A5A6DB3}"/>
                  </a:ext>
                </a:extLst>
              </p:cNvPr>
              <p:cNvGrpSpPr/>
              <p:nvPr/>
            </p:nvGrpSpPr>
            <p:grpSpPr>
              <a:xfrm>
                <a:off x="5786251" y="5734879"/>
                <a:ext cx="703246" cy="99031"/>
                <a:chOff x="5772183" y="784514"/>
                <a:chExt cx="703246" cy="99031"/>
              </a:xfrm>
            </p:grpSpPr>
            <p:sp>
              <p:nvSpPr>
                <p:cNvPr id="86" name="Oval 85">
                  <a:extLst>
                    <a:ext uri="{FF2B5EF4-FFF2-40B4-BE49-F238E27FC236}">
                      <a16:creationId xmlns:a16="http://schemas.microsoft.com/office/drawing/2014/main" id="{6221F8BB-6631-493D-9744-C6A1C0B8FF0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4CFB3B53-81EF-4434-AA54-1C5771D49E2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Rounded Corners 87">
                  <a:extLst>
                    <a:ext uri="{FF2B5EF4-FFF2-40B4-BE49-F238E27FC236}">
                      <a16:creationId xmlns:a16="http://schemas.microsoft.com/office/drawing/2014/main" id="{3E55D94F-6CDA-4C6F-B36E-A4773E51F9A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4" name="TextBox 3">
            <a:extLst>
              <a:ext uri="{FF2B5EF4-FFF2-40B4-BE49-F238E27FC236}">
                <a16:creationId xmlns:a16="http://schemas.microsoft.com/office/drawing/2014/main" id="{0F9FC389-A1B8-4B9A-B756-2EF4351392D3}"/>
              </a:ext>
            </a:extLst>
          </p:cNvPr>
          <p:cNvSpPr txBox="1"/>
          <p:nvPr/>
        </p:nvSpPr>
        <p:spPr>
          <a:xfrm>
            <a:off x="1521069" y="738553"/>
            <a:ext cx="3815807" cy="523220"/>
          </a:xfrm>
          <a:prstGeom prst="rect">
            <a:avLst/>
          </a:prstGeom>
          <a:noFill/>
        </p:spPr>
        <p:txBody>
          <a:bodyPr wrap="square" rtlCol="0">
            <a:spAutoFit/>
          </a:bodyPr>
          <a:lstStyle/>
          <a:p>
            <a:pPr algn="ctr"/>
            <a:r>
              <a:rPr lang="en-US" sz="2800" spc="-5" dirty="0">
                <a:latin typeface="Gloucester MT Extra Condensed" panose="02030808020601010101" pitchFamily="18" charset="0"/>
              </a:rPr>
              <a:t>Duties</a:t>
            </a:r>
            <a:r>
              <a:rPr lang="en-US" sz="2800" spc="-15" dirty="0">
                <a:latin typeface="Gloucester MT Extra Condensed" panose="02030808020601010101" pitchFamily="18" charset="0"/>
              </a:rPr>
              <a:t> </a:t>
            </a:r>
            <a:r>
              <a:rPr lang="en-US" sz="2800" dirty="0">
                <a:latin typeface="Gloucester MT Extra Condensed" panose="02030808020601010101" pitchFamily="18" charset="0"/>
              </a:rPr>
              <a:t>of</a:t>
            </a:r>
            <a:r>
              <a:rPr lang="en-US" sz="2800" spc="-10" dirty="0">
                <a:latin typeface="Gloucester MT Extra Condensed" panose="02030808020601010101" pitchFamily="18" charset="0"/>
              </a:rPr>
              <a:t> </a:t>
            </a:r>
            <a:r>
              <a:rPr lang="en-US" sz="2800" spc="-20" dirty="0">
                <a:latin typeface="Gloucester MT Extra Condensed" panose="02030808020601010101" pitchFamily="18" charset="0"/>
              </a:rPr>
              <a:t>State</a:t>
            </a:r>
            <a:r>
              <a:rPr lang="en-US" sz="2800" spc="-15" dirty="0">
                <a:latin typeface="Gloucester MT Extra Condensed" panose="02030808020601010101" pitchFamily="18" charset="0"/>
              </a:rPr>
              <a:t> </a:t>
            </a:r>
            <a:r>
              <a:rPr lang="en-US" sz="2800" spc="-10" dirty="0">
                <a:latin typeface="Gloucester MT Extra Condensed" panose="02030808020601010101" pitchFamily="18" charset="0"/>
              </a:rPr>
              <a:t>Government</a:t>
            </a:r>
            <a:endParaRPr lang="en-US" sz="2800" dirty="0">
              <a:latin typeface="Gloucester MT Extra Condensed" panose="02030808020601010101" pitchFamily="18" charset="0"/>
            </a:endParaRPr>
          </a:p>
        </p:txBody>
      </p:sp>
      <p:sp>
        <p:nvSpPr>
          <p:cNvPr id="91" name="TextBox 90">
            <a:extLst>
              <a:ext uri="{FF2B5EF4-FFF2-40B4-BE49-F238E27FC236}">
                <a16:creationId xmlns:a16="http://schemas.microsoft.com/office/drawing/2014/main" id="{A70B7BB6-97EB-48C0-8425-8F5096833BFA}"/>
              </a:ext>
            </a:extLst>
          </p:cNvPr>
          <p:cNvSpPr txBox="1"/>
          <p:nvPr/>
        </p:nvSpPr>
        <p:spPr>
          <a:xfrm>
            <a:off x="1266094" y="1397975"/>
            <a:ext cx="4161469" cy="4308872"/>
          </a:xfrm>
          <a:prstGeom prst="rect">
            <a:avLst/>
          </a:prstGeom>
          <a:noFill/>
        </p:spPr>
        <p:txBody>
          <a:bodyPr wrap="square" rtlCol="0">
            <a:spAutoFit/>
          </a:bodyPr>
          <a:lstStyle/>
          <a:p>
            <a:pPr marL="412750" marR="5080" indent="-400050">
              <a:lnSpc>
                <a:spcPct val="100000"/>
              </a:lnSpc>
              <a:spcBef>
                <a:spcPts val="105"/>
              </a:spcBef>
              <a:buClr>
                <a:schemeClr val="tx1"/>
              </a:buClr>
              <a:buSzPct val="90000"/>
              <a:buFont typeface="Courier New" panose="02070309020205020404" pitchFamily="49" charset="0"/>
              <a:buChar char="o"/>
              <a:tabLst>
                <a:tab pos="355600" algn="l"/>
              </a:tabLst>
            </a:pPr>
            <a:r>
              <a:rPr lang="en-US" spc="-5" dirty="0">
                <a:latin typeface="Bodoni MT" panose="02070603080606020203" pitchFamily="18" charset="0"/>
                <a:cs typeface="Calibri"/>
              </a:rPr>
              <a:t>The </a:t>
            </a:r>
            <a:r>
              <a:rPr lang="en-US" spc="-10" dirty="0">
                <a:latin typeface="Bodoni MT" panose="02070603080606020203" pitchFamily="18" charset="0"/>
                <a:cs typeface="Calibri"/>
              </a:rPr>
              <a:t>Secretary </a:t>
            </a:r>
            <a:r>
              <a:rPr lang="en-US" spc="-5" dirty="0">
                <a:latin typeface="Bodoni MT" panose="02070603080606020203" pitchFamily="18" charset="0"/>
                <a:cs typeface="Calibri"/>
              </a:rPr>
              <a:t>in-charge shall </a:t>
            </a:r>
            <a:r>
              <a:rPr lang="en-US" spc="-10" dirty="0">
                <a:latin typeface="Bodoni MT" panose="02070603080606020203" pitchFamily="18" charset="0"/>
                <a:cs typeface="Calibri"/>
              </a:rPr>
              <a:t>prepare </a:t>
            </a:r>
            <a:r>
              <a:rPr lang="en-US" spc="-5" dirty="0">
                <a:latin typeface="Bodoni MT" panose="02070603080606020203" pitchFamily="18" charset="0"/>
                <a:cs typeface="Calibri"/>
              </a:rPr>
              <a:t>policy </a:t>
            </a:r>
            <a:r>
              <a:rPr lang="en-US" spc="-10" dirty="0">
                <a:latin typeface="Bodoni MT" panose="02070603080606020203" pitchFamily="18" charset="0"/>
                <a:cs typeface="Calibri"/>
              </a:rPr>
              <a:t>document </a:t>
            </a:r>
            <a:r>
              <a:rPr lang="en-US" spc="-15" dirty="0">
                <a:latin typeface="Bodoni MT" panose="02070603080606020203" pitchFamily="18" charset="0"/>
                <a:cs typeface="Calibri"/>
              </a:rPr>
              <a:t>for </a:t>
            </a:r>
            <a:r>
              <a:rPr lang="en-US" spc="-5" dirty="0">
                <a:latin typeface="Bodoni MT" panose="02070603080606020203" pitchFamily="18" charset="0"/>
                <a:cs typeface="Calibri"/>
              </a:rPr>
              <a:t>management of </a:t>
            </a:r>
            <a:r>
              <a:rPr lang="en-US" dirty="0">
                <a:latin typeface="Bodoni MT" panose="02070603080606020203" pitchFamily="18" charset="0"/>
                <a:cs typeface="Calibri"/>
              </a:rPr>
              <a:t> </a:t>
            </a:r>
            <a:r>
              <a:rPr lang="en-US" spc="-5" dirty="0">
                <a:latin typeface="Bodoni MT" panose="02070603080606020203" pitchFamily="18" charset="0"/>
                <a:cs typeface="Calibri"/>
              </a:rPr>
              <a:t>C&amp;D</a:t>
            </a:r>
            <a:r>
              <a:rPr lang="en-US" spc="-15" dirty="0">
                <a:latin typeface="Bodoni MT" panose="02070603080606020203" pitchFamily="18" charset="0"/>
                <a:cs typeface="Calibri"/>
              </a:rPr>
              <a:t> </a:t>
            </a:r>
            <a:r>
              <a:rPr lang="en-US" spc="-20" dirty="0">
                <a:latin typeface="Bodoni MT" panose="02070603080606020203" pitchFamily="18" charset="0"/>
                <a:cs typeface="Calibri"/>
              </a:rPr>
              <a:t>waste</a:t>
            </a:r>
            <a:r>
              <a:rPr lang="en-US" spc="15" dirty="0">
                <a:latin typeface="Bodoni MT" panose="02070603080606020203" pitchFamily="18" charset="0"/>
                <a:cs typeface="Calibri"/>
              </a:rPr>
              <a:t> </a:t>
            </a:r>
            <a:r>
              <a:rPr lang="en-US" spc="-5" dirty="0">
                <a:latin typeface="Bodoni MT" panose="02070603080606020203" pitchFamily="18" charset="0"/>
                <a:cs typeface="Calibri"/>
              </a:rPr>
              <a:t>in</a:t>
            </a:r>
            <a:r>
              <a:rPr lang="en-US" dirty="0">
                <a:latin typeface="Bodoni MT" panose="02070603080606020203" pitchFamily="18" charset="0"/>
                <a:cs typeface="Calibri"/>
              </a:rPr>
              <a:t> </a:t>
            </a:r>
            <a:r>
              <a:rPr lang="en-US" spc="-5" dirty="0">
                <a:latin typeface="Bodoni MT" panose="02070603080606020203" pitchFamily="18" charset="0"/>
                <a:cs typeface="Calibri"/>
              </a:rPr>
              <a:t>accordance</a:t>
            </a:r>
            <a:r>
              <a:rPr lang="en-US" spc="-15" dirty="0">
                <a:latin typeface="Bodoni MT" panose="02070603080606020203" pitchFamily="18" charset="0"/>
                <a:cs typeface="Calibri"/>
              </a:rPr>
              <a:t> </a:t>
            </a:r>
            <a:r>
              <a:rPr lang="en-US" spc="-5" dirty="0">
                <a:latin typeface="Bodoni MT" panose="02070603080606020203" pitchFamily="18" charset="0"/>
                <a:cs typeface="Calibri"/>
              </a:rPr>
              <a:t>with</a:t>
            </a:r>
            <a:r>
              <a:rPr lang="en-US" spc="5" dirty="0">
                <a:latin typeface="Bodoni MT" panose="02070603080606020203" pitchFamily="18" charset="0"/>
                <a:cs typeface="Calibri"/>
              </a:rPr>
              <a:t> </a:t>
            </a:r>
            <a:r>
              <a:rPr lang="en-US" dirty="0">
                <a:latin typeface="Bodoni MT" panose="02070603080606020203" pitchFamily="18" charset="0"/>
                <a:cs typeface="Calibri"/>
              </a:rPr>
              <a:t>the</a:t>
            </a:r>
            <a:r>
              <a:rPr lang="en-US" spc="-5" dirty="0">
                <a:latin typeface="Bodoni MT" panose="02070603080606020203" pitchFamily="18" charset="0"/>
                <a:cs typeface="Calibri"/>
              </a:rPr>
              <a:t> </a:t>
            </a:r>
            <a:r>
              <a:rPr lang="en-US" spc="-10" dirty="0">
                <a:latin typeface="Bodoni MT" panose="02070603080606020203" pitchFamily="18" charset="0"/>
                <a:cs typeface="Calibri"/>
              </a:rPr>
              <a:t>provisions</a:t>
            </a:r>
            <a:r>
              <a:rPr lang="en-US" spc="20" dirty="0">
                <a:latin typeface="Bodoni MT" panose="02070603080606020203" pitchFamily="18" charset="0"/>
                <a:cs typeface="Calibri"/>
              </a:rPr>
              <a:t> </a:t>
            </a:r>
            <a:r>
              <a:rPr lang="en-US" spc="-5" dirty="0">
                <a:latin typeface="Bodoni MT" panose="02070603080606020203" pitchFamily="18" charset="0"/>
                <a:cs typeface="Calibri"/>
              </a:rPr>
              <a:t>of </a:t>
            </a:r>
            <a:r>
              <a:rPr lang="en-US" dirty="0">
                <a:latin typeface="Bodoni MT" panose="02070603080606020203" pitchFamily="18" charset="0"/>
                <a:cs typeface="Calibri"/>
              </a:rPr>
              <a:t>rule</a:t>
            </a:r>
            <a:r>
              <a:rPr lang="en-US" spc="-5" dirty="0">
                <a:latin typeface="Bodoni MT" panose="02070603080606020203" pitchFamily="18" charset="0"/>
                <a:cs typeface="Calibri"/>
              </a:rPr>
              <a:t> </a:t>
            </a:r>
            <a:r>
              <a:rPr lang="en-US" dirty="0">
                <a:latin typeface="Bodoni MT" panose="02070603080606020203" pitchFamily="18" charset="0"/>
                <a:cs typeface="Calibri"/>
              </a:rPr>
              <a:t>within</a:t>
            </a:r>
            <a:r>
              <a:rPr lang="en-US" spc="5" dirty="0">
                <a:latin typeface="Bodoni MT" panose="02070603080606020203" pitchFamily="18" charset="0"/>
                <a:cs typeface="Calibri"/>
              </a:rPr>
              <a:t> </a:t>
            </a:r>
            <a:r>
              <a:rPr lang="en-US" dirty="0">
                <a:latin typeface="Bodoni MT" panose="02070603080606020203" pitchFamily="18" charset="0"/>
                <a:cs typeface="Calibri"/>
              </a:rPr>
              <a:t>one</a:t>
            </a:r>
            <a:r>
              <a:rPr lang="en-US" spc="-5" dirty="0">
                <a:latin typeface="Bodoni MT" panose="02070603080606020203" pitchFamily="18" charset="0"/>
                <a:cs typeface="Calibri"/>
              </a:rPr>
              <a:t> </a:t>
            </a:r>
            <a:r>
              <a:rPr lang="en-US" spc="-45" dirty="0">
                <a:latin typeface="Bodoni MT" panose="02070603080606020203" pitchFamily="18" charset="0"/>
                <a:cs typeface="Calibri"/>
              </a:rPr>
              <a:t>year.</a:t>
            </a:r>
            <a:endParaRPr lang="en-US" dirty="0">
              <a:latin typeface="Bodoni MT" panose="02070603080606020203" pitchFamily="18" charset="0"/>
              <a:cs typeface="Calibri"/>
            </a:endParaRPr>
          </a:p>
          <a:p>
            <a:pPr marL="514350" indent="-514350">
              <a:lnSpc>
                <a:spcPct val="100000"/>
              </a:lnSpc>
              <a:buClr>
                <a:schemeClr val="tx1"/>
              </a:buClr>
              <a:buFont typeface="Courier New" panose="02070309020205020404" pitchFamily="49" charset="0"/>
              <a:buChar char="o"/>
            </a:pPr>
            <a:endParaRPr lang="en-US" sz="2000" dirty="0">
              <a:latin typeface="Bodoni MT" panose="02070603080606020203" pitchFamily="18" charset="0"/>
              <a:cs typeface="Calibri"/>
            </a:endParaRPr>
          </a:p>
          <a:p>
            <a:pPr marL="412750" indent="-400050">
              <a:lnSpc>
                <a:spcPct val="100000"/>
              </a:lnSpc>
              <a:buClr>
                <a:schemeClr val="tx1"/>
              </a:buClr>
              <a:buSzPct val="90000"/>
              <a:buFont typeface="Courier New" panose="02070309020205020404" pitchFamily="49" charset="0"/>
              <a:buChar char="o"/>
              <a:tabLst>
                <a:tab pos="354965" algn="l"/>
                <a:tab pos="355600" algn="l"/>
              </a:tabLst>
            </a:pPr>
            <a:r>
              <a:rPr lang="en-US" spc="-5" dirty="0">
                <a:latin typeface="Bodoni MT" panose="02070603080606020203" pitchFamily="18" charset="0"/>
                <a:cs typeface="Calibri"/>
              </a:rPr>
              <a:t>The</a:t>
            </a:r>
            <a:r>
              <a:rPr lang="en-US" spc="40" dirty="0">
                <a:latin typeface="Bodoni MT" panose="02070603080606020203" pitchFamily="18" charset="0"/>
                <a:cs typeface="Calibri"/>
              </a:rPr>
              <a:t> </a:t>
            </a:r>
            <a:r>
              <a:rPr lang="en-US" spc="-5" dirty="0">
                <a:latin typeface="Bodoni MT" panose="02070603080606020203" pitchFamily="18" charset="0"/>
                <a:cs typeface="Calibri"/>
              </a:rPr>
              <a:t>concerned</a:t>
            </a:r>
            <a:r>
              <a:rPr lang="en-US" spc="35" dirty="0">
                <a:latin typeface="Bodoni MT" panose="02070603080606020203" pitchFamily="18" charset="0"/>
                <a:cs typeface="Calibri"/>
              </a:rPr>
              <a:t> </a:t>
            </a:r>
            <a:r>
              <a:rPr lang="en-US" spc="-10" dirty="0">
                <a:latin typeface="Bodoni MT" panose="02070603080606020203" pitchFamily="18" charset="0"/>
                <a:cs typeface="Calibri"/>
              </a:rPr>
              <a:t>department</a:t>
            </a:r>
            <a:r>
              <a:rPr lang="en-US" spc="55" dirty="0">
                <a:latin typeface="Bodoni MT" panose="02070603080606020203" pitchFamily="18" charset="0"/>
                <a:cs typeface="Calibri"/>
              </a:rPr>
              <a:t> </a:t>
            </a:r>
            <a:r>
              <a:rPr lang="en-US" dirty="0">
                <a:latin typeface="Bodoni MT" panose="02070603080606020203" pitchFamily="18" charset="0"/>
                <a:cs typeface="Calibri"/>
              </a:rPr>
              <a:t>dealing</a:t>
            </a:r>
            <a:r>
              <a:rPr lang="en-US" spc="40" dirty="0">
                <a:latin typeface="Bodoni MT" panose="02070603080606020203" pitchFamily="18" charset="0"/>
                <a:cs typeface="Calibri"/>
              </a:rPr>
              <a:t> </a:t>
            </a:r>
            <a:r>
              <a:rPr lang="en-US" spc="-5" dirty="0">
                <a:latin typeface="Bodoni MT" panose="02070603080606020203" pitchFamily="18" charset="0"/>
                <a:cs typeface="Calibri"/>
              </a:rPr>
              <a:t>with</a:t>
            </a:r>
            <a:r>
              <a:rPr lang="en-US" spc="50" dirty="0">
                <a:latin typeface="Bodoni MT" panose="02070603080606020203" pitchFamily="18" charset="0"/>
                <a:cs typeface="Calibri"/>
              </a:rPr>
              <a:t> </a:t>
            </a:r>
            <a:r>
              <a:rPr lang="en-US" spc="-5" dirty="0">
                <a:latin typeface="Bodoni MT" panose="02070603080606020203" pitchFamily="18" charset="0"/>
                <a:cs typeface="Calibri"/>
              </a:rPr>
              <a:t>land</a:t>
            </a:r>
            <a:r>
              <a:rPr lang="en-US" spc="30" dirty="0">
                <a:latin typeface="Bodoni MT" panose="02070603080606020203" pitchFamily="18" charset="0"/>
                <a:cs typeface="Calibri"/>
              </a:rPr>
              <a:t> </a:t>
            </a:r>
            <a:r>
              <a:rPr lang="en-US" spc="-5" dirty="0">
                <a:latin typeface="Bodoni MT" panose="02070603080606020203" pitchFamily="18" charset="0"/>
                <a:cs typeface="Calibri"/>
              </a:rPr>
              <a:t>will</a:t>
            </a:r>
            <a:r>
              <a:rPr lang="en-US" spc="40" dirty="0">
                <a:latin typeface="Bodoni MT" panose="02070603080606020203" pitchFamily="18" charset="0"/>
                <a:cs typeface="Calibri"/>
              </a:rPr>
              <a:t> </a:t>
            </a:r>
            <a:r>
              <a:rPr lang="en-US" spc="-10" dirty="0">
                <a:latin typeface="Bodoni MT" panose="02070603080606020203" pitchFamily="18" charset="0"/>
                <a:cs typeface="Calibri"/>
              </a:rPr>
              <a:t>provide</a:t>
            </a:r>
            <a:r>
              <a:rPr lang="en-US" spc="45" dirty="0">
                <a:latin typeface="Bodoni MT" panose="02070603080606020203" pitchFamily="18" charset="0"/>
                <a:cs typeface="Calibri"/>
              </a:rPr>
              <a:t> </a:t>
            </a:r>
            <a:r>
              <a:rPr lang="en-US" spc="-5" dirty="0">
                <a:latin typeface="Bodoni MT" panose="02070603080606020203" pitchFamily="18" charset="0"/>
                <a:cs typeface="Calibri"/>
              </a:rPr>
              <a:t>suitable</a:t>
            </a:r>
            <a:r>
              <a:rPr lang="en-US" spc="40" dirty="0">
                <a:latin typeface="Bodoni MT" panose="02070603080606020203" pitchFamily="18" charset="0"/>
                <a:cs typeface="Calibri"/>
              </a:rPr>
              <a:t> </a:t>
            </a:r>
            <a:r>
              <a:rPr lang="en-US" spc="-5" dirty="0">
                <a:latin typeface="Bodoni MT" panose="02070603080606020203" pitchFamily="18" charset="0"/>
                <a:cs typeface="Calibri"/>
              </a:rPr>
              <a:t>sites</a:t>
            </a:r>
            <a:r>
              <a:rPr lang="en-US" spc="40" dirty="0">
                <a:latin typeface="Bodoni MT" panose="02070603080606020203" pitchFamily="18" charset="0"/>
                <a:cs typeface="Calibri"/>
              </a:rPr>
              <a:t> </a:t>
            </a:r>
            <a:r>
              <a:rPr lang="en-US" spc="-20" dirty="0">
                <a:latin typeface="Bodoni MT" panose="02070603080606020203" pitchFamily="18" charset="0"/>
                <a:cs typeface="Calibri"/>
              </a:rPr>
              <a:t>for </a:t>
            </a:r>
            <a:r>
              <a:rPr lang="en-US" spc="-10" dirty="0">
                <a:latin typeface="Bodoni MT" panose="02070603080606020203" pitchFamily="18" charset="0"/>
                <a:cs typeface="Calibri"/>
              </a:rPr>
              <a:t>setting</a:t>
            </a:r>
            <a:r>
              <a:rPr lang="en-US" spc="5" dirty="0">
                <a:latin typeface="Bodoni MT" panose="02070603080606020203" pitchFamily="18" charset="0"/>
                <a:cs typeface="Calibri"/>
              </a:rPr>
              <a:t> </a:t>
            </a:r>
            <a:r>
              <a:rPr lang="en-US" dirty="0">
                <a:latin typeface="Bodoni MT" panose="02070603080606020203" pitchFamily="18" charset="0"/>
                <a:cs typeface="Calibri"/>
              </a:rPr>
              <a:t>up</a:t>
            </a:r>
            <a:r>
              <a:rPr lang="en-US" spc="-15" dirty="0">
                <a:latin typeface="Bodoni MT" panose="02070603080606020203" pitchFamily="18" charset="0"/>
                <a:cs typeface="Calibri"/>
              </a:rPr>
              <a:t> </a:t>
            </a:r>
            <a:r>
              <a:rPr lang="en-US" dirty="0">
                <a:latin typeface="Bodoni MT" panose="02070603080606020203" pitchFamily="18" charset="0"/>
                <a:cs typeface="Calibri"/>
              </a:rPr>
              <a:t>of</a:t>
            </a:r>
            <a:r>
              <a:rPr lang="en-US" spc="-5" dirty="0">
                <a:latin typeface="Bodoni MT" panose="02070603080606020203" pitchFamily="18" charset="0"/>
                <a:cs typeface="Calibri"/>
              </a:rPr>
              <a:t> </a:t>
            </a:r>
            <a:r>
              <a:rPr lang="en-US" dirty="0">
                <a:latin typeface="Bodoni MT" panose="02070603080606020203" pitchFamily="18" charset="0"/>
                <a:cs typeface="Calibri"/>
              </a:rPr>
              <a:t>the</a:t>
            </a:r>
            <a:r>
              <a:rPr lang="en-US" spc="5" dirty="0">
                <a:latin typeface="Bodoni MT" panose="02070603080606020203" pitchFamily="18" charset="0"/>
                <a:cs typeface="Calibri"/>
              </a:rPr>
              <a:t> </a:t>
            </a:r>
            <a:r>
              <a:rPr lang="en-US" spc="-15" dirty="0">
                <a:latin typeface="Bodoni MT" panose="02070603080606020203" pitchFamily="18" charset="0"/>
                <a:cs typeface="Calibri"/>
              </a:rPr>
              <a:t>storage,</a:t>
            </a:r>
            <a:r>
              <a:rPr lang="en-US" dirty="0">
                <a:latin typeface="Bodoni MT" panose="02070603080606020203" pitchFamily="18" charset="0"/>
                <a:cs typeface="Calibri"/>
              </a:rPr>
              <a:t> </a:t>
            </a:r>
            <a:r>
              <a:rPr lang="en-US" spc="-10" dirty="0">
                <a:latin typeface="Bodoni MT" panose="02070603080606020203" pitchFamily="18" charset="0"/>
                <a:cs typeface="Calibri"/>
              </a:rPr>
              <a:t>processing</a:t>
            </a:r>
            <a:r>
              <a:rPr lang="en-US" spc="5" dirty="0">
                <a:latin typeface="Bodoni MT" panose="02070603080606020203" pitchFamily="18" charset="0"/>
                <a:cs typeface="Calibri"/>
              </a:rPr>
              <a:t> </a:t>
            </a:r>
            <a:r>
              <a:rPr lang="en-US" dirty="0">
                <a:latin typeface="Bodoni MT" panose="02070603080606020203" pitchFamily="18" charset="0"/>
                <a:cs typeface="Calibri"/>
              </a:rPr>
              <a:t>and </a:t>
            </a:r>
            <a:r>
              <a:rPr lang="en-US" spc="-5" dirty="0">
                <a:latin typeface="Bodoni MT" panose="02070603080606020203" pitchFamily="18" charset="0"/>
                <a:cs typeface="Calibri"/>
              </a:rPr>
              <a:t>recycling</a:t>
            </a:r>
            <a:r>
              <a:rPr lang="en-US" spc="-10" dirty="0">
                <a:latin typeface="Bodoni MT" panose="02070603080606020203" pitchFamily="18" charset="0"/>
                <a:cs typeface="Calibri"/>
              </a:rPr>
              <a:t> </a:t>
            </a:r>
            <a:r>
              <a:rPr lang="en-US" spc="-5" dirty="0">
                <a:latin typeface="Bodoni MT" panose="02070603080606020203" pitchFamily="18" charset="0"/>
                <a:cs typeface="Calibri"/>
              </a:rPr>
              <a:t>facilities.</a:t>
            </a:r>
            <a:endParaRPr lang="en-US" dirty="0">
              <a:latin typeface="Bodoni MT" panose="02070603080606020203" pitchFamily="18" charset="0"/>
              <a:cs typeface="Calibri"/>
            </a:endParaRPr>
          </a:p>
          <a:p>
            <a:pPr marL="514350" indent="-514350">
              <a:lnSpc>
                <a:spcPct val="100000"/>
              </a:lnSpc>
              <a:spcBef>
                <a:spcPts val="5"/>
              </a:spcBef>
              <a:buClr>
                <a:schemeClr val="tx1"/>
              </a:buClr>
              <a:buFont typeface="Courier New" panose="02070309020205020404" pitchFamily="49" charset="0"/>
              <a:buChar char="o"/>
            </a:pPr>
            <a:endParaRPr lang="en-US" sz="2000" dirty="0">
              <a:latin typeface="Bodoni MT" panose="02070603080606020203" pitchFamily="18" charset="0"/>
              <a:cs typeface="Calibri"/>
            </a:endParaRPr>
          </a:p>
          <a:p>
            <a:pPr marL="412750" marR="5715" indent="-400050">
              <a:lnSpc>
                <a:spcPct val="100000"/>
              </a:lnSpc>
              <a:buClr>
                <a:schemeClr val="tx1"/>
              </a:buClr>
              <a:buSzPct val="90000"/>
              <a:buFont typeface="Courier New" panose="02070309020205020404" pitchFamily="49" charset="0"/>
              <a:buChar char="o"/>
              <a:tabLst>
                <a:tab pos="355600" algn="l"/>
              </a:tabLst>
            </a:pPr>
            <a:r>
              <a:rPr lang="en-US" spc="-5" dirty="0">
                <a:latin typeface="Bodoni MT" panose="02070603080606020203" pitchFamily="18" charset="0"/>
                <a:cs typeface="Calibri"/>
              </a:rPr>
              <a:t>The </a:t>
            </a:r>
            <a:r>
              <a:rPr lang="en-US" spc="-50" dirty="0">
                <a:latin typeface="Bodoni MT" panose="02070603080606020203" pitchFamily="18" charset="0"/>
                <a:cs typeface="Calibri"/>
              </a:rPr>
              <a:t>Town </a:t>
            </a:r>
            <a:r>
              <a:rPr lang="en-US" spc="-5" dirty="0">
                <a:latin typeface="Bodoni MT" panose="02070603080606020203" pitchFamily="18" charset="0"/>
                <a:cs typeface="Calibri"/>
              </a:rPr>
              <a:t>and Country planning Department shall </a:t>
            </a:r>
            <a:r>
              <a:rPr lang="en-US" spc="-10" dirty="0">
                <a:latin typeface="Bodoni MT" panose="02070603080606020203" pitchFamily="18" charset="0"/>
                <a:cs typeface="Calibri"/>
              </a:rPr>
              <a:t>incorporate </a:t>
            </a:r>
            <a:r>
              <a:rPr lang="en-US" dirty="0">
                <a:latin typeface="Bodoni MT" panose="02070603080606020203" pitchFamily="18" charset="0"/>
                <a:cs typeface="Calibri"/>
              </a:rPr>
              <a:t>the </a:t>
            </a:r>
            <a:r>
              <a:rPr lang="en-US" spc="-10" dirty="0">
                <a:latin typeface="Bodoni MT" panose="02070603080606020203" pitchFamily="18" charset="0"/>
                <a:cs typeface="Calibri"/>
              </a:rPr>
              <a:t>site </a:t>
            </a:r>
            <a:r>
              <a:rPr lang="en-US" spc="-5" dirty="0">
                <a:latin typeface="Bodoni MT" panose="02070603080606020203" pitchFamily="18" charset="0"/>
                <a:cs typeface="Calibri"/>
              </a:rPr>
              <a:t>in </a:t>
            </a:r>
            <a:r>
              <a:rPr lang="en-US" dirty="0">
                <a:latin typeface="Bodoni MT" panose="02070603080606020203" pitchFamily="18" charset="0"/>
                <a:cs typeface="Calibri"/>
              </a:rPr>
              <a:t> the </a:t>
            </a:r>
            <a:r>
              <a:rPr lang="en-US" spc="-10" dirty="0">
                <a:latin typeface="Bodoni MT" panose="02070603080606020203" pitchFamily="18" charset="0"/>
                <a:cs typeface="Calibri"/>
              </a:rPr>
              <a:t>approved </a:t>
            </a:r>
            <a:r>
              <a:rPr lang="en-US" dirty="0">
                <a:latin typeface="Bodoni MT" panose="02070603080606020203" pitchFamily="18" charset="0"/>
                <a:cs typeface="Calibri"/>
              </a:rPr>
              <a:t>land use </a:t>
            </a:r>
            <a:r>
              <a:rPr lang="en-US" spc="-5" dirty="0">
                <a:latin typeface="Bodoni MT" panose="02070603080606020203" pitchFamily="18" charset="0"/>
                <a:cs typeface="Calibri"/>
              </a:rPr>
              <a:t>plan </a:t>
            </a:r>
            <a:r>
              <a:rPr lang="en-US" spc="-15" dirty="0">
                <a:latin typeface="Bodoni MT" panose="02070603080606020203" pitchFamily="18" charset="0"/>
                <a:cs typeface="Calibri"/>
              </a:rPr>
              <a:t>to </a:t>
            </a:r>
            <a:r>
              <a:rPr lang="en-US" spc="-5" dirty="0">
                <a:latin typeface="Bodoni MT" panose="02070603080606020203" pitchFamily="18" charset="0"/>
                <a:cs typeface="Calibri"/>
              </a:rPr>
              <a:t>ensure </a:t>
            </a:r>
            <a:r>
              <a:rPr lang="en-US" spc="-20" dirty="0">
                <a:latin typeface="Bodoni MT" panose="02070603080606020203" pitchFamily="18" charset="0"/>
                <a:cs typeface="Calibri"/>
              </a:rPr>
              <a:t>zero </a:t>
            </a:r>
            <a:r>
              <a:rPr lang="en-US" spc="-5" dirty="0">
                <a:latin typeface="Bodoni MT" panose="02070603080606020203" pitchFamily="18" charset="0"/>
                <a:cs typeface="Calibri"/>
              </a:rPr>
              <a:t>disturbance on </a:t>
            </a:r>
            <a:r>
              <a:rPr lang="en-US" dirty="0">
                <a:latin typeface="Bodoni MT" panose="02070603080606020203" pitchFamily="18" charset="0"/>
                <a:cs typeface="Calibri"/>
              </a:rPr>
              <a:t>a </a:t>
            </a:r>
            <a:r>
              <a:rPr lang="en-US" spc="-5" dirty="0">
                <a:latin typeface="Bodoni MT" panose="02070603080606020203" pitchFamily="18" charset="0"/>
                <a:cs typeface="Calibri"/>
              </a:rPr>
              <a:t>long term </a:t>
            </a:r>
            <a:r>
              <a:rPr lang="en-US" dirty="0">
                <a:latin typeface="Bodoni MT" panose="02070603080606020203" pitchFamily="18" charset="0"/>
                <a:cs typeface="Calibri"/>
              </a:rPr>
              <a:t> </a:t>
            </a:r>
            <a:r>
              <a:rPr lang="en-US" spc="-5" dirty="0">
                <a:latin typeface="Bodoni MT" panose="02070603080606020203" pitchFamily="18" charset="0"/>
                <a:cs typeface="Calibri"/>
              </a:rPr>
              <a:t>basis.</a:t>
            </a:r>
            <a:endParaRPr lang="en-US" dirty="0">
              <a:latin typeface="Bodoni MT" panose="02070603080606020203" pitchFamily="18" charset="0"/>
            </a:endParaRPr>
          </a:p>
        </p:txBody>
      </p:sp>
      <p:sp>
        <p:nvSpPr>
          <p:cNvPr id="92" name="TextBox 91">
            <a:extLst>
              <a:ext uri="{FF2B5EF4-FFF2-40B4-BE49-F238E27FC236}">
                <a16:creationId xmlns:a16="http://schemas.microsoft.com/office/drawing/2014/main" id="{A52F7DF5-90DF-4DF2-9F1B-9F495E50DF2F}"/>
              </a:ext>
            </a:extLst>
          </p:cNvPr>
          <p:cNvSpPr txBox="1"/>
          <p:nvPr/>
        </p:nvSpPr>
        <p:spPr>
          <a:xfrm>
            <a:off x="6629400" y="738553"/>
            <a:ext cx="4208347" cy="2031325"/>
          </a:xfrm>
          <a:prstGeom prst="rect">
            <a:avLst/>
          </a:prstGeom>
          <a:noFill/>
        </p:spPr>
        <p:txBody>
          <a:bodyPr wrap="square" rtlCol="0">
            <a:spAutoFit/>
          </a:bodyPr>
          <a:lstStyle/>
          <a:p>
            <a:pPr marL="285750" indent="-285750">
              <a:buFont typeface="Courier New" panose="02070309020205020404" pitchFamily="49" charset="0"/>
              <a:buChar char="o"/>
            </a:pPr>
            <a:r>
              <a:rPr lang="en-US" spc="-10">
                <a:latin typeface="Bodoni MT" panose="02070603080606020203" pitchFamily="18" charset="0"/>
                <a:cs typeface="Calibri"/>
              </a:rPr>
              <a:t>Procurement</a:t>
            </a:r>
            <a:r>
              <a:rPr lang="en-US" spc="-5">
                <a:latin typeface="Bodoni MT" panose="02070603080606020203" pitchFamily="18" charset="0"/>
                <a:cs typeface="Calibri"/>
              </a:rPr>
              <a:t> of</a:t>
            </a:r>
            <a:r>
              <a:rPr lang="en-US">
                <a:latin typeface="Bodoni MT" panose="02070603080606020203" pitchFamily="18" charset="0"/>
                <a:cs typeface="Calibri"/>
              </a:rPr>
              <a:t> </a:t>
            </a:r>
            <a:r>
              <a:rPr lang="en-US" spc="-5">
                <a:latin typeface="Bodoni MT" panose="02070603080606020203" pitchFamily="18" charset="0"/>
                <a:cs typeface="Calibri"/>
              </a:rPr>
              <a:t>materials</a:t>
            </a:r>
            <a:r>
              <a:rPr lang="en-US">
                <a:latin typeface="Bodoni MT" panose="02070603080606020203" pitchFamily="18" charset="0"/>
                <a:cs typeface="Calibri"/>
              </a:rPr>
              <a:t> made</a:t>
            </a:r>
            <a:r>
              <a:rPr lang="en-US" spc="5">
                <a:latin typeface="Bodoni MT" panose="02070603080606020203" pitchFamily="18" charset="0"/>
                <a:cs typeface="Calibri"/>
              </a:rPr>
              <a:t> </a:t>
            </a:r>
            <a:r>
              <a:rPr lang="en-US" spc="-15">
                <a:latin typeface="Bodoni MT" panose="02070603080606020203" pitchFamily="18" charset="0"/>
                <a:cs typeface="Calibri"/>
              </a:rPr>
              <a:t>from</a:t>
            </a:r>
            <a:r>
              <a:rPr lang="en-US" spc="-10">
                <a:latin typeface="Bodoni MT" panose="02070603080606020203" pitchFamily="18" charset="0"/>
                <a:cs typeface="Calibri"/>
              </a:rPr>
              <a:t> </a:t>
            </a:r>
            <a:r>
              <a:rPr lang="en-US" spc="-5">
                <a:latin typeface="Bodoni MT" panose="02070603080606020203" pitchFamily="18" charset="0"/>
                <a:cs typeface="Calibri"/>
              </a:rPr>
              <a:t>C&amp;D</a:t>
            </a:r>
            <a:r>
              <a:rPr lang="en-US">
                <a:latin typeface="Bodoni MT" panose="02070603080606020203" pitchFamily="18" charset="0"/>
                <a:cs typeface="Calibri"/>
              </a:rPr>
              <a:t> </a:t>
            </a:r>
            <a:r>
              <a:rPr lang="en-US" spc="-20">
                <a:latin typeface="Bodoni MT" panose="02070603080606020203" pitchFamily="18" charset="0"/>
                <a:cs typeface="Calibri"/>
              </a:rPr>
              <a:t>waste</a:t>
            </a:r>
            <a:r>
              <a:rPr lang="en-US" spc="-15">
                <a:latin typeface="Bodoni MT" panose="02070603080606020203" pitchFamily="18" charset="0"/>
                <a:cs typeface="Calibri"/>
              </a:rPr>
              <a:t> </a:t>
            </a:r>
            <a:r>
              <a:rPr lang="en-US" spc="-5">
                <a:latin typeface="Bodoni MT" panose="02070603080606020203" pitchFamily="18" charset="0"/>
                <a:cs typeface="Calibri"/>
              </a:rPr>
              <a:t>shall</a:t>
            </a:r>
            <a:r>
              <a:rPr lang="en-US" spc="445">
                <a:latin typeface="Bodoni MT" panose="02070603080606020203" pitchFamily="18" charset="0"/>
                <a:cs typeface="Calibri"/>
              </a:rPr>
              <a:t> </a:t>
            </a:r>
            <a:r>
              <a:rPr lang="en-US">
                <a:latin typeface="Bodoni MT" panose="02070603080606020203" pitchFamily="18" charset="0"/>
                <a:cs typeface="Calibri"/>
              </a:rPr>
              <a:t>be</a:t>
            </a:r>
            <a:r>
              <a:rPr lang="en-US" spc="455">
                <a:latin typeface="Bodoni MT" panose="02070603080606020203" pitchFamily="18" charset="0"/>
                <a:cs typeface="Calibri"/>
              </a:rPr>
              <a:t> </a:t>
            </a:r>
            <a:r>
              <a:rPr lang="en-US" spc="-5">
                <a:latin typeface="Bodoni MT" panose="02070603080606020203" pitchFamily="18" charset="0"/>
                <a:cs typeface="Calibri"/>
              </a:rPr>
              <a:t>made </a:t>
            </a:r>
            <a:r>
              <a:rPr lang="en-US">
                <a:latin typeface="Bodoni MT" panose="02070603080606020203" pitchFamily="18" charset="0"/>
                <a:cs typeface="Calibri"/>
              </a:rPr>
              <a:t> </a:t>
            </a:r>
            <a:r>
              <a:rPr lang="en-US" spc="-5">
                <a:latin typeface="Bodoni MT" panose="02070603080606020203" pitchFamily="18" charset="0"/>
                <a:cs typeface="Calibri"/>
              </a:rPr>
              <a:t>mandatory</a:t>
            </a:r>
            <a:r>
              <a:rPr lang="en-US" spc="-10">
                <a:latin typeface="Bodoni MT" panose="02070603080606020203" pitchFamily="18" charset="0"/>
                <a:cs typeface="Calibri"/>
              </a:rPr>
              <a:t> (say</a:t>
            </a:r>
            <a:r>
              <a:rPr lang="en-US" spc="-5">
                <a:latin typeface="Bodoni MT" panose="02070603080606020203" pitchFamily="18" charset="0"/>
                <a:cs typeface="Calibri"/>
              </a:rPr>
              <a:t> </a:t>
            </a:r>
            <a:r>
              <a:rPr lang="en-US">
                <a:latin typeface="Bodoni MT" panose="02070603080606020203" pitchFamily="18" charset="0"/>
                <a:cs typeface="Calibri"/>
              </a:rPr>
              <a:t>10-20%)</a:t>
            </a:r>
            <a:r>
              <a:rPr lang="en-US" spc="-30">
                <a:latin typeface="Bodoni MT" panose="02070603080606020203" pitchFamily="18" charset="0"/>
                <a:cs typeface="Calibri"/>
              </a:rPr>
              <a:t> </a:t>
            </a:r>
            <a:r>
              <a:rPr lang="en-US" spc="-5">
                <a:latin typeface="Bodoni MT" panose="02070603080606020203" pitchFamily="18" charset="0"/>
                <a:cs typeface="Calibri"/>
              </a:rPr>
              <a:t>in</a:t>
            </a:r>
            <a:r>
              <a:rPr lang="en-US" spc="5">
                <a:latin typeface="Bodoni MT" panose="02070603080606020203" pitchFamily="18" charset="0"/>
                <a:cs typeface="Calibri"/>
              </a:rPr>
              <a:t> </a:t>
            </a:r>
            <a:r>
              <a:rPr lang="en-US">
                <a:latin typeface="Bodoni MT" panose="02070603080606020203" pitchFamily="18" charset="0"/>
                <a:cs typeface="Calibri"/>
              </a:rPr>
              <a:t>municipal and</a:t>
            </a:r>
            <a:r>
              <a:rPr lang="en-US" spc="-15">
                <a:latin typeface="Bodoni MT" panose="02070603080606020203" pitchFamily="18" charset="0"/>
                <a:cs typeface="Calibri"/>
              </a:rPr>
              <a:t> </a:t>
            </a:r>
            <a:r>
              <a:rPr lang="en-US" spc="-10">
                <a:latin typeface="Bodoni MT" panose="02070603080606020203" pitchFamily="18" charset="0"/>
                <a:cs typeface="Calibri"/>
              </a:rPr>
              <a:t>Government</a:t>
            </a:r>
            <a:r>
              <a:rPr lang="en-US" spc="10">
                <a:latin typeface="Bodoni MT" panose="02070603080606020203" pitchFamily="18" charset="0"/>
                <a:cs typeface="Calibri"/>
              </a:rPr>
              <a:t> </a:t>
            </a:r>
            <a:r>
              <a:rPr lang="en-US" spc="-10">
                <a:latin typeface="Bodoni MT" panose="02070603080606020203" pitchFamily="18" charset="0"/>
                <a:cs typeface="Calibri"/>
              </a:rPr>
              <a:t>contracts.</a:t>
            </a:r>
          </a:p>
          <a:p>
            <a:pPr marL="285750" indent="-285750">
              <a:buFont typeface="Courier New" panose="02070309020205020404" pitchFamily="49" charset="0"/>
              <a:buChar char="o"/>
            </a:pPr>
            <a:endParaRPr lang="en-US" spc="-10">
              <a:latin typeface="Bodoni MT" panose="02070603080606020203" pitchFamily="18" charset="0"/>
              <a:cs typeface="Calibri"/>
            </a:endParaRPr>
          </a:p>
          <a:p>
            <a:pPr marL="285750" indent="-285750">
              <a:buFont typeface="Courier New" panose="02070309020205020404" pitchFamily="49" charset="0"/>
              <a:buChar char="o"/>
            </a:pPr>
            <a:endParaRPr lang="en-US">
              <a:latin typeface="Bodoni MT" panose="02070603080606020203" pitchFamily="18" charset="0"/>
              <a:cs typeface="Calibri"/>
            </a:endParaRPr>
          </a:p>
          <a:p>
            <a:endParaRPr lang="en-US" dirty="0"/>
          </a:p>
        </p:txBody>
      </p:sp>
    </p:spTree>
    <p:extLst>
      <p:ext uri="{BB962C8B-B14F-4D97-AF65-F5344CB8AC3E}">
        <p14:creationId xmlns:p14="http://schemas.microsoft.com/office/powerpoint/2010/main" val="177840243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5F3F1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C7CE5A-6D03-4826-A612-1F39F7556EC8}"/>
              </a:ext>
            </a:extLst>
          </p:cNvPr>
          <p:cNvSpPr/>
          <p:nvPr/>
        </p:nvSpPr>
        <p:spPr>
          <a:xfrm>
            <a:off x="858130" y="390378"/>
            <a:ext cx="5064369" cy="6077243"/>
          </a:xfrm>
          <a:prstGeom prst="rect">
            <a:avLst/>
          </a:prstGeom>
          <a:solidFill>
            <a:srgbClr val="24201F"/>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AD0D090-6B7C-4291-ADF9-5B763FEFC8B9}"/>
              </a:ext>
            </a:extLst>
          </p:cNvPr>
          <p:cNvSpPr/>
          <p:nvPr/>
        </p:nvSpPr>
        <p:spPr>
          <a:xfrm>
            <a:off x="6269501" y="390377"/>
            <a:ext cx="5064369" cy="6077243"/>
          </a:xfrm>
          <a:prstGeom prst="rect">
            <a:avLst/>
          </a:prstGeom>
          <a:solidFill>
            <a:srgbClr val="24201F"/>
          </a:solidFill>
          <a:ln>
            <a:noFill/>
          </a:ln>
          <a:effectLst>
            <a:outerShdw blurRad="50800" dist="1016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ight Triangle 1">
            <a:extLst>
              <a:ext uri="{FF2B5EF4-FFF2-40B4-BE49-F238E27FC236}">
                <a16:creationId xmlns:a16="http://schemas.microsoft.com/office/drawing/2014/main" id="{AA6C2927-43EE-4C25-9E20-CBDA1FD87AA4}"/>
              </a:ext>
            </a:extLst>
          </p:cNvPr>
          <p:cNvSpPr/>
          <p:nvPr/>
        </p:nvSpPr>
        <p:spPr>
          <a:xfrm>
            <a:off x="80186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ight Triangle 6">
            <a:extLst>
              <a:ext uri="{FF2B5EF4-FFF2-40B4-BE49-F238E27FC236}">
                <a16:creationId xmlns:a16="http://schemas.microsoft.com/office/drawing/2014/main" id="{52E4EB6D-0A66-447B-ABB1-CB1A8083E581}"/>
              </a:ext>
            </a:extLst>
          </p:cNvPr>
          <p:cNvSpPr/>
          <p:nvPr/>
        </p:nvSpPr>
        <p:spPr>
          <a:xfrm flipV="1">
            <a:off x="785335" y="372775"/>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4E7CD148-78FB-471A-B5CC-7D2C980C36DF}"/>
              </a:ext>
            </a:extLst>
          </p:cNvPr>
          <p:cNvSpPr/>
          <p:nvPr/>
        </p:nvSpPr>
        <p:spPr>
          <a:xfrm flipH="1" flipV="1">
            <a:off x="10892637" y="390377"/>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ight Triangle 8">
            <a:extLst>
              <a:ext uri="{FF2B5EF4-FFF2-40B4-BE49-F238E27FC236}">
                <a16:creationId xmlns:a16="http://schemas.microsoft.com/office/drawing/2014/main" id="{A281906A-EEAF-4826-B085-D8FC8E11968D}"/>
              </a:ext>
            </a:extLst>
          </p:cNvPr>
          <p:cNvSpPr/>
          <p:nvPr/>
        </p:nvSpPr>
        <p:spPr>
          <a:xfrm flipH="1">
            <a:off x="1092814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Rectangle 2">
            <a:extLst>
              <a:ext uri="{FF2B5EF4-FFF2-40B4-BE49-F238E27FC236}">
                <a16:creationId xmlns:a16="http://schemas.microsoft.com/office/drawing/2014/main" id="{7277BF1C-0BBE-4AA4-9125-8E43356A46AA}"/>
              </a:ext>
            </a:extLst>
          </p:cNvPr>
          <p:cNvSpPr/>
          <p:nvPr/>
        </p:nvSpPr>
        <p:spPr>
          <a:xfrm>
            <a:off x="1262743" y="633463"/>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6459EE-1C02-4C56-9402-64DF331AD870}"/>
              </a:ext>
            </a:extLst>
          </p:cNvPr>
          <p:cNvSpPr/>
          <p:nvPr/>
        </p:nvSpPr>
        <p:spPr>
          <a:xfrm>
            <a:off x="6298084" y="642257"/>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C030149-99F3-4298-B7C9-06D399F8E0ED}"/>
              </a:ext>
            </a:extLst>
          </p:cNvPr>
          <p:cNvSpPr/>
          <p:nvPr/>
        </p:nvSpPr>
        <p:spPr>
          <a:xfrm>
            <a:off x="5704114" y="642255"/>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17B4086-6155-47C5-9C6C-968FCF46B7B4}"/>
              </a:ext>
            </a:extLst>
          </p:cNvPr>
          <p:cNvSpPr/>
          <p:nvPr/>
        </p:nvSpPr>
        <p:spPr>
          <a:xfrm>
            <a:off x="6327112" y="642257"/>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0" name="Group 89">
            <a:extLst>
              <a:ext uri="{FF2B5EF4-FFF2-40B4-BE49-F238E27FC236}">
                <a16:creationId xmlns:a16="http://schemas.microsoft.com/office/drawing/2014/main" id="{4F0CDE8A-B12E-40CB-BB4B-53F064AECBFB}"/>
              </a:ext>
            </a:extLst>
          </p:cNvPr>
          <p:cNvGrpSpPr/>
          <p:nvPr/>
        </p:nvGrpSpPr>
        <p:grpSpPr>
          <a:xfrm>
            <a:off x="5751857" y="868383"/>
            <a:ext cx="717314" cy="5049396"/>
            <a:chOff x="5772183" y="784514"/>
            <a:chExt cx="717314" cy="5049396"/>
          </a:xfrm>
          <a:effectLst>
            <a:outerShdw blurRad="50800" dist="38100" dir="5400000" algn="t" rotWithShape="0">
              <a:prstClr val="black">
                <a:alpha val="40000"/>
              </a:prstClr>
            </a:outerShdw>
          </a:effectLst>
        </p:grpSpPr>
        <p:grpSp>
          <p:nvGrpSpPr>
            <p:cNvPr id="16" name="Group 15">
              <a:extLst>
                <a:ext uri="{FF2B5EF4-FFF2-40B4-BE49-F238E27FC236}">
                  <a16:creationId xmlns:a16="http://schemas.microsoft.com/office/drawing/2014/main" id="{7083AC48-F29D-474C-B03B-BD556737251E}"/>
                </a:ext>
              </a:extLst>
            </p:cNvPr>
            <p:cNvGrpSpPr/>
            <p:nvPr/>
          </p:nvGrpSpPr>
          <p:grpSpPr>
            <a:xfrm>
              <a:off x="5772183" y="784514"/>
              <a:ext cx="703246" cy="99031"/>
              <a:chOff x="5772183" y="784514"/>
              <a:chExt cx="703246" cy="99031"/>
            </a:xfrm>
          </p:grpSpPr>
          <p:sp>
            <p:nvSpPr>
              <p:cNvPr id="13" name="Oval 12">
                <a:extLst>
                  <a:ext uri="{FF2B5EF4-FFF2-40B4-BE49-F238E27FC236}">
                    <a16:creationId xmlns:a16="http://schemas.microsoft.com/office/drawing/2014/main" id="{7C0C5BC9-033C-4E74-AC75-9EEA3423CEF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2CF74482-0721-4E4D-865B-85AC01A8B29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CE51A6AC-044C-4486-8025-8CFE52F31EF9}"/>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B88A290A-757F-4266-891F-1B12C105248D}"/>
                </a:ext>
              </a:extLst>
            </p:cNvPr>
            <p:cNvGrpSpPr/>
            <p:nvPr/>
          </p:nvGrpSpPr>
          <p:grpSpPr>
            <a:xfrm>
              <a:off x="5786251" y="1085906"/>
              <a:ext cx="703246" cy="4748004"/>
              <a:chOff x="5786251" y="1085906"/>
              <a:chExt cx="703246" cy="4748004"/>
            </a:xfrm>
          </p:grpSpPr>
          <p:grpSp>
            <p:nvGrpSpPr>
              <p:cNvPr id="17" name="Group 16">
                <a:extLst>
                  <a:ext uri="{FF2B5EF4-FFF2-40B4-BE49-F238E27FC236}">
                    <a16:creationId xmlns:a16="http://schemas.microsoft.com/office/drawing/2014/main" id="{6E8C30D7-3D0F-4E84-B3BD-EB23A0E7BDF5}"/>
                  </a:ext>
                </a:extLst>
              </p:cNvPr>
              <p:cNvGrpSpPr/>
              <p:nvPr/>
            </p:nvGrpSpPr>
            <p:grpSpPr>
              <a:xfrm>
                <a:off x="5786251" y="1085906"/>
                <a:ext cx="703246" cy="99031"/>
                <a:chOff x="5772183" y="784514"/>
                <a:chExt cx="703246" cy="99031"/>
              </a:xfrm>
            </p:grpSpPr>
            <p:sp>
              <p:nvSpPr>
                <p:cNvPr id="18" name="Oval 17">
                  <a:extLst>
                    <a:ext uri="{FF2B5EF4-FFF2-40B4-BE49-F238E27FC236}">
                      <a16:creationId xmlns:a16="http://schemas.microsoft.com/office/drawing/2014/main" id="{229D4F0D-9B2F-479E-B3FA-2A69B7DD0C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6A9C1A3-9268-46F2-9F79-0E15859118B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06BC3828-A6CC-4833-BE7A-1640A1A6901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F42A8CC2-9150-46F8-B41D-DC8E6CB9B121}"/>
                  </a:ext>
                </a:extLst>
              </p:cNvPr>
              <p:cNvGrpSpPr/>
              <p:nvPr/>
            </p:nvGrpSpPr>
            <p:grpSpPr>
              <a:xfrm>
                <a:off x="5786251" y="1359375"/>
                <a:ext cx="703246" cy="99031"/>
                <a:chOff x="5772183" y="784514"/>
                <a:chExt cx="703246" cy="99031"/>
              </a:xfrm>
            </p:grpSpPr>
            <p:sp>
              <p:nvSpPr>
                <p:cNvPr id="22" name="Oval 21">
                  <a:extLst>
                    <a:ext uri="{FF2B5EF4-FFF2-40B4-BE49-F238E27FC236}">
                      <a16:creationId xmlns:a16="http://schemas.microsoft.com/office/drawing/2014/main" id="{1B2D122F-9ED7-4761-BCB8-659B8193C67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D40D170-0540-4C45-8113-3F16E48265C1}"/>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F71E06F7-8770-44C4-AAC4-0BD07EFFAC5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F079EA5-CA68-4EAE-9AE0-8B9F054E1816}"/>
                  </a:ext>
                </a:extLst>
              </p:cNvPr>
              <p:cNvGrpSpPr/>
              <p:nvPr/>
            </p:nvGrpSpPr>
            <p:grpSpPr>
              <a:xfrm>
                <a:off x="5786251" y="1632844"/>
                <a:ext cx="703246" cy="99031"/>
                <a:chOff x="5772183" y="784514"/>
                <a:chExt cx="703246" cy="99031"/>
              </a:xfrm>
            </p:grpSpPr>
            <p:sp>
              <p:nvSpPr>
                <p:cNvPr id="26" name="Oval 25">
                  <a:extLst>
                    <a:ext uri="{FF2B5EF4-FFF2-40B4-BE49-F238E27FC236}">
                      <a16:creationId xmlns:a16="http://schemas.microsoft.com/office/drawing/2014/main" id="{C7B8A345-412B-4064-B951-81A37EBAC8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14A49EB-C283-427A-AF09-86907DA5F6C9}"/>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AB10A0AE-E505-4683-A947-6E977A4576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F619E5D5-847F-44A4-AAFD-AC2092EBF188}"/>
                  </a:ext>
                </a:extLst>
              </p:cNvPr>
              <p:cNvGrpSpPr/>
              <p:nvPr/>
            </p:nvGrpSpPr>
            <p:grpSpPr>
              <a:xfrm>
                <a:off x="5786251" y="1906313"/>
                <a:ext cx="703246" cy="99031"/>
                <a:chOff x="5772183" y="784514"/>
                <a:chExt cx="703246" cy="99031"/>
              </a:xfrm>
            </p:grpSpPr>
            <p:sp>
              <p:nvSpPr>
                <p:cNvPr id="30" name="Oval 29">
                  <a:extLst>
                    <a:ext uri="{FF2B5EF4-FFF2-40B4-BE49-F238E27FC236}">
                      <a16:creationId xmlns:a16="http://schemas.microsoft.com/office/drawing/2014/main" id="{56DA8E35-B9FC-46FB-BDAC-5D0F64D8CA5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EC121BE-4678-4D34-9D92-13A84BECD038}"/>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a:extLst>
                    <a:ext uri="{FF2B5EF4-FFF2-40B4-BE49-F238E27FC236}">
                      <a16:creationId xmlns:a16="http://schemas.microsoft.com/office/drawing/2014/main" id="{511A5AC4-02D8-4B10-8702-3150BBC473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2DB7D2B5-10A1-4F14-A298-866D381E0B82}"/>
                  </a:ext>
                </a:extLst>
              </p:cNvPr>
              <p:cNvGrpSpPr/>
              <p:nvPr/>
            </p:nvGrpSpPr>
            <p:grpSpPr>
              <a:xfrm>
                <a:off x="5786251" y="2179782"/>
                <a:ext cx="703246" cy="99031"/>
                <a:chOff x="5772183" y="784514"/>
                <a:chExt cx="703246" cy="99031"/>
              </a:xfrm>
            </p:grpSpPr>
            <p:sp>
              <p:nvSpPr>
                <p:cNvPr id="34" name="Oval 33">
                  <a:extLst>
                    <a:ext uri="{FF2B5EF4-FFF2-40B4-BE49-F238E27FC236}">
                      <a16:creationId xmlns:a16="http://schemas.microsoft.com/office/drawing/2014/main" id="{699255F7-A8A1-4F97-A980-2FDA5059608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026EC098-8A28-46DA-9580-257004AB49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9F65917F-B712-427F-8691-F2BE23650F24}"/>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925C3343-DDED-44EF-8547-F0F882EFAACF}"/>
                  </a:ext>
                </a:extLst>
              </p:cNvPr>
              <p:cNvGrpSpPr/>
              <p:nvPr/>
            </p:nvGrpSpPr>
            <p:grpSpPr>
              <a:xfrm>
                <a:off x="5786251" y="2453251"/>
                <a:ext cx="703246" cy="99031"/>
                <a:chOff x="5772183" y="784514"/>
                <a:chExt cx="703246" cy="99031"/>
              </a:xfrm>
            </p:grpSpPr>
            <p:sp>
              <p:nvSpPr>
                <p:cNvPr id="38" name="Oval 37">
                  <a:extLst>
                    <a:ext uri="{FF2B5EF4-FFF2-40B4-BE49-F238E27FC236}">
                      <a16:creationId xmlns:a16="http://schemas.microsoft.com/office/drawing/2014/main" id="{8263B869-699F-4C05-8041-ED7F28BF759C}"/>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3E633260-843E-4BEC-8B8F-E21700E7CB5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0CF12A6-94C3-4AF2-B82F-9689075A9A0E}"/>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EA8D3157-269F-4673-83F8-1B52721C8BDE}"/>
                  </a:ext>
                </a:extLst>
              </p:cNvPr>
              <p:cNvGrpSpPr/>
              <p:nvPr/>
            </p:nvGrpSpPr>
            <p:grpSpPr>
              <a:xfrm>
                <a:off x="5786251" y="2726720"/>
                <a:ext cx="703246" cy="99031"/>
                <a:chOff x="5772183" y="784514"/>
                <a:chExt cx="703246" cy="99031"/>
              </a:xfrm>
            </p:grpSpPr>
            <p:sp>
              <p:nvSpPr>
                <p:cNvPr id="42" name="Oval 41">
                  <a:extLst>
                    <a:ext uri="{FF2B5EF4-FFF2-40B4-BE49-F238E27FC236}">
                      <a16:creationId xmlns:a16="http://schemas.microsoft.com/office/drawing/2014/main" id="{BB4859AA-C91B-4512-90BD-AD7456E083D5}"/>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E8AF206B-AC95-4597-930C-58890211554C}"/>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5713328D-3155-4F4D-B73C-1A065E2D6A96}"/>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id="{05DDEDF6-96E8-42E2-A225-582D8DF5C850}"/>
                  </a:ext>
                </a:extLst>
              </p:cNvPr>
              <p:cNvGrpSpPr/>
              <p:nvPr/>
            </p:nvGrpSpPr>
            <p:grpSpPr>
              <a:xfrm>
                <a:off x="5786251" y="3000189"/>
                <a:ext cx="703246" cy="99031"/>
                <a:chOff x="5772183" y="784514"/>
                <a:chExt cx="703246" cy="99031"/>
              </a:xfrm>
            </p:grpSpPr>
            <p:sp>
              <p:nvSpPr>
                <p:cNvPr id="46" name="Oval 45">
                  <a:extLst>
                    <a:ext uri="{FF2B5EF4-FFF2-40B4-BE49-F238E27FC236}">
                      <a16:creationId xmlns:a16="http://schemas.microsoft.com/office/drawing/2014/main" id="{097D8FFC-DA7D-452F-9679-5866D589710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F82EE929-47A5-4605-9E8F-24727B1D86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Rounded Corners 47">
                  <a:extLst>
                    <a:ext uri="{FF2B5EF4-FFF2-40B4-BE49-F238E27FC236}">
                      <a16:creationId xmlns:a16="http://schemas.microsoft.com/office/drawing/2014/main" id="{E0F855A2-5E0F-40C0-83D5-56E313E340D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id="{45EB6991-130D-4817-B3C7-BFC0A2C58D4F}"/>
                  </a:ext>
                </a:extLst>
              </p:cNvPr>
              <p:cNvGrpSpPr/>
              <p:nvPr/>
            </p:nvGrpSpPr>
            <p:grpSpPr>
              <a:xfrm>
                <a:off x="5786251" y="3273658"/>
                <a:ext cx="703246" cy="99031"/>
                <a:chOff x="5772183" y="784514"/>
                <a:chExt cx="703246" cy="99031"/>
              </a:xfrm>
            </p:grpSpPr>
            <p:sp>
              <p:nvSpPr>
                <p:cNvPr id="50" name="Oval 49">
                  <a:extLst>
                    <a:ext uri="{FF2B5EF4-FFF2-40B4-BE49-F238E27FC236}">
                      <a16:creationId xmlns:a16="http://schemas.microsoft.com/office/drawing/2014/main" id="{8EE10D3C-3EEE-48F6-B575-0B6A3D24101E}"/>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0A36B39F-D831-4F8B-858D-4A986A1E35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AC33A827-4F29-4898-A6F5-2C7FB0120771}"/>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31587573-D46D-4D4F-B882-E0D1816A3F56}"/>
                  </a:ext>
                </a:extLst>
              </p:cNvPr>
              <p:cNvGrpSpPr/>
              <p:nvPr/>
            </p:nvGrpSpPr>
            <p:grpSpPr>
              <a:xfrm>
                <a:off x="5786251" y="3547127"/>
                <a:ext cx="703246" cy="99031"/>
                <a:chOff x="5772183" y="784514"/>
                <a:chExt cx="703246" cy="99031"/>
              </a:xfrm>
            </p:grpSpPr>
            <p:sp>
              <p:nvSpPr>
                <p:cNvPr id="54" name="Oval 53">
                  <a:extLst>
                    <a:ext uri="{FF2B5EF4-FFF2-40B4-BE49-F238E27FC236}">
                      <a16:creationId xmlns:a16="http://schemas.microsoft.com/office/drawing/2014/main" id="{91CE6A00-E8F0-4362-880D-7DABF30DA30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8BFD6C2-2DB6-4795-B830-DD39F0FAB84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FB076EA1-1F7F-41DA-8734-792E19483EA5}"/>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a:extLst>
                  <a:ext uri="{FF2B5EF4-FFF2-40B4-BE49-F238E27FC236}">
                    <a16:creationId xmlns:a16="http://schemas.microsoft.com/office/drawing/2014/main" id="{33B3DC1C-DF1A-4FC3-B178-32DDD4DBFEB9}"/>
                  </a:ext>
                </a:extLst>
              </p:cNvPr>
              <p:cNvGrpSpPr/>
              <p:nvPr/>
            </p:nvGrpSpPr>
            <p:grpSpPr>
              <a:xfrm>
                <a:off x="5786251" y="3820596"/>
                <a:ext cx="703246" cy="99031"/>
                <a:chOff x="5772183" y="784514"/>
                <a:chExt cx="703246" cy="99031"/>
              </a:xfrm>
            </p:grpSpPr>
            <p:sp>
              <p:nvSpPr>
                <p:cNvPr id="58" name="Oval 57">
                  <a:extLst>
                    <a:ext uri="{FF2B5EF4-FFF2-40B4-BE49-F238E27FC236}">
                      <a16:creationId xmlns:a16="http://schemas.microsoft.com/office/drawing/2014/main" id="{1D5A2429-69DF-44E0-9163-B770F4FDB6E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EA68E2B5-A909-4344-A56E-C452F4B8E66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EC8D3A18-41C1-4976-BAD6-DDD5D5CE7AB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C7479AE0-A201-499D-8779-6534410C2D2C}"/>
                  </a:ext>
                </a:extLst>
              </p:cNvPr>
              <p:cNvGrpSpPr/>
              <p:nvPr/>
            </p:nvGrpSpPr>
            <p:grpSpPr>
              <a:xfrm>
                <a:off x="5786251" y="4094065"/>
                <a:ext cx="703246" cy="99031"/>
                <a:chOff x="5772183" y="784514"/>
                <a:chExt cx="703246" cy="99031"/>
              </a:xfrm>
            </p:grpSpPr>
            <p:sp>
              <p:nvSpPr>
                <p:cNvPr id="62" name="Oval 61">
                  <a:extLst>
                    <a:ext uri="{FF2B5EF4-FFF2-40B4-BE49-F238E27FC236}">
                      <a16:creationId xmlns:a16="http://schemas.microsoft.com/office/drawing/2014/main" id="{A8477BBF-E12A-43E1-B7EC-2D46952A0B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1FE4722E-89FF-4789-91D4-920E097217EF}"/>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79701F66-4B93-43D1-9A8B-AC7C181048DF}"/>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EBE77565-1A6C-471E-A785-FCD4718B03C4}"/>
                  </a:ext>
                </a:extLst>
              </p:cNvPr>
              <p:cNvGrpSpPr/>
              <p:nvPr/>
            </p:nvGrpSpPr>
            <p:grpSpPr>
              <a:xfrm>
                <a:off x="5786251" y="4367534"/>
                <a:ext cx="703246" cy="99031"/>
                <a:chOff x="5772183" y="784514"/>
                <a:chExt cx="703246" cy="99031"/>
              </a:xfrm>
            </p:grpSpPr>
            <p:sp>
              <p:nvSpPr>
                <p:cNvPr id="66" name="Oval 65">
                  <a:extLst>
                    <a:ext uri="{FF2B5EF4-FFF2-40B4-BE49-F238E27FC236}">
                      <a16:creationId xmlns:a16="http://schemas.microsoft.com/office/drawing/2014/main" id="{4C22B865-7B00-494E-B7A1-4F3E1CBB686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87FD4322-1AE9-40A0-8FF6-216390BCFE66}"/>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B63B4880-230A-4965-9A13-D91DCF1F0F7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id="{08BA085B-FF23-4DA6-9717-7E613D962E06}"/>
                  </a:ext>
                </a:extLst>
              </p:cNvPr>
              <p:cNvGrpSpPr/>
              <p:nvPr/>
            </p:nvGrpSpPr>
            <p:grpSpPr>
              <a:xfrm>
                <a:off x="5786251" y="4641003"/>
                <a:ext cx="703246" cy="99031"/>
                <a:chOff x="5772183" y="784514"/>
                <a:chExt cx="703246" cy="99031"/>
              </a:xfrm>
            </p:grpSpPr>
            <p:sp>
              <p:nvSpPr>
                <p:cNvPr id="70" name="Oval 69">
                  <a:extLst>
                    <a:ext uri="{FF2B5EF4-FFF2-40B4-BE49-F238E27FC236}">
                      <a16:creationId xmlns:a16="http://schemas.microsoft.com/office/drawing/2014/main" id="{FABE7803-C897-4308-B0AE-CC1762AE46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A0B77336-AE90-48C7-8752-A4164B15717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EE08141D-36CE-412A-88E7-81FDA104169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72">
                <a:extLst>
                  <a:ext uri="{FF2B5EF4-FFF2-40B4-BE49-F238E27FC236}">
                    <a16:creationId xmlns:a16="http://schemas.microsoft.com/office/drawing/2014/main" id="{FD64D312-A581-4141-88B4-7D98B618A858}"/>
                  </a:ext>
                </a:extLst>
              </p:cNvPr>
              <p:cNvGrpSpPr/>
              <p:nvPr/>
            </p:nvGrpSpPr>
            <p:grpSpPr>
              <a:xfrm>
                <a:off x="5786251" y="4914472"/>
                <a:ext cx="703246" cy="99031"/>
                <a:chOff x="5772183" y="784514"/>
                <a:chExt cx="703246" cy="99031"/>
              </a:xfrm>
            </p:grpSpPr>
            <p:sp>
              <p:nvSpPr>
                <p:cNvPr id="74" name="Oval 73">
                  <a:extLst>
                    <a:ext uri="{FF2B5EF4-FFF2-40B4-BE49-F238E27FC236}">
                      <a16:creationId xmlns:a16="http://schemas.microsoft.com/office/drawing/2014/main" id="{DD042721-E23E-45AE-88DA-C3F2BFDC8E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A510B24-09E6-4493-AF86-74D41E858663}"/>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Rounded Corners 75">
                  <a:extLst>
                    <a:ext uri="{FF2B5EF4-FFF2-40B4-BE49-F238E27FC236}">
                      <a16:creationId xmlns:a16="http://schemas.microsoft.com/office/drawing/2014/main" id="{27A9774E-6D5E-4C7C-8676-D367E78003C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1D7B68A7-C497-4076-AF38-884C66AEE27C}"/>
                  </a:ext>
                </a:extLst>
              </p:cNvPr>
              <p:cNvGrpSpPr/>
              <p:nvPr/>
            </p:nvGrpSpPr>
            <p:grpSpPr>
              <a:xfrm>
                <a:off x="5786251" y="5187941"/>
                <a:ext cx="703246" cy="99031"/>
                <a:chOff x="5772183" y="784514"/>
                <a:chExt cx="703246" cy="99031"/>
              </a:xfrm>
            </p:grpSpPr>
            <p:sp>
              <p:nvSpPr>
                <p:cNvPr id="78" name="Oval 77">
                  <a:extLst>
                    <a:ext uri="{FF2B5EF4-FFF2-40B4-BE49-F238E27FC236}">
                      <a16:creationId xmlns:a16="http://schemas.microsoft.com/office/drawing/2014/main" id="{57A72422-6FE1-4EE8-8BCB-2229C55F558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606420FE-D661-4878-81EC-D6697945DFDE}"/>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Rounded Corners 79">
                  <a:extLst>
                    <a:ext uri="{FF2B5EF4-FFF2-40B4-BE49-F238E27FC236}">
                      <a16:creationId xmlns:a16="http://schemas.microsoft.com/office/drawing/2014/main" id="{9D809EEC-3D77-4E91-B99E-AC567C75AA4B}"/>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2E57B8A1-F6C4-465A-B727-35E9EEAE3828}"/>
                  </a:ext>
                </a:extLst>
              </p:cNvPr>
              <p:cNvGrpSpPr/>
              <p:nvPr/>
            </p:nvGrpSpPr>
            <p:grpSpPr>
              <a:xfrm>
                <a:off x="5786251" y="5461410"/>
                <a:ext cx="703246" cy="99031"/>
                <a:chOff x="5772183" y="784514"/>
                <a:chExt cx="703246" cy="99031"/>
              </a:xfrm>
            </p:grpSpPr>
            <p:sp>
              <p:nvSpPr>
                <p:cNvPr id="82" name="Oval 81">
                  <a:extLst>
                    <a:ext uri="{FF2B5EF4-FFF2-40B4-BE49-F238E27FC236}">
                      <a16:creationId xmlns:a16="http://schemas.microsoft.com/office/drawing/2014/main" id="{4AFF475F-A0AA-436A-A978-1B8962CD55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BB1B2212-D2F5-460C-89C5-0D97234B64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Rounded Corners 83">
                  <a:extLst>
                    <a:ext uri="{FF2B5EF4-FFF2-40B4-BE49-F238E27FC236}">
                      <a16:creationId xmlns:a16="http://schemas.microsoft.com/office/drawing/2014/main" id="{4178A7D8-7476-48AA-9D3B-21197308F683}"/>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D3461062-5FB6-41CC-835F-FCFA4A5A6DB3}"/>
                  </a:ext>
                </a:extLst>
              </p:cNvPr>
              <p:cNvGrpSpPr/>
              <p:nvPr/>
            </p:nvGrpSpPr>
            <p:grpSpPr>
              <a:xfrm>
                <a:off x="5786251" y="5734879"/>
                <a:ext cx="703246" cy="99031"/>
                <a:chOff x="5772183" y="784514"/>
                <a:chExt cx="703246" cy="99031"/>
              </a:xfrm>
            </p:grpSpPr>
            <p:sp>
              <p:nvSpPr>
                <p:cNvPr id="86" name="Oval 85">
                  <a:extLst>
                    <a:ext uri="{FF2B5EF4-FFF2-40B4-BE49-F238E27FC236}">
                      <a16:creationId xmlns:a16="http://schemas.microsoft.com/office/drawing/2014/main" id="{6221F8BB-6631-493D-9744-C6A1C0B8FF0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4CFB3B53-81EF-4434-AA54-1C5771D49E2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Rounded Corners 87">
                  <a:extLst>
                    <a:ext uri="{FF2B5EF4-FFF2-40B4-BE49-F238E27FC236}">
                      <a16:creationId xmlns:a16="http://schemas.microsoft.com/office/drawing/2014/main" id="{3E55D94F-6CDA-4C6F-B36E-A4773E51F9A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91" name="TextBox 90">
            <a:extLst>
              <a:ext uri="{FF2B5EF4-FFF2-40B4-BE49-F238E27FC236}">
                <a16:creationId xmlns:a16="http://schemas.microsoft.com/office/drawing/2014/main" id="{1F67464B-F456-41CA-A29C-BE815E4564B0}"/>
              </a:ext>
            </a:extLst>
          </p:cNvPr>
          <p:cNvSpPr txBox="1"/>
          <p:nvPr/>
        </p:nvSpPr>
        <p:spPr>
          <a:xfrm>
            <a:off x="1521069" y="738553"/>
            <a:ext cx="3815807" cy="523220"/>
          </a:xfrm>
          <a:prstGeom prst="rect">
            <a:avLst/>
          </a:prstGeom>
          <a:noFill/>
        </p:spPr>
        <p:txBody>
          <a:bodyPr wrap="square" rtlCol="0">
            <a:spAutoFit/>
          </a:bodyPr>
          <a:lstStyle/>
          <a:p>
            <a:pPr algn="ctr"/>
            <a:r>
              <a:rPr lang="en-US" sz="2800" spc="-5" dirty="0">
                <a:latin typeface="Gloucester MT Extra Condensed" panose="02030808020601010101" pitchFamily="18" charset="0"/>
              </a:rPr>
              <a:t>Duties</a:t>
            </a:r>
            <a:r>
              <a:rPr lang="en-US" sz="2800" spc="-15" dirty="0">
                <a:latin typeface="Gloucester MT Extra Condensed" panose="02030808020601010101" pitchFamily="18" charset="0"/>
              </a:rPr>
              <a:t> </a:t>
            </a:r>
            <a:r>
              <a:rPr lang="en-US" sz="2800" dirty="0">
                <a:latin typeface="Gloucester MT Extra Condensed" panose="02030808020601010101" pitchFamily="18" charset="0"/>
              </a:rPr>
              <a:t>of</a:t>
            </a:r>
            <a:r>
              <a:rPr lang="en-US" sz="2800" spc="-10" dirty="0">
                <a:latin typeface="Gloucester MT Extra Condensed" panose="02030808020601010101" pitchFamily="18" charset="0"/>
              </a:rPr>
              <a:t> Local Authority</a:t>
            </a:r>
            <a:endParaRPr lang="en-US" sz="2800" dirty="0">
              <a:latin typeface="Gloucester MT Extra Condensed" panose="02030808020601010101" pitchFamily="18" charset="0"/>
            </a:endParaRPr>
          </a:p>
        </p:txBody>
      </p:sp>
      <p:sp>
        <p:nvSpPr>
          <p:cNvPr id="93" name="TextBox 92">
            <a:extLst>
              <a:ext uri="{FF2B5EF4-FFF2-40B4-BE49-F238E27FC236}">
                <a16:creationId xmlns:a16="http://schemas.microsoft.com/office/drawing/2014/main" id="{29D9BA1C-0267-4D06-9045-6E8DF59802A3}"/>
              </a:ext>
            </a:extLst>
          </p:cNvPr>
          <p:cNvSpPr txBox="1"/>
          <p:nvPr/>
        </p:nvSpPr>
        <p:spPr>
          <a:xfrm>
            <a:off x="1266094" y="1397975"/>
            <a:ext cx="4161469" cy="4444807"/>
          </a:xfrm>
          <a:prstGeom prst="rect">
            <a:avLst/>
          </a:prstGeom>
          <a:noFill/>
        </p:spPr>
        <p:txBody>
          <a:bodyPr wrap="square" rtlCol="0">
            <a:spAutoFit/>
          </a:bodyPr>
          <a:lstStyle/>
          <a:p>
            <a:pPr marL="355600" indent="-342900">
              <a:lnSpc>
                <a:spcPct val="100000"/>
              </a:lnSpc>
              <a:spcBef>
                <a:spcPts val="105"/>
              </a:spcBef>
              <a:buSzPct val="90000"/>
              <a:buFont typeface="Courier New" panose="02070309020205020404" pitchFamily="49" charset="0"/>
              <a:buChar char="o"/>
              <a:tabLst>
                <a:tab pos="354965" algn="l"/>
                <a:tab pos="355600" algn="l"/>
                <a:tab pos="1026160" algn="l"/>
                <a:tab pos="2016760" algn="l"/>
                <a:tab pos="3251200" algn="l"/>
                <a:tab pos="3870325" algn="l"/>
                <a:tab pos="4487545" algn="l"/>
                <a:tab pos="5478145" algn="l"/>
                <a:tab pos="6074410" algn="l"/>
                <a:tab pos="6442710" algn="l"/>
                <a:tab pos="7837805" algn="l"/>
              </a:tabLst>
            </a:pPr>
            <a:r>
              <a:rPr lang="en-US" dirty="0">
                <a:latin typeface="Bodoni MT" panose="02070603080606020203" pitchFamily="18" charset="0"/>
                <a:cs typeface="Calibri"/>
              </a:rPr>
              <a:t>Is</a:t>
            </a:r>
            <a:r>
              <a:rPr lang="en-US" spc="-10" dirty="0">
                <a:latin typeface="Bodoni MT" panose="02070603080606020203" pitchFamily="18" charset="0"/>
                <a:cs typeface="Calibri"/>
              </a:rPr>
              <a:t>s</a:t>
            </a:r>
            <a:r>
              <a:rPr lang="en-US" dirty="0">
                <a:latin typeface="Bodoni MT" panose="02070603080606020203" pitchFamily="18" charset="0"/>
                <a:cs typeface="Calibri"/>
              </a:rPr>
              <a:t>ue </a:t>
            </a:r>
            <a:r>
              <a:rPr lang="en-US" spc="-5" dirty="0">
                <a:latin typeface="Bodoni MT" panose="02070603080606020203" pitchFamily="18" charset="0"/>
                <a:cs typeface="Calibri"/>
              </a:rPr>
              <a:t>D</a:t>
            </a:r>
            <a:r>
              <a:rPr lang="en-US" spc="-15" dirty="0">
                <a:latin typeface="Bodoni MT" panose="02070603080606020203" pitchFamily="18" charset="0"/>
                <a:cs typeface="Calibri"/>
              </a:rPr>
              <a:t>e</a:t>
            </a:r>
            <a:r>
              <a:rPr lang="en-US" spc="-25" dirty="0">
                <a:latin typeface="Bodoni MT" panose="02070603080606020203" pitchFamily="18" charset="0"/>
                <a:cs typeface="Calibri"/>
              </a:rPr>
              <a:t>t</a:t>
            </a:r>
            <a:r>
              <a:rPr lang="en-US" dirty="0">
                <a:latin typeface="Bodoni MT" panose="02070603080606020203" pitchFamily="18" charset="0"/>
                <a:cs typeface="Calibri"/>
              </a:rPr>
              <a:t>a</a:t>
            </a:r>
            <a:r>
              <a:rPr lang="en-US" spc="5" dirty="0">
                <a:latin typeface="Bodoni MT" panose="02070603080606020203" pitchFamily="18" charset="0"/>
                <a:cs typeface="Calibri"/>
              </a:rPr>
              <a:t>i</a:t>
            </a:r>
            <a:r>
              <a:rPr lang="en-US" dirty="0">
                <a:latin typeface="Bodoni MT" panose="02070603080606020203" pitchFamily="18" charset="0"/>
                <a:cs typeface="Calibri"/>
              </a:rPr>
              <a:t>l</a:t>
            </a:r>
            <a:r>
              <a:rPr lang="en-US" spc="-5" dirty="0">
                <a:latin typeface="Bodoni MT" panose="02070603080606020203" pitchFamily="18" charset="0"/>
                <a:cs typeface="Calibri"/>
              </a:rPr>
              <a:t>e</a:t>
            </a:r>
            <a:r>
              <a:rPr lang="en-US" dirty="0">
                <a:latin typeface="Bodoni MT" panose="02070603080606020203" pitchFamily="18" charset="0"/>
                <a:cs typeface="Calibri"/>
              </a:rPr>
              <a:t>d </a:t>
            </a:r>
            <a:r>
              <a:rPr lang="en-US" spc="-5" dirty="0">
                <a:latin typeface="Bodoni MT" panose="02070603080606020203" pitchFamily="18" charset="0"/>
                <a:cs typeface="Calibri"/>
              </a:rPr>
              <a:t>Di</a:t>
            </a:r>
            <a:r>
              <a:rPr lang="en-US" spc="-30" dirty="0">
                <a:latin typeface="Bodoni MT" panose="02070603080606020203" pitchFamily="18" charset="0"/>
                <a:cs typeface="Calibri"/>
              </a:rPr>
              <a:t>r</a:t>
            </a:r>
            <a:r>
              <a:rPr lang="en-US" dirty="0">
                <a:latin typeface="Bodoni MT" panose="02070603080606020203" pitchFamily="18" charset="0"/>
                <a:cs typeface="Calibri"/>
              </a:rPr>
              <a:t>ections, </a:t>
            </a:r>
            <a:r>
              <a:rPr lang="en-US" spc="-5" dirty="0">
                <a:latin typeface="Bodoni MT" panose="02070603080606020203" pitchFamily="18" charset="0"/>
                <a:cs typeface="Calibri"/>
              </a:rPr>
              <a:t>Shal S</a:t>
            </a:r>
            <a:r>
              <a:rPr lang="en-US" dirty="0">
                <a:latin typeface="Bodoni MT" panose="02070603080606020203" pitchFamily="18" charset="0"/>
                <a:cs typeface="Calibri"/>
              </a:rPr>
              <a:t>eek D</a:t>
            </a:r>
            <a:r>
              <a:rPr lang="en-US" spc="-15" dirty="0">
                <a:latin typeface="Bodoni MT" panose="02070603080606020203" pitchFamily="18" charset="0"/>
                <a:cs typeface="Calibri"/>
              </a:rPr>
              <a:t>et</a:t>
            </a:r>
            <a:r>
              <a:rPr lang="en-US" dirty="0">
                <a:latin typeface="Bodoni MT" panose="02070603080606020203" pitchFamily="18" charset="0"/>
                <a:cs typeface="Calibri"/>
              </a:rPr>
              <a:t>ailed </a:t>
            </a:r>
            <a:r>
              <a:rPr lang="en-US" spc="-5" dirty="0">
                <a:latin typeface="Bodoni MT" panose="02070603080606020203" pitchFamily="18" charset="0"/>
                <a:cs typeface="Calibri"/>
              </a:rPr>
              <a:t>Pla</a:t>
            </a:r>
            <a:r>
              <a:rPr lang="en-US" dirty="0">
                <a:latin typeface="Bodoni MT" panose="02070603080606020203" pitchFamily="18" charset="0"/>
                <a:cs typeface="Calibri"/>
              </a:rPr>
              <a:t>n </a:t>
            </a:r>
            <a:r>
              <a:rPr lang="en-US" spc="-5" dirty="0">
                <a:latin typeface="Bodoni MT" panose="02070603080606020203" pitchFamily="18" charset="0"/>
                <a:cs typeface="Calibri"/>
              </a:rPr>
              <a:t>O</a:t>
            </a:r>
            <a:r>
              <a:rPr lang="en-US" dirty="0">
                <a:latin typeface="Bodoni MT" panose="02070603080606020203" pitchFamily="18" charset="0"/>
                <a:cs typeface="Calibri"/>
              </a:rPr>
              <a:t>r </a:t>
            </a:r>
            <a:r>
              <a:rPr lang="en-US" spc="-5" dirty="0">
                <a:latin typeface="Bodoni MT" panose="02070603080606020203" pitchFamily="18" charset="0"/>
                <a:cs typeface="Calibri"/>
              </a:rPr>
              <a:t>Under</a:t>
            </a:r>
            <a:r>
              <a:rPr lang="en-US" spc="-30" dirty="0">
                <a:latin typeface="Bodoni MT" panose="02070603080606020203" pitchFamily="18" charset="0"/>
                <a:cs typeface="Calibri"/>
              </a:rPr>
              <a:t>t</a:t>
            </a:r>
            <a:r>
              <a:rPr lang="en-US" dirty="0">
                <a:latin typeface="Bodoni MT" panose="02070603080606020203" pitchFamily="18" charset="0"/>
                <a:cs typeface="Calibri"/>
              </a:rPr>
              <a:t>aking As Applicable,</a:t>
            </a:r>
            <a:r>
              <a:rPr lang="en-US" spc="-25" dirty="0">
                <a:latin typeface="Bodoni MT" panose="02070603080606020203" pitchFamily="18" charset="0"/>
                <a:cs typeface="Calibri"/>
              </a:rPr>
              <a:t> </a:t>
            </a:r>
            <a:r>
              <a:rPr lang="en-US" spc="-15" dirty="0">
                <a:latin typeface="Bodoni MT" panose="02070603080606020203" pitchFamily="18" charset="0"/>
                <a:cs typeface="Calibri"/>
              </a:rPr>
              <a:t>From</a:t>
            </a:r>
            <a:r>
              <a:rPr lang="en-US" spc="-5" dirty="0">
                <a:latin typeface="Bodoni MT" panose="02070603080606020203" pitchFamily="18" charset="0"/>
                <a:cs typeface="Calibri"/>
              </a:rPr>
              <a:t> </a:t>
            </a:r>
            <a:r>
              <a:rPr lang="en-US" spc="-10" dirty="0">
                <a:latin typeface="Bodoni MT" panose="02070603080606020203" pitchFamily="18" charset="0"/>
                <a:cs typeface="Calibri"/>
              </a:rPr>
              <a:t>Generator</a:t>
            </a:r>
            <a:r>
              <a:rPr lang="en-US" spc="-20" dirty="0">
                <a:latin typeface="Bodoni MT" panose="02070603080606020203" pitchFamily="18" charset="0"/>
                <a:cs typeface="Calibri"/>
              </a:rPr>
              <a:t> </a:t>
            </a:r>
            <a:r>
              <a:rPr lang="en-US" dirty="0">
                <a:latin typeface="Bodoni MT" panose="02070603080606020203" pitchFamily="18" charset="0"/>
                <a:cs typeface="Calibri"/>
              </a:rPr>
              <a:t>Of</a:t>
            </a:r>
            <a:r>
              <a:rPr lang="en-US" spc="-20" dirty="0">
                <a:latin typeface="Bodoni MT" panose="02070603080606020203" pitchFamily="18" charset="0"/>
                <a:cs typeface="Calibri"/>
              </a:rPr>
              <a:t> </a:t>
            </a:r>
            <a:r>
              <a:rPr lang="en-US" dirty="0">
                <a:latin typeface="Bodoni MT" panose="02070603080606020203" pitchFamily="18" charset="0"/>
                <a:cs typeface="Calibri"/>
              </a:rPr>
              <a:t>C&amp;D</a:t>
            </a:r>
            <a:r>
              <a:rPr lang="en-US" spc="-30" dirty="0">
                <a:latin typeface="Bodoni MT" panose="02070603080606020203" pitchFamily="18" charset="0"/>
                <a:cs typeface="Calibri"/>
              </a:rPr>
              <a:t> </a:t>
            </a:r>
            <a:r>
              <a:rPr lang="en-US" spc="-15" dirty="0">
                <a:latin typeface="Bodoni MT" panose="02070603080606020203" pitchFamily="18" charset="0"/>
                <a:cs typeface="Calibri"/>
              </a:rPr>
              <a:t>Waste.</a:t>
            </a:r>
            <a:endParaRPr lang="en-US" dirty="0">
              <a:latin typeface="Bodoni MT" panose="02070603080606020203" pitchFamily="18" charset="0"/>
              <a:cs typeface="Calibri"/>
            </a:endParaRPr>
          </a:p>
          <a:p>
            <a:pPr marL="342900" indent="-342900">
              <a:spcBef>
                <a:spcPts val="5"/>
              </a:spcBef>
              <a:buFont typeface="Courier New" panose="02070309020205020404" pitchFamily="49" charset="0"/>
              <a:buChar char="o"/>
            </a:pPr>
            <a:endParaRPr lang="en-US" sz="2000" spc="-100" dirty="0">
              <a:latin typeface="Bodoni MT" panose="02070603080606020203" pitchFamily="18" charset="0"/>
              <a:cs typeface="Calibri"/>
            </a:endParaRPr>
          </a:p>
          <a:p>
            <a:pPr marL="355600" marR="5715" indent="-342900">
              <a:buSzPct val="90000"/>
              <a:buFont typeface="Courier New" panose="02070309020205020404" pitchFamily="49" charset="0"/>
              <a:buChar char="o"/>
              <a:tabLst>
                <a:tab pos="354965" algn="l"/>
                <a:tab pos="355600" algn="l"/>
              </a:tabLst>
            </a:pPr>
            <a:r>
              <a:rPr lang="en-US" spc="-100" dirty="0">
                <a:latin typeface="Bodoni MT" panose="02070603080606020203" pitchFamily="18" charset="0"/>
                <a:cs typeface="Calibri"/>
              </a:rPr>
              <a:t>Chalk Out Stages, Methodology And Equipment, Material Involved In The  Overall Activity And Final Clean Up After Completion.</a:t>
            </a:r>
          </a:p>
          <a:p>
            <a:pPr marL="342900" indent="-342900">
              <a:spcBef>
                <a:spcPts val="5"/>
              </a:spcBef>
              <a:buFont typeface="Courier New" panose="02070309020205020404" pitchFamily="49" charset="0"/>
              <a:buChar char="o"/>
            </a:pPr>
            <a:endParaRPr lang="en-US" sz="2000" spc="-100" dirty="0">
              <a:latin typeface="Bodoni MT" panose="02070603080606020203" pitchFamily="18" charset="0"/>
              <a:cs typeface="Calibri"/>
            </a:endParaRPr>
          </a:p>
          <a:p>
            <a:pPr marL="355600" marR="5715" indent="-342900">
              <a:buSzPct val="90000"/>
              <a:buFont typeface="Courier New" panose="02070309020205020404" pitchFamily="49" charset="0"/>
              <a:buChar char="o"/>
              <a:tabLst>
                <a:tab pos="354965" algn="l"/>
                <a:tab pos="355600" algn="l"/>
                <a:tab pos="1001394" algn="l"/>
                <a:tab pos="2212975" algn="l"/>
                <a:tab pos="2669540" algn="l"/>
                <a:tab pos="3246755" algn="l"/>
                <a:tab pos="4244975" algn="l"/>
                <a:tab pos="4617085" algn="l"/>
                <a:tab pos="5240655" algn="l"/>
                <a:tab pos="6005830" algn="l"/>
                <a:tab pos="7600315" algn="l"/>
              </a:tabLst>
            </a:pPr>
            <a:r>
              <a:rPr lang="en-US" spc="-100" dirty="0">
                <a:latin typeface="Bodoni MT" panose="02070603080606020203" pitchFamily="18" charset="0"/>
                <a:cs typeface="Calibri"/>
              </a:rPr>
              <a:t>Seek Assistance For Safe Disposal Of C &amp; D Waste Contaminated With  Industrial Hazardous Or Toxic Material Or Nuclear Waste If Any.</a:t>
            </a:r>
          </a:p>
          <a:p>
            <a:pPr marL="412750" marR="5080" indent="-400050">
              <a:lnSpc>
                <a:spcPct val="100000"/>
              </a:lnSpc>
              <a:spcBef>
                <a:spcPts val="105"/>
              </a:spcBef>
              <a:buClr>
                <a:schemeClr val="tx1"/>
              </a:buClr>
              <a:buSzPct val="90000"/>
              <a:buFont typeface="Courier New" panose="02070309020205020404" pitchFamily="49" charset="0"/>
              <a:buChar char="o"/>
              <a:tabLst>
                <a:tab pos="355600" algn="l"/>
              </a:tabLst>
            </a:pPr>
            <a:endParaRPr lang="en-US" dirty="0">
              <a:latin typeface="Bodoni MT" panose="02070603080606020203" pitchFamily="18" charset="0"/>
            </a:endParaRPr>
          </a:p>
        </p:txBody>
      </p:sp>
      <p:sp>
        <p:nvSpPr>
          <p:cNvPr id="94" name="TextBox 93">
            <a:extLst>
              <a:ext uri="{FF2B5EF4-FFF2-40B4-BE49-F238E27FC236}">
                <a16:creationId xmlns:a16="http://schemas.microsoft.com/office/drawing/2014/main" id="{BDA050F2-7684-43AF-8286-B42BACAE63CD}"/>
              </a:ext>
            </a:extLst>
          </p:cNvPr>
          <p:cNvSpPr txBox="1"/>
          <p:nvPr/>
        </p:nvSpPr>
        <p:spPr>
          <a:xfrm>
            <a:off x="6629400" y="738553"/>
            <a:ext cx="4041531" cy="5922134"/>
          </a:xfrm>
          <a:prstGeom prst="rect">
            <a:avLst/>
          </a:prstGeom>
          <a:noFill/>
        </p:spPr>
        <p:txBody>
          <a:bodyPr wrap="square" rtlCol="0">
            <a:spAutoFit/>
          </a:bodyPr>
          <a:lstStyle/>
          <a:p>
            <a:pPr marL="298450" indent="-285750" algn="just">
              <a:buSzPct val="90000"/>
              <a:buFont typeface="Courier New" panose="02070309020205020404" pitchFamily="49" charset="0"/>
              <a:buChar char="o"/>
              <a:tabLst>
                <a:tab pos="354965" algn="l"/>
                <a:tab pos="355600" algn="l"/>
              </a:tabLst>
            </a:pPr>
            <a:r>
              <a:rPr lang="en-US" spc="-100" dirty="0">
                <a:latin typeface="Bodoni MT" panose="02070603080606020203" pitchFamily="18" charset="0"/>
                <a:cs typeface="Calibri"/>
              </a:rPr>
              <a:t>Shall make appropriate arrangements for collection, remove at regular intervals or when they are filled.</a:t>
            </a:r>
          </a:p>
          <a:p>
            <a:pPr marL="298450" indent="-285750" algn="just">
              <a:buSzPct val="90000"/>
              <a:buFont typeface="Courier New" panose="02070309020205020404" pitchFamily="49" charset="0"/>
              <a:buChar char="o"/>
              <a:tabLst>
                <a:tab pos="354965" algn="l"/>
                <a:tab pos="355600" algn="l"/>
              </a:tabLst>
            </a:pPr>
            <a:endParaRPr lang="en-US" spc="-100" dirty="0">
              <a:latin typeface="Bodoni MT" panose="02070603080606020203" pitchFamily="18" charset="0"/>
              <a:cs typeface="Calibri"/>
            </a:endParaRPr>
          </a:p>
          <a:p>
            <a:pPr marL="355600" marR="5715" indent="-342900" algn="just">
              <a:spcBef>
                <a:spcPts val="105"/>
              </a:spcBef>
              <a:buSzPct val="90000"/>
              <a:buFont typeface="Courier New" panose="02070309020205020404" pitchFamily="49" charset="0"/>
              <a:buChar char="o"/>
              <a:tabLst>
                <a:tab pos="354965" algn="l"/>
                <a:tab pos="355600" algn="l"/>
                <a:tab pos="1019810" algn="l"/>
                <a:tab pos="1524635" algn="l"/>
                <a:tab pos="2045335" algn="l"/>
                <a:tab pos="3155315" algn="l"/>
                <a:tab pos="3937000" algn="l"/>
                <a:tab pos="5336540" algn="l"/>
                <a:tab pos="5728335" algn="l"/>
                <a:tab pos="7120255" algn="l"/>
                <a:tab pos="7762875" algn="l"/>
              </a:tabLst>
            </a:pPr>
            <a:r>
              <a:rPr lang="en-US" spc="-100" dirty="0">
                <a:latin typeface="Bodoni MT" panose="02070603080606020203" pitchFamily="18" charset="0"/>
                <a:cs typeface="Calibri"/>
              </a:rPr>
              <a:t>Shall get the collected waste transported to appropriate sites for  processing and disposal.</a:t>
            </a:r>
          </a:p>
          <a:p>
            <a:pPr marL="355600" indent="-342900" algn="just">
              <a:buSzPct val="90000"/>
              <a:buFont typeface="Courier New" panose="02070309020205020404" pitchFamily="49" charset="0"/>
              <a:buChar char="o"/>
              <a:tabLst>
                <a:tab pos="354965" algn="l"/>
                <a:tab pos="355600" algn="l"/>
                <a:tab pos="984885" algn="l"/>
                <a:tab pos="1998345" algn="l"/>
                <a:tab pos="2529205" algn="l"/>
                <a:tab pos="3542665" algn="l"/>
                <a:tab pos="4028440" algn="l"/>
                <a:tab pos="4775835" algn="l"/>
                <a:tab pos="6287770" algn="l"/>
                <a:tab pos="6876415" algn="l"/>
                <a:tab pos="7666990" algn="l"/>
              </a:tabLst>
            </a:pPr>
            <a:endParaRPr lang="en-US" spc="-100" dirty="0">
              <a:latin typeface="Bodoni MT" panose="02070603080606020203" pitchFamily="18" charset="0"/>
              <a:cs typeface="Calibri"/>
            </a:endParaRPr>
          </a:p>
          <a:p>
            <a:pPr marL="355600" indent="-342900" algn="just">
              <a:buSzPct val="90000"/>
              <a:buFont typeface="Courier New" panose="02070309020205020404" pitchFamily="49" charset="0"/>
              <a:buChar char="o"/>
              <a:tabLst>
                <a:tab pos="354965" algn="l"/>
                <a:tab pos="355600" algn="l"/>
                <a:tab pos="984885" algn="l"/>
                <a:tab pos="1998345" algn="l"/>
                <a:tab pos="2529205" algn="l"/>
                <a:tab pos="3542665" algn="l"/>
                <a:tab pos="4028440" algn="l"/>
                <a:tab pos="4775835" algn="l"/>
                <a:tab pos="6287770" algn="l"/>
                <a:tab pos="6876415" algn="l"/>
                <a:tab pos="7666990" algn="l"/>
              </a:tabLst>
            </a:pPr>
            <a:r>
              <a:rPr lang="en-US" spc="-100" dirty="0">
                <a:latin typeface="Bodoni MT" panose="02070603080606020203" pitchFamily="18" charset="0"/>
                <a:cs typeface="Calibri"/>
              </a:rPr>
              <a:t>Shall examine and sanction the waste management plan within one month from the date of approval of building plan.</a:t>
            </a:r>
          </a:p>
          <a:p>
            <a:pPr marL="355600" indent="-342900" algn="just">
              <a:buSzPct val="90000"/>
              <a:buFont typeface="Courier New" panose="02070309020205020404" pitchFamily="49" charset="0"/>
              <a:buChar char="o"/>
              <a:tabLst>
                <a:tab pos="354965" algn="l"/>
                <a:tab pos="355600" algn="l"/>
                <a:tab pos="984885" algn="l"/>
                <a:tab pos="1998345" algn="l"/>
                <a:tab pos="2529205" algn="l"/>
                <a:tab pos="3542665" algn="l"/>
                <a:tab pos="4028440" algn="l"/>
                <a:tab pos="4775835" algn="l"/>
                <a:tab pos="6287770" algn="l"/>
                <a:tab pos="6876415" algn="l"/>
                <a:tab pos="7666990" algn="l"/>
              </a:tabLst>
            </a:pPr>
            <a:endParaRPr lang="en-US" spc="-100" dirty="0">
              <a:latin typeface="Bodoni MT" panose="02070603080606020203" pitchFamily="18" charset="0"/>
              <a:cs typeface="Calibri"/>
            </a:endParaRPr>
          </a:p>
          <a:p>
            <a:pPr marL="355600" indent="-342900" algn="just">
              <a:buSzPct val="90000"/>
              <a:buFont typeface="Courier New" panose="02070309020205020404" pitchFamily="49" charset="0"/>
              <a:buChar char="o"/>
              <a:tabLst>
                <a:tab pos="354965" algn="l"/>
                <a:tab pos="355600" algn="l"/>
                <a:tab pos="984885" algn="l"/>
                <a:tab pos="1998345" algn="l"/>
                <a:tab pos="2529205" algn="l"/>
                <a:tab pos="3542665" algn="l"/>
                <a:tab pos="4028440" algn="l"/>
                <a:tab pos="4775835" algn="l"/>
                <a:tab pos="6287770" algn="l"/>
                <a:tab pos="6876415" algn="l"/>
                <a:tab pos="7666990" algn="l"/>
              </a:tabLst>
            </a:pPr>
            <a:r>
              <a:rPr lang="en-US" spc="-100" dirty="0">
                <a:latin typeface="Bodoni MT" panose="02070603080606020203" pitchFamily="18" charset="0"/>
                <a:cs typeface="Calibri"/>
              </a:rPr>
              <a:t>Shall keep track of the generation of C&amp;D waste within its jurisdiction and  establish a data base and update once in a year.</a:t>
            </a:r>
          </a:p>
          <a:p>
            <a:pPr marL="285750" indent="-285750">
              <a:buFont typeface="Courier New" panose="02070309020205020404" pitchFamily="49" charset="0"/>
              <a:buChar char="o"/>
            </a:pPr>
            <a:endParaRPr lang="en-US" spc="-10" dirty="0">
              <a:latin typeface="Bodoni MT" panose="02070603080606020203" pitchFamily="18" charset="0"/>
              <a:cs typeface="Calibri"/>
            </a:endParaRPr>
          </a:p>
          <a:p>
            <a:pPr marL="285750" indent="-285750">
              <a:buFont typeface="Courier New" panose="02070309020205020404" pitchFamily="49" charset="0"/>
              <a:buChar char="o"/>
            </a:pPr>
            <a:endParaRPr lang="en-US" spc="-10" dirty="0">
              <a:latin typeface="Bodoni MT" panose="02070603080606020203" pitchFamily="18" charset="0"/>
              <a:cs typeface="Calibri"/>
            </a:endParaRPr>
          </a:p>
          <a:p>
            <a:pPr marL="285750" indent="-285750">
              <a:buFont typeface="Courier New" panose="02070309020205020404" pitchFamily="49" charset="0"/>
              <a:buChar char="o"/>
            </a:pPr>
            <a:endParaRPr lang="en-US" dirty="0">
              <a:latin typeface="Bodoni MT" panose="02070603080606020203" pitchFamily="18" charset="0"/>
              <a:cs typeface="Calibri"/>
            </a:endParaRPr>
          </a:p>
          <a:p>
            <a:endParaRPr lang="en-US" dirty="0"/>
          </a:p>
        </p:txBody>
      </p:sp>
    </p:spTree>
    <p:extLst>
      <p:ext uri="{BB962C8B-B14F-4D97-AF65-F5344CB8AC3E}">
        <p14:creationId xmlns:p14="http://schemas.microsoft.com/office/powerpoint/2010/main" val="341896538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612865"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76656" y="1666457"/>
            <a:ext cx="7717699" cy="2215991"/>
          </a:xfrm>
          <a:prstGeom prst="rect">
            <a:avLst/>
          </a:prstGeom>
          <a:noFill/>
        </p:spPr>
        <p:txBody>
          <a:bodyPr wrap="square" lIns="0" tIns="0" rIns="0" bIns="0" numCol="1" rtlCol="0">
            <a:spAutoFit/>
          </a:bodyPr>
          <a:lstStyle/>
          <a:p>
            <a:r>
              <a:rPr lang="de-DE" altLang="de-DE" sz="4800" spc="300" dirty="0">
                <a:solidFill>
                  <a:srgbClr val="079B84"/>
                </a:solidFill>
              </a:rPr>
              <a:t>Examples Of Construction And Demolition Waste</a:t>
            </a:r>
            <a:endParaRPr lang="de-DE" altLang="de-DE" sz="4000" spc="300" dirty="0">
              <a:solidFill>
                <a:srgbClr val="079B84"/>
              </a:solidFill>
            </a:endParaRPr>
          </a:p>
        </p:txBody>
      </p:sp>
      <p:pic>
        <p:nvPicPr>
          <p:cNvPr id="25" name="Picture 24">
            <a:extLst>
              <a:ext uri="{FF2B5EF4-FFF2-40B4-BE49-F238E27FC236}">
                <a16:creationId xmlns:a16="http://schemas.microsoft.com/office/drawing/2014/main" id="{1DA4D427-AB5E-4F64-8EB7-E57A549895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349464" y="1831831"/>
            <a:ext cx="4441372" cy="4194880"/>
          </a:xfrm>
          <a:prstGeom prst="ellipse">
            <a:avLst/>
          </a:prstGeom>
          <a:ln w="22225">
            <a:solidFill>
              <a:schemeClr val="bg2"/>
            </a:solidFill>
          </a:ln>
        </p:spPr>
      </p:pic>
      <p:sp>
        <p:nvSpPr>
          <p:cNvPr id="26" name="Rectangle 25">
            <a:extLst>
              <a:ext uri="{FF2B5EF4-FFF2-40B4-BE49-F238E27FC236}">
                <a16:creationId xmlns:a16="http://schemas.microsoft.com/office/drawing/2014/main" id="{F32F3A55-9A53-49C4-A99A-85F4F7B127F3}"/>
              </a:ext>
            </a:extLst>
          </p:cNvPr>
          <p:cNvSpPr/>
          <p:nvPr/>
        </p:nvSpPr>
        <p:spPr>
          <a:xfrm>
            <a:off x="12261263"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Tree>
    <p:custDataLst>
      <p:tags r:id="rId2"/>
    </p:custDataLst>
    <p:extLst>
      <p:ext uri="{BB962C8B-B14F-4D97-AF65-F5344CB8AC3E}">
        <p14:creationId xmlns:p14="http://schemas.microsoft.com/office/powerpoint/2010/main" val="311926289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5F3F1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C7CE5A-6D03-4826-A612-1F39F7556EC8}"/>
              </a:ext>
            </a:extLst>
          </p:cNvPr>
          <p:cNvSpPr/>
          <p:nvPr/>
        </p:nvSpPr>
        <p:spPr>
          <a:xfrm>
            <a:off x="858130" y="390378"/>
            <a:ext cx="5064369" cy="6077243"/>
          </a:xfrm>
          <a:prstGeom prst="rect">
            <a:avLst/>
          </a:prstGeom>
          <a:solidFill>
            <a:srgbClr val="24201F"/>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AD0D090-6B7C-4291-ADF9-5B763FEFC8B9}"/>
              </a:ext>
            </a:extLst>
          </p:cNvPr>
          <p:cNvSpPr/>
          <p:nvPr/>
        </p:nvSpPr>
        <p:spPr>
          <a:xfrm>
            <a:off x="6269501" y="390377"/>
            <a:ext cx="5064369" cy="6077243"/>
          </a:xfrm>
          <a:prstGeom prst="rect">
            <a:avLst/>
          </a:prstGeom>
          <a:solidFill>
            <a:srgbClr val="24201F"/>
          </a:solidFill>
          <a:ln>
            <a:noFill/>
          </a:ln>
          <a:effectLst>
            <a:outerShdw blurRad="50800" dist="1016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ight Triangle 1">
            <a:extLst>
              <a:ext uri="{FF2B5EF4-FFF2-40B4-BE49-F238E27FC236}">
                <a16:creationId xmlns:a16="http://schemas.microsoft.com/office/drawing/2014/main" id="{AA6C2927-43EE-4C25-9E20-CBDA1FD87AA4}"/>
              </a:ext>
            </a:extLst>
          </p:cNvPr>
          <p:cNvSpPr/>
          <p:nvPr/>
        </p:nvSpPr>
        <p:spPr>
          <a:xfrm>
            <a:off x="80186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ight Triangle 6">
            <a:extLst>
              <a:ext uri="{FF2B5EF4-FFF2-40B4-BE49-F238E27FC236}">
                <a16:creationId xmlns:a16="http://schemas.microsoft.com/office/drawing/2014/main" id="{52E4EB6D-0A66-447B-ABB1-CB1A8083E581}"/>
              </a:ext>
            </a:extLst>
          </p:cNvPr>
          <p:cNvSpPr/>
          <p:nvPr/>
        </p:nvSpPr>
        <p:spPr>
          <a:xfrm flipV="1">
            <a:off x="785335" y="372775"/>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4E7CD148-78FB-471A-B5CC-7D2C980C36DF}"/>
              </a:ext>
            </a:extLst>
          </p:cNvPr>
          <p:cNvSpPr/>
          <p:nvPr/>
        </p:nvSpPr>
        <p:spPr>
          <a:xfrm flipH="1" flipV="1">
            <a:off x="10892637" y="390377"/>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ight Triangle 8">
            <a:extLst>
              <a:ext uri="{FF2B5EF4-FFF2-40B4-BE49-F238E27FC236}">
                <a16:creationId xmlns:a16="http://schemas.microsoft.com/office/drawing/2014/main" id="{A281906A-EEAF-4826-B085-D8FC8E11968D}"/>
              </a:ext>
            </a:extLst>
          </p:cNvPr>
          <p:cNvSpPr/>
          <p:nvPr/>
        </p:nvSpPr>
        <p:spPr>
          <a:xfrm flipH="1">
            <a:off x="10928141" y="596607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Rectangle 2">
            <a:extLst>
              <a:ext uri="{FF2B5EF4-FFF2-40B4-BE49-F238E27FC236}">
                <a16:creationId xmlns:a16="http://schemas.microsoft.com/office/drawing/2014/main" id="{7277BF1C-0BBE-4AA4-9125-8E43356A46AA}"/>
              </a:ext>
            </a:extLst>
          </p:cNvPr>
          <p:cNvSpPr/>
          <p:nvPr/>
        </p:nvSpPr>
        <p:spPr>
          <a:xfrm>
            <a:off x="1262743" y="633463"/>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6459EE-1C02-4C56-9402-64DF331AD870}"/>
              </a:ext>
            </a:extLst>
          </p:cNvPr>
          <p:cNvSpPr/>
          <p:nvPr/>
        </p:nvSpPr>
        <p:spPr>
          <a:xfrm>
            <a:off x="6298084" y="642257"/>
            <a:ext cx="4659756" cy="5573486"/>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C030149-99F3-4298-B7C9-06D399F8E0ED}"/>
              </a:ext>
            </a:extLst>
          </p:cNvPr>
          <p:cNvSpPr/>
          <p:nvPr/>
        </p:nvSpPr>
        <p:spPr>
          <a:xfrm>
            <a:off x="5704114" y="642255"/>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17B4086-6155-47C5-9C6C-968FCF46B7B4}"/>
              </a:ext>
            </a:extLst>
          </p:cNvPr>
          <p:cNvSpPr/>
          <p:nvPr/>
        </p:nvSpPr>
        <p:spPr>
          <a:xfrm>
            <a:off x="6327112" y="642257"/>
            <a:ext cx="218385" cy="5573486"/>
          </a:xfrm>
          <a:prstGeom prst="rect">
            <a:avLst/>
          </a:prstGeom>
          <a:solidFill>
            <a:srgbClr val="E4D7B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0" name="Group 89">
            <a:extLst>
              <a:ext uri="{FF2B5EF4-FFF2-40B4-BE49-F238E27FC236}">
                <a16:creationId xmlns:a16="http://schemas.microsoft.com/office/drawing/2014/main" id="{4F0CDE8A-B12E-40CB-BB4B-53F064AECBFB}"/>
              </a:ext>
            </a:extLst>
          </p:cNvPr>
          <p:cNvGrpSpPr/>
          <p:nvPr/>
        </p:nvGrpSpPr>
        <p:grpSpPr>
          <a:xfrm>
            <a:off x="5751857" y="868383"/>
            <a:ext cx="717314" cy="5049396"/>
            <a:chOff x="5772183" y="784514"/>
            <a:chExt cx="717314" cy="5049396"/>
          </a:xfrm>
          <a:effectLst>
            <a:outerShdw blurRad="50800" dist="38100" dir="5400000" algn="t" rotWithShape="0">
              <a:prstClr val="black">
                <a:alpha val="40000"/>
              </a:prstClr>
            </a:outerShdw>
          </a:effectLst>
        </p:grpSpPr>
        <p:grpSp>
          <p:nvGrpSpPr>
            <p:cNvPr id="16" name="Group 15">
              <a:extLst>
                <a:ext uri="{FF2B5EF4-FFF2-40B4-BE49-F238E27FC236}">
                  <a16:creationId xmlns:a16="http://schemas.microsoft.com/office/drawing/2014/main" id="{7083AC48-F29D-474C-B03B-BD556737251E}"/>
                </a:ext>
              </a:extLst>
            </p:cNvPr>
            <p:cNvGrpSpPr/>
            <p:nvPr/>
          </p:nvGrpSpPr>
          <p:grpSpPr>
            <a:xfrm>
              <a:off x="5772183" y="784514"/>
              <a:ext cx="703246" cy="99031"/>
              <a:chOff x="5772183" y="784514"/>
              <a:chExt cx="703246" cy="99031"/>
            </a:xfrm>
          </p:grpSpPr>
          <p:sp>
            <p:nvSpPr>
              <p:cNvPr id="13" name="Oval 12">
                <a:extLst>
                  <a:ext uri="{FF2B5EF4-FFF2-40B4-BE49-F238E27FC236}">
                    <a16:creationId xmlns:a16="http://schemas.microsoft.com/office/drawing/2014/main" id="{7C0C5BC9-033C-4E74-AC75-9EEA3423CEF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2CF74482-0721-4E4D-865B-85AC01A8B29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CE51A6AC-044C-4486-8025-8CFE52F31EF9}"/>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B88A290A-757F-4266-891F-1B12C105248D}"/>
                </a:ext>
              </a:extLst>
            </p:cNvPr>
            <p:cNvGrpSpPr/>
            <p:nvPr/>
          </p:nvGrpSpPr>
          <p:grpSpPr>
            <a:xfrm>
              <a:off x="5786251" y="1085906"/>
              <a:ext cx="703246" cy="4748004"/>
              <a:chOff x="5786251" y="1085906"/>
              <a:chExt cx="703246" cy="4748004"/>
            </a:xfrm>
          </p:grpSpPr>
          <p:grpSp>
            <p:nvGrpSpPr>
              <p:cNvPr id="17" name="Group 16">
                <a:extLst>
                  <a:ext uri="{FF2B5EF4-FFF2-40B4-BE49-F238E27FC236}">
                    <a16:creationId xmlns:a16="http://schemas.microsoft.com/office/drawing/2014/main" id="{6E8C30D7-3D0F-4E84-B3BD-EB23A0E7BDF5}"/>
                  </a:ext>
                </a:extLst>
              </p:cNvPr>
              <p:cNvGrpSpPr/>
              <p:nvPr/>
            </p:nvGrpSpPr>
            <p:grpSpPr>
              <a:xfrm>
                <a:off x="5786251" y="1085906"/>
                <a:ext cx="703246" cy="99031"/>
                <a:chOff x="5772183" y="784514"/>
                <a:chExt cx="703246" cy="99031"/>
              </a:xfrm>
            </p:grpSpPr>
            <p:sp>
              <p:nvSpPr>
                <p:cNvPr id="18" name="Oval 17">
                  <a:extLst>
                    <a:ext uri="{FF2B5EF4-FFF2-40B4-BE49-F238E27FC236}">
                      <a16:creationId xmlns:a16="http://schemas.microsoft.com/office/drawing/2014/main" id="{229D4F0D-9B2F-479E-B3FA-2A69B7DD0C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6A9C1A3-9268-46F2-9F79-0E15859118B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06BC3828-A6CC-4833-BE7A-1640A1A6901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F42A8CC2-9150-46F8-B41D-DC8E6CB9B121}"/>
                  </a:ext>
                </a:extLst>
              </p:cNvPr>
              <p:cNvGrpSpPr/>
              <p:nvPr/>
            </p:nvGrpSpPr>
            <p:grpSpPr>
              <a:xfrm>
                <a:off x="5786251" y="1359375"/>
                <a:ext cx="703246" cy="99031"/>
                <a:chOff x="5772183" y="784514"/>
                <a:chExt cx="703246" cy="99031"/>
              </a:xfrm>
            </p:grpSpPr>
            <p:sp>
              <p:nvSpPr>
                <p:cNvPr id="22" name="Oval 21">
                  <a:extLst>
                    <a:ext uri="{FF2B5EF4-FFF2-40B4-BE49-F238E27FC236}">
                      <a16:creationId xmlns:a16="http://schemas.microsoft.com/office/drawing/2014/main" id="{1B2D122F-9ED7-4761-BCB8-659B8193C67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D40D170-0540-4C45-8113-3F16E48265C1}"/>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F71E06F7-8770-44C4-AAC4-0BD07EFFAC5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F079EA5-CA68-4EAE-9AE0-8B9F054E1816}"/>
                  </a:ext>
                </a:extLst>
              </p:cNvPr>
              <p:cNvGrpSpPr/>
              <p:nvPr/>
            </p:nvGrpSpPr>
            <p:grpSpPr>
              <a:xfrm>
                <a:off x="5786251" y="1632844"/>
                <a:ext cx="703246" cy="99031"/>
                <a:chOff x="5772183" y="784514"/>
                <a:chExt cx="703246" cy="99031"/>
              </a:xfrm>
            </p:grpSpPr>
            <p:sp>
              <p:nvSpPr>
                <p:cNvPr id="26" name="Oval 25">
                  <a:extLst>
                    <a:ext uri="{FF2B5EF4-FFF2-40B4-BE49-F238E27FC236}">
                      <a16:creationId xmlns:a16="http://schemas.microsoft.com/office/drawing/2014/main" id="{C7B8A345-412B-4064-B951-81A37EBAC8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14A49EB-C283-427A-AF09-86907DA5F6C9}"/>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AB10A0AE-E505-4683-A947-6E977A4576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F619E5D5-847F-44A4-AAFD-AC2092EBF188}"/>
                  </a:ext>
                </a:extLst>
              </p:cNvPr>
              <p:cNvGrpSpPr/>
              <p:nvPr/>
            </p:nvGrpSpPr>
            <p:grpSpPr>
              <a:xfrm>
                <a:off x="5786251" y="1906313"/>
                <a:ext cx="703246" cy="99031"/>
                <a:chOff x="5772183" y="784514"/>
                <a:chExt cx="703246" cy="99031"/>
              </a:xfrm>
            </p:grpSpPr>
            <p:sp>
              <p:nvSpPr>
                <p:cNvPr id="30" name="Oval 29">
                  <a:extLst>
                    <a:ext uri="{FF2B5EF4-FFF2-40B4-BE49-F238E27FC236}">
                      <a16:creationId xmlns:a16="http://schemas.microsoft.com/office/drawing/2014/main" id="{56DA8E35-B9FC-46FB-BDAC-5D0F64D8CA5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EC121BE-4678-4D34-9D92-13A84BECD038}"/>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a:extLst>
                    <a:ext uri="{FF2B5EF4-FFF2-40B4-BE49-F238E27FC236}">
                      <a16:creationId xmlns:a16="http://schemas.microsoft.com/office/drawing/2014/main" id="{511A5AC4-02D8-4B10-8702-3150BBC473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2DB7D2B5-10A1-4F14-A298-866D381E0B82}"/>
                  </a:ext>
                </a:extLst>
              </p:cNvPr>
              <p:cNvGrpSpPr/>
              <p:nvPr/>
            </p:nvGrpSpPr>
            <p:grpSpPr>
              <a:xfrm>
                <a:off x="5786251" y="2179782"/>
                <a:ext cx="703246" cy="99031"/>
                <a:chOff x="5772183" y="784514"/>
                <a:chExt cx="703246" cy="99031"/>
              </a:xfrm>
            </p:grpSpPr>
            <p:sp>
              <p:nvSpPr>
                <p:cNvPr id="34" name="Oval 33">
                  <a:extLst>
                    <a:ext uri="{FF2B5EF4-FFF2-40B4-BE49-F238E27FC236}">
                      <a16:creationId xmlns:a16="http://schemas.microsoft.com/office/drawing/2014/main" id="{699255F7-A8A1-4F97-A980-2FDA5059608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026EC098-8A28-46DA-9580-257004AB49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9F65917F-B712-427F-8691-F2BE23650F24}"/>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925C3343-DDED-44EF-8547-F0F882EFAACF}"/>
                  </a:ext>
                </a:extLst>
              </p:cNvPr>
              <p:cNvGrpSpPr/>
              <p:nvPr/>
            </p:nvGrpSpPr>
            <p:grpSpPr>
              <a:xfrm>
                <a:off x="5786251" y="2453251"/>
                <a:ext cx="703246" cy="99031"/>
                <a:chOff x="5772183" y="784514"/>
                <a:chExt cx="703246" cy="99031"/>
              </a:xfrm>
            </p:grpSpPr>
            <p:sp>
              <p:nvSpPr>
                <p:cNvPr id="38" name="Oval 37">
                  <a:extLst>
                    <a:ext uri="{FF2B5EF4-FFF2-40B4-BE49-F238E27FC236}">
                      <a16:creationId xmlns:a16="http://schemas.microsoft.com/office/drawing/2014/main" id="{8263B869-699F-4C05-8041-ED7F28BF759C}"/>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3E633260-843E-4BEC-8B8F-E21700E7CB5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0CF12A6-94C3-4AF2-B82F-9689075A9A0E}"/>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EA8D3157-269F-4673-83F8-1B52721C8BDE}"/>
                  </a:ext>
                </a:extLst>
              </p:cNvPr>
              <p:cNvGrpSpPr/>
              <p:nvPr/>
            </p:nvGrpSpPr>
            <p:grpSpPr>
              <a:xfrm>
                <a:off x="5786251" y="2726720"/>
                <a:ext cx="703246" cy="99031"/>
                <a:chOff x="5772183" y="784514"/>
                <a:chExt cx="703246" cy="99031"/>
              </a:xfrm>
            </p:grpSpPr>
            <p:sp>
              <p:nvSpPr>
                <p:cNvPr id="42" name="Oval 41">
                  <a:extLst>
                    <a:ext uri="{FF2B5EF4-FFF2-40B4-BE49-F238E27FC236}">
                      <a16:creationId xmlns:a16="http://schemas.microsoft.com/office/drawing/2014/main" id="{BB4859AA-C91B-4512-90BD-AD7456E083D5}"/>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E8AF206B-AC95-4597-930C-58890211554C}"/>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5713328D-3155-4F4D-B73C-1A065E2D6A96}"/>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id="{05DDEDF6-96E8-42E2-A225-582D8DF5C850}"/>
                  </a:ext>
                </a:extLst>
              </p:cNvPr>
              <p:cNvGrpSpPr/>
              <p:nvPr/>
            </p:nvGrpSpPr>
            <p:grpSpPr>
              <a:xfrm>
                <a:off x="5786251" y="3000189"/>
                <a:ext cx="703246" cy="99031"/>
                <a:chOff x="5772183" y="784514"/>
                <a:chExt cx="703246" cy="99031"/>
              </a:xfrm>
            </p:grpSpPr>
            <p:sp>
              <p:nvSpPr>
                <p:cNvPr id="46" name="Oval 45">
                  <a:extLst>
                    <a:ext uri="{FF2B5EF4-FFF2-40B4-BE49-F238E27FC236}">
                      <a16:creationId xmlns:a16="http://schemas.microsoft.com/office/drawing/2014/main" id="{097D8FFC-DA7D-452F-9679-5866D589710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F82EE929-47A5-4605-9E8F-24727B1D86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Rounded Corners 47">
                  <a:extLst>
                    <a:ext uri="{FF2B5EF4-FFF2-40B4-BE49-F238E27FC236}">
                      <a16:creationId xmlns:a16="http://schemas.microsoft.com/office/drawing/2014/main" id="{E0F855A2-5E0F-40C0-83D5-56E313E340D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id="{45EB6991-130D-4817-B3C7-BFC0A2C58D4F}"/>
                  </a:ext>
                </a:extLst>
              </p:cNvPr>
              <p:cNvGrpSpPr/>
              <p:nvPr/>
            </p:nvGrpSpPr>
            <p:grpSpPr>
              <a:xfrm>
                <a:off x="5786251" y="3273658"/>
                <a:ext cx="703246" cy="99031"/>
                <a:chOff x="5772183" y="784514"/>
                <a:chExt cx="703246" cy="99031"/>
              </a:xfrm>
            </p:grpSpPr>
            <p:sp>
              <p:nvSpPr>
                <p:cNvPr id="50" name="Oval 49">
                  <a:extLst>
                    <a:ext uri="{FF2B5EF4-FFF2-40B4-BE49-F238E27FC236}">
                      <a16:creationId xmlns:a16="http://schemas.microsoft.com/office/drawing/2014/main" id="{8EE10D3C-3EEE-48F6-B575-0B6A3D24101E}"/>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0A36B39F-D831-4F8B-858D-4A986A1E35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AC33A827-4F29-4898-A6F5-2C7FB0120771}"/>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31587573-D46D-4D4F-B882-E0D1816A3F56}"/>
                  </a:ext>
                </a:extLst>
              </p:cNvPr>
              <p:cNvGrpSpPr/>
              <p:nvPr/>
            </p:nvGrpSpPr>
            <p:grpSpPr>
              <a:xfrm>
                <a:off x="5786251" y="3547127"/>
                <a:ext cx="703246" cy="99031"/>
                <a:chOff x="5772183" y="784514"/>
                <a:chExt cx="703246" cy="99031"/>
              </a:xfrm>
            </p:grpSpPr>
            <p:sp>
              <p:nvSpPr>
                <p:cNvPr id="54" name="Oval 53">
                  <a:extLst>
                    <a:ext uri="{FF2B5EF4-FFF2-40B4-BE49-F238E27FC236}">
                      <a16:creationId xmlns:a16="http://schemas.microsoft.com/office/drawing/2014/main" id="{91CE6A00-E8F0-4362-880D-7DABF30DA30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8BFD6C2-2DB6-4795-B830-DD39F0FAB84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FB076EA1-1F7F-41DA-8734-792E19483EA5}"/>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a:extLst>
                  <a:ext uri="{FF2B5EF4-FFF2-40B4-BE49-F238E27FC236}">
                    <a16:creationId xmlns:a16="http://schemas.microsoft.com/office/drawing/2014/main" id="{33B3DC1C-DF1A-4FC3-B178-32DDD4DBFEB9}"/>
                  </a:ext>
                </a:extLst>
              </p:cNvPr>
              <p:cNvGrpSpPr/>
              <p:nvPr/>
            </p:nvGrpSpPr>
            <p:grpSpPr>
              <a:xfrm>
                <a:off x="5786251" y="3820596"/>
                <a:ext cx="703246" cy="99031"/>
                <a:chOff x="5772183" y="784514"/>
                <a:chExt cx="703246" cy="99031"/>
              </a:xfrm>
            </p:grpSpPr>
            <p:sp>
              <p:nvSpPr>
                <p:cNvPr id="58" name="Oval 57">
                  <a:extLst>
                    <a:ext uri="{FF2B5EF4-FFF2-40B4-BE49-F238E27FC236}">
                      <a16:creationId xmlns:a16="http://schemas.microsoft.com/office/drawing/2014/main" id="{1D5A2429-69DF-44E0-9163-B770F4FDB6E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EA68E2B5-A909-4344-A56E-C452F4B8E66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EC8D3A18-41C1-4976-BAD6-DDD5D5CE7AB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C7479AE0-A201-499D-8779-6534410C2D2C}"/>
                  </a:ext>
                </a:extLst>
              </p:cNvPr>
              <p:cNvGrpSpPr/>
              <p:nvPr/>
            </p:nvGrpSpPr>
            <p:grpSpPr>
              <a:xfrm>
                <a:off x="5786251" y="4094065"/>
                <a:ext cx="703246" cy="99031"/>
                <a:chOff x="5772183" y="784514"/>
                <a:chExt cx="703246" cy="99031"/>
              </a:xfrm>
            </p:grpSpPr>
            <p:sp>
              <p:nvSpPr>
                <p:cNvPr id="62" name="Oval 61">
                  <a:extLst>
                    <a:ext uri="{FF2B5EF4-FFF2-40B4-BE49-F238E27FC236}">
                      <a16:creationId xmlns:a16="http://schemas.microsoft.com/office/drawing/2014/main" id="{A8477BBF-E12A-43E1-B7EC-2D46952A0B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1FE4722E-89FF-4789-91D4-920E097217EF}"/>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79701F66-4B93-43D1-9A8B-AC7C181048DF}"/>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EBE77565-1A6C-471E-A785-FCD4718B03C4}"/>
                  </a:ext>
                </a:extLst>
              </p:cNvPr>
              <p:cNvGrpSpPr/>
              <p:nvPr/>
            </p:nvGrpSpPr>
            <p:grpSpPr>
              <a:xfrm>
                <a:off x="5786251" y="4367534"/>
                <a:ext cx="703246" cy="99031"/>
                <a:chOff x="5772183" y="784514"/>
                <a:chExt cx="703246" cy="99031"/>
              </a:xfrm>
            </p:grpSpPr>
            <p:sp>
              <p:nvSpPr>
                <p:cNvPr id="66" name="Oval 65">
                  <a:extLst>
                    <a:ext uri="{FF2B5EF4-FFF2-40B4-BE49-F238E27FC236}">
                      <a16:creationId xmlns:a16="http://schemas.microsoft.com/office/drawing/2014/main" id="{4C22B865-7B00-494E-B7A1-4F3E1CBB686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87FD4322-1AE9-40A0-8FF6-216390BCFE66}"/>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B63B4880-230A-4965-9A13-D91DCF1F0F7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id="{08BA085B-FF23-4DA6-9717-7E613D962E06}"/>
                  </a:ext>
                </a:extLst>
              </p:cNvPr>
              <p:cNvGrpSpPr/>
              <p:nvPr/>
            </p:nvGrpSpPr>
            <p:grpSpPr>
              <a:xfrm>
                <a:off x="5786251" y="4641003"/>
                <a:ext cx="703246" cy="99031"/>
                <a:chOff x="5772183" y="784514"/>
                <a:chExt cx="703246" cy="99031"/>
              </a:xfrm>
            </p:grpSpPr>
            <p:sp>
              <p:nvSpPr>
                <p:cNvPr id="70" name="Oval 69">
                  <a:extLst>
                    <a:ext uri="{FF2B5EF4-FFF2-40B4-BE49-F238E27FC236}">
                      <a16:creationId xmlns:a16="http://schemas.microsoft.com/office/drawing/2014/main" id="{FABE7803-C897-4308-B0AE-CC1762AE46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A0B77336-AE90-48C7-8752-A4164B15717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EE08141D-36CE-412A-88E7-81FDA104169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72">
                <a:extLst>
                  <a:ext uri="{FF2B5EF4-FFF2-40B4-BE49-F238E27FC236}">
                    <a16:creationId xmlns:a16="http://schemas.microsoft.com/office/drawing/2014/main" id="{FD64D312-A581-4141-88B4-7D98B618A858}"/>
                  </a:ext>
                </a:extLst>
              </p:cNvPr>
              <p:cNvGrpSpPr/>
              <p:nvPr/>
            </p:nvGrpSpPr>
            <p:grpSpPr>
              <a:xfrm>
                <a:off x="5786251" y="4914472"/>
                <a:ext cx="703246" cy="99031"/>
                <a:chOff x="5772183" y="784514"/>
                <a:chExt cx="703246" cy="99031"/>
              </a:xfrm>
            </p:grpSpPr>
            <p:sp>
              <p:nvSpPr>
                <p:cNvPr id="74" name="Oval 73">
                  <a:extLst>
                    <a:ext uri="{FF2B5EF4-FFF2-40B4-BE49-F238E27FC236}">
                      <a16:creationId xmlns:a16="http://schemas.microsoft.com/office/drawing/2014/main" id="{DD042721-E23E-45AE-88DA-C3F2BFDC8E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A510B24-09E6-4493-AF86-74D41E858663}"/>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Rounded Corners 75">
                  <a:extLst>
                    <a:ext uri="{FF2B5EF4-FFF2-40B4-BE49-F238E27FC236}">
                      <a16:creationId xmlns:a16="http://schemas.microsoft.com/office/drawing/2014/main" id="{27A9774E-6D5E-4C7C-8676-D367E78003C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1D7B68A7-C497-4076-AF38-884C66AEE27C}"/>
                  </a:ext>
                </a:extLst>
              </p:cNvPr>
              <p:cNvGrpSpPr/>
              <p:nvPr/>
            </p:nvGrpSpPr>
            <p:grpSpPr>
              <a:xfrm>
                <a:off x="5786251" y="5187941"/>
                <a:ext cx="703246" cy="99031"/>
                <a:chOff x="5772183" y="784514"/>
                <a:chExt cx="703246" cy="99031"/>
              </a:xfrm>
            </p:grpSpPr>
            <p:sp>
              <p:nvSpPr>
                <p:cNvPr id="78" name="Oval 77">
                  <a:extLst>
                    <a:ext uri="{FF2B5EF4-FFF2-40B4-BE49-F238E27FC236}">
                      <a16:creationId xmlns:a16="http://schemas.microsoft.com/office/drawing/2014/main" id="{57A72422-6FE1-4EE8-8BCB-2229C55F558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606420FE-D661-4878-81EC-D6697945DFDE}"/>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Rounded Corners 79">
                  <a:extLst>
                    <a:ext uri="{FF2B5EF4-FFF2-40B4-BE49-F238E27FC236}">
                      <a16:creationId xmlns:a16="http://schemas.microsoft.com/office/drawing/2014/main" id="{9D809EEC-3D77-4E91-B99E-AC567C75AA4B}"/>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2E57B8A1-F6C4-465A-B727-35E9EEAE3828}"/>
                  </a:ext>
                </a:extLst>
              </p:cNvPr>
              <p:cNvGrpSpPr/>
              <p:nvPr/>
            </p:nvGrpSpPr>
            <p:grpSpPr>
              <a:xfrm>
                <a:off x="5786251" y="5461410"/>
                <a:ext cx="703246" cy="99031"/>
                <a:chOff x="5772183" y="784514"/>
                <a:chExt cx="703246" cy="99031"/>
              </a:xfrm>
            </p:grpSpPr>
            <p:sp>
              <p:nvSpPr>
                <p:cNvPr id="82" name="Oval 81">
                  <a:extLst>
                    <a:ext uri="{FF2B5EF4-FFF2-40B4-BE49-F238E27FC236}">
                      <a16:creationId xmlns:a16="http://schemas.microsoft.com/office/drawing/2014/main" id="{4AFF475F-A0AA-436A-A978-1B8962CD55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BB1B2212-D2F5-460C-89C5-0D97234B64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Rounded Corners 83">
                  <a:extLst>
                    <a:ext uri="{FF2B5EF4-FFF2-40B4-BE49-F238E27FC236}">
                      <a16:creationId xmlns:a16="http://schemas.microsoft.com/office/drawing/2014/main" id="{4178A7D8-7476-48AA-9D3B-21197308F683}"/>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D3461062-5FB6-41CC-835F-FCFA4A5A6DB3}"/>
                  </a:ext>
                </a:extLst>
              </p:cNvPr>
              <p:cNvGrpSpPr/>
              <p:nvPr/>
            </p:nvGrpSpPr>
            <p:grpSpPr>
              <a:xfrm>
                <a:off x="5786251" y="5734879"/>
                <a:ext cx="703246" cy="99031"/>
                <a:chOff x="5772183" y="784514"/>
                <a:chExt cx="703246" cy="99031"/>
              </a:xfrm>
            </p:grpSpPr>
            <p:sp>
              <p:nvSpPr>
                <p:cNvPr id="86" name="Oval 85">
                  <a:extLst>
                    <a:ext uri="{FF2B5EF4-FFF2-40B4-BE49-F238E27FC236}">
                      <a16:creationId xmlns:a16="http://schemas.microsoft.com/office/drawing/2014/main" id="{6221F8BB-6631-493D-9744-C6A1C0B8FF0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4CFB3B53-81EF-4434-AA54-1C5771D49E2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Rounded Corners 87">
                  <a:extLst>
                    <a:ext uri="{FF2B5EF4-FFF2-40B4-BE49-F238E27FC236}">
                      <a16:creationId xmlns:a16="http://schemas.microsoft.com/office/drawing/2014/main" id="{3E55D94F-6CDA-4C6F-B36E-A4773E51F9A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93" name="TextBox 92">
            <a:extLst>
              <a:ext uri="{FF2B5EF4-FFF2-40B4-BE49-F238E27FC236}">
                <a16:creationId xmlns:a16="http://schemas.microsoft.com/office/drawing/2014/main" id="{29D9BA1C-0267-4D06-9045-6E8DF59802A3}"/>
              </a:ext>
            </a:extLst>
          </p:cNvPr>
          <p:cNvSpPr txBox="1"/>
          <p:nvPr/>
        </p:nvSpPr>
        <p:spPr>
          <a:xfrm>
            <a:off x="1266094" y="682406"/>
            <a:ext cx="4199589" cy="3429144"/>
          </a:xfrm>
          <a:prstGeom prst="rect">
            <a:avLst/>
          </a:prstGeom>
          <a:noFill/>
        </p:spPr>
        <p:txBody>
          <a:bodyPr wrap="square" rtlCol="0">
            <a:spAutoFit/>
          </a:bodyPr>
          <a:lstStyle/>
          <a:p>
            <a:pPr marL="355600" marR="5080" indent="-342900">
              <a:spcBef>
                <a:spcPts val="105"/>
              </a:spcBef>
              <a:buSzPct val="90000"/>
              <a:buFont typeface="Courier New" panose="02070309020205020404" pitchFamily="49" charset="0"/>
              <a:buChar char="o"/>
              <a:tabLst>
                <a:tab pos="354965" algn="l"/>
                <a:tab pos="355600" algn="l"/>
              </a:tabLst>
            </a:pPr>
            <a:r>
              <a:rPr lang="en-US" spc="-100" dirty="0">
                <a:latin typeface="Bodoni MT" panose="02070603080606020203" pitchFamily="18" charset="0"/>
                <a:cs typeface="Calibri"/>
              </a:rPr>
              <a:t>Shall Device Appropriate Measures For The Management Of C&amp;D Waste And  The Recycled Products.</a:t>
            </a:r>
          </a:p>
          <a:p>
            <a:pPr marL="285750" indent="-285750">
              <a:spcBef>
                <a:spcPts val="5"/>
              </a:spcBef>
              <a:buFont typeface="Courier New" panose="02070309020205020404" pitchFamily="49" charset="0"/>
              <a:buChar char="o"/>
            </a:pPr>
            <a:endParaRPr lang="en-US" spc="-100" dirty="0">
              <a:latin typeface="Bodoni MT" panose="02070603080606020203" pitchFamily="18" charset="0"/>
              <a:cs typeface="Calibri"/>
            </a:endParaRPr>
          </a:p>
          <a:p>
            <a:pPr marL="355600" marR="5080" indent="-342900">
              <a:buSzPct val="90000"/>
              <a:buFont typeface="Courier New" panose="02070309020205020404" pitchFamily="49" charset="0"/>
              <a:buChar char="o"/>
              <a:tabLst>
                <a:tab pos="354965" algn="l"/>
                <a:tab pos="355600" algn="l"/>
                <a:tab pos="1073150" algn="l"/>
                <a:tab pos="1952625" algn="l"/>
                <a:tab pos="2303145" algn="l"/>
                <a:tab pos="3517900" algn="l"/>
                <a:tab pos="4461510" algn="l"/>
                <a:tab pos="4902200" algn="l"/>
                <a:tab pos="6412230" algn="l"/>
                <a:tab pos="7670165" algn="l"/>
              </a:tabLst>
            </a:pPr>
            <a:r>
              <a:rPr lang="en-US" spc="-100" dirty="0">
                <a:latin typeface="Bodoni MT" panose="02070603080606020203" pitchFamily="18" charset="0"/>
                <a:cs typeface="Calibri"/>
              </a:rPr>
              <a:t>Shall Create A Sustained System Of Information, Education And Communication For C &amp; d Waste.</a:t>
            </a:r>
          </a:p>
          <a:p>
            <a:pPr marL="285750" indent="-285750">
              <a:lnSpc>
                <a:spcPct val="100000"/>
              </a:lnSpc>
              <a:buFont typeface="Courier New" panose="02070309020205020404" pitchFamily="49" charset="0"/>
              <a:buChar char="o"/>
            </a:pPr>
            <a:endParaRPr lang="en-US" spc="-100" dirty="0">
              <a:latin typeface="Bodoni MT" panose="02070603080606020203" pitchFamily="18" charset="0"/>
              <a:cs typeface="Calibri"/>
            </a:endParaRPr>
          </a:p>
          <a:p>
            <a:pPr marL="355600" indent="-342900">
              <a:buSzPct val="90000"/>
              <a:buFont typeface="Courier New" panose="02070309020205020404" pitchFamily="49" charset="0"/>
              <a:buChar char="o"/>
              <a:tabLst>
                <a:tab pos="354965" algn="l"/>
                <a:tab pos="355600" algn="l"/>
              </a:tabLst>
            </a:pPr>
            <a:r>
              <a:rPr lang="en-US" spc="-100" dirty="0">
                <a:latin typeface="Bodoni MT" panose="02070603080606020203" pitchFamily="18" charset="0"/>
                <a:cs typeface="Calibri"/>
              </a:rPr>
              <a:t>Shall Make Provision For Giving Incentives For Use Of Material Made Out Of C &amp; D Waste.</a:t>
            </a:r>
          </a:p>
          <a:p>
            <a:pPr marL="412750" marR="5080" indent="-400050">
              <a:lnSpc>
                <a:spcPct val="100000"/>
              </a:lnSpc>
              <a:spcBef>
                <a:spcPts val="105"/>
              </a:spcBef>
              <a:buSzPct val="90000"/>
              <a:buFont typeface="Courier New" panose="02070309020205020404" pitchFamily="49" charset="0"/>
              <a:buChar char="o"/>
              <a:tabLst>
                <a:tab pos="355600" algn="l"/>
              </a:tabLst>
            </a:pPr>
            <a:endParaRPr lang="en-US" dirty="0">
              <a:latin typeface="Bodoni MT" panose="02070603080606020203" pitchFamily="18" charset="0"/>
            </a:endParaRPr>
          </a:p>
        </p:txBody>
      </p:sp>
    </p:spTree>
    <p:extLst>
      <p:ext uri="{BB962C8B-B14F-4D97-AF65-F5344CB8AC3E}">
        <p14:creationId xmlns:p14="http://schemas.microsoft.com/office/powerpoint/2010/main" val="7175825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5F3F1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D0D090-6B7C-4291-ADF9-5B763FEFC8B9}"/>
              </a:ext>
            </a:extLst>
          </p:cNvPr>
          <p:cNvSpPr/>
          <p:nvPr/>
        </p:nvSpPr>
        <p:spPr>
          <a:xfrm>
            <a:off x="1177552" y="417936"/>
            <a:ext cx="5064369" cy="6077243"/>
          </a:xfrm>
          <a:prstGeom prst="rect">
            <a:avLst/>
          </a:prstGeom>
          <a:solidFill>
            <a:srgbClr val="24201F"/>
          </a:solidFill>
          <a:ln>
            <a:noFill/>
          </a:ln>
          <a:effectLst>
            <a:outerShdw blurRad="50800" dist="1016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ight Triangle 7">
            <a:extLst>
              <a:ext uri="{FF2B5EF4-FFF2-40B4-BE49-F238E27FC236}">
                <a16:creationId xmlns:a16="http://schemas.microsoft.com/office/drawing/2014/main" id="{4E7CD148-78FB-471A-B5CC-7D2C980C36DF}"/>
              </a:ext>
            </a:extLst>
          </p:cNvPr>
          <p:cNvSpPr/>
          <p:nvPr/>
        </p:nvSpPr>
        <p:spPr>
          <a:xfrm flipV="1">
            <a:off x="1177552" y="422292"/>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ight Triangle 8">
            <a:extLst>
              <a:ext uri="{FF2B5EF4-FFF2-40B4-BE49-F238E27FC236}">
                <a16:creationId xmlns:a16="http://schemas.microsoft.com/office/drawing/2014/main" id="{A281906A-EEAF-4826-B085-D8FC8E11968D}"/>
              </a:ext>
            </a:extLst>
          </p:cNvPr>
          <p:cNvSpPr/>
          <p:nvPr/>
        </p:nvSpPr>
        <p:spPr>
          <a:xfrm>
            <a:off x="1177552" y="5951161"/>
            <a:ext cx="506436" cy="545122"/>
          </a:xfrm>
          <a:prstGeom prst="rtTriangle">
            <a:avLst/>
          </a:prstGeom>
          <a:gradFill flip="none" rotWithShape="1">
            <a:gsLst>
              <a:gs pos="0">
                <a:srgbClr val="5F3F1F"/>
              </a:gs>
              <a:gs pos="61000">
                <a:srgbClr val="996633"/>
              </a:gs>
              <a:gs pos="100000">
                <a:srgbClr val="5F3F1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ectangle 11">
            <a:extLst>
              <a:ext uri="{FF2B5EF4-FFF2-40B4-BE49-F238E27FC236}">
                <a16:creationId xmlns:a16="http://schemas.microsoft.com/office/drawing/2014/main" id="{517B4086-6155-47C5-9C6C-968FCF46B7B4}"/>
              </a:ext>
            </a:extLst>
          </p:cNvPr>
          <p:cNvSpPr/>
          <p:nvPr/>
        </p:nvSpPr>
        <p:spPr>
          <a:xfrm>
            <a:off x="6038432" y="650236"/>
            <a:ext cx="218385" cy="5573486"/>
          </a:xfrm>
          <a:prstGeom prst="rect">
            <a:avLst/>
          </a:prstGeom>
          <a:solidFill>
            <a:srgbClr val="E4D7B4">
              <a:alpha val="2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0" name="Group 89">
            <a:extLst>
              <a:ext uri="{FF2B5EF4-FFF2-40B4-BE49-F238E27FC236}">
                <a16:creationId xmlns:a16="http://schemas.microsoft.com/office/drawing/2014/main" id="{4F0CDE8A-B12E-40CB-BB4B-53F064AECBFB}"/>
              </a:ext>
            </a:extLst>
          </p:cNvPr>
          <p:cNvGrpSpPr/>
          <p:nvPr/>
        </p:nvGrpSpPr>
        <p:grpSpPr>
          <a:xfrm>
            <a:off x="6095999" y="868383"/>
            <a:ext cx="373171" cy="5049396"/>
            <a:chOff x="5772183" y="784514"/>
            <a:chExt cx="717314" cy="5049396"/>
          </a:xfrm>
          <a:effectLst>
            <a:outerShdw blurRad="50800" dist="38100" dir="5400000" algn="t" rotWithShape="0">
              <a:prstClr val="black">
                <a:alpha val="40000"/>
              </a:prstClr>
            </a:outerShdw>
          </a:effectLst>
        </p:grpSpPr>
        <p:grpSp>
          <p:nvGrpSpPr>
            <p:cNvPr id="16" name="Group 15">
              <a:extLst>
                <a:ext uri="{FF2B5EF4-FFF2-40B4-BE49-F238E27FC236}">
                  <a16:creationId xmlns:a16="http://schemas.microsoft.com/office/drawing/2014/main" id="{7083AC48-F29D-474C-B03B-BD556737251E}"/>
                </a:ext>
              </a:extLst>
            </p:cNvPr>
            <p:cNvGrpSpPr/>
            <p:nvPr/>
          </p:nvGrpSpPr>
          <p:grpSpPr>
            <a:xfrm>
              <a:off x="5772183" y="784514"/>
              <a:ext cx="703246" cy="99031"/>
              <a:chOff x="5772183" y="784514"/>
              <a:chExt cx="703246" cy="99031"/>
            </a:xfrm>
          </p:grpSpPr>
          <p:sp>
            <p:nvSpPr>
              <p:cNvPr id="13" name="Oval 12">
                <a:extLst>
                  <a:ext uri="{FF2B5EF4-FFF2-40B4-BE49-F238E27FC236}">
                    <a16:creationId xmlns:a16="http://schemas.microsoft.com/office/drawing/2014/main" id="{7C0C5BC9-033C-4E74-AC75-9EEA3423CEF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2CF74482-0721-4E4D-865B-85AC01A8B29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CE51A6AC-044C-4486-8025-8CFE52F31EF9}"/>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B88A290A-757F-4266-891F-1B12C105248D}"/>
                </a:ext>
              </a:extLst>
            </p:cNvPr>
            <p:cNvGrpSpPr/>
            <p:nvPr/>
          </p:nvGrpSpPr>
          <p:grpSpPr>
            <a:xfrm>
              <a:off x="5786251" y="1085906"/>
              <a:ext cx="703246" cy="4748004"/>
              <a:chOff x="5786251" y="1085906"/>
              <a:chExt cx="703246" cy="4748004"/>
            </a:xfrm>
          </p:grpSpPr>
          <p:grpSp>
            <p:nvGrpSpPr>
              <p:cNvPr id="17" name="Group 16">
                <a:extLst>
                  <a:ext uri="{FF2B5EF4-FFF2-40B4-BE49-F238E27FC236}">
                    <a16:creationId xmlns:a16="http://schemas.microsoft.com/office/drawing/2014/main" id="{6E8C30D7-3D0F-4E84-B3BD-EB23A0E7BDF5}"/>
                  </a:ext>
                </a:extLst>
              </p:cNvPr>
              <p:cNvGrpSpPr/>
              <p:nvPr/>
            </p:nvGrpSpPr>
            <p:grpSpPr>
              <a:xfrm>
                <a:off x="5786251" y="1085906"/>
                <a:ext cx="703246" cy="99031"/>
                <a:chOff x="5772183" y="784514"/>
                <a:chExt cx="703246" cy="99031"/>
              </a:xfrm>
            </p:grpSpPr>
            <p:sp>
              <p:nvSpPr>
                <p:cNvPr id="18" name="Oval 17">
                  <a:extLst>
                    <a:ext uri="{FF2B5EF4-FFF2-40B4-BE49-F238E27FC236}">
                      <a16:creationId xmlns:a16="http://schemas.microsoft.com/office/drawing/2014/main" id="{229D4F0D-9B2F-479E-B3FA-2A69B7DD0C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6A9C1A3-9268-46F2-9F79-0E15859118B0}"/>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06BC3828-A6CC-4833-BE7A-1640A1A6901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F42A8CC2-9150-46F8-B41D-DC8E6CB9B121}"/>
                  </a:ext>
                </a:extLst>
              </p:cNvPr>
              <p:cNvGrpSpPr/>
              <p:nvPr/>
            </p:nvGrpSpPr>
            <p:grpSpPr>
              <a:xfrm>
                <a:off x="5786251" y="1359375"/>
                <a:ext cx="703246" cy="99031"/>
                <a:chOff x="5772183" y="784514"/>
                <a:chExt cx="703246" cy="99031"/>
              </a:xfrm>
            </p:grpSpPr>
            <p:sp>
              <p:nvSpPr>
                <p:cNvPr id="22" name="Oval 21">
                  <a:extLst>
                    <a:ext uri="{FF2B5EF4-FFF2-40B4-BE49-F238E27FC236}">
                      <a16:creationId xmlns:a16="http://schemas.microsoft.com/office/drawing/2014/main" id="{1B2D122F-9ED7-4761-BCB8-659B8193C67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3D40D170-0540-4C45-8113-3F16E48265C1}"/>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F71E06F7-8770-44C4-AAC4-0BD07EFFAC5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F079EA5-CA68-4EAE-9AE0-8B9F054E1816}"/>
                  </a:ext>
                </a:extLst>
              </p:cNvPr>
              <p:cNvGrpSpPr/>
              <p:nvPr/>
            </p:nvGrpSpPr>
            <p:grpSpPr>
              <a:xfrm>
                <a:off x="5786251" y="1632844"/>
                <a:ext cx="703246" cy="99031"/>
                <a:chOff x="5772183" y="784514"/>
                <a:chExt cx="703246" cy="99031"/>
              </a:xfrm>
            </p:grpSpPr>
            <p:sp>
              <p:nvSpPr>
                <p:cNvPr id="26" name="Oval 25">
                  <a:extLst>
                    <a:ext uri="{FF2B5EF4-FFF2-40B4-BE49-F238E27FC236}">
                      <a16:creationId xmlns:a16="http://schemas.microsoft.com/office/drawing/2014/main" id="{C7B8A345-412B-4064-B951-81A37EBAC8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14A49EB-C283-427A-AF09-86907DA5F6C9}"/>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AB10A0AE-E505-4683-A947-6E977A4576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F619E5D5-847F-44A4-AAFD-AC2092EBF188}"/>
                  </a:ext>
                </a:extLst>
              </p:cNvPr>
              <p:cNvGrpSpPr/>
              <p:nvPr/>
            </p:nvGrpSpPr>
            <p:grpSpPr>
              <a:xfrm>
                <a:off x="5786251" y="1906313"/>
                <a:ext cx="703246" cy="99031"/>
                <a:chOff x="5772183" y="784514"/>
                <a:chExt cx="703246" cy="99031"/>
              </a:xfrm>
            </p:grpSpPr>
            <p:sp>
              <p:nvSpPr>
                <p:cNvPr id="30" name="Oval 29">
                  <a:extLst>
                    <a:ext uri="{FF2B5EF4-FFF2-40B4-BE49-F238E27FC236}">
                      <a16:creationId xmlns:a16="http://schemas.microsoft.com/office/drawing/2014/main" id="{56DA8E35-B9FC-46FB-BDAC-5D0F64D8CA5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EC121BE-4678-4D34-9D92-13A84BECD038}"/>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a:extLst>
                    <a:ext uri="{FF2B5EF4-FFF2-40B4-BE49-F238E27FC236}">
                      <a16:creationId xmlns:a16="http://schemas.microsoft.com/office/drawing/2014/main" id="{511A5AC4-02D8-4B10-8702-3150BBC47328}"/>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2DB7D2B5-10A1-4F14-A298-866D381E0B82}"/>
                  </a:ext>
                </a:extLst>
              </p:cNvPr>
              <p:cNvGrpSpPr/>
              <p:nvPr/>
            </p:nvGrpSpPr>
            <p:grpSpPr>
              <a:xfrm>
                <a:off x="5786251" y="2179782"/>
                <a:ext cx="703246" cy="99031"/>
                <a:chOff x="5772183" y="784514"/>
                <a:chExt cx="703246" cy="99031"/>
              </a:xfrm>
            </p:grpSpPr>
            <p:sp>
              <p:nvSpPr>
                <p:cNvPr id="34" name="Oval 33">
                  <a:extLst>
                    <a:ext uri="{FF2B5EF4-FFF2-40B4-BE49-F238E27FC236}">
                      <a16:creationId xmlns:a16="http://schemas.microsoft.com/office/drawing/2014/main" id="{699255F7-A8A1-4F97-A980-2FDA50596083}"/>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026EC098-8A28-46DA-9580-257004AB49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9F65917F-B712-427F-8691-F2BE23650F24}"/>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925C3343-DDED-44EF-8547-F0F882EFAACF}"/>
                  </a:ext>
                </a:extLst>
              </p:cNvPr>
              <p:cNvGrpSpPr/>
              <p:nvPr/>
            </p:nvGrpSpPr>
            <p:grpSpPr>
              <a:xfrm>
                <a:off x="5786251" y="2453251"/>
                <a:ext cx="703246" cy="99031"/>
                <a:chOff x="5772183" y="784514"/>
                <a:chExt cx="703246" cy="99031"/>
              </a:xfrm>
            </p:grpSpPr>
            <p:sp>
              <p:nvSpPr>
                <p:cNvPr id="38" name="Oval 37">
                  <a:extLst>
                    <a:ext uri="{FF2B5EF4-FFF2-40B4-BE49-F238E27FC236}">
                      <a16:creationId xmlns:a16="http://schemas.microsoft.com/office/drawing/2014/main" id="{8263B869-699F-4C05-8041-ED7F28BF759C}"/>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3E633260-843E-4BEC-8B8F-E21700E7CB5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Rounded Corners 39">
                  <a:extLst>
                    <a:ext uri="{FF2B5EF4-FFF2-40B4-BE49-F238E27FC236}">
                      <a16:creationId xmlns:a16="http://schemas.microsoft.com/office/drawing/2014/main" id="{A0CF12A6-94C3-4AF2-B82F-9689075A9A0E}"/>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EA8D3157-269F-4673-83F8-1B52721C8BDE}"/>
                  </a:ext>
                </a:extLst>
              </p:cNvPr>
              <p:cNvGrpSpPr/>
              <p:nvPr/>
            </p:nvGrpSpPr>
            <p:grpSpPr>
              <a:xfrm>
                <a:off x="5786251" y="2726720"/>
                <a:ext cx="703246" cy="99031"/>
                <a:chOff x="5772183" y="784514"/>
                <a:chExt cx="703246" cy="99031"/>
              </a:xfrm>
            </p:grpSpPr>
            <p:sp>
              <p:nvSpPr>
                <p:cNvPr id="42" name="Oval 41">
                  <a:extLst>
                    <a:ext uri="{FF2B5EF4-FFF2-40B4-BE49-F238E27FC236}">
                      <a16:creationId xmlns:a16="http://schemas.microsoft.com/office/drawing/2014/main" id="{BB4859AA-C91B-4512-90BD-AD7456E083D5}"/>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E8AF206B-AC95-4597-930C-58890211554C}"/>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Rounded Corners 43">
                  <a:extLst>
                    <a:ext uri="{FF2B5EF4-FFF2-40B4-BE49-F238E27FC236}">
                      <a16:creationId xmlns:a16="http://schemas.microsoft.com/office/drawing/2014/main" id="{5713328D-3155-4F4D-B73C-1A065E2D6A96}"/>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id="{05DDEDF6-96E8-42E2-A225-582D8DF5C850}"/>
                  </a:ext>
                </a:extLst>
              </p:cNvPr>
              <p:cNvGrpSpPr/>
              <p:nvPr/>
            </p:nvGrpSpPr>
            <p:grpSpPr>
              <a:xfrm>
                <a:off x="5786251" y="3000189"/>
                <a:ext cx="703246" cy="99031"/>
                <a:chOff x="5772183" y="784514"/>
                <a:chExt cx="703246" cy="99031"/>
              </a:xfrm>
            </p:grpSpPr>
            <p:sp>
              <p:nvSpPr>
                <p:cNvPr id="46" name="Oval 45">
                  <a:extLst>
                    <a:ext uri="{FF2B5EF4-FFF2-40B4-BE49-F238E27FC236}">
                      <a16:creationId xmlns:a16="http://schemas.microsoft.com/office/drawing/2014/main" id="{097D8FFC-DA7D-452F-9679-5866D589710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F82EE929-47A5-4605-9E8F-24727B1D86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Rounded Corners 47">
                  <a:extLst>
                    <a:ext uri="{FF2B5EF4-FFF2-40B4-BE49-F238E27FC236}">
                      <a16:creationId xmlns:a16="http://schemas.microsoft.com/office/drawing/2014/main" id="{E0F855A2-5E0F-40C0-83D5-56E313E340D0}"/>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id="{45EB6991-130D-4817-B3C7-BFC0A2C58D4F}"/>
                  </a:ext>
                </a:extLst>
              </p:cNvPr>
              <p:cNvGrpSpPr/>
              <p:nvPr/>
            </p:nvGrpSpPr>
            <p:grpSpPr>
              <a:xfrm>
                <a:off x="5786251" y="3273658"/>
                <a:ext cx="703246" cy="99031"/>
                <a:chOff x="5772183" y="784514"/>
                <a:chExt cx="703246" cy="99031"/>
              </a:xfrm>
            </p:grpSpPr>
            <p:sp>
              <p:nvSpPr>
                <p:cNvPr id="50" name="Oval 49">
                  <a:extLst>
                    <a:ext uri="{FF2B5EF4-FFF2-40B4-BE49-F238E27FC236}">
                      <a16:creationId xmlns:a16="http://schemas.microsoft.com/office/drawing/2014/main" id="{8EE10D3C-3EEE-48F6-B575-0B6A3D24101E}"/>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0A36B39F-D831-4F8B-858D-4A986A1E35D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AC33A827-4F29-4898-A6F5-2C7FB0120771}"/>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31587573-D46D-4D4F-B882-E0D1816A3F56}"/>
                  </a:ext>
                </a:extLst>
              </p:cNvPr>
              <p:cNvGrpSpPr/>
              <p:nvPr/>
            </p:nvGrpSpPr>
            <p:grpSpPr>
              <a:xfrm>
                <a:off x="5786251" y="3547127"/>
                <a:ext cx="703246" cy="99031"/>
                <a:chOff x="5772183" y="784514"/>
                <a:chExt cx="703246" cy="99031"/>
              </a:xfrm>
            </p:grpSpPr>
            <p:sp>
              <p:nvSpPr>
                <p:cNvPr id="54" name="Oval 53">
                  <a:extLst>
                    <a:ext uri="{FF2B5EF4-FFF2-40B4-BE49-F238E27FC236}">
                      <a16:creationId xmlns:a16="http://schemas.microsoft.com/office/drawing/2014/main" id="{91CE6A00-E8F0-4362-880D-7DABF30DA306}"/>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8BFD6C2-2DB6-4795-B830-DD39F0FAB84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FB076EA1-1F7F-41DA-8734-792E19483EA5}"/>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Group 56">
                <a:extLst>
                  <a:ext uri="{FF2B5EF4-FFF2-40B4-BE49-F238E27FC236}">
                    <a16:creationId xmlns:a16="http://schemas.microsoft.com/office/drawing/2014/main" id="{33B3DC1C-DF1A-4FC3-B178-32DDD4DBFEB9}"/>
                  </a:ext>
                </a:extLst>
              </p:cNvPr>
              <p:cNvGrpSpPr/>
              <p:nvPr/>
            </p:nvGrpSpPr>
            <p:grpSpPr>
              <a:xfrm>
                <a:off x="5786251" y="3820596"/>
                <a:ext cx="703246" cy="99031"/>
                <a:chOff x="5772183" y="784514"/>
                <a:chExt cx="703246" cy="99031"/>
              </a:xfrm>
            </p:grpSpPr>
            <p:sp>
              <p:nvSpPr>
                <p:cNvPr id="58" name="Oval 57">
                  <a:extLst>
                    <a:ext uri="{FF2B5EF4-FFF2-40B4-BE49-F238E27FC236}">
                      <a16:creationId xmlns:a16="http://schemas.microsoft.com/office/drawing/2014/main" id="{1D5A2429-69DF-44E0-9163-B770F4FDB6E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EA68E2B5-A909-4344-A56E-C452F4B8E66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EC8D3A18-41C1-4976-BAD6-DDD5D5CE7AB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C7479AE0-A201-499D-8779-6534410C2D2C}"/>
                  </a:ext>
                </a:extLst>
              </p:cNvPr>
              <p:cNvGrpSpPr/>
              <p:nvPr/>
            </p:nvGrpSpPr>
            <p:grpSpPr>
              <a:xfrm>
                <a:off x="5786251" y="4094065"/>
                <a:ext cx="703246" cy="99031"/>
                <a:chOff x="5772183" y="784514"/>
                <a:chExt cx="703246" cy="99031"/>
              </a:xfrm>
            </p:grpSpPr>
            <p:sp>
              <p:nvSpPr>
                <p:cNvPr id="62" name="Oval 61">
                  <a:extLst>
                    <a:ext uri="{FF2B5EF4-FFF2-40B4-BE49-F238E27FC236}">
                      <a16:creationId xmlns:a16="http://schemas.microsoft.com/office/drawing/2014/main" id="{A8477BBF-E12A-43E1-B7EC-2D46952A0BC2}"/>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1FE4722E-89FF-4789-91D4-920E097217EF}"/>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79701F66-4B93-43D1-9A8B-AC7C181048DF}"/>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a:extLst>
                  <a:ext uri="{FF2B5EF4-FFF2-40B4-BE49-F238E27FC236}">
                    <a16:creationId xmlns:a16="http://schemas.microsoft.com/office/drawing/2014/main" id="{EBE77565-1A6C-471E-A785-FCD4718B03C4}"/>
                  </a:ext>
                </a:extLst>
              </p:cNvPr>
              <p:cNvGrpSpPr/>
              <p:nvPr/>
            </p:nvGrpSpPr>
            <p:grpSpPr>
              <a:xfrm>
                <a:off x="5786251" y="4367534"/>
                <a:ext cx="703246" cy="99031"/>
                <a:chOff x="5772183" y="784514"/>
                <a:chExt cx="703246" cy="99031"/>
              </a:xfrm>
            </p:grpSpPr>
            <p:sp>
              <p:nvSpPr>
                <p:cNvPr id="66" name="Oval 65">
                  <a:extLst>
                    <a:ext uri="{FF2B5EF4-FFF2-40B4-BE49-F238E27FC236}">
                      <a16:creationId xmlns:a16="http://schemas.microsoft.com/office/drawing/2014/main" id="{4C22B865-7B00-494E-B7A1-4F3E1CBB686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87FD4322-1AE9-40A0-8FF6-216390BCFE66}"/>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B63B4880-230A-4965-9A13-D91DCF1F0F7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id="{08BA085B-FF23-4DA6-9717-7E613D962E06}"/>
                  </a:ext>
                </a:extLst>
              </p:cNvPr>
              <p:cNvGrpSpPr/>
              <p:nvPr/>
            </p:nvGrpSpPr>
            <p:grpSpPr>
              <a:xfrm>
                <a:off x="5786251" y="4641003"/>
                <a:ext cx="703246" cy="99031"/>
                <a:chOff x="5772183" y="784514"/>
                <a:chExt cx="703246" cy="99031"/>
              </a:xfrm>
            </p:grpSpPr>
            <p:sp>
              <p:nvSpPr>
                <p:cNvPr id="70" name="Oval 69">
                  <a:extLst>
                    <a:ext uri="{FF2B5EF4-FFF2-40B4-BE49-F238E27FC236}">
                      <a16:creationId xmlns:a16="http://schemas.microsoft.com/office/drawing/2014/main" id="{FABE7803-C897-4308-B0AE-CC1762AE46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A0B77336-AE90-48C7-8752-A4164B157175}"/>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EE08141D-36CE-412A-88E7-81FDA1041697}"/>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72">
                <a:extLst>
                  <a:ext uri="{FF2B5EF4-FFF2-40B4-BE49-F238E27FC236}">
                    <a16:creationId xmlns:a16="http://schemas.microsoft.com/office/drawing/2014/main" id="{FD64D312-A581-4141-88B4-7D98B618A858}"/>
                  </a:ext>
                </a:extLst>
              </p:cNvPr>
              <p:cNvGrpSpPr/>
              <p:nvPr/>
            </p:nvGrpSpPr>
            <p:grpSpPr>
              <a:xfrm>
                <a:off x="5786251" y="4914472"/>
                <a:ext cx="703246" cy="99031"/>
                <a:chOff x="5772183" y="784514"/>
                <a:chExt cx="703246" cy="99031"/>
              </a:xfrm>
            </p:grpSpPr>
            <p:sp>
              <p:nvSpPr>
                <p:cNvPr id="74" name="Oval 73">
                  <a:extLst>
                    <a:ext uri="{FF2B5EF4-FFF2-40B4-BE49-F238E27FC236}">
                      <a16:creationId xmlns:a16="http://schemas.microsoft.com/office/drawing/2014/main" id="{DD042721-E23E-45AE-88DA-C3F2BFDC8E90}"/>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A510B24-09E6-4493-AF86-74D41E858663}"/>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Rounded Corners 75">
                  <a:extLst>
                    <a:ext uri="{FF2B5EF4-FFF2-40B4-BE49-F238E27FC236}">
                      <a16:creationId xmlns:a16="http://schemas.microsoft.com/office/drawing/2014/main" id="{27A9774E-6D5E-4C7C-8676-D367E78003C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1D7B68A7-C497-4076-AF38-884C66AEE27C}"/>
                  </a:ext>
                </a:extLst>
              </p:cNvPr>
              <p:cNvGrpSpPr/>
              <p:nvPr/>
            </p:nvGrpSpPr>
            <p:grpSpPr>
              <a:xfrm>
                <a:off x="5786251" y="5187941"/>
                <a:ext cx="703246" cy="99031"/>
                <a:chOff x="5772183" y="784514"/>
                <a:chExt cx="703246" cy="99031"/>
              </a:xfrm>
            </p:grpSpPr>
            <p:sp>
              <p:nvSpPr>
                <p:cNvPr id="78" name="Oval 77">
                  <a:extLst>
                    <a:ext uri="{FF2B5EF4-FFF2-40B4-BE49-F238E27FC236}">
                      <a16:creationId xmlns:a16="http://schemas.microsoft.com/office/drawing/2014/main" id="{57A72422-6FE1-4EE8-8BCB-2229C55F5588}"/>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606420FE-D661-4878-81EC-D6697945DFDE}"/>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Rounded Corners 79">
                  <a:extLst>
                    <a:ext uri="{FF2B5EF4-FFF2-40B4-BE49-F238E27FC236}">
                      <a16:creationId xmlns:a16="http://schemas.microsoft.com/office/drawing/2014/main" id="{9D809EEC-3D77-4E91-B99E-AC567C75AA4B}"/>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2E57B8A1-F6C4-465A-B727-35E9EEAE3828}"/>
                  </a:ext>
                </a:extLst>
              </p:cNvPr>
              <p:cNvGrpSpPr/>
              <p:nvPr/>
            </p:nvGrpSpPr>
            <p:grpSpPr>
              <a:xfrm>
                <a:off x="5786251" y="5461410"/>
                <a:ext cx="703246" cy="99031"/>
                <a:chOff x="5772183" y="784514"/>
                <a:chExt cx="703246" cy="99031"/>
              </a:xfrm>
            </p:grpSpPr>
            <p:sp>
              <p:nvSpPr>
                <p:cNvPr id="82" name="Oval 81">
                  <a:extLst>
                    <a:ext uri="{FF2B5EF4-FFF2-40B4-BE49-F238E27FC236}">
                      <a16:creationId xmlns:a16="http://schemas.microsoft.com/office/drawing/2014/main" id="{4AFF475F-A0AA-436A-A978-1B8962CD55B9}"/>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BB1B2212-D2F5-460C-89C5-0D97234B6427}"/>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Rounded Corners 83">
                  <a:extLst>
                    <a:ext uri="{FF2B5EF4-FFF2-40B4-BE49-F238E27FC236}">
                      <a16:creationId xmlns:a16="http://schemas.microsoft.com/office/drawing/2014/main" id="{4178A7D8-7476-48AA-9D3B-21197308F683}"/>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D3461062-5FB6-41CC-835F-FCFA4A5A6DB3}"/>
                  </a:ext>
                </a:extLst>
              </p:cNvPr>
              <p:cNvGrpSpPr/>
              <p:nvPr/>
            </p:nvGrpSpPr>
            <p:grpSpPr>
              <a:xfrm>
                <a:off x="5786251" y="5734879"/>
                <a:ext cx="703246" cy="99031"/>
                <a:chOff x="5772183" y="784514"/>
                <a:chExt cx="703246" cy="99031"/>
              </a:xfrm>
            </p:grpSpPr>
            <p:sp>
              <p:nvSpPr>
                <p:cNvPr id="86" name="Oval 85">
                  <a:extLst>
                    <a:ext uri="{FF2B5EF4-FFF2-40B4-BE49-F238E27FC236}">
                      <a16:creationId xmlns:a16="http://schemas.microsoft.com/office/drawing/2014/main" id="{6221F8BB-6631-493D-9744-C6A1C0B8FF07}"/>
                    </a:ext>
                  </a:extLst>
                </p:cNvPr>
                <p:cNvSpPr/>
                <p:nvPr/>
              </p:nvSpPr>
              <p:spPr>
                <a:xfrm>
                  <a:off x="5772183"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4CFB3B53-81EF-4434-AA54-1C5771D49E22}"/>
                    </a:ext>
                  </a:extLst>
                </p:cNvPr>
                <p:cNvSpPr/>
                <p:nvPr/>
              </p:nvSpPr>
              <p:spPr>
                <a:xfrm>
                  <a:off x="6376398" y="784514"/>
                  <a:ext cx="99031" cy="990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Rounded Corners 87">
                  <a:extLst>
                    <a:ext uri="{FF2B5EF4-FFF2-40B4-BE49-F238E27FC236}">
                      <a16:creationId xmlns:a16="http://schemas.microsoft.com/office/drawing/2014/main" id="{3E55D94F-6CDA-4C6F-B36E-A4773E51F9AC}"/>
                    </a:ext>
                  </a:extLst>
                </p:cNvPr>
                <p:cNvSpPr/>
                <p:nvPr/>
              </p:nvSpPr>
              <p:spPr>
                <a:xfrm>
                  <a:off x="5818943" y="806107"/>
                  <a:ext cx="606970" cy="55843"/>
                </a:xfrm>
                <a:prstGeom prst="roundRect">
                  <a:avLst>
                    <a:gd name="adj" fmla="val 50000"/>
                  </a:avLst>
                </a:prstGeom>
                <a:gradFill>
                  <a:gsLst>
                    <a:gs pos="46000">
                      <a:schemeClr val="bg1"/>
                    </a:gs>
                    <a:gs pos="0">
                      <a:schemeClr val="bg1">
                        <a:lumMod val="50000"/>
                      </a:schemeClr>
                    </a:gs>
                    <a:gs pos="100000">
                      <a:schemeClr val="tx1">
                        <a:lumMod val="65000"/>
                        <a:lumOff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Tree>
    <p:extLst>
      <p:ext uri="{BB962C8B-B14F-4D97-AF65-F5344CB8AC3E}">
        <p14:creationId xmlns:p14="http://schemas.microsoft.com/office/powerpoint/2010/main" val="35831853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F784E-485C-46E9-A476-2051D18874E2}"/>
              </a:ext>
            </a:extLst>
          </p:cNvPr>
          <p:cNvSpPr>
            <a:spLocks noGrp="1"/>
          </p:cNvSpPr>
          <p:nvPr>
            <p:ph type="title"/>
          </p:nvPr>
        </p:nvSpPr>
        <p:spPr>
          <a:xfrm>
            <a:off x="369234" y="143874"/>
            <a:ext cx="10744200" cy="1096704"/>
          </a:xfrm>
        </p:spPr>
        <p:txBody>
          <a:bodyPr/>
          <a:lstStyle/>
          <a:p>
            <a:r>
              <a:rPr lang="en-US" sz="2400" dirty="0"/>
              <a:t>List Of Countries Practicing C And D Waste Recycling</a:t>
            </a:r>
            <a:r>
              <a:rPr lang="en-US" dirty="0"/>
              <a:t>.</a:t>
            </a:r>
            <a:br>
              <a:rPr lang="en-US" dirty="0"/>
            </a:br>
            <a:endParaRPr lang="en-US" dirty="0"/>
          </a:p>
        </p:txBody>
      </p:sp>
      <p:sp>
        <p:nvSpPr>
          <p:cNvPr id="831" name="Freeform 5">
            <a:extLst>
              <a:ext uri="{FF2B5EF4-FFF2-40B4-BE49-F238E27FC236}">
                <a16:creationId xmlns:a16="http://schemas.microsoft.com/office/drawing/2014/main" id="{C5D40F70-E3B5-42E4-A2C8-E63FCAB070E2}"/>
              </a:ext>
            </a:extLst>
          </p:cNvPr>
          <p:cNvSpPr>
            <a:spLocks/>
          </p:cNvSpPr>
          <p:nvPr/>
        </p:nvSpPr>
        <p:spPr bwMode="gray">
          <a:xfrm>
            <a:off x="3485133" y="1268280"/>
            <a:ext cx="1896775" cy="1419224"/>
          </a:xfrm>
          <a:custGeom>
            <a:avLst/>
            <a:gdLst>
              <a:gd name="T0" fmla="*/ 676 w 962"/>
              <a:gd name="T1" fmla="*/ 508 h 716"/>
              <a:gd name="T2" fmla="*/ 628 w 962"/>
              <a:gd name="T3" fmla="*/ 526 h 716"/>
              <a:gd name="T4" fmla="*/ 546 w 962"/>
              <a:gd name="T5" fmla="*/ 572 h 716"/>
              <a:gd name="T6" fmla="*/ 510 w 962"/>
              <a:gd name="T7" fmla="*/ 592 h 716"/>
              <a:gd name="T8" fmla="*/ 502 w 962"/>
              <a:gd name="T9" fmla="*/ 636 h 716"/>
              <a:gd name="T10" fmla="*/ 482 w 962"/>
              <a:gd name="T11" fmla="*/ 664 h 716"/>
              <a:gd name="T12" fmla="*/ 428 w 962"/>
              <a:gd name="T13" fmla="*/ 702 h 716"/>
              <a:gd name="T14" fmla="*/ 390 w 962"/>
              <a:gd name="T15" fmla="*/ 700 h 716"/>
              <a:gd name="T16" fmla="*/ 348 w 962"/>
              <a:gd name="T17" fmla="*/ 634 h 716"/>
              <a:gd name="T18" fmla="*/ 340 w 962"/>
              <a:gd name="T19" fmla="*/ 600 h 716"/>
              <a:gd name="T20" fmla="*/ 312 w 962"/>
              <a:gd name="T21" fmla="*/ 546 h 716"/>
              <a:gd name="T22" fmla="*/ 312 w 962"/>
              <a:gd name="T23" fmla="*/ 516 h 716"/>
              <a:gd name="T24" fmla="*/ 346 w 962"/>
              <a:gd name="T25" fmla="*/ 522 h 716"/>
              <a:gd name="T26" fmla="*/ 356 w 962"/>
              <a:gd name="T27" fmla="*/ 466 h 716"/>
              <a:gd name="T28" fmla="*/ 296 w 962"/>
              <a:gd name="T29" fmla="*/ 436 h 716"/>
              <a:gd name="T30" fmla="*/ 330 w 962"/>
              <a:gd name="T31" fmla="*/ 414 h 716"/>
              <a:gd name="T32" fmla="*/ 274 w 962"/>
              <a:gd name="T33" fmla="*/ 414 h 716"/>
              <a:gd name="T34" fmla="*/ 238 w 962"/>
              <a:gd name="T35" fmla="*/ 306 h 716"/>
              <a:gd name="T36" fmla="*/ 148 w 962"/>
              <a:gd name="T37" fmla="*/ 262 h 716"/>
              <a:gd name="T38" fmla="*/ 100 w 962"/>
              <a:gd name="T39" fmla="*/ 272 h 716"/>
              <a:gd name="T40" fmla="*/ 68 w 962"/>
              <a:gd name="T41" fmla="*/ 256 h 716"/>
              <a:gd name="T42" fmla="*/ 24 w 962"/>
              <a:gd name="T43" fmla="*/ 240 h 716"/>
              <a:gd name="T44" fmla="*/ 102 w 962"/>
              <a:gd name="T45" fmla="*/ 222 h 716"/>
              <a:gd name="T46" fmla="*/ 8 w 962"/>
              <a:gd name="T47" fmla="*/ 206 h 716"/>
              <a:gd name="T48" fmla="*/ 58 w 962"/>
              <a:gd name="T49" fmla="*/ 180 h 716"/>
              <a:gd name="T50" fmla="*/ 124 w 962"/>
              <a:gd name="T51" fmla="*/ 134 h 716"/>
              <a:gd name="T52" fmla="*/ 128 w 962"/>
              <a:gd name="T53" fmla="*/ 102 h 716"/>
              <a:gd name="T54" fmla="*/ 182 w 962"/>
              <a:gd name="T55" fmla="*/ 70 h 716"/>
              <a:gd name="T56" fmla="*/ 230 w 962"/>
              <a:gd name="T57" fmla="*/ 68 h 716"/>
              <a:gd name="T58" fmla="*/ 296 w 962"/>
              <a:gd name="T59" fmla="*/ 50 h 716"/>
              <a:gd name="T60" fmla="*/ 344 w 962"/>
              <a:gd name="T61" fmla="*/ 66 h 716"/>
              <a:gd name="T62" fmla="*/ 374 w 962"/>
              <a:gd name="T63" fmla="*/ 44 h 716"/>
              <a:gd name="T64" fmla="*/ 400 w 962"/>
              <a:gd name="T65" fmla="*/ 40 h 716"/>
              <a:gd name="T66" fmla="*/ 478 w 962"/>
              <a:gd name="T67" fmla="*/ 14 h 716"/>
              <a:gd name="T68" fmla="*/ 618 w 962"/>
              <a:gd name="T69" fmla="*/ 0 h 716"/>
              <a:gd name="T70" fmla="*/ 756 w 962"/>
              <a:gd name="T71" fmla="*/ 18 h 716"/>
              <a:gd name="T72" fmla="*/ 738 w 962"/>
              <a:gd name="T73" fmla="*/ 56 h 716"/>
              <a:gd name="T74" fmla="*/ 754 w 962"/>
              <a:gd name="T75" fmla="*/ 66 h 716"/>
              <a:gd name="T76" fmla="*/ 760 w 962"/>
              <a:gd name="T77" fmla="*/ 76 h 716"/>
              <a:gd name="T78" fmla="*/ 806 w 962"/>
              <a:gd name="T79" fmla="*/ 66 h 716"/>
              <a:gd name="T80" fmla="*/ 792 w 962"/>
              <a:gd name="T81" fmla="*/ 102 h 716"/>
              <a:gd name="T82" fmla="*/ 884 w 962"/>
              <a:gd name="T83" fmla="*/ 68 h 716"/>
              <a:gd name="T84" fmla="*/ 948 w 962"/>
              <a:gd name="T85" fmla="*/ 90 h 716"/>
              <a:gd name="T86" fmla="*/ 872 w 962"/>
              <a:gd name="T87" fmla="*/ 110 h 716"/>
              <a:gd name="T88" fmla="*/ 888 w 962"/>
              <a:gd name="T89" fmla="*/ 130 h 716"/>
              <a:gd name="T90" fmla="*/ 866 w 962"/>
              <a:gd name="T91" fmla="*/ 138 h 716"/>
              <a:gd name="T92" fmla="*/ 842 w 962"/>
              <a:gd name="T93" fmla="*/ 170 h 716"/>
              <a:gd name="T94" fmla="*/ 848 w 962"/>
              <a:gd name="T95" fmla="*/ 212 h 716"/>
              <a:gd name="T96" fmla="*/ 840 w 962"/>
              <a:gd name="T97" fmla="*/ 228 h 716"/>
              <a:gd name="T98" fmla="*/ 860 w 962"/>
              <a:gd name="T99" fmla="*/ 258 h 716"/>
              <a:gd name="T100" fmla="*/ 814 w 962"/>
              <a:gd name="T101" fmla="*/ 248 h 716"/>
              <a:gd name="T102" fmla="*/ 848 w 962"/>
              <a:gd name="T103" fmla="*/ 296 h 716"/>
              <a:gd name="T104" fmla="*/ 850 w 962"/>
              <a:gd name="T105" fmla="*/ 324 h 716"/>
              <a:gd name="T106" fmla="*/ 830 w 962"/>
              <a:gd name="T107" fmla="*/ 350 h 716"/>
              <a:gd name="T108" fmla="*/ 756 w 962"/>
              <a:gd name="T109" fmla="*/ 360 h 716"/>
              <a:gd name="T110" fmla="*/ 800 w 962"/>
              <a:gd name="T111" fmla="*/ 400 h 716"/>
              <a:gd name="T112" fmla="*/ 804 w 962"/>
              <a:gd name="T113" fmla="*/ 410 h 716"/>
              <a:gd name="T114" fmla="*/ 756 w 962"/>
              <a:gd name="T115" fmla="*/ 416 h 716"/>
              <a:gd name="T116" fmla="*/ 778 w 962"/>
              <a:gd name="T117" fmla="*/ 45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2" h="716">
                <a:moveTo>
                  <a:pt x="790" y="462"/>
                </a:moveTo>
                <a:lnTo>
                  <a:pt x="752" y="484"/>
                </a:lnTo>
                <a:lnTo>
                  <a:pt x="736" y="496"/>
                </a:lnTo>
                <a:lnTo>
                  <a:pt x="676" y="508"/>
                </a:lnTo>
                <a:lnTo>
                  <a:pt x="658" y="512"/>
                </a:lnTo>
                <a:lnTo>
                  <a:pt x="646" y="506"/>
                </a:lnTo>
                <a:lnTo>
                  <a:pt x="642" y="514"/>
                </a:lnTo>
                <a:lnTo>
                  <a:pt x="628" y="526"/>
                </a:lnTo>
                <a:lnTo>
                  <a:pt x="608" y="552"/>
                </a:lnTo>
                <a:lnTo>
                  <a:pt x="582" y="564"/>
                </a:lnTo>
                <a:lnTo>
                  <a:pt x="560" y="572"/>
                </a:lnTo>
                <a:lnTo>
                  <a:pt x="546" y="572"/>
                </a:lnTo>
                <a:lnTo>
                  <a:pt x="524" y="576"/>
                </a:lnTo>
                <a:lnTo>
                  <a:pt x="518" y="582"/>
                </a:lnTo>
                <a:lnTo>
                  <a:pt x="518" y="588"/>
                </a:lnTo>
                <a:lnTo>
                  <a:pt x="510" y="592"/>
                </a:lnTo>
                <a:lnTo>
                  <a:pt x="512" y="606"/>
                </a:lnTo>
                <a:lnTo>
                  <a:pt x="504" y="612"/>
                </a:lnTo>
                <a:lnTo>
                  <a:pt x="508" y="620"/>
                </a:lnTo>
                <a:lnTo>
                  <a:pt x="502" y="636"/>
                </a:lnTo>
                <a:lnTo>
                  <a:pt x="486" y="648"/>
                </a:lnTo>
                <a:lnTo>
                  <a:pt x="474" y="650"/>
                </a:lnTo>
                <a:lnTo>
                  <a:pt x="480" y="658"/>
                </a:lnTo>
                <a:lnTo>
                  <a:pt x="482" y="664"/>
                </a:lnTo>
                <a:lnTo>
                  <a:pt x="476" y="686"/>
                </a:lnTo>
                <a:lnTo>
                  <a:pt x="462" y="716"/>
                </a:lnTo>
                <a:lnTo>
                  <a:pt x="444" y="714"/>
                </a:lnTo>
                <a:lnTo>
                  <a:pt x="428" y="702"/>
                </a:lnTo>
                <a:lnTo>
                  <a:pt x="426" y="690"/>
                </a:lnTo>
                <a:lnTo>
                  <a:pt x="416" y="694"/>
                </a:lnTo>
                <a:lnTo>
                  <a:pt x="406" y="694"/>
                </a:lnTo>
                <a:lnTo>
                  <a:pt x="390" y="700"/>
                </a:lnTo>
                <a:lnTo>
                  <a:pt x="374" y="672"/>
                </a:lnTo>
                <a:lnTo>
                  <a:pt x="356" y="654"/>
                </a:lnTo>
                <a:lnTo>
                  <a:pt x="362" y="644"/>
                </a:lnTo>
                <a:lnTo>
                  <a:pt x="348" y="634"/>
                </a:lnTo>
                <a:lnTo>
                  <a:pt x="348" y="618"/>
                </a:lnTo>
                <a:lnTo>
                  <a:pt x="360" y="604"/>
                </a:lnTo>
                <a:lnTo>
                  <a:pt x="354" y="594"/>
                </a:lnTo>
                <a:lnTo>
                  <a:pt x="340" y="600"/>
                </a:lnTo>
                <a:lnTo>
                  <a:pt x="324" y="588"/>
                </a:lnTo>
                <a:lnTo>
                  <a:pt x="312" y="572"/>
                </a:lnTo>
                <a:lnTo>
                  <a:pt x="304" y="560"/>
                </a:lnTo>
                <a:lnTo>
                  <a:pt x="312" y="546"/>
                </a:lnTo>
                <a:lnTo>
                  <a:pt x="316" y="540"/>
                </a:lnTo>
                <a:lnTo>
                  <a:pt x="304" y="540"/>
                </a:lnTo>
                <a:lnTo>
                  <a:pt x="302" y="528"/>
                </a:lnTo>
                <a:lnTo>
                  <a:pt x="312" y="516"/>
                </a:lnTo>
                <a:lnTo>
                  <a:pt x="318" y="516"/>
                </a:lnTo>
                <a:lnTo>
                  <a:pt x="336" y="520"/>
                </a:lnTo>
                <a:lnTo>
                  <a:pt x="342" y="522"/>
                </a:lnTo>
                <a:lnTo>
                  <a:pt x="346" y="522"/>
                </a:lnTo>
                <a:lnTo>
                  <a:pt x="348" y="520"/>
                </a:lnTo>
                <a:lnTo>
                  <a:pt x="344" y="500"/>
                </a:lnTo>
                <a:lnTo>
                  <a:pt x="344" y="478"/>
                </a:lnTo>
                <a:lnTo>
                  <a:pt x="356" y="466"/>
                </a:lnTo>
                <a:lnTo>
                  <a:pt x="352" y="456"/>
                </a:lnTo>
                <a:lnTo>
                  <a:pt x="330" y="456"/>
                </a:lnTo>
                <a:lnTo>
                  <a:pt x="310" y="444"/>
                </a:lnTo>
                <a:lnTo>
                  <a:pt x="296" y="436"/>
                </a:lnTo>
                <a:lnTo>
                  <a:pt x="318" y="434"/>
                </a:lnTo>
                <a:lnTo>
                  <a:pt x="342" y="442"/>
                </a:lnTo>
                <a:lnTo>
                  <a:pt x="344" y="430"/>
                </a:lnTo>
                <a:lnTo>
                  <a:pt x="330" y="414"/>
                </a:lnTo>
                <a:lnTo>
                  <a:pt x="320" y="410"/>
                </a:lnTo>
                <a:lnTo>
                  <a:pt x="304" y="400"/>
                </a:lnTo>
                <a:lnTo>
                  <a:pt x="296" y="412"/>
                </a:lnTo>
                <a:lnTo>
                  <a:pt x="274" y="414"/>
                </a:lnTo>
                <a:lnTo>
                  <a:pt x="274" y="398"/>
                </a:lnTo>
                <a:lnTo>
                  <a:pt x="288" y="378"/>
                </a:lnTo>
                <a:lnTo>
                  <a:pt x="264" y="332"/>
                </a:lnTo>
                <a:lnTo>
                  <a:pt x="238" y="306"/>
                </a:lnTo>
                <a:lnTo>
                  <a:pt x="228" y="294"/>
                </a:lnTo>
                <a:lnTo>
                  <a:pt x="226" y="284"/>
                </a:lnTo>
                <a:lnTo>
                  <a:pt x="196" y="274"/>
                </a:lnTo>
                <a:lnTo>
                  <a:pt x="148" y="262"/>
                </a:lnTo>
                <a:lnTo>
                  <a:pt x="138" y="266"/>
                </a:lnTo>
                <a:lnTo>
                  <a:pt x="118" y="274"/>
                </a:lnTo>
                <a:lnTo>
                  <a:pt x="106" y="264"/>
                </a:lnTo>
                <a:lnTo>
                  <a:pt x="100" y="272"/>
                </a:lnTo>
                <a:lnTo>
                  <a:pt x="94" y="276"/>
                </a:lnTo>
                <a:lnTo>
                  <a:pt x="76" y="272"/>
                </a:lnTo>
                <a:lnTo>
                  <a:pt x="52" y="262"/>
                </a:lnTo>
                <a:lnTo>
                  <a:pt x="68" y="256"/>
                </a:lnTo>
                <a:lnTo>
                  <a:pt x="76" y="252"/>
                </a:lnTo>
                <a:lnTo>
                  <a:pt x="62" y="250"/>
                </a:lnTo>
                <a:lnTo>
                  <a:pt x="42" y="250"/>
                </a:lnTo>
                <a:lnTo>
                  <a:pt x="24" y="240"/>
                </a:lnTo>
                <a:lnTo>
                  <a:pt x="30" y="234"/>
                </a:lnTo>
                <a:lnTo>
                  <a:pt x="60" y="234"/>
                </a:lnTo>
                <a:lnTo>
                  <a:pt x="100" y="230"/>
                </a:lnTo>
                <a:lnTo>
                  <a:pt x="102" y="222"/>
                </a:lnTo>
                <a:lnTo>
                  <a:pt x="84" y="222"/>
                </a:lnTo>
                <a:lnTo>
                  <a:pt x="62" y="224"/>
                </a:lnTo>
                <a:lnTo>
                  <a:pt x="40" y="220"/>
                </a:lnTo>
                <a:lnTo>
                  <a:pt x="8" y="206"/>
                </a:lnTo>
                <a:lnTo>
                  <a:pt x="0" y="196"/>
                </a:lnTo>
                <a:lnTo>
                  <a:pt x="8" y="188"/>
                </a:lnTo>
                <a:lnTo>
                  <a:pt x="32" y="184"/>
                </a:lnTo>
                <a:lnTo>
                  <a:pt x="58" y="180"/>
                </a:lnTo>
                <a:lnTo>
                  <a:pt x="76" y="170"/>
                </a:lnTo>
                <a:lnTo>
                  <a:pt x="106" y="170"/>
                </a:lnTo>
                <a:lnTo>
                  <a:pt x="122" y="156"/>
                </a:lnTo>
                <a:lnTo>
                  <a:pt x="124" y="134"/>
                </a:lnTo>
                <a:lnTo>
                  <a:pt x="112" y="140"/>
                </a:lnTo>
                <a:lnTo>
                  <a:pt x="82" y="128"/>
                </a:lnTo>
                <a:lnTo>
                  <a:pt x="102" y="114"/>
                </a:lnTo>
                <a:lnTo>
                  <a:pt x="128" y="102"/>
                </a:lnTo>
                <a:lnTo>
                  <a:pt x="160" y="92"/>
                </a:lnTo>
                <a:lnTo>
                  <a:pt x="184" y="100"/>
                </a:lnTo>
                <a:lnTo>
                  <a:pt x="190" y="80"/>
                </a:lnTo>
                <a:lnTo>
                  <a:pt x="182" y="70"/>
                </a:lnTo>
                <a:lnTo>
                  <a:pt x="212" y="66"/>
                </a:lnTo>
                <a:lnTo>
                  <a:pt x="222" y="76"/>
                </a:lnTo>
                <a:lnTo>
                  <a:pt x="238" y="80"/>
                </a:lnTo>
                <a:lnTo>
                  <a:pt x="230" y="68"/>
                </a:lnTo>
                <a:lnTo>
                  <a:pt x="226" y="62"/>
                </a:lnTo>
                <a:lnTo>
                  <a:pt x="224" y="60"/>
                </a:lnTo>
                <a:lnTo>
                  <a:pt x="224" y="58"/>
                </a:lnTo>
                <a:lnTo>
                  <a:pt x="296" y="50"/>
                </a:lnTo>
                <a:lnTo>
                  <a:pt x="304" y="70"/>
                </a:lnTo>
                <a:lnTo>
                  <a:pt x="316" y="66"/>
                </a:lnTo>
                <a:lnTo>
                  <a:pt x="312" y="48"/>
                </a:lnTo>
                <a:lnTo>
                  <a:pt x="344" y="66"/>
                </a:lnTo>
                <a:lnTo>
                  <a:pt x="366" y="66"/>
                </a:lnTo>
                <a:lnTo>
                  <a:pt x="350" y="56"/>
                </a:lnTo>
                <a:lnTo>
                  <a:pt x="358" y="44"/>
                </a:lnTo>
                <a:lnTo>
                  <a:pt x="374" y="44"/>
                </a:lnTo>
                <a:lnTo>
                  <a:pt x="404" y="56"/>
                </a:lnTo>
                <a:lnTo>
                  <a:pt x="442" y="74"/>
                </a:lnTo>
                <a:lnTo>
                  <a:pt x="450" y="68"/>
                </a:lnTo>
                <a:lnTo>
                  <a:pt x="400" y="40"/>
                </a:lnTo>
                <a:lnTo>
                  <a:pt x="422" y="34"/>
                </a:lnTo>
                <a:lnTo>
                  <a:pt x="424" y="24"/>
                </a:lnTo>
                <a:lnTo>
                  <a:pt x="450" y="16"/>
                </a:lnTo>
                <a:lnTo>
                  <a:pt x="478" y="14"/>
                </a:lnTo>
                <a:lnTo>
                  <a:pt x="510" y="18"/>
                </a:lnTo>
                <a:lnTo>
                  <a:pt x="534" y="16"/>
                </a:lnTo>
                <a:lnTo>
                  <a:pt x="562" y="4"/>
                </a:lnTo>
                <a:lnTo>
                  <a:pt x="618" y="0"/>
                </a:lnTo>
                <a:lnTo>
                  <a:pt x="680" y="0"/>
                </a:lnTo>
                <a:lnTo>
                  <a:pt x="716" y="4"/>
                </a:lnTo>
                <a:lnTo>
                  <a:pt x="746" y="12"/>
                </a:lnTo>
                <a:lnTo>
                  <a:pt x="756" y="18"/>
                </a:lnTo>
                <a:lnTo>
                  <a:pt x="760" y="24"/>
                </a:lnTo>
                <a:lnTo>
                  <a:pt x="814" y="38"/>
                </a:lnTo>
                <a:lnTo>
                  <a:pt x="800" y="48"/>
                </a:lnTo>
                <a:lnTo>
                  <a:pt x="738" y="56"/>
                </a:lnTo>
                <a:lnTo>
                  <a:pt x="676" y="58"/>
                </a:lnTo>
                <a:lnTo>
                  <a:pt x="668" y="70"/>
                </a:lnTo>
                <a:lnTo>
                  <a:pt x="694" y="64"/>
                </a:lnTo>
                <a:lnTo>
                  <a:pt x="754" y="66"/>
                </a:lnTo>
                <a:lnTo>
                  <a:pt x="740" y="76"/>
                </a:lnTo>
                <a:lnTo>
                  <a:pt x="726" y="80"/>
                </a:lnTo>
                <a:lnTo>
                  <a:pt x="734" y="82"/>
                </a:lnTo>
                <a:lnTo>
                  <a:pt x="760" y="76"/>
                </a:lnTo>
                <a:lnTo>
                  <a:pt x="774" y="68"/>
                </a:lnTo>
                <a:lnTo>
                  <a:pt x="782" y="58"/>
                </a:lnTo>
                <a:lnTo>
                  <a:pt x="800" y="58"/>
                </a:lnTo>
                <a:lnTo>
                  <a:pt x="806" y="66"/>
                </a:lnTo>
                <a:lnTo>
                  <a:pt x="806" y="82"/>
                </a:lnTo>
                <a:lnTo>
                  <a:pt x="774" y="104"/>
                </a:lnTo>
                <a:lnTo>
                  <a:pt x="770" y="114"/>
                </a:lnTo>
                <a:lnTo>
                  <a:pt x="792" y="102"/>
                </a:lnTo>
                <a:lnTo>
                  <a:pt x="820" y="86"/>
                </a:lnTo>
                <a:lnTo>
                  <a:pt x="836" y="74"/>
                </a:lnTo>
                <a:lnTo>
                  <a:pt x="868" y="84"/>
                </a:lnTo>
                <a:lnTo>
                  <a:pt x="884" y="68"/>
                </a:lnTo>
                <a:lnTo>
                  <a:pt x="914" y="66"/>
                </a:lnTo>
                <a:lnTo>
                  <a:pt x="946" y="70"/>
                </a:lnTo>
                <a:lnTo>
                  <a:pt x="962" y="80"/>
                </a:lnTo>
                <a:lnTo>
                  <a:pt x="948" y="90"/>
                </a:lnTo>
                <a:lnTo>
                  <a:pt x="922" y="98"/>
                </a:lnTo>
                <a:lnTo>
                  <a:pt x="916" y="106"/>
                </a:lnTo>
                <a:lnTo>
                  <a:pt x="906" y="110"/>
                </a:lnTo>
                <a:lnTo>
                  <a:pt x="872" y="110"/>
                </a:lnTo>
                <a:lnTo>
                  <a:pt x="852" y="116"/>
                </a:lnTo>
                <a:lnTo>
                  <a:pt x="870" y="120"/>
                </a:lnTo>
                <a:lnTo>
                  <a:pt x="896" y="122"/>
                </a:lnTo>
                <a:lnTo>
                  <a:pt x="888" y="130"/>
                </a:lnTo>
                <a:lnTo>
                  <a:pt x="850" y="128"/>
                </a:lnTo>
                <a:lnTo>
                  <a:pt x="832" y="132"/>
                </a:lnTo>
                <a:lnTo>
                  <a:pt x="840" y="140"/>
                </a:lnTo>
                <a:lnTo>
                  <a:pt x="866" y="138"/>
                </a:lnTo>
                <a:lnTo>
                  <a:pt x="876" y="138"/>
                </a:lnTo>
                <a:lnTo>
                  <a:pt x="868" y="146"/>
                </a:lnTo>
                <a:lnTo>
                  <a:pt x="844" y="152"/>
                </a:lnTo>
                <a:lnTo>
                  <a:pt x="842" y="170"/>
                </a:lnTo>
                <a:lnTo>
                  <a:pt x="822" y="180"/>
                </a:lnTo>
                <a:lnTo>
                  <a:pt x="812" y="208"/>
                </a:lnTo>
                <a:lnTo>
                  <a:pt x="822" y="210"/>
                </a:lnTo>
                <a:lnTo>
                  <a:pt x="848" y="212"/>
                </a:lnTo>
                <a:lnTo>
                  <a:pt x="836" y="220"/>
                </a:lnTo>
                <a:lnTo>
                  <a:pt x="836" y="224"/>
                </a:lnTo>
                <a:lnTo>
                  <a:pt x="838" y="226"/>
                </a:lnTo>
                <a:lnTo>
                  <a:pt x="840" y="228"/>
                </a:lnTo>
                <a:lnTo>
                  <a:pt x="854" y="234"/>
                </a:lnTo>
                <a:lnTo>
                  <a:pt x="868" y="238"/>
                </a:lnTo>
                <a:lnTo>
                  <a:pt x="864" y="250"/>
                </a:lnTo>
                <a:lnTo>
                  <a:pt x="860" y="258"/>
                </a:lnTo>
                <a:lnTo>
                  <a:pt x="858" y="260"/>
                </a:lnTo>
                <a:lnTo>
                  <a:pt x="846" y="252"/>
                </a:lnTo>
                <a:lnTo>
                  <a:pt x="836" y="244"/>
                </a:lnTo>
                <a:lnTo>
                  <a:pt x="814" y="248"/>
                </a:lnTo>
                <a:lnTo>
                  <a:pt x="814" y="262"/>
                </a:lnTo>
                <a:lnTo>
                  <a:pt x="834" y="268"/>
                </a:lnTo>
                <a:lnTo>
                  <a:pt x="850" y="280"/>
                </a:lnTo>
                <a:lnTo>
                  <a:pt x="848" y="296"/>
                </a:lnTo>
                <a:lnTo>
                  <a:pt x="828" y="298"/>
                </a:lnTo>
                <a:lnTo>
                  <a:pt x="840" y="312"/>
                </a:lnTo>
                <a:lnTo>
                  <a:pt x="846" y="320"/>
                </a:lnTo>
                <a:lnTo>
                  <a:pt x="850" y="324"/>
                </a:lnTo>
                <a:lnTo>
                  <a:pt x="850" y="328"/>
                </a:lnTo>
                <a:lnTo>
                  <a:pt x="838" y="334"/>
                </a:lnTo>
                <a:lnTo>
                  <a:pt x="826" y="336"/>
                </a:lnTo>
                <a:lnTo>
                  <a:pt x="830" y="350"/>
                </a:lnTo>
                <a:lnTo>
                  <a:pt x="812" y="356"/>
                </a:lnTo>
                <a:lnTo>
                  <a:pt x="790" y="356"/>
                </a:lnTo>
                <a:lnTo>
                  <a:pt x="768" y="354"/>
                </a:lnTo>
                <a:lnTo>
                  <a:pt x="756" y="360"/>
                </a:lnTo>
                <a:lnTo>
                  <a:pt x="768" y="372"/>
                </a:lnTo>
                <a:lnTo>
                  <a:pt x="800" y="372"/>
                </a:lnTo>
                <a:lnTo>
                  <a:pt x="804" y="382"/>
                </a:lnTo>
                <a:lnTo>
                  <a:pt x="800" y="400"/>
                </a:lnTo>
                <a:lnTo>
                  <a:pt x="782" y="386"/>
                </a:lnTo>
                <a:lnTo>
                  <a:pt x="774" y="386"/>
                </a:lnTo>
                <a:lnTo>
                  <a:pt x="776" y="392"/>
                </a:lnTo>
                <a:lnTo>
                  <a:pt x="804" y="410"/>
                </a:lnTo>
                <a:lnTo>
                  <a:pt x="810" y="446"/>
                </a:lnTo>
                <a:lnTo>
                  <a:pt x="790" y="444"/>
                </a:lnTo>
                <a:lnTo>
                  <a:pt x="770" y="430"/>
                </a:lnTo>
                <a:lnTo>
                  <a:pt x="756" y="416"/>
                </a:lnTo>
                <a:lnTo>
                  <a:pt x="750" y="414"/>
                </a:lnTo>
                <a:lnTo>
                  <a:pt x="750" y="432"/>
                </a:lnTo>
                <a:lnTo>
                  <a:pt x="756" y="446"/>
                </a:lnTo>
                <a:lnTo>
                  <a:pt x="778" y="452"/>
                </a:lnTo>
                <a:lnTo>
                  <a:pt x="804" y="454"/>
                </a:lnTo>
                <a:lnTo>
                  <a:pt x="790" y="46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2" name="Freeform 6">
            <a:extLst>
              <a:ext uri="{FF2B5EF4-FFF2-40B4-BE49-F238E27FC236}">
                <a16:creationId xmlns:a16="http://schemas.microsoft.com/office/drawing/2014/main" id="{8E5B52BC-7A1C-483C-A91A-8260AEEB8924}"/>
              </a:ext>
            </a:extLst>
          </p:cNvPr>
          <p:cNvSpPr>
            <a:spLocks/>
          </p:cNvSpPr>
          <p:nvPr/>
        </p:nvSpPr>
        <p:spPr bwMode="gray">
          <a:xfrm>
            <a:off x="2093113" y="3777691"/>
            <a:ext cx="950359" cy="606541"/>
          </a:xfrm>
          <a:custGeom>
            <a:avLst/>
            <a:gdLst>
              <a:gd name="T0" fmla="*/ 76 w 482"/>
              <a:gd name="T1" fmla="*/ 18 h 306"/>
              <a:gd name="T2" fmla="*/ 146 w 482"/>
              <a:gd name="T3" fmla="*/ 18 h 306"/>
              <a:gd name="T4" fmla="*/ 196 w 482"/>
              <a:gd name="T5" fmla="*/ 38 h 306"/>
              <a:gd name="T6" fmla="*/ 226 w 482"/>
              <a:gd name="T7" fmla="*/ 62 h 306"/>
              <a:gd name="T8" fmla="*/ 258 w 482"/>
              <a:gd name="T9" fmla="*/ 58 h 306"/>
              <a:gd name="T10" fmla="*/ 282 w 482"/>
              <a:gd name="T11" fmla="*/ 96 h 306"/>
              <a:gd name="T12" fmla="*/ 318 w 482"/>
              <a:gd name="T13" fmla="*/ 116 h 306"/>
              <a:gd name="T14" fmla="*/ 308 w 482"/>
              <a:gd name="T15" fmla="*/ 152 h 306"/>
              <a:gd name="T16" fmla="*/ 312 w 482"/>
              <a:gd name="T17" fmla="*/ 192 h 306"/>
              <a:gd name="T18" fmla="*/ 338 w 482"/>
              <a:gd name="T19" fmla="*/ 234 h 306"/>
              <a:gd name="T20" fmla="*/ 376 w 482"/>
              <a:gd name="T21" fmla="*/ 244 h 306"/>
              <a:gd name="T22" fmla="*/ 424 w 482"/>
              <a:gd name="T23" fmla="*/ 220 h 306"/>
              <a:gd name="T24" fmla="*/ 442 w 482"/>
              <a:gd name="T25" fmla="*/ 192 h 306"/>
              <a:gd name="T26" fmla="*/ 482 w 482"/>
              <a:gd name="T27" fmla="*/ 194 h 306"/>
              <a:gd name="T28" fmla="*/ 470 w 482"/>
              <a:gd name="T29" fmla="*/ 220 h 306"/>
              <a:gd name="T30" fmla="*/ 464 w 482"/>
              <a:gd name="T31" fmla="*/ 246 h 306"/>
              <a:gd name="T32" fmla="*/ 452 w 482"/>
              <a:gd name="T33" fmla="*/ 246 h 306"/>
              <a:gd name="T34" fmla="*/ 416 w 482"/>
              <a:gd name="T35" fmla="*/ 254 h 306"/>
              <a:gd name="T36" fmla="*/ 424 w 482"/>
              <a:gd name="T37" fmla="*/ 272 h 306"/>
              <a:gd name="T38" fmla="*/ 412 w 482"/>
              <a:gd name="T39" fmla="*/ 282 h 306"/>
              <a:gd name="T40" fmla="*/ 402 w 482"/>
              <a:gd name="T41" fmla="*/ 288 h 306"/>
              <a:gd name="T42" fmla="*/ 392 w 482"/>
              <a:gd name="T43" fmla="*/ 300 h 306"/>
              <a:gd name="T44" fmla="*/ 364 w 482"/>
              <a:gd name="T45" fmla="*/ 280 h 306"/>
              <a:gd name="T46" fmla="*/ 338 w 482"/>
              <a:gd name="T47" fmla="*/ 284 h 306"/>
              <a:gd name="T48" fmla="*/ 298 w 482"/>
              <a:gd name="T49" fmla="*/ 276 h 306"/>
              <a:gd name="T50" fmla="*/ 254 w 482"/>
              <a:gd name="T51" fmla="*/ 260 h 306"/>
              <a:gd name="T52" fmla="*/ 218 w 482"/>
              <a:gd name="T53" fmla="*/ 240 h 306"/>
              <a:gd name="T54" fmla="*/ 186 w 482"/>
              <a:gd name="T55" fmla="*/ 212 h 306"/>
              <a:gd name="T56" fmla="*/ 192 w 482"/>
              <a:gd name="T57" fmla="*/ 186 h 306"/>
              <a:gd name="T58" fmla="*/ 156 w 482"/>
              <a:gd name="T59" fmla="*/ 146 h 306"/>
              <a:gd name="T60" fmla="*/ 126 w 482"/>
              <a:gd name="T61" fmla="*/ 120 h 306"/>
              <a:gd name="T62" fmla="*/ 100 w 482"/>
              <a:gd name="T63" fmla="*/ 86 h 306"/>
              <a:gd name="T64" fmla="*/ 72 w 482"/>
              <a:gd name="T65" fmla="*/ 48 h 306"/>
              <a:gd name="T66" fmla="*/ 50 w 482"/>
              <a:gd name="T67" fmla="*/ 20 h 306"/>
              <a:gd name="T68" fmla="*/ 40 w 482"/>
              <a:gd name="T69" fmla="*/ 38 h 306"/>
              <a:gd name="T70" fmla="*/ 64 w 482"/>
              <a:gd name="T71" fmla="*/ 76 h 306"/>
              <a:gd name="T72" fmla="*/ 90 w 482"/>
              <a:gd name="T73" fmla="*/ 108 h 306"/>
              <a:gd name="T74" fmla="*/ 106 w 482"/>
              <a:gd name="T75" fmla="*/ 146 h 306"/>
              <a:gd name="T76" fmla="*/ 120 w 482"/>
              <a:gd name="T77" fmla="*/ 156 h 306"/>
              <a:gd name="T78" fmla="*/ 108 w 482"/>
              <a:gd name="T79" fmla="*/ 158 h 306"/>
              <a:gd name="T80" fmla="*/ 84 w 482"/>
              <a:gd name="T81" fmla="*/ 134 h 306"/>
              <a:gd name="T82" fmla="*/ 72 w 482"/>
              <a:gd name="T83" fmla="*/ 108 h 306"/>
              <a:gd name="T84" fmla="*/ 48 w 482"/>
              <a:gd name="T85" fmla="*/ 98 h 306"/>
              <a:gd name="T86" fmla="*/ 42 w 482"/>
              <a:gd name="T87" fmla="*/ 84 h 306"/>
              <a:gd name="T88" fmla="*/ 46 w 482"/>
              <a:gd name="T89" fmla="*/ 74 h 306"/>
              <a:gd name="T90" fmla="*/ 30 w 482"/>
              <a:gd name="T91" fmla="*/ 56 h 306"/>
              <a:gd name="T92" fmla="*/ 12 w 482"/>
              <a:gd name="T93"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2" h="306">
                <a:moveTo>
                  <a:pt x="0" y="2"/>
                </a:moveTo>
                <a:lnTo>
                  <a:pt x="32" y="0"/>
                </a:lnTo>
                <a:lnTo>
                  <a:pt x="76" y="18"/>
                </a:lnTo>
                <a:lnTo>
                  <a:pt x="92" y="24"/>
                </a:lnTo>
                <a:lnTo>
                  <a:pt x="138" y="24"/>
                </a:lnTo>
                <a:lnTo>
                  <a:pt x="146" y="18"/>
                </a:lnTo>
                <a:lnTo>
                  <a:pt x="166" y="14"/>
                </a:lnTo>
                <a:lnTo>
                  <a:pt x="186" y="30"/>
                </a:lnTo>
                <a:lnTo>
                  <a:pt x="196" y="38"/>
                </a:lnTo>
                <a:lnTo>
                  <a:pt x="198" y="54"/>
                </a:lnTo>
                <a:lnTo>
                  <a:pt x="214" y="64"/>
                </a:lnTo>
                <a:lnTo>
                  <a:pt x="226" y="62"/>
                </a:lnTo>
                <a:lnTo>
                  <a:pt x="228" y="52"/>
                </a:lnTo>
                <a:lnTo>
                  <a:pt x="236" y="48"/>
                </a:lnTo>
                <a:lnTo>
                  <a:pt x="258" y="58"/>
                </a:lnTo>
                <a:lnTo>
                  <a:pt x="264" y="72"/>
                </a:lnTo>
                <a:lnTo>
                  <a:pt x="274" y="84"/>
                </a:lnTo>
                <a:lnTo>
                  <a:pt x="282" y="96"/>
                </a:lnTo>
                <a:lnTo>
                  <a:pt x="290" y="108"/>
                </a:lnTo>
                <a:lnTo>
                  <a:pt x="306" y="114"/>
                </a:lnTo>
                <a:lnTo>
                  <a:pt x="318" y="116"/>
                </a:lnTo>
                <a:lnTo>
                  <a:pt x="314" y="124"/>
                </a:lnTo>
                <a:lnTo>
                  <a:pt x="310" y="136"/>
                </a:lnTo>
                <a:lnTo>
                  <a:pt x="308" y="152"/>
                </a:lnTo>
                <a:lnTo>
                  <a:pt x="308" y="162"/>
                </a:lnTo>
                <a:lnTo>
                  <a:pt x="308" y="174"/>
                </a:lnTo>
                <a:lnTo>
                  <a:pt x="312" y="192"/>
                </a:lnTo>
                <a:lnTo>
                  <a:pt x="322" y="210"/>
                </a:lnTo>
                <a:lnTo>
                  <a:pt x="330" y="222"/>
                </a:lnTo>
                <a:lnTo>
                  <a:pt x="338" y="234"/>
                </a:lnTo>
                <a:lnTo>
                  <a:pt x="348" y="240"/>
                </a:lnTo>
                <a:lnTo>
                  <a:pt x="360" y="244"/>
                </a:lnTo>
                <a:lnTo>
                  <a:pt x="376" y="244"/>
                </a:lnTo>
                <a:lnTo>
                  <a:pt x="396" y="240"/>
                </a:lnTo>
                <a:lnTo>
                  <a:pt x="416" y="236"/>
                </a:lnTo>
                <a:lnTo>
                  <a:pt x="424" y="220"/>
                </a:lnTo>
                <a:lnTo>
                  <a:pt x="424" y="210"/>
                </a:lnTo>
                <a:lnTo>
                  <a:pt x="428" y="200"/>
                </a:lnTo>
                <a:lnTo>
                  <a:pt x="442" y="192"/>
                </a:lnTo>
                <a:lnTo>
                  <a:pt x="452" y="192"/>
                </a:lnTo>
                <a:lnTo>
                  <a:pt x="470" y="192"/>
                </a:lnTo>
                <a:lnTo>
                  <a:pt x="482" y="194"/>
                </a:lnTo>
                <a:lnTo>
                  <a:pt x="478" y="206"/>
                </a:lnTo>
                <a:lnTo>
                  <a:pt x="472" y="214"/>
                </a:lnTo>
                <a:lnTo>
                  <a:pt x="470" y="220"/>
                </a:lnTo>
                <a:lnTo>
                  <a:pt x="468" y="232"/>
                </a:lnTo>
                <a:lnTo>
                  <a:pt x="468" y="244"/>
                </a:lnTo>
                <a:lnTo>
                  <a:pt x="464" y="246"/>
                </a:lnTo>
                <a:lnTo>
                  <a:pt x="460" y="240"/>
                </a:lnTo>
                <a:lnTo>
                  <a:pt x="456" y="242"/>
                </a:lnTo>
                <a:lnTo>
                  <a:pt x="452" y="246"/>
                </a:lnTo>
                <a:lnTo>
                  <a:pt x="446" y="252"/>
                </a:lnTo>
                <a:lnTo>
                  <a:pt x="434" y="252"/>
                </a:lnTo>
                <a:lnTo>
                  <a:pt x="416" y="254"/>
                </a:lnTo>
                <a:lnTo>
                  <a:pt x="414" y="258"/>
                </a:lnTo>
                <a:lnTo>
                  <a:pt x="416" y="266"/>
                </a:lnTo>
                <a:lnTo>
                  <a:pt x="424" y="272"/>
                </a:lnTo>
                <a:lnTo>
                  <a:pt x="428" y="278"/>
                </a:lnTo>
                <a:lnTo>
                  <a:pt x="424" y="280"/>
                </a:lnTo>
                <a:lnTo>
                  <a:pt x="412" y="282"/>
                </a:lnTo>
                <a:lnTo>
                  <a:pt x="408" y="280"/>
                </a:lnTo>
                <a:lnTo>
                  <a:pt x="406" y="284"/>
                </a:lnTo>
                <a:lnTo>
                  <a:pt x="402" y="288"/>
                </a:lnTo>
                <a:lnTo>
                  <a:pt x="400" y="294"/>
                </a:lnTo>
                <a:lnTo>
                  <a:pt x="398" y="306"/>
                </a:lnTo>
                <a:lnTo>
                  <a:pt x="392" y="300"/>
                </a:lnTo>
                <a:lnTo>
                  <a:pt x="382" y="290"/>
                </a:lnTo>
                <a:lnTo>
                  <a:pt x="372" y="284"/>
                </a:lnTo>
                <a:lnTo>
                  <a:pt x="364" y="280"/>
                </a:lnTo>
                <a:lnTo>
                  <a:pt x="356" y="278"/>
                </a:lnTo>
                <a:lnTo>
                  <a:pt x="346" y="280"/>
                </a:lnTo>
                <a:lnTo>
                  <a:pt x="338" y="284"/>
                </a:lnTo>
                <a:lnTo>
                  <a:pt x="328" y="286"/>
                </a:lnTo>
                <a:lnTo>
                  <a:pt x="312" y="282"/>
                </a:lnTo>
                <a:lnTo>
                  <a:pt x="298" y="276"/>
                </a:lnTo>
                <a:lnTo>
                  <a:pt x="282" y="270"/>
                </a:lnTo>
                <a:lnTo>
                  <a:pt x="264" y="264"/>
                </a:lnTo>
                <a:lnTo>
                  <a:pt x="254" y="260"/>
                </a:lnTo>
                <a:lnTo>
                  <a:pt x="246" y="248"/>
                </a:lnTo>
                <a:lnTo>
                  <a:pt x="232" y="248"/>
                </a:lnTo>
                <a:lnTo>
                  <a:pt x="218" y="240"/>
                </a:lnTo>
                <a:lnTo>
                  <a:pt x="204" y="232"/>
                </a:lnTo>
                <a:lnTo>
                  <a:pt x="192" y="222"/>
                </a:lnTo>
                <a:lnTo>
                  <a:pt x="186" y="212"/>
                </a:lnTo>
                <a:lnTo>
                  <a:pt x="186" y="202"/>
                </a:lnTo>
                <a:lnTo>
                  <a:pt x="192" y="196"/>
                </a:lnTo>
                <a:lnTo>
                  <a:pt x="192" y="186"/>
                </a:lnTo>
                <a:lnTo>
                  <a:pt x="178" y="168"/>
                </a:lnTo>
                <a:lnTo>
                  <a:pt x="168" y="156"/>
                </a:lnTo>
                <a:lnTo>
                  <a:pt x="156" y="146"/>
                </a:lnTo>
                <a:lnTo>
                  <a:pt x="146" y="134"/>
                </a:lnTo>
                <a:lnTo>
                  <a:pt x="134" y="126"/>
                </a:lnTo>
                <a:lnTo>
                  <a:pt x="126" y="120"/>
                </a:lnTo>
                <a:lnTo>
                  <a:pt x="126" y="106"/>
                </a:lnTo>
                <a:lnTo>
                  <a:pt x="110" y="96"/>
                </a:lnTo>
                <a:lnTo>
                  <a:pt x="100" y="86"/>
                </a:lnTo>
                <a:lnTo>
                  <a:pt x="88" y="70"/>
                </a:lnTo>
                <a:lnTo>
                  <a:pt x="78" y="60"/>
                </a:lnTo>
                <a:lnTo>
                  <a:pt x="72" y="48"/>
                </a:lnTo>
                <a:lnTo>
                  <a:pt x="66" y="34"/>
                </a:lnTo>
                <a:lnTo>
                  <a:pt x="64" y="28"/>
                </a:lnTo>
                <a:lnTo>
                  <a:pt x="50" y="20"/>
                </a:lnTo>
                <a:lnTo>
                  <a:pt x="38" y="20"/>
                </a:lnTo>
                <a:lnTo>
                  <a:pt x="36" y="26"/>
                </a:lnTo>
                <a:lnTo>
                  <a:pt x="40" y="38"/>
                </a:lnTo>
                <a:lnTo>
                  <a:pt x="46" y="52"/>
                </a:lnTo>
                <a:lnTo>
                  <a:pt x="56" y="62"/>
                </a:lnTo>
                <a:lnTo>
                  <a:pt x="64" y="76"/>
                </a:lnTo>
                <a:lnTo>
                  <a:pt x="72" y="86"/>
                </a:lnTo>
                <a:lnTo>
                  <a:pt x="80" y="96"/>
                </a:lnTo>
                <a:lnTo>
                  <a:pt x="90" y="108"/>
                </a:lnTo>
                <a:lnTo>
                  <a:pt x="98" y="124"/>
                </a:lnTo>
                <a:lnTo>
                  <a:pt x="104" y="136"/>
                </a:lnTo>
                <a:lnTo>
                  <a:pt x="106" y="146"/>
                </a:lnTo>
                <a:lnTo>
                  <a:pt x="114" y="146"/>
                </a:lnTo>
                <a:lnTo>
                  <a:pt x="118" y="152"/>
                </a:lnTo>
                <a:lnTo>
                  <a:pt x="120" y="156"/>
                </a:lnTo>
                <a:lnTo>
                  <a:pt x="122" y="166"/>
                </a:lnTo>
                <a:lnTo>
                  <a:pt x="114" y="170"/>
                </a:lnTo>
                <a:lnTo>
                  <a:pt x="108" y="158"/>
                </a:lnTo>
                <a:lnTo>
                  <a:pt x="100" y="152"/>
                </a:lnTo>
                <a:lnTo>
                  <a:pt x="92" y="144"/>
                </a:lnTo>
                <a:lnTo>
                  <a:pt x="84" y="134"/>
                </a:lnTo>
                <a:lnTo>
                  <a:pt x="82" y="126"/>
                </a:lnTo>
                <a:lnTo>
                  <a:pt x="80" y="116"/>
                </a:lnTo>
                <a:lnTo>
                  <a:pt x="72" y="108"/>
                </a:lnTo>
                <a:lnTo>
                  <a:pt x="66" y="104"/>
                </a:lnTo>
                <a:lnTo>
                  <a:pt x="56" y="102"/>
                </a:lnTo>
                <a:lnTo>
                  <a:pt x="48" y="98"/>
                </a:lnTo>
                <a:lnTo>
                  <a:pt x="40" y="90"/>
                </a:lnTo>
                <a:lnTo>
                  <a:pt x="38" y="86"/>
                </a:lnTo>
                <a:lnTo>
                  <a:pt x="42" y="84"/>
                </a:lnTo>
                <a:lnTo>
                  <a:pt x="46" y="84"/>
                </a:lnTo>
                <a:lnTo>
                  <a:pt x="48" y="80"/>
                </a:lnTo>
                <a:lnTo>
                  <a:pt x="46" y="74"/>
                </a:lnTo>
                <a:lnTo>
                  <a:pt x="42" y="64"/>
                </a:lnTo>
                <a:lnTo>
                  <a:pt x="38" y="60"/>
                </a:lnTo>
                <a:lnTo>
                  <a:pt x="30" y="56"/>
                </a:lnTo>
                <a:lnTo>
                  <a:pt x="22" y="46"/>
                </a:lnTo>
                <a:lnTo>
                  <a:pt x="16" y="32"/>
                </a:lnTo>
                <a:lnTo>
                  <a:pt x="12" y="24"/>
                </a:lnTo>
                <a:lnTo>
                  <a:pt x="8" y="14"/>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3" name="Freeform 7">
            <a:extLst>
              <a:ext uri="{FF2B5EF4-FFF2-40B4-BE49-F238E27FC236}">
                <a16:creationId xmlns:a16="http://schemas.microsoft.com/office/drawing/2014/main" id="{EC534E24-B8F6-4E13-8E18-0EF783E64EF6}"/>
              </a:ext>
            </a:extLst>
          </p:cNvPr>
          <p:cNvSpPr>
            <a:spLocks/>
          </p:cNvSpPr>
          <p:nvPr/>
        </p:nvSpPr>
        <p:spPr bwMode="gray">
          <a:xfrm>
            <a:off x="1824962" y="1906535"/>
            <a:ext cx="327302" cy="206144"/>
          </a:xfrm>
          <a:custGeom>
            <a:avLst/>
            <a:gdLst>
              <a:gd name="T0" fmla="*/ 20 w 166"/>
              <a:gd name="T1" fmla="*/ 6 h 104"/>
              <a:gd name="T2" fmla="*/ 20 w 166"/>
              <a:gd name="T3" fmla="*/ 14 h 104"/>
              <a:gd name="T4" fmla="*/ 28 w 166"/>
              <a:gd name="T5" fmla="*/ 22 h 104"/>
              <a:gd name="T6" fmla="*/ 28 w 166"/>
              <a:gd name="T7" fmla="*/ 28 h 104"/>
              <a:gd name="T8" fmla="*/ 24 w 166"/>
              <a:gd name="T9" fmla="*/ 34 h 104"/>
              <a:gd name="T10" fmla="*/ 20 w 166"/>
              <a:gd name="T11" fmla="*/ 44 h 104"/>
              <a:gd name="T12" fmla="*/ 12 w 166"/>
              <a:gd name="T13" fmla="*/ 54 h 104"/>
              <a:gd name="T14" fmla="*/ 8 w 166"/>
              <a:gd name="T15" fmla="*/ 68 h 104"/>
              <a:gd name="T16" fmla="*/ 0 w 166"/>
              <a:gd name="T17" fmla="*/ 76 h 104"/>
              <a:gd name="T18" fmla="*/ 12 w 166"/>
              <a:gd name="T19" fmla="*/ 80 h 104"/>
              <a:gd name="T20" fmla="*/ 20 w 166"/>
              <a:gd name="T21" fmla="*/ 84 h 104"/>
              <a:gd name="T22" fmla="*/ 32 w 166"/>
              <a:gd name="T23" fmla="*/ 92 h 104"/>
              <a:gd name="T24" fmla="*/ 42 w 166"/>
              <a:gd name="T25" fmla="*/ 104 h 104"/>
              <a:gd name="T26" fmla="*/ 54 w 166"/>
              <a:gd name="T27" fmla="*/ 100 h 104"/>
              <a:gd name="T28" fmla="*/ 68 w 166"/>
              <a:gd name="T29" fmla="*/ 92 h 104"/>
              <a:gd name="T30" fmla="*/ 80 w 166"/>
              <a:gd name="T31" fmla="*/ 92 h 104"/>
              <a:gd name="T32" fmla="*/ 86 w 166"/>
              <a:gd name="T33" fmla="*/ 82 h 104"/>
              <a:gd name="T34" fmla="*/ 90 w 166"/>
              <a:gd name="T35" fmla="*/ 72 h 104"/>
              <a:gd name="T36" fmla="*/ 102 w 166"/>
              <a:gd name="T37" fmla="*/ 66 h 104"/>
              <a:gd name="T38" fmla="*/ 106 w 166"/>
              <a:gd name="T39" fmla="*/ 58 h 104"/>
              <a:gd name="T40" fmla="*/ 120 w 166"/>
              <a:gd name="T41" fmla="*/ 50 h 104"/>
              <a:gd name="T42" fmla="*/ 140 w 166"/>
              <a:gd name="T43" fmla="*/ 40 h 104"/>
              <a:gd name="T44" fmla="*/ 166 w 166"/>
              <a:gd name="T45" fmla="*/ 32 h 104"/>
              <a:gd name="T46" fmla="*/ 158 w 166"/>
              <a:gd name="T47" fmla="*/ 26 h 104"/>
              <a:gd name="T48" fmla="*/ 142 w 166"/>
              <a:gd name="T49" fmla="*/ 16 h 104"/>
              <a:gd name="T50" fmla="*/ 128 w 166"/>
              <a:gd name="T51" fmla="*/ 8 h 104"/>
              <a:gd name="T52" fmla="*/ 114 w 166"/>
              <a:gd name="T53" fmla="*/ 10 h 104"/>
              <a:gd name="T54" fmla="*/ 106 w 166"/>
              <a:gd name="T55" fmla="*/ 16 h 104"/>
              <a:gd name="T56" fmla="*/ 94 w 166"/>
              <a:gd name="T57" fmla="*/ 14 h 104"/>
              <a:gd name="T58" fmla="*/ 74 w 166"/>
              <a:gd name="T59" fmla="*/ 6 h 104"/>
              <a:gd name="T60" fmla="*/ 72 w 166"/>
              <a:gd name="T61" fmla="*/ 0 h 104"/>
              <a:gd name="T62" fmla="*/ 54 w 166"/>
              <a:gd name="T63" fmla="*/ 0 h 104"/>
              <a:gd name="T64" fmla="*/ 52 w 166"/>
              <a:gd name="T65" fmla="*/ 6 h 104"/>
              <a:gd name="T66" fmla="*/ 34 w 166"/>
              <a:gd name="T67" fmla="*/ 4 h 104"/>
              <a:gd name="T68" fmla="*/ 20 w 166"/>
              <a:gd name="T69" fmla="*/ 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104">
                <a:moveTo>
                  <a:pt x="20" y="6"/>
                </a:moveTo>
                <a:lnTo>
                  <a:pt x="20" y="14"/>
                </a:lnTo>
                <a:lnTo>
                  <a:pt x="28" y="22"/>
                </a:lnTo>
                <a:lnTo>
                  <a:pt x="28" y="28"/>
                </a:lnTo>
                <a:lnTo>
                  <a:pt x="24" y="34"/>
                </a:lnTo>
                <a:lnTo>
                  <a:pt x="20" y="44"/>
                </a:lnTo>
                <a:lnTo>
                  <a:pt x="12" y="54"/>
                </a:lnTo>
                <a:lnTo>
                  <a:pt x="8" y="68"/>
                </a:lnTo>
                <a:lnTo>
                  <a:pt x="0" y="76"/>
                </a:lnTo>
                <a:lnTo>
                  <a:pt x="12" y="80"/>
                </a:lnTo>
                <a:lnTo>
                  <a:pt x="20" y="84"/>
                </a:lnTo>
                <a:lnTo>
                  <a:pt x="32" y="92"/>
                </a:lnTo>
                <a:lnTo>
                  <a:pt x="42" y="104"/>
                </a:lnTo>
                <a:lnTo>
                  <a:pt x="54" y="100"/>
                </a:lnTo>
                <a:lnTo>
                  <a:pt x="68" y="92"/>
                </a:lnTo>
                <a:lnTo>
                  <a:pt x="80" y="92"/>
                </a:lnTo>
                <a:lnTo>
                  <a:pt x="86" y="82"/>
                </a:lnTo>
                <a:lnTo>
                  <a:pt x="90" y="72"/>
                </a:lnTo>
                <a:lnTo>
                  <a:pt x="102" y="66"/>
                </a:lnTo>
                <a:lnTo>
                  <a:pt x="106" y="58"/>
                </a:lnTo>
                <a:lnTo>
                  <a:pt x="120" y="50"/>
                </a:lnTo>
                <a:lnTo>
                  <a:pt x="140" y="40"/>
                </a:lnTo>
                <a:lnTo>
                  <a:pt x="166" y="32"/>
                </a:lnTo>
                <a:lnTo>
                  <a:pt x="158" y="26"/>
                </a:lnTo>
                <a:lnTo>
                  <a:pt x="142" y="16"/>
                </a:lnTo>
                <a:lnTo>
                  <a:pt x="128" y="8"/>
                </a:lnTo>
                <a:lnTo>
                  <a:pt x="114" y="10"/>
                </a:lnTo>
                <a:lnTo>
                  <a:pt x="106" y="16"/>
                </a:lnTo>
                <a:lnTo>
                  <a:pt x="94" y="14"/>
                </a:lnTo>
                <a:lnTo>
                  <a:pt x="74" y="6"/>
                </a:lnTo>
                <a:lnTo>
                  <a:pt x="72" y="0"/>
                </a:lnTo>
                <a:lnTo>
                  <a:pt x="54" y="0"/>
                </a:lnTo>
                <a:lnTo>
                  <a:pt x="52" y="6"/>
                </a:lnTo>
                <a:lnTo>
                  <a:pt x="34" y="4"/>
                </a:lnTo>
                <a:lnTo>
                  <a:pt x="2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4" name="Freeform 8">
            <a:extLst>
              <a:ext uri="{FF2B5EF4-FFF2-40B4-BE49-F238E27FC236}">
                <a16:creationId xmlns:a16="http://schemas.microsoft.com/office/drawing/2014/main" id="{C6769CAE-FA19-4928-BA59-82540F483109}"/>
              </a:ext>
            </a:extLst>
          </p:cNvPr>
          <p:cNvSpPr>
            <a:spLocks/>
          </p:cNvSpPr>
          <p:nvPr/>
        </p:nvSpPr>
        <p:spPr bwMode="gray">
          <a:xfrm>
            <a:off x="2041851" y="1981856"/>
            <a:ext cx="559964" cy="269574"/>
          </a:xfrm>
          <a:custGeom>
            <a:avLst/>
            <a:gdLst>
              <a:gd name="T0" fmla="*/ 104 w 284"/>
              <a:gd name="T1" fmla="*/ 82 h 136"/>
              <a:gd name="T2" fmla="*/ 52 w 284"/>
              <a:gd name="T3" fmla="*/ 78 h 136"/>
              <a:gd name="T4" fmla="*/ 10 w 284"/>
              <a:gd name="T5" fmla="*/ 74 h 136"/>
              <a:gd name="T6" fmla="*/ 30 w 284"/>
              <a:gd name="T7" fmla="*/ 62 h 136"/>
              <a:gd name="T8" fmla="*/ 56 w 284"/>
              <a:gd name="T9" fmla="*/ 54 h 136"/>
              <a:gd name="T10" fmla="*/ 34 w 284"/>
              <a:gd name="T11" fmla="*/ 56 h 136"/>
              <a:gd name="T12" fmla="*/ 14 w 284"/>
              <a:gd name="T13" fmla="*/ 52 h 136"/>
              <a:gd name="T14" fmla="*/ 0 w 284"/>
              <a:gd name="T15" fmla="*/ 42 h 136"/>
              <a:gd name="T16" fmla="*/ 12 w 284"/>
              <a:gd name="T17" fmla="*/ 30 h 136"/>
              <a:gd name="T18" fmla="*/ 26 w 284"/>
              <a:gd name="T19" fmla="*/ 14 h 136"/>
              <a:gd name="T20" fmla="*/ 74 w 284"/>
              <a:gd name="T21" fmla="*/ 0 h 136"/>
              <a:gd name="T22" fmla="*/ 74 w 284"/>
              <a:gd name="T23" fmla="*/ 12 h 136"/>
              <a:gd name="T24" fmla="*/ 84 w 284"/>
              <a:gd name="T25" fmla="*/ 22 h 136"/>
              <a:gd name="T26" fmla="*/ 106 w 284"/>
              <a:gd name="T27" fmla="*/ 12 h 136"/>
              <a:gd name="T28" fmla="*/ 118 w 284"/>
              <a:gd name="T29" fmla="*/ 24 h 136"/>
              <a:gd name="T30" fmla="*/ 128 w 284"/>
              <a:gd name="T31" fmla="*/ 26 h 136"/>
              <a:gd name="T32" fmla="*/ 144 w 284"/>
              <a:gd name="T33" fmla="*/ 18 h 136"/>
              <a:gd name="T34" fmla="*/ 142 w 284"/>
              <a:gd name="T35" fmla="*/ 10 h 136"/>
              <a:gd name="T36" fmla="*/ 162 w 284"/>
              <a:gd name="T37" fmla="*/ 26 h 136"/>
              <a:gd name="T38" fmla="*/ 172 w 284"/>
              <a:gd name="T39" fmla="*/ 48 h 136"/>
              <a:gd name="T40" fmla="*/ 176 w 284"/>
              <a:gd name="T41" fmla="*/ 34 h 136"/>
              <a:gd name="T42" fmla="*/ 170 w 284"/>
              <a:gd name="T43" fmla="*/ 4 h 136"/>
              <a:gd name="T44" fmla="*/ 192 w 284"/>
              <a:gd name="T45" fmla="*/ 4 h 136"/>
              <a:gd name="T46" fmla="*/ 216 w 284"/>
              <a:gd name="T47" fmla="*/ 24 h 136"/>
              <a:gd name="T48" fmla="*/ 230 w 284"/>
              <a:gd name="T49" fmla="*/ 52 h 136"/>
              <a:gd name="T50" fmla="*/ 228 w 284"/>
              <a:gd name="T51" fmla="*/ 66 h 136"/>
              <a:gd name="T52" fmla="*/ 248 w 284"/>
              <a:gd name="T53" fmla="*/ 82 h 136"/>
              <a:gd name="T54" fmla="*/ 268 w 284"/>
              <a:gd name="T55" fmla="*/ 90 h 136"/>
              <a:gd name="T56" fmla="*/ 280 w 284"/>
              <a:gd name="T57" fmla="*/ 104 h 136"/>
              <a:gd name="T58" fmla="*/ 254 w 284"/>
              <a:gd name="T59" fmla="*/ 106 h 136"/>
              <a:gd name="T60" fmla="*/ 268 w 284"/>
              <a:gd name="T61" fmla="*/ 116 h 136"/>
              <a:gd name="T62" fmla="*/ 262 w 284"/>
              <a:gd name="T63" fmla="*/ 128 h 136"/>
              <a:gd name="T64" fmla="*/ 216 w 284"/>
              <a:gd name="T65" fmla="*/ 128 h 136"/>
              <a:gd name="T66" fmla="*/ 202 w 284"/>
              <a:gd name="T67" fmla="*/ 122 h 136"/>
              <a:gd name="T68" fmla="*/ 184 w 284"/>
              <a:gd name="T69" fmla="*/ 122 h 136"/>
              <a:gd name="T70" fmla="*/ 152 w 284"/>
              <a:gd name="T71" fmla="*/ 134 h 136"/>
              <a:gd name="T72" fmla="*/ 84 w 284"/>
              <a:gd name="T73" fmla="*/ 130 h 136"/>
              <a:gd name="T74" fmla="*/ 40 w 284"/>
              <a:gd name="T75" fmla="*/ 118 h 136"/>
              <a:gd name="T76" fmla="*/ 30 w 284"/>
              <a:gd name="T77" fmla="*/ 92 h 136"/>
              <a:gd name="T78" fmla="*/ 80 w 284"/>
              <a:gd name="T79" fmla="*/ 88 h 136"/>
              <a:gd name="T80" fmla="*/ 110 w 284"/>
              <a:gd name="T81" fmla="*/ 9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136">
                <a:moveTo>
                  <a:pt x="110" y="90"/>
                </a:moveTo>
                <a:lnTo>
                  <a:pt x="104" y="82"/>
                </a:lnTo>
                <a:lnTo>
                  <a:pt x="86" y="76"/>
                </a:lnTo>
                <a:lnTo>
                  <a:pt x="52" y="78"/>
                </a:lnTo>
                <a:lnTo>
                  <a:pt x="28" y="80"/>
                </a:lnTo>
                <a:lnTo>
                  <a:pt x="10" y="74"/>
                </a:lnTo>
                <a:lnTo>
                  <a:pt x="14" y="62"/>
                </a:lnTo>
                <a:lnTo>
                  <a:pt x="30" y="62"/>
                </a:lnTo>
                <a:lnTo>
                  <a:pt x="46" y="58"/>
                </a:lnTo>
                <a:lnTo>
                  <a:pt x="56" y="54"/>
                </a:lnTo>
                <a:lnTo>
                  <a:pt x="46" y="52"/>
                </a:lnTo>
                <a:lnTo>
                  <a:pt x="34" y="56"/>
                </a:lnTo>
                <a:lnTo>
                  <a:pt x="20" y="56"/>
                </a:lnTo>
                <a:lnTo>
                  <a:pt x="14" y="52"/>
                </a:lnTo>
                <a:lnTo>
                  <a:pt x="0" y="50"/>
                </a:lnTo>
                <a:lnTo>
                  <a:pt x="0" y="42"/>
                </a:lnTo>
                <a:lnTo>
                  <a:pt x="8" y="36"/>
                </a:lnTo>
                <a:lnTo>
                  <a:pt x="12" y="30"/>
                </a:lnTo>
                <a:lnTo>
                  <a:pt x="10" y="22"/>
                </a:lnTo>
                <a:lnTo>
                  <a:pt x="26" y="14"/>
                </a:lnTo>
                <a:lnTo>
                  <a:pt x="50" y="4"/>
                </a:lnTo>
                <a:lnTo>
                  <a:pt x="74" y="0"/>
                </a:lnTo>
                <a:lnTo>
                  <a:pt x="76" y="8"/>
                </a:lnTo>
                <a:lnTo>
                  <a:pt x="74" y="12"/>
                </a:lnTo>
                <a:lnTo>
                  <a:pt x="70" y="18"/>
                </a:lnTo>
                <a:lnTo>
                  <a:pt x="84" y="22"/>
                </a:lnTo>
                <a:lnTo>
                  <a:pt x="90" y="8"/>
                </a:lnTo>
                <a:lnTo>
                  <a:pt x="106" y="12"/>
                </a:lnTo>
                <a:lnTo>
                  <a:pt x="122" y="18"/>
                </a:lnTo>
                <a:lnTo>
                  <a:pt x="118" y="24"/>
                </a:lnTo>
                <a:lnTo>
                  <a:pt x="120" y="28"/>
                </a:lnTo>
                <a:lnTo>
                  <a:pt x="128" y="26"/>
                </a:lnTo>
                <a:lnTo>
                  <a:pt x="142" y="26"/>
                </a:lnTo>
                <a:lnTo>
                  <a:pt x="144" y="18"/>
                </a:lnTo>
                <a:lnTo>
                  <a:pt x="136" y="12"/>
                </a:lnTo>
                <a:lnTo>
                  <a:pt x="142" y="10"/>
                </a:lnTo>
                <a:lnTo>
                  <a:pt x="154" y="16"/>
                </a:lnTo>
                <a:lnTo>
                  <a:pt x="162" y="26"/>
                </a:lnTo>
                <a:lnTo>
                  <a:pt x="166" y="38"/>
                </a:lnTo>
                <a:lnTo>
                  <a:pt x="172" y="48"/>
                </a:lnTo>
                <a:lnTo>
                  <a:pt x="182" y="44"/>
                </a:lnTo>
                <a:lnTo>
                  <a:pt x="176" y="34"/>
                </a:lnTo>
                <a:lnTo>
                  <a:pt x="172" y="16"/>
                </a:lnTo>
                <a:lnTo>
                  <a:pt x="170" y="4"/>
                </a:lnTo>
                <a:lnTo>
                  <a:pt x="178" y="0"/>
                </a:lnTo>
                <a:lnTo>
                  <a:pt x="192" y="4"/>
                </a:lnTo>
                <a:lnTo>
                  <a:pt x="206" y="12"/>
                </a:lnTo>
                <a:lnTo>
                  <a:pt x="216" y="24"/>
                </a:lnTo>
                <a:lnTo>
                  <a:pt x="222" y="40"/>
                </a:lnTo>
                <a:lnTo>
                  <a:pt x="230" y="52"/>
                </a:lnTo>
                <a:lnTo>
                  <a:pt x="230" y="60"/>
                </a:lnTo>
                <a:lnTo>
                  <a:pt x="228" y="66"/>
                </a:lnTo>
                <a:lnTo>
                  <a:pt x="238" y="78"/>
                </a:lnTo>
                <a:lnTo>
                  <a:pt x="248" y="82"/>
                </a:lnTo>
                <a:lnTo>
                  <a:pt x="260" y="84"/>
                </a:lnTo>
                <a:lnTo>
                  <a:pt x="268" y="90"/>
                </a:lnTo>
                <a:lnTo>
                  <a:pt x="284" y="100"/>
                </a:lnTo>
                <a:lnTo>
                  <a:pt x="280" y="104"/>
                </a:lnTo>
                <a:lnTo>
                  <a:pt x="264" y="104"/>
                </a:lnTo>
                <a:lnTo>
                  <a:pt x="254" y="106"/>
                </a:lnTo>
                <a:lnTo>
                  <a:pt x="256" y="112"/>
                </a:lnTo>
                <a:lnTo>
                  <a:pt x="268" y="116"/>
                </a:lnTo>
                <a:lnTo>
                  <a:pt x="272" y="126"/>
                </a:lnTo>
                <a:lnTo>
                  <a:pt x="262" y="128"/>
                </a:lnTo>
                <a:lnTo>
                  <a:pt x="240" y="130"/>
                </a:lnTo>
                <a:lnTo>
                  <a:pt x="216" y="128"/>
                </a:lnTo>
                <a:lnTo>
                  <a:pt x="212" y="122"/>
                </a:lnTo>
                <a:lnTo>
                  <a:pt x="202" y="122"/>
                </a:lnTo>
                <a:lnTo>
                  <a:pt x="196" y="108"/>
                </a:lnTo>
                <a:lnTo>
                  <a:pt x="184" y="122"/>
                </a:lnTo>
                <a:lnTo>
                  <a:pt x="168" y="126"/>
                </a:lnTo>
                <a:lnTo>
                  <a:pt x="152" y="134"/>
                </a:lnTo>
                <a:lnTo>
                  <a:pt x="90" y="136"/>
                </a:lnTo>
                <a:lnTo>
                  <a:pt x="84" y="130"/>
                </a:lnTo>
                <a:lnTo>
                  <a:pt x="82" y="118"/>
                </a:lnTo>
                <a:lnTo>
                  <a:pt x="40" y="118"/>
                </a:lnTo>
                <a:lnTo>
                  <a:pt x="22" y="100"/>
                </a:lnTo>
                <a:lnTo>
                  <a:pt x="30" y="92"/>
                </a:lnTo>
                <a:lnTo>
                  <a:pt x="48" y="90"/>
                </a:lnTo>
                <a:lnTo>
                  <a:pt x="80" y="88"/>
                </a:lnTo>
                <a:lnTo>
                  <a:pt x="98" y="90"/>
                </a:lnTo>
                <a:lnTo>
                  <a:pt x="110" y="9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5" name="Freeform 9">
            <a:extLst>
              <a:ext uri="{FF2B5EF4-FFF2-40B4-BE49-F238E27FC236}">
                <a16:creationId xmlns:a16="http://schemas.microsoft.com/office/drawing/2014/main" id="{DDFF69A7-7DD5-4E81-AADD-DC25432E6D5A}"/>
              </a:ext>
            </a:extLst>
          </p:cNvPr>
          <p:cNvSpPr>
            <a:spLocks/>
          </p:cNvSpPr>
          <p:nvPr/>
        </p:nvSpPr>
        <p:spPr bwMode="gray">
          <a:xfrm>
            <a:off x="2085226" y="1755891"/>
            <a:ext cx="374623" cy="162537"/>
          </a:xfrm>
          <a:custGeom>
            <a:avLst/>
            <a:gdLst>
              <a:gd name="T0" fmla="*/ 98 w 190"/>
              <a:gd name="T1" fmla="*/ 56 h 82"/>
              <a:gd name="T2" fmla="*/ 80 w 190"/>
              <a:gd name="T3" fmla="*/ 56 h 82"/>
              <a:gd name="T4" fmla="*/ 58 w 190"/>
              <a:gd name="T5" fmla="*/ 56 h 82"/>
              <a:gd name="T6" fmla="*/ 62 w 190"/>
              <a:gd name="T7" fmla="*/ 48 h 82"/>
              <a:gd name="T8" fmla="*/ 52 w 190"/>
              <a:gd name="T9" fmla="*/ 50 h 82"/>
              <a:gd name="T10" fmla="*/ 48 w 190"/>
              <a:gd name="T11" fmla="*/ 58 h 82"/>
              <a:gd name="T12" fmla="*/ 30 w 190"/>
              <a:gd name="T13" fmla="*/ 62 h 82"/>
              <a:gd name="T14" fmla="*/ 20 w 190"/>
              <a:gd name="T15" fmla="*/ 58 h 82"/>
              <a:gd name="T16" fmla="*/ 2 w 190"/>
              <a:gd name="T17" fmla="*/ 56 h 82"/>
              <a:gd name="T18" fmla="*/ 0 w 190"/>
              <a:gd name="T19" fmla="*/ 48 h 82"/>
              <a:gd name="T20" fmla="*/ 18 w 190"/>
              <a:gd name="T21" fmla="*/ 46 h 82"/>
              <a:gd name="T22" fmla="*/ 4 w 190"/>
              <a:gd name="T23" fmla="*/ 42 h 82"/>
              <a:gd name="T24" fmla="*/ 10 w 190"/>
              <a:gd name="T25" fmla="*/ 36 h 82"/>
              <a:gd name="T26" fmla="*/ 34 w 190"/>
              <a:gd name="T27" fmla="*/ 34 h 82"/>
              <a:gd name="T28" fmla="*/ 16 w 190"/>
              <a:gd name="T29" fmla="*/ 30 h 82"/>
              <a:gd name="T30" fmla="*/ 18 w 190"/>
              <a:gd name="T31" fmla="*/ 24 h 82"/>
              <a:gd name="T32" fmla="*/ 26 w 190"/>
              <a:gd name="T33" fmla="*/ 20 h 82"/>
              <a:gd name="T34" fmla="*/ 34 w 190"/>
              <a:gd name="T35" fmla="*/ 16 h 82"/>
              <a:gd name="T36" fmla="*/ 50 w 190"/>
              <a:gd name="T37" fmla="*/ 14 h 82"/>
              <a:gd name="T38" fmla="*/ 58 w 190"/>
              <a:gd name="T39" fmla="*/ 22 h 82"/>
              <a:gd name="T40" fmla="*/ 66 w 190"/>
              <a:gd name="T41" fmla="*/ 20 h 82"/>
              <a:gd name="T42" fmla="*/ 74 w 190"/>
              <a:gd name="T43" fmla="*/ 20 h 82"/>
              <a:gd name="T44" fmla="*/ 88 w 190"/>
              <a:gd name="T45" fmla="*/ 28 h 82"/>
              <a:gd name="T46" fmla="*/ 98 w 190"/>
              <a:gd name="T47" fmla="*/ 36 h 82"/>
              <a:gd name="T48" fmla="*/ 98 w 190"/>
              <a:gd name="T49" fmla="*/ 40 h 82"/>
              <a:gd name="T50" fmla="*/ 98 w 190"/>
              <a:gd name="T51" fmla="*/ 42 h 82"/>
              <a:gd name="T52" fmla="*/ 100 w 190"/>
              <a:gd name="T53" fmla="*/ 44 h 82"/>
              <a:gd name="T54" fmla="*/ 136 w 190"/>
              <a:gd name="T55" fmla="*/ 44 h 82"/>
              <a:gd name="T56" fmla="*/ 136 w 190"/>
              <a:gd name="T57" fmla="*/ 38 h 82"/>
              <a:gd name="T58" fmla="*/ 118 w 190"/>
              <a:gd name="T59" fmla="*/ 34 h 82"/>
              <a:gd name="T60" fmla="*/ 130 w 190"/>
              <a:gd name="T61" fmla="*/ 28 h 82"/>
              <a:gd name="T62" fmla="*/ 128 w 190"/>
              <a:gd name="T63" fmla="*/ 24 h 82"/>
              <a:gd name="T64" fmla="*/ 116 w 190"/>
              <a:gd name="T65" fmla="*/ 20 h 82"/>
              <a:gd name="T66" fmla="*/ 122 w 190"/>
              <a:gd name="T67" fmla="*/ 10 h 82"/>
              <a:gd name="T68" fmla="*/ 130 w 190"/>
              <a:gd name="T69" fmla="*/ 0 h 82"/>
              <a:gd name="T70" fmla="*/ 140 w 190"/>
              <a:gd name="T71" fmla="*/ 2 h 82"/>
              <a:gd name="T72" fmla="*/ 142 w 190"/>
              <a:gd name="T73" fmla="*/ 8 h 82"/>
              <a:gd name="T74" fmla="*/ 148 w 190"/>
              <a:gd name="T75" fmla="*/ 16 h 82"/>
              <a:gd name="T76" fmla="*/ 146 w 190"/>
              <a:gd name="T77" fmla="*/ 22 h 82"/>
              <a:gd name="T78" fmla="*/ 148 w 190"/>
              <a:gd name="T79" fmla="*/ 30 h 82"/>
              <a:gd name="T80" fmla="*/ 162 w 190"/>
              <a:gd name="T81" fmla="*/ 34 h 82"/>
              <a:gd name="T82" fmla="*/ 168 w 190"/>
              <a:gd name="T83" fmla="*/ 34 h 82"/>
              <a:gd name="T84" fmla="*/ 172 w 190"/>
              <a:gd name="T85" fmla="*/ 28 h 82"/>
              <a:gd name="T86" fmla="*/ 184 w 190"/>
              <a:gd name="T87" fmla="*/ 28 h 82"/>
              <a:gd name="T88" fmla="*/ 190 w 190"/>
              <a:gd name="T89" fmla="*/ 34 h 82"/>
              <a:gd name="T90" fmla="*/ 190 w 190"/>
              <a:gd name="T91" fmla="*/ 48 h 82"/>
              <a:gd name="T92" fmla="*/ 182 w 190"/>
              <a:gd name="T93" fmla="*/ 58 h 82"/>
              <a:gd name="T94" fmla="*/ 168 w 190"/>
              <a:gd name="T95" fmla="*/ 64 h 82"/>
              <a:gd name="T96" fmla="*/ 148 w 190"/>
              <a:gd name="T97" fmla="*/ 58 h 82"/>
              <a:gd name="T98" fmla="*/ 134 w 190"/>
              <a:gd name="T99" fmla="*/ 64 h 82"/>
              <a:gd name="T100" fmla="*/ 114 w 190"/>
              <a:gd name="T101" fmla="*/ 66 h 82"/>
              <a:gd name="T102" fmla="*/ 96 w 190"/>
              <a:gd name="T103" fmla="*/ 76 h 82"/>
              <a:gd name="T104" fmla="*/ 74 w 190"/>
              <a:gd name="T105" fmla="*/ 82 h 82"/>
              <a:gd name="T106" fmla="*/ 58 w 190"/>
              <a:gd name="T107" fmla="*/ 78 h 82"/>
              <a:gd name="T108" fmla="*/ 50 w 190"/>
              <a:gd name="T109" fmla="*/ 70 h 82"/>
              <a:gd name="T110" fmla="*/ 62 w 190"/>
              <a:gd name="T111" fmla="*/ 64 h 82"/>
              <a:gd name="T112" fmla="*/ 80 w 190"/>
              <a:gd name="T113" fmla="*/ 64 h 82"/>
              <a:gd name="T114" fmla="*/ 96 w 190"/>
              <a:gd name="T115" fmla="*/ 62 h 82"/>
              <a:gd name="T116" fmla="*/ 98 w 190"/>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 h="82">
                <a:moveTo>
                  <a:pt x="98" y="56"/>
                </a:moveTo>
                <a:lnTo>
                  <a:pt x="80" y="56"/>
                </a:lnTo>
                <a:lnTo>
                  <a:pt x="58" y="56"/>
                </a:lnTo>
                <a:lnTo>
                  <a:pt x="62" y="48"/>
                </a:lnTo>
                <a:lnTo>
                  <a:pt x="52" y="50"/>
                </a:lnTo>
                <a:lnTo>
                  <a:pt x="48" y="58"/>
                </a:lnTo>
                <a:lnTo>
                  <a:pt x="30" y="62"/>
                </a:lnTo>
                <a:lnTo>
                  <a:pt x="20" y="58"/>
                </a:lnTo>
                <a:lnTo>
                  <a:pt x="2" y="56"/>
                </a:lnTo>
                <a:lnTo>
                  <a:pt x="0" y="48"/>
                </a:lnTo>
                <a:lnTo>
                  <a:pt x="18" y="46"/>
                </a:lnTo>
                <a:lnTo>
                  <a:pt x="4" y="42"/>
                </a:lnTo>
                <a:lnTo>
                  <a:pt x="10" y="36"/>
                </a:lnTo>
                <a:lnTo>
                  <a:pt x="34" y="34"/>
                </a:lnTo>
                <a:lnTo>
                  <a:pt x="16" y="30"/>
                </a:lnTo>
                <a:lnTo>
                  <a:pt x="18" y="24"/>
                </a:lnTo>
                <a:lnTo>
                  <a:pt x="26" y="20"/>
                </a:lnTo>
                <a:lnTo>
                  <a:pt x="34" y="16"/>
                </a:lnTo>
                <a:lnTo>
                  <a:pt x="50" y="14"/>
                </a:lnTo>
                <a:lnTo>
                  <a:pt x="58" y="22"/>
                </a:lnTo>
                <a:lnTo>
                  <a:pt x="66" y="20"/>
                </a:lnTo>
                <a:lnTo>
                  <a:pt x="74" y="20"/>
                </a:lnTo>
                <a:lnTo>
                  <a:pt x="88" y="28"/>
                </a:lnTo>
                <a:lnTo>
                  <a:pt x="98" y="36"/>
                </a:lnTo>
                <a:lnTo>
                  <a:pt x="98" y="40"/>
                </a:lnTo>
                <a:lnTo>
                  <a:pt x="98" y="42"/>
                </a:lnTo>
                <a:lnTo>
                  <a:pt x="100" y="44"/>
                </a:lnTo>
                <a:lnTo>
                  <a:pt x="136" y="44"/>
                </a:lnTo>
                <a:lnTo>
                  <a:pt x="136" y="38"/>
                </a:lnTo>
                <a:lnTo>
                  <a:pt x="118" y="34"/>
                </a:lnTo>
                <a:lnTo>
                  <a:pt x="130" y="28"/>
                </a:lnTo>
                <a:lnTo>
                  <a:pt x="128" y="24"/>
                </a:lnTo>
                <a:lnTo>
                  <a:pt x="116" y="20"/>
                </a:lnTo>
                <a:lnTo>
                  <a:pt x="122" y="10"/>
                </a:lnTo>
                <a:lnTo>
                  <a:pt x="130" y="0"/>
                </a:lnTo>
                <a:lnTo>
                  <a:pt x="140" y="2"/>
                </a:lnTo>
                <a:lnTo>
                  <a:pt x="142" y="8"/>
                </a:lnTo>
                <a:lnTo>
                  <a:pt x="148" y="16"/>
                </a:lnTo>
                <a:lnTo>
                  <a:pt x="146" y="22"/>
                </a:lnTo>
                <a:lnTo>
                  <a:pt x="148" y="30"/>
                </a:lnTo>
                <a:lnTo>
                  <a:pt x="162" y="34"/>
                </a:lnTo>
                <a:lnTo>
                  <a:pt x="168" y="34"/>
                </a:lnTo>
                <a:lnTo>
                  <a:pt x="172" y="28"/>
                </a:lnTo>
                <a:lnTo>
                  <a:pt x="184" y="28"/>
                </a:lnTo>
                <a:lnTo>
                  <a:pt x="190" y="34"/>
                </a:lnTo>
                <a:lnTo>
                  <a:pt x="190" y="48"/>
                </a:lnTo>
                <a:lnTo>
                  <a:pt x="182" y="58"/>
                </a:lnTo>
                <a:lnTo>
                  <a:pt x="168" y="64"/>
                </a:lnTo>
                <a:lnTo>
                  <a:pt x="148" y="58"/>
                </a:lnTo>
                <a:lnTo>
                  <a:pt x="134" y="64"/>
                </a:lnTo>
                <a:lnTo>
                  <a:pt x="114" y="66"/>
                </a:lnTo>
                <a:lnTo>
                  <a:pt x="96" y="76"/>
                </a:lnTo>
                <a:lnTo>
                  <a:pt x="74" y="82"/>
                </a:lnTo>
                <a:lnTo>
                  <a:pt x="58" y="78"/>
                </a:lnTo>
                <a:lnTo>
                  <a:pt x="50" y="70"/>
                </a:lnTo>
                <a:lnTo>
                  <a:pt x="62" y="64"/>
                </a:lnTo>
                <a:lnTo>
                  <a:pt x="80" y="64"/>
                </a:lnTo>
                <a:lnTo>
                  <a:pt x="96" y="62"/>
                </a:lnTo>
                <a:lnTo>
                  <a:pt x="98" y="5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6" name="Freeform 10">
            <a:extLst>
              <a:ext uri="{FF2B5EF4-FFF2-40B4-BE49-F238E27FC236}">
                <a16:creationId xmlns:a16="http://schemas.microsoft.com/office/drawing/2014/main" id="{8CAD7C37-F847-4097-80A5-0C3B9B897D00}"/>
              </a:ext>
            </a:extLst>
          </p:cNvPr>
          <p:cNvSpPr>
            <a:spLocks/>
          </p:cNvSpPr>
          <p:nvPr/>
        </p:nvSpPr>
        <p:spPr bwMode="gray">
          <a:xfrm>
            <a:off x="2459850" y="1585426"/>
            <a:ext cx="208999" cy="111000"/>
          </a:xfrm>
          <a:custGeom>
            <a:avLst/>
            <a:gdLst>
              <a:gd name="T0" fmla="*/ 0 w 106"/>
              <a:gd name="T1" fmla="*/ 12 h 56"/>
              <a:gd name="T2" fmla="*/ 16 w 106"/>
              <a:gd name="T3" fmla="*/ 16 h 56"/>
              <a:gd name="T4" fmla="*/ 26 w 106"/>
              <a:gd name="T5" fmla="*/ 20 h 56"/>
              <a:gd name="T6" fmla="*/ 34 w 106"/>
              <a:gd name="T7" fmla="*/ 28 h 56"/>
              <a:gd name="T8" fmla="*/ 32 w 106"/>
              <a:gd name="T9" fmla="*/ 30 h 56"/>
              <a:gd name="T10" fmla="*/ 18 w 106"/>
              <a:gd name="T11" fmla="*/ 28 h 56"/>
              <a:gd name="T12" fmla="*/ 10 w 106"/>
              <a:gd name="T13" fmla="*/ 30 h 56"/>
              <a:gd name="T14" fmla="*/ 8 w 106"/>
              <a:gd name="T15" fmla="*/ 40 h 56"/>
              <a:gd name="T16" fmla="*/ 20 w 106"/>
              <a:gd name="T17" fmla="*/ 42 h 56"/>
              <a:gd name="T18" fmla="*/ 34 w 106"/>
              <a:gd name="T19" fmla="*/ 40 h 56"/>
              <a:gd name="T20" fmla="*/ 50 w 106"/>
              <a:gd name="T21" fmla="*/ 38 h 56"/>
              <a:gd name="T22" fmla="*/ 66 w 106"/>
              <a:gd name="T23" fmla="*/ 40 h 56"/>
              <a:gd name="T24" fmla="*/ 74 w 106"/>
              <a:gd name="T25" fmla="*/ 46 h 56"/>
              <a:gd name="T26" fmla="*/ 82 w 106"/>
              <a:gd name="T27" fmla="*/ 56 h 56"/>
              <a:gd name="T28" fmla="*/ 98 w 106"/>
              <a:gd name="T29" fmla="*/ 56 h 56"/>
              <a:gd name="T30" fmla="*/ 106 w 106"/>
              <a:gd name="T31" fmla="*/ 48 h 56"/>
              <a:gd name="T32" fmla="*/ 94 w 106"/>
              <a:gd name="T33" fmla="*/ 38 h 56"/>
              <a:gd name="T34" fmla="*/ 90 w 106"/>
              <a:gd name="T35" fmla="*/ 28 h 56"/>
              <a:gd name="T36" fmla="*/ 80 w 106"/>
              <a:gd name="T37" fmla="*/ 20 h 56"/>
              <a:gd name="T38" fmla="*/ 70 w 106"/>
              <a:gd name="T39" fmla="*/ 18 h 56"/>
              <a:gd name="T40" fmla="*/ 64 w 106"/>
              <a:gd name="T41" fmla="*/ 12 h 56"/>
              <a:gd name="T42" fmla="*/ 50 w 106"/>
              <a:gd name="T43" fmla="*/ 10 h 56"/>
              <a:gd name="T44" fmla="*/ 44 w 106"/>
              <a:gd name="T45" fmla="*/ 20 h 56"/>
              <a:gd name="T46" fmla="*/ 42 w 106"/>
              <a:gd name="T47" fmla="*/ 10 h 56"/>
              <a:gd name="T48" fmla="*/ 40 w 106"/>
              <a:gd name="T49" fmla="*/ 2 h 56"/>
              <a:gd name="T50" fmla="*/ 18 w 106"/>
              <a:gd name="T51" fmla="*/ 0 h 56"/>
              <a:gd name="T52" fmla="*/ 0 w 106"/>
              <a:gd name="T53" fmla="*/ 2 h 56"/>
              <a:gd name="T54" fmla="*/ 0 w 106"/>
              <a:gd name="T5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56">
                <a:moveTo>
                  <a:pt x="0" y="12"/>
                </a:moveTo>
                <a:lnTo>
                  <a:pt x="16" y="16"/>
                </a:lnTo>
                <a:lnTo>
                  <a:pt x="26" y="20"/>
                </a:lnTo>
                <a:lnTo>
                  <a:pt x="34" y="28"/>
                </a:lnTo>
                <a:lnTo>
                  <a:pt x="32" y="30"/>
                </a:lnTo>
                <a:lnTo>
                  <a:pt x="18" y="28"/>
                </a:lnTo>
                <a:lnTo>
                  <a:pt x="10" y="30"/>
                </a:lnTo>
                <a:lnTo>
                  <a:pt x="8" y="40"/>
                </a:lnTo>
                <a:lnTo>
                  <a:pt x="20" y="42"/>
                </a:lnTo>
                <a:lnTo>
                  <a:pt x="34" y="40"/>
                </a:lnTo>
                <a:lnTo>
                  <a:pt x="50" y="38"/>
                </a:lnTo>
                <a:lnTo>
                  <a:pt x="66" y="40"/>
                </a:lnTo>
                <a:lnTo>
                  <a:pt x="74" y="46"/>
                </a:lnTo>
                <a:lnTo>
                  <a:pt x="82" y="56"/>
                </a:lnTo>
                <a:lnTo>
                  <a:pt x="98" y="56"/>
                </a:lnTo>
                <a:lnTo>
                  <a:pt x="106" y="48"/>
                </a:lnTo>
                <a:lnTo>
                  <a:pt x="94" y="38"/>
                </a:lnTo>
                <a:lnTo>
                  <a:pt x="90" y="28"/>
                </a:lnTo>
                <a:lnTo>
                  <a:pt x="80" y="20"/>
                </a:lnTo>
                <a:lnTo>
                  <a:pt x="70" y="18"/>
                </a:lnTo>
                <a:lnTo>
                  <a:pt x="64" y="12"/>
                </a:lnTo>
                <a:lnTo>
                  <a:pt x="50" y="10"/>
                </a:lnTo>
                <a:lnTo>
                  <a:pt x="44" y="20"/>
                </a:lnTo>
                <a:lnTo>
                  <a:pt x="42" y="10"/>
                </a:lnTo>
                <a:lnTo>
                  <a:pt x="40" y="2"/>
                </a:lnTo>
                <a:lnTo>
                  <a:pt x="18" y="0"/>
                </a:lnTo>
                <a:lnTo>
                  <a:pt x="0" y="2"/>
                </a:lnTo>
                <a:lnTo>
                  <a:pt x="0" y="1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7" name="Freeform 11">
            <a:extLst>
              <a:ext uri="{FF2B5EF4-FFF2-40B4-BE49-F238E27FC236}">
                <a16:creationId xmlns:a16="http://schemas.microsoft.com/office/drawing/2014/main" id="{563BD35E-B9F3-4DD8-A94C-5ECAE81589E7}"/>
              </a:ext>
            </a:extLst>
          </p:cNvPr>
          <p:cNvSpPr>
            <a:spLocks/>
          </p:cNvSpPr>
          <p:nvPr/>
        </p:nvSpPr>
        <p:spPr bwMode="gray">
          <a:xfrm>
            <a:off x="2491397" y="1767784"/>
            <a:ext cx="220830" cy="111000"/>
          </a:xfrm>
          <a:custGeom>
            <a:avLst/>
            <a:gdLst>
              <a:gd name="T0" fmla="*/ 104 w 112"/>
              <a:gd name="T1" fmla="*/ 52 h 56"/>
              <a:gd name="T2" fmla="*/ 92 w 112"/>
              <a:gd name="T3" fmla="*/ 54 h 56"/>
              <a:gd name="T4" fmla="*/ 70 w 112"/>
              <a:gd name="T5" fmla="*/ 56 h 56"/>
              <a:gd name="T6" fmla="*/ 66 w 112"/>
              <a:gd name="T7" fmla="*/ 44 h 56"/>
              <a:gd name="T8" fmla="*/ 74 w 112"/>
              <a:gd name="T9" fmla="*/ 36 h 56"/>
              <a:gd name="T10" fmla="*/ 68 w 112"/>
              <a:gd name="T11" fmla="*/ 36 h 56"/>
              <a:gd name="T12" fmla="*/ 58 w 112"/>
              <a:gd name="T13" fmla="*/ 34 h 56"/>
              <a:gd name="T14" fmla="*/ 48 w 112"/>
              <a:gd name="T15" fmla="*/ 34 h 56"/>
              <a:gd name="T16" fmla="*/ 36 w 112"/>
              <a:gd name="T17" fmla="*/ 38 h 56"/>
              <a:gd name="T18" fmla="*/ 26 w 112"/>
              <a:gd name="T19" fmla="*/ 34 h 56"/>
              <a:gd name="T20" fmla="*/ 8 w 112"/>
              <a:gd name="T21" fmla="*/ 20 h 56"/>
              <a:gd name="T22" fmla="*/ 0 w 112"/>
              <a:gd name="T23" fmla="*/ 4 h 56"/>
              <a:gd name="T24" fmla="*/ 8 w 112"/>
              <a:gd name="T25" fmla="*/ 0 h 56"/>
              <a:gd name="T26" fmla="*/ 18 w 112"/>
              <a:gd name="T27" fmla="*/ 6 h 56"/>
              <a:gd name="T28" fmla="*/ 26 w 112"/>
              <a:gd name="T29" fmla="*/ 14 h 56"/>
              <a:gd name="T30" fmla="*/ 40 w 112"/>
              <a:gd name="T31" fmla="*/ 26 h 56"/>
              <a:gd name="T32" fmla="*/ 48 w 112"/>
              <a:gd name="T33" fmla="*/ 24 h 56"/>
              <a:gd name="T34" fmla="*/ 40 w 112"/>
              <a:gd name="T35" fmla="*/ 16 h 56"/>
              <a:gd name="T36" fmla="*/ 40 w 112"/>
              <a:gd name="T37" fmla="*/ 10 h 56"/>
              <a:gd name="T38" fmla="*/ 48 w 112"/>
              <a:gd name="T39" fmla="*/ 8 h 56"/>
              <a:gd name="T40" fmla="*/ 58 w 112"/>
              <a:gd name="T41" fmla="*/ 16 h 56"/>
              <a:gd name="T42" fmla="*/ 70 w 112"/>
              <a:gd name="T43" fmla="*/ 26 h 56"/>
              <a:gd name="T44" fmla="*/ 74 w 112"/>
              <a:gd name="T45" fmla="*/ 20 h 56"/>
              <a:gd name="T46" fmla="*/ 68 w 112"/>
              <a:gd name="T47" fmla="*/ 12 h 56"/>
              <a:gd name="T48" fmla="*/ 62 w 112"/>
              <a:gd name="T49" fmla="*/ 4 h 56"/>
              <a:gd name="T50" fmla="*/ 64 w 112"/>
              <a:gd name="T51" fmla="*/ 0 h 56"/>
              <a:gd name="T52" fmla="*/ 78 w 112"/>
              <a:gd name="T53" fmla="*/ 2 h 56"/>
              <a:gd name="T54" fmla="*/ 84 w 112"/>
              <a:gd name="T55" fmla="*/ 8 h 56"/>
              <a:gd name="T56" fmla="*/ 92 w 112"/>
              <a:gd name="T57" fmla="*/ 4 h 56"/>
              <a:gd name="T58" fmla="*/ 104 w 112"/>
              <a:gd name="T59" fmla="*/ 4 h 56"/>
              <a:gd name="T60" fmla="*/ 108 w 112"/>
              <a:gd name="T61" fmla="*/ 10 h 56"/>
              <a:gd name="T62" fmla="*/ 110 w 112"/>
              <a:gd name="T63" fmla="*/ 28 h 56"/>
              <a:gd name="T64" fmla="*/ 112 w 112"/>
              <a:gd name="T65" fmla="*/ 36 h 56"/>
              <a:gd name="T66" fmla="*/ 104 w 112"/>
              <a:gd name="T67" fmla="*/ 40 h 56"/>
              <a:gd name="T68" fmla="*/ 104 w 112"/>
              <a:gd name="T69"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56">
                <a:moveTo>
                  <a:pt x="104" y="52"/>
                </a:moveTo>
                <a:lnTo>
                  <a:pt x="92" y="54"/>
                </a:lnTo>
                <a:lnTo>
                  <a:pt x="70" y="56"/>
                </a:lnTo>
                <a:lnTo>
                  <a:pt x="66" y="44"/>
                </a:lnTo>
                <a:lnTo>
                  <a:pt x="74" y="36"/>
                </a:lnTo>
                <a:lnTo>
                  <a:pt x="68" y="36"/>
                </a:lnTo>
                <a:lnTo>
                  <a:pt x="58" y="34"/>
                </a:lnTo>
                <a:lnTo>
                  <a:pt x="48" y="34"/>
                </a:lnTo>
                <a:lnTo>
                  <a:pt x="36" y="38"/>
                </a:lnTo>
                <a:lnTo>
                  <a:pt x="26" y="34"/>
                </a:lnTo>
                <a:lnTo>
                  <a:pt x="8" y="20"/>
                </a:lnTo>
                <a:lnTo>
                  <a:pt x="0" y="4"/>
                </a:lnTo>
                <a:lnTo>
                  <a:pt x="8" y="0"/>
                </a:lnTo>
                <a:lnTo>
                  <a:pt x="18" y="6"/>
                </a:lnTo>
                <a:lnTo>
                  <a:pt x="26" y="14"/>
                </a:lnTo>
                <a:lnTo>
                  <a:pt x="40" y="26"/>
                </a:lnTo>
                <a:lnTo>
                  <a:pt x="48" y="24"/>
                </a:lnTo>
                <a:lnTo>
                  <a:pt x="40" y="16"/>
                </a:lnTo>
                <a:lnTo>
                  <a:pt x="40" y="10"/>
                </a:lnTo>
                <a:lnTo>
                  <a:pt x="48" y="8"/>
                </a:lnTo>
                <a:lnTo>
                  <a:pt x="58" y="16"/>
                </a:lnTo>
                <a:lnTo>
                  <a:pt x="70" y="26"/>
                </a:lnTo>
                <a:lnTo>
                  <a:pt x="74" y="20"/>
                </a:lnTo>
                <a:lnTo>
                  <a:pt x="68" y="12"/>
                </a:lnTo>
                <a:lnTo>
                  <a:pt x="62" y="4"/>
                </a:lnTo>
                <a:lnTo>
                  <a:pt x="64" y="0"/>
                </a:lnTo>
                <a:lnTo>
                  <a:pt x="78" y="2"/>
                </a:lnTo>
                <a:lnTo>
                  <a:pt x="84" y="8"/>
                </a:lnTo>
                <a:lnTo>
                  <a:pt x="92" y="4"/>
                </a:lnTo>
                <a:lnTo>
                  <a:pt x="104" y="4"/>
                </a:lnTo>
                <a:lnTo>
                  <a:pt x="108" y="10"/>
                </a:lnTo>
                <a:lnTo>
                  <a:pt x="110" y="28"/>
                </a:lnTo>
                <a:lnTo>
                  <a:pt x="112" y="36"/>
                </a:lnTo>
                <a:lnTo>
                  <a:pt x="104" y="40"/>
                </a:lnTo>
                <a:lnTo>
                  <a:pt x="104" y="5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8" name="Freeform 12">
            <a:extLst>
              <a:ext uri="{FF2B5EF4-FFF2-40B4-BE49-F238E27FC236}">
                <a16:creationId xmlns:a16="http://schemas.microsoft.com/office/drawing/2014/main" id="{BE52E3FE-4ADC-41C2-8BE7-38362B513F4C}"/>
              </a:ext>
            </a:extLst>
          </p:cNvPr>
          <p:cNvSpPr>
            <a:spLocks/>
          </p:cNvSpPr>
          <p:nvPr/>
        </p:nvSpPr>
        <p:spPr bwMode="gray">
          <a:xfrm>
            <a:off x="2739832" y="1740033"/>
            <a:ext cx="532359" cy="166502"/>
          </a:xfrm>
          <a:custGeom>
            <a:avLst/>
            <a:gdLst>
              <a:gd name="T0" fmla="*/ 48 w 270"/>
              <a:gd name="T1" fmla="*/ 26 h 84"/>
              <a:gd name="T2" fmla="*/ 34 w 270"/>
              <a:gd name="T3" fmla="*/ 28 h 84"/>
              <a:gd name="T4" fmla="*/ 20 w 270"/>
              <a:gd name="T5" fmla="*/ 26 h 84"/>
              <a:gd name="T6" fmla="*/ 6 w 270"/>
              <a:gd name="T7" fmla="*/ 20 h 84"/>
              <a:gd name="T8" fmla="*/ 0 w 270"/>
              <a:gd name="T9" fmla="*/ 14 h 84"/>
              <a:gd name="T10" fmla="*/ 2 w 270"/>
              <a:gd name="T11" fmla="*/ 4 h 84"/>
              <a:gd name="T12" fmla="*/ 14 w 270"/>
              <a:gd name="T13" fmla="*/ 0 h 84"/>
              <a:gd name="T14" fmla="*/ 32 w 270"/>
              <a:gd name="T15" fmla="*/ 6 h 84"/>
              <a:gd name="T16" fmla="*/ 48 w 270"/>
              <a:gd name="T17" fmla="*/ 10 h 84"/>
              <a:gd name="T18" fmla="*/ 54 w 270"/>
              <a:gd name="T19" fmla="*/ 18 h 84"/>
              <a:gd name="T20" fmla="*/ 70 w 270"/>
              <a:gd name="T21" fmla="*/ 18 h 84"/>
              <a:gd name="T22" fmla="*/ 88 w 270"/>
              <a:gd name="T23" fmla="*/ 14 h 84"/>
              <a:gd name="T24" fmla="*/ 96 w 270"/>
              <a:gd name="T25" fmla="*/ 24 h 84"/>
              <a:gd name="T26" fmla="*/ 96 w 270"/>
              <a:gd name="T27" fmla="*/ 34 h 84"/>
              <a:gd name="T28" fmla="*/ 100 w 270"/>
              <a:gd name="T29" fmla="*/ 40 h 84"/>
              <a:gd name="T30" fmla="*/ 120 w 270"/>
              <a:gd name="T31" fmla="*/ 52 h 84"/>
              <a:gd name="T32" fmla="*/ 150 w 270"/>
              <a:gd name="T33" fmla="*/ 52 h 84"/>
              <a:gd name="T34" fmla="*/ 172 w 270"/>
              <a:gd name="T35" fmla="*/ 54 h 84"/>
              <a:gd name="T36" fmla="*/ 198 w 270"/>
              <a:gd name="T37" fmla="*/ 44 h 84"/>
              <a:gd name="T38" fmla="*/ 236 w 270"/>
              <a:gd name="T39" fmla="*/ 46 h 84"/>
              <a:gd name="T40" fmla="*/ 256 w 270"/>
              <a:gd name="T41" fmla="*/ 50 h 84"/>
              <a:gd name="T42" fmla="*/ 270 w 270"/>
              <a:gd name="T43" fmla="*/ 56 h 84"/>
              <a:gd name="T44" fmla="*/ 268 w 270"/>
              <a:gd name="T45" fmla="*/ 66 h 84"/>
              <a:gd name="T46" fmla="*/ 262 w 270"/>
              <a:gd name="T47" fmla="*/ 70 h 84"/>
              <a:gd name="T48" fmla="*/ 260 w 270"/>
              <a:gd name="T49" fmla="*/ 82 h 84"/>
              <a:gd name="T50" fmla="*/ 222 w 270"/>
              <a:gd name="T51" fmla="*/ 84 h 84"/>
              <a:gd name="T52" fmla="*/ 212 w 270"/>
              <a:gd name="T53" fmla="*/ 76 h 84"/>
              <a:gd name="T54" fmla="*/ 206 w 270"/>
              <a:gd name="T55" fmla="*/ 84 h 84"/>
              <a:gd name="T56" fmla="*/ 132 w 270"/>
              <a:gd name="T57" fmla="*/ 84 h 84"/>
              <a:gd name="T58" fmla="*/ 130 w 270"/>
              <a:gd name="T59" fmla="*/ 74 h 84"/>
              <a:gd name="T60" fmla="*/ 126 w 270"/>
              <a:gd name="T61" fmla="*/ 72 h 84"/>
              <a:gd name="T62" fmla="*/ 120 w 270"/>
              <a:gd name="T63" fmla="*/ 78 h 84"/>
              <a:gd name="T64" fmla="*/ 116 w 270"/>
              <a:gd name="T65" fmla="*/ 84 h 84"/>
              <a:gd name="T66" fmla="*/ 92 w 270"/>
              <a:gd name="T67" fmla="*/ 80 h 84"/>
              <a:gd name="T68" fmla="*/ 88 w 270"/>
              <a:gd name="T69" fmla="*/ 74 h 84"/>
              <a:gd name="T70" fmla="*/ 84 w 270"/>
              <a:gd name="T71" fmla="*/ 78 h 84"/>
              <a:gd name="T72" fmla="*/ 78 w 270"/>
              <a:gd name="T73" fmla="*/ 78 h 84"/>
              <a:gd name="T74" fmla="*/ 72 w 270"/>
              <a:gd name="T75" fmla="*/ 70 h 84"/>
              <a:gd name="T76" fmla="*/ 68 w 270"/>
              <a:gd name="T77" fmla="*/ 58 h 84"/>
              <a:gd name="T78" fmla="*/ 68 w 270"/>
              <a:gd name="T79" fmla="*/ 54 h 84"/>
              <a:gd name="T80" fmla="*/ 72 w 270"/>
              <a:gd name="T81" fmla="*/ 48 h 84"/>
              <a:gd name="T82" fmla="*/ 64 w 270"/>
              <a:gd name="T83" fmla="*/ 38 h 84"/>
              <a:gd name="T84" fmla="*/ 58 w 270"/>
              <a:gd name="T85" fmla="*/ 28 h 84"/>
              <a:gd name="T86" fmla="*/ 48 w 270"/>
              <a:gd name="T87"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0" h="84">
                <a:moveTo>
                  <a:pt x="48" y="26"/>
                </a:moveTo>
                <a:lnTo>
                  <a:pt x="34" y="28"/>
                </a:lnTo>
                <a:lnTo>
                  <a:pt x="20" y="26"/>
                </a:lnTo>
                <a:lnTo>
                  <a:pt x="6" y="20"/>
                </a:lnTo>
                <a:lnTo>
                  <a:pt x="0" y="14"/>
                </a:lnTo>
                <a:lnTo>
                  <a:pt x="2" y="4"/>
                </a:lnTo>
                <a:lnTo>
                  <a:pt x="14" y="0"/>
                </a:lnTo>
                <a:lnTo>
                  <a:pt x="32" y="6"/>
                </a:lnTo>
                <a:lnTo>
                  <a:pt x="48" y="10"/>
                </a:lnTo>
                <a:lnTo>
                  <a:pt x="54" y="18"/>
                </a:lnTo>
                <a:lnTo>
                  <a:pt x="70" y="18"/>
                </a:lnTo>
                <a:lnTo>
                  <a:pt x="88" y="14"/>
                </a:lnTo>
                <a:lnTo>
                  <a:pt x="96" y="24"/>
                </a:lnTo>
                <a:lnTo>
                  <a:pt x="96" y="34"/>
                </a:lnTo>
                <a:lnTo>
                  <a:pt x="100" y="40"/>
                </a:lnTo>
                <a:lnTo>
                  <a:pt x="120" y="52"/>
                </a:lnTo>
                <a:lnTo>
                  <a:pt x="150" y="52"/>
                </a:lnTo>
                <a:lnTo>
                  <a:pt x="172" y="54"/>
                </a:lnTo>
                <a:lnTo>
                  <a:pt x="198" y="44"/>
                </a:lnTo>
                <a:lnTo>
                  <a:pt x="236" y="46"/>
                </a:lnTo>
                <a:lnTo>
                  <a:pt x="256" y="50"/>
                </a:lnTo>
                <a:lnTo>
                  <a:pt x="270" y="56"/>
                </a:lnTo>
                <a:lnTo>
                  <a:pt x="268" y="66"/>
                </a:lnTo>
                <a:lnTo>
                  <a:pt x="262" y="70"/>
                </a:lnTo>
                <a:lnTo>
                  <a:pt x="260" y="82"/>
                </a:lnTo>
                <a:lnTo>
                  <a:pt x="222" y="84"/>
                </a:lnTo>
                <a:lnTo>
                  <a:pt x="212" y="76"/>
                </a:lnTo>
                <a:lnTo>
                  <a:pt x="206" y="84"/>
                </a:lnTo>
                <a:lnTo>
                  <a:pt x="132" y="84"/>
                </a:lnTo>
                <a:lnTo>
                  <a:pt x="130" y="74"/>
                </a:lnTo>
                <a:lnTo>
                  <a:pt x="126" y="72"/>
                </a:lnTo>
                <a:lnTo>
                  <a:pt x="120" y="78"/>
                </a:lnTo>
                <a:lnTo>
                  <a:pt x="116" y="84"/>
                </a:lnTo>
                <a:lnTo>
                  <a:pt x="92" y="80"/>
                </a:lnTo>
                <a:lnTo>
                  <a:pt x="88" y="74"/>
                </a:lnTo>
                <a:lnTo>
                  <a:pt x="84" y="78"/>
                </a:lnTo>
                <a:lnTo>
                  <a:pt x="78" y="78"/>
                </a:lnTo>
                <a:lnTo>
                  <a:pt x="72" y="70"/>
                </a:lnTo>
                <a:lnTo>
                  <a:pt x="68" y="58"/>
                </a:lnTo>
                <a:lnTo>
                  <a:pt x="68" y="54"/>
                </a:lnTo>
                <a:lnTo>
                  <a:pt x="72" y="48"/>
                </a:lnTo>
                <a:lnTo>
                  <a:pt x="64" y="38"/>
                </a:lnTo>
                <a:lnTo>
                  <a:pt x="58" y="28"/>
                </a:lnTo>
                <a:lnTo>
                  <a:pt x="48" y="2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39" name="Freeform 13">
            <a:extLst>
              <a:ext uri="{FF2B5EF4-FFF2-40B4-BE49-F238E27FC236}">
                <a16:creationId xmlns:a16="http://schemas.microsoft.com/office/drawing/2014/main" id="{B0F2475A-63E7-41FA-B682-9E7649504009}"/>
              </a:ext>
            </a:extLst>
          </p:cNvPr>
          <p:cNvSpPr>
            <a:spLocks/>
          </p:cNvSpPr>
          <p:nvPr/>
        </p:nvSpPr>
        <p:spPr bwMode="gray">
          <a:xfrm>
            <a:off x="2767435" y="1934284"/>
            <a:ext cx="177454" cy="126858"/>
          </a:xfrm>
          <a:custGeom>
            <a:avLst/>
            <a:gdLst>
              <a:gd name="T0" fmla="*/ 8 w 90"/>
              <a:gd name="T1" fmla="*/ 2 h 64"/>
              <a:gd name="T2" fmla="*/ 0 w 90"/>
              <a:gd name="T3" fmla="*/ 14 h 64"/>
              <a:gd name="T4" fmla="*/ 4 w 90"/>
              <a:gd name="T5" fmla="*/ 36 h 64"/>
              <a:gd name="T6" fmla="*/ 8 w 90"/>
              <a:gd name="T7" fmla="*/ 50 h 64"/>
              <a:gd name="T8" fmla="*/ 12 w 90"/>
              <a:gd name="T9" fmla="*/ 62 h 64"/>
              <a:gd name="T10" fmla="*/ 24 w 90"/>
              <a:gd name="T11" fmla="*/ 64 h 64"/>
              <a:gd name="T12" fmla="*/ 34 w 90"/>
              <a:gd name="T13" fmla="*/ 52 h 64"/>
              <a:gd name="T14" fmla="*/ 30 w 90"/>
              <a:gd name="T15" fmla="*/ 42 h 64"/>
              <a:gd name="T16" fmla="*/ 42 w 90"/>
              <a:gd name="T17" fmla="*/ 40 h 64"/>
              <a:gd name="T18" fmla="*/ 60 w 90"/>
              <a:gd name="T19" fmla="*/ 40 h 64"/>
              <a:gd name="T20" fmla="*/ 78 w 90"/>
              <a:gd name="T21" fmla="*/ 18 h 64"/>
              <a:gd name="T22" fmla="*/ 90 w 90"/>
              <a:gd name="T23" fmla="*/ 2 h 64"/>
              <a:gd name="T24" fmla="*/ 60 w 90"/>
              <a:gd name="T25" fmla="*/ 2 h 64"/>
              <a:gd name="T26" fmla="*/ 42 w 90"/>
              <a:gd name="T27" fmla="*/ 0 h 64"/>
              <a:gd name="T28" fmla="*/ 20 w 90"/>
              <a:gd name="T29" fmla="*/ 0 h 64"/>
              <a:gd name="T30" fmla="*/ 8 w 90"/>
              <a:gd name="T31"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64">
                <a:moveTo>
                  <a:pt x="8" y="2"/>
                </a:moveTo>
                <a:lnTo>
                  <a:pt x="0" y="14"/>
                </a:lnTo>
                <a:lnTo>
                  <a:pt x="4" y="36"/>
                </a:lnTo>
                <a:lnTo>
                  <a:pt x="8" y="50"/>
                </a:lnTo>
                <a:lnTo>
                  <a:pt x="12" y="62"/>
                </a:lnTo>
                <a:lnTo>
                  <a:pt x="24" y="64"/>
                </a:lnTo>
                <a:lnTo>
                  <a:pt x="34" y="52"/>
                </a:lnTo>
                <a:lnTo>
                  <a:pt x="30" y="42"/>
                </a:lnTo>
                <a:lnTo>
                  <a:pt x="42" y="40"/>
                </a:lnTo>
                <a:lnTo>
                  <a:pt x="60" y="40"/>
                </a:lnTo>
                <a:lnTo>
                  <a:pt x="78" y="18"/>
                </a:lnTo>
                <a:lnTo>
                  <a:pt x="90" y="2"/>
                </a:lnTo>
                <a:lnTo>
                  <a:pt x="60" y="2"/>
                </a:lnTo>
                <a:lnTo>
                  <a:pt x="42" y="0"/>
                </a:lnTo>
                <a:lnTo>
                  <a:pt x="20" y="0"/>
                </a:lnTo>
                <a:lnTo>
                  <a:pt x="8"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0" name="Freeform 14">
            <a:extLst>
              <a:ext uri="{FF2B5EF4-FFF2-40B4-BE49-F238E27FC236}">
                <a16:creationId xmlns:a16="http://schemas.microsoft.com/office/drawing/2014/main" id="{B54EF728-3FB3-4502-A7D9-D55EE97DCB79}"/>
              </a:ext>
            </a:extLst>
          </p:cNvPr>
          <p:cNvSpPr>
            <a:spLocks/>
          </p:cNvSpPr>
          <p:nvPr/>
        </p:nvSpPr>
        <p:spPr bwMode="gray">
          <a:xfrm>
            <a:off x="2885737" y="1303958"/>
            <a:ext cx="966133" cy="499504"/>
          </a:xfrm>
          <a:custGeom>
            <a:avLst/>
            <a:gdLst>
              <a:gd name="T0" fmla="*/ 370 w 490"/>
              <a:gd name="T1" fmla="*/ 94 h 252"/>
              <a:gd name="T2" fmla="*/ 324 w 490"/>
              <a:gd name="T3" fmla="*/ 130 h 252"/>
              <a:gd name="T4" fmla="*/ 280 w 490"/>
              <a:gd name="T5" fmla="*/ 126 h 252"/>
              <a:gd name="T6" fmla="*/ 296 w 490"/>
              <a:gd name="T7" fmla="*/ 138 h 252"/>
              <a:gd name="T8" fmla="*/ 264 w 490"/>
              <a:gd name="T9" fmla="*/ 140 h 252"/>
              <a:gd name="T10" fmla="*/ 254 w 490"/>
              <a:gd name="T11" fmla="*/ 148 h 252"/>
              <a:gd name="T12" fmla="*/ 254 w 490"/>
              <a:gd name="T13" fmla="*/ 154 h 252"/>
              <a:gd name="T14" fmla="*/ 268 w 490"/>
              <a:gd name="T15" fmla="*/ 170 h 252"/>
              <a:gd name="T16" fmla="*/ 260 w 490"/>
              <a:gd name="T17" fmla="*/ 184 h 252"/>
              <a:gd name="T18" fmla="*/ 220 w 490"/>
              <a:gd name="T19" fmla="*/ 206 h 252"/>
              <a:gd name="T20" fmla="*/ 164 w 490"/>
              <a:gd name="T21" fmla="*/ 216 h 252"/>
              <a:gd name="T22" fmla="*/ 206 w 490"/>
              <a:gd name="T23" fmla="*/ 232 h 252"/>
              <a:gd name="T24" fmla="*/ 224 w 490"/>
              <a:gd name="T25" fmla="*/ 236 h 252"/>
              <a:gd name="T26" fmla="*/ 172 w 490"/>
              <a:gd name="T27" fmla="*/ 252 h 252"/>
              <a:gd name="T28" fmla="*/ 138 w 490"/>
              <a:gd name="T29" fmla="*/ 238 h 252"/>
              <a:gd name="T30" fmla="*/ 88 w 490"/>
              <a:gd name="T31" fmla="*/ 244 h 252"/>
              <a:gd name="T32" fmla="*/ 62 w 490"/>
              <a:gd name="T33" fmla="*/ 244 h 252"/>
              <a:gd name="T34" fmla="*/ 42 w 490"/>
              <a:gd name="T35" fmla="*/ 224 h 252"/>
              <a:gd name="T36" fmla="*/ 80 w 490"/>
              <a:gd name="T37" fmla="*/ 212 h 252"/>
              <a:gd name="T38" fmla="*/ 88 w 490"/>
              <a:gd name="T39" fmla="*/ 196 h 252"/>
              <a:gd name="T40" fmla="*/ 132 w 490"/>
              <a:gd name="T41" fmla="*/ 212 h 252"/>
              <a:gd name="T42" fmla="*/ 140 w 490"/>
              <a:gd name="T43" fmla="*/ 194 h 252"/>
              <a:gd name="T44" fmla="*/ 108 w 490"/>
              <a:gd name="T45" fmla="*/ 194 h 252"/>
              <a:gd name="T46" fmla="*/ 106 w 490"/>
              <a:gd name="T47" fmla="*/ 180 h 252"/>
              <a:gd name="T48" fmla="*/ 68 w 490"/>
              <a:gd name="T49" fmla="*/ 176 h 252"/>
              <a:gd name="T50" fmla="*/ 114 w 490"/>
              <a:gd name="T51" fmla="*/ 160 h 252"/>
              <a:gd name="T52" fmla="*/ 160 w 490"/>
              <a:gd name="T53" fmla="*/ 158 h 252"/>
              <a:gd name="T54" fmla="*/ 114 w 490"/>
              <a:gd name="T55" fmla="*/ 138 h 252"/>
              <a:gd name="T56" fmla="*/ 86 w 490"/>
              <a:gd name="T57" fmla="*/ 114 h 252"/>
              <a:gd name="T58" fmla="*/ 144 w 490"/>
              <a:gd name="T59" fmla="*/ 120 h 252"/>
              <a:gd name="T60" fmla="*/ 166 w 490"/>
              <a:gd name="T61" fmla="*/ 126 h 252"/>
              <a:gd name="T62" fmla="*/ 168 w 490"/>
              <a:gd name="T63" fmla="*/ 104 h 252"/>
              <a:gd name="T64" fmla="*/ 208 w 490"/>
              <a:gd name="T65" fmla="*/ 86 h 252"/>
              <a:gd name="T66" fmla="*/ 226 w 490"/>
              <a:gd name="T67" fmla="*/ 68 h 252"/>
              <a:gd name="T68" fmla="*/ 162 w 490"/>
              <a:gd name="T69" fmla="*/ 96 h 252"/>
              <a:gd name="T70" fmla="*/ 128 w 490"/>
              <a:gd name="T71" fmla="*/ 100 h 252"/>
              <a:gd name="T72" fmla="*/ 98 w 490"/>
              <a:gd name="T73" fmla="*/ 82 h 252"/>
              <a:gd name="T74" fmla="*/ 62 w 490"/>
              <a:gd name="T75" fmla="*/ 78 h 252"/>
              <a:gd name="T76" fmla="*/ 48 w 490"/>
              <a:gd name="T77" fmla="*/ 66 h 252"/>
              <a:gd name="T78" fmla="*/ 32 w 490"/>
              <a:gd name="T79" fmla="*/ 66 h 252"/>
              <a:gd name="T80" fmla="*/ 20 w 490"/>
              <a:gd name="T81" fmla="*/ 56 h 252"/>
              <a:gd name="T82" fmla="*/ 36 w 490"/>
              <a:gd name="T83" fmla="*/ 50 h 252"/>
              <a:gd name="T84" fmla="*/ 80 w 490"/>
              <a:gd name="T85" fmla="*/ 46 h 252"/>
              <a:gd name="T86" fmla="*/ 102 w 490"/>
              <a:gd name="T87" fmla="*/ 28 h 252"/>
              <a:gd name="T88" fmla="*/ 168 w 490"/>
              <a:gd name="T89" fmla="*/ 40 h 252"/>
              <a:gd name="T90" fmla="*/ 164 w 490"/>
              <a:gd name="T91" fmla="*/ 18 h 252"/>
              <a:gd name="T92" fmla="*/ 216 w 490"/>
              <a:gd name="T93" fmla="*/ 10 h 252"/>
              <a:gd name="T94" fmla="*/ 254 w 490"/>
              <a:gd name="T95" fmla="*/ 22 h 252"/>
              <a:gd name="T96" fmla="*/ 278 w 490"/>
              <a:gd name="T97" fmla="*/ 4 h 252"/>
              <a:gd name="T98" fmla="*/ 298 w 490"/>
              <a:gd name="T99" fmla="*/ 2 h 252"/>
              <a:gd name="T100" fmla="*/ 350 w 490"/>
              <a:gd name="T101" fmla="*/ 2 h 252"/>
              <a:gd name="T102" fmla="*/ 388 w 490"/>
              <a:gd name="T103" fmla="*/ 16 h 252"/>
              <a:gd name="T104" fmla="*/ 452 w 490"/>
              <a:gd name="T105" fmla="*/ 14 h 252"/>
              <a:gd name="T106" fmla="*/ 482 w 490"/>
              <a:gd name="T107" fmla="*/ 40 h 252"/>
              <a:gd name="T108" fmla="*/ 376 w 490"/>
              <a:gd name="T109" fmla="*/ 62 h 252"/>
              <a:gd name="T110" fmla="*/ 398 w 490"/>
              <a:gd name="T111" fmla="*/ 7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0" h="252">
                <a:moveTo>
                  <a:pt x="434" y="68"/>
                </a:moveTo>
                <a:lnTo>
                  <a:pt x="412" y="76"/>
                </a:lnTo>
                <a:lnTo>
                  <a:pt x="396" y="86"/>
                </a:lnTo>
                <a:lnTo>
                  <a:pt x="370" y="94"/>
                </a:lnTo>
                <a:lnTo>
                  <a:pt x="352" y="108"/>
                </a:lnTo>
                <a:lnTo>
                  <a:pt x="340" y="108"/>
                </a:lnTo>
                <a:lnTo>
                  <a:pt x="336" y="120"/>
                </a:lnTo>
                <a:lnTo>
                  <a:pt x="324" y="130"/>
                </a:lnTo>
                <a:lnTo>
                  <a:pt x="308" y="134"/>
                </a:lnTo>
                <a:lnTo>
                  <a:pt x="300" y="128"/>
                </a:lnTo>
                <a:lnTo>
                  <a:pt x="286" y="124"/>
                </a:lnTo>
                <a:lnTo>
                  <a:pt x="280" y="126"/>
                </a:lnTo>
                <a:lnTo>
                  <a:pt x="288" y="130"/>
                </a:lnTo>
                <a:lnTo>
                  <a:pt x="296" y="132"/>
                </a:lnTo>
                <a:lnTo>
                  <a:pt x="296" y="136"/>
                </a:lnTo>
                <a:lnTo>
                  <a:pt x="296" y="138"/>
                </a:lnTo>
                <a:lnTo>
                  <a:pt x="294" y="138"/>
                </a:lnTo>
                <a:lnTo>
                  <a:pt x="286" y="138"/>
                </a:lnTo>
                <a:lnTo>
                  <a:pt x="276" y="142"/>
                </a:lnTo>
                <a:lnTo>
                  <a:pt x="264" y="140"/>
                </a:lnTo>
                <a:lnTo>
                  <a:pt x="246" y="138"/>
                </a:lnTo>
                <a:lnTo>
                  <a:pt x="234" y="142"/>
                </a:lnTo>
                <a:lnTo>
                  <a:pt x="240" y="148"/>
                </a:lnTo>
                <a:lnTo>
                  <a:pt x="254" y="148"/>
                </a:lnTo>
                <a:lnTo>
                  <a:pt x="272" y="148"/>
                </a:lnTo>
                <a:lnTo>
                  <a:pt x="276" y="154"/>
                </a:lnTo>
                <a:lnTo>
                  <a:pt x="268" y="154"/>
                </a:lnTo>
                <a:lnTo>
                  <a:pt x="254" y="154"/>
                </a:lnTo>
                <a:lnTo>
                  <a:pt x="256" y="160"/>
                </a:lnTo>
                <a:lnTo>
                  <a:pt x="272" y="162"/>
                </a:lnTo>
                <a:lnTo>
                  <a:pt x="272" y="168"/>
                </a:lnTo>
                <a:lnTo>
                  <a:pt x="268" y="170"/>
                </a:lnTo>
                <a:lnTo>
                  <a:pt x="250" y="168"/>
                </a:lnTo>
                <a:lnTo>
                  <a:pt x="254" y="174"/>
                </a:lnTo>
                <a:lnTo>
                  <a:pt x="266" y="180"/>
                </a:lnTo>
                <a:lnTo>
                  <a:pt x="260" y="184"/>
                </a:lnTo>
                <a:lnTo>
                  <a:pt x="258" y="188"/>
                </a:lnTo>
                <a:lnTo>
                  <a:pt x="254" y="192"/>
                </a:lnTo>
                <a:lnTo>
                  <a:pt x="224" y="194"/>
                </a:lnTo>
                <a:lnTo>
                  <a:pt x="220" y="206"/>
                </a:lnTo>
                <a:lnTo>
                  <a:pt x="210" y="212"/>
                </a:lnTo>
                <a:lnTo>
                  <a:pt x="186" y="212"/>
                </a:lnTo>
                <a:lnTo>
                  <a:pt x="166" y="208"/>
                </a:lnTo>
                <a:lnTo>
                  <a:pt x="164" y="216"/>
                </a:lnTo>
                <a:lnTo>
                  <a:pt x="180" y="220"/>
                </a:lnTo>
                <a:lnTo>
                  <a:pt x="202" y="220"/>
                </a:lnTo>
                <a:lnTo>
                  <a:pt x="204" y="226"/>
                </a:lnTo>
                <a:lnTo>
                  <a:pt x="206" y="232"/>
                </a:lnTo>
                <a:lnTo>
                  <a:pt x="214" y="226"/>
                </a:lnTo>
                <a:lnTo>
                  <a:pt x="218" y="222"/>
                </a:lnTo>
                <a:lnTo>
                  <a:pt x="222" y="226"/>
                </a:lnTo>
                <a:lnTo>
                  <a:pt x="224" y="236"/>
                </a:lnTo>
                <a:lnTo>
                  <a:pt x="218" y="240"/>
                </a:lnTo>
                <a:lnTo>
                  <a:pt x="204" y="244"/>
                </a:lnTo>
                <a:lnTo>
                  <a:pt x="188" y="250"/>
                </a:lnTo>
                <a:lnTo>
                  <a:pt x="172" y="252"/>
                </a:lnTo>
                <a:lnTo>
                  <a:pt x="172" y="244"/>
                </a:lnTo>
                <a:lnTo>
                  <a:pt x="162" y="240"/>
                </a:lnTo>
                <a:lnTo>
                  <a:pt x="150" y="242"/>
                </a:lnTo>
                <a:lnTo>
                  <a:pt x="138" y="238"/>
                </a:lnTo>
                <a:lnTo>
                  <a:pt x="132" y="244"/>
                </a:lnTo>
                <a:lnTo>
                  <a:pt x="124" y="238"/>
                </a:lnTo>
                <a:lnTo>
                  <a:pt x="120" y="244"/>
                </a:lnTo>
                <a:lnTo>
                  <a:pt x="88" y="244"/>
                </a:lnTo>
                <a:lnTo>
                  <a:pt x="82" y="238"/>
                </a:lnTo>
                <a:lnTo>
                  <a:pt x="72" y="244"/>
                </a:lnTo>
                <a:lnTo>
                  <a:pt x="68" y="240"/>
                </a:lnTo>
                <a:lnTo>
                  <a:pt x="62" y="244"/>
                </a:lnTo>
                <a:lnTo>
                  <a:pt x="56" y="236"/>
                </a:lnTo>
                <a:lnTo>
                  <a:pt x="46" y="244"/>
                </a:lnTo>
                <a:lnTo>
                  <a:pt x="38" y="236"/>
                </a:lnTo>
                <a:lnTo>
                  <a:pt x="42" y="224"/>
                </a:lnTo>
                <a:lnTo>
                  <a:pt x="56" y="220"/>
                </a:lnTo>
                <a:lnTo>
                  <a:pt x="72" y="220"/>
                </a:lnTo>
                <a:lnTo>
                  <a:pt x="84" y="220"/>
                </a:lnTo>
                <a:lnTo>
                  <a:pt x="80" y="212"/>
                </a:lnTo>
                <a:lnTo>
                  <a:pt x="70" y="212"/>
                </a:lnTo>
                <a:lnTo>
                  <a:pt x="62" y="204"/>
                </a:lnTo>
                <a:lnTo>
                  <a:pt x="62" y="196"/>
                </a:lnTo>
                <a:lnTo>
                  <a:pt x="88" y="196"/>
                </a:lnTo>
                <a:lnTo>
                  <a:pt x="94" y="204"/>
                </a:lnTo>
                <a:lnTo>
                  <a:pt x="102" y="210"/>
                </a:lnTo>
                <a:lnTo>
                  <a:pt x="120" y="212"/>
                </a:lnTo>
                <a:lnTo>
                  <a:pt x="132" y="212"/>
                </a:lnTo>
                <a:lnTo>
                  <a:pt x="146" y="202"/>
                </a:lnTo>
                <a:lnTo>
                  <a:pt x="152" y="190"/>
                </a:lnTo>
                <a:lnTo>
                  <a:pt x="148" y="188"/>
                </a:lnTo>
                <a:lnTo>
                  <a:pt x="140" y="194"/>
                </a:lnTo>
                <a:lnTo>
                  <a:pt x="132" y="202"/>
                </a:lnTo>
                <a:lnTo>
                  <a:pt x="122" y="206"/>
                </a:lnTo>
                <a:lnTo>
                  <a:pt x="104" y="200"/>
                </a:lnTo>
                <a:lnTo>
                  <a:pt x="108" y="194"/>
                </a:lnTo>
                <a:lnTo>
                  <a:pt x="118" y="186"/>
                </a:lnTo>
                <a:lnTo>
                  <a:pt x="116" y="182"/>
                </a:lnTo>
                <a:lnTo>
                  <a:pt x="114" y="174"/>
                </a:lnTo>
                <a:lnTo>
                  <a:pt x="106" y="180"/>
                </a:lnTo>
                <a:lnTo>
                  <a:pt x="100" y="186"/>
                </a:lnTo>
                <a:lnTo>
                  <a:pt x="88" y="182"/>
                </a:lnTo>
                <a:lnTo>
                  <a:pt x="76" y="184"/>
                </a:lnTo>
                <a:lnTo>
                  <a:pt x="68" y="176"/>
                </a:lnTo>
                <a:lnTo>
                  <a:pt x="78" y="166"/>
                </a:lnTo>
                <a:lnTo>
                  <a:pt x="86" y="162"/>
                </a:lnTo>
                <a:lnTo>
                  <a:pt x="104" y="162"/>
                </a:lnTo>
                <a:lnTo>
                  <a:pt x="114" y="160"/>
                </a:lnTo>
                <a:lnTo>
                  <a:pt x="126" y="162"/>
                </a:lnTo>
                <a:lnTo>
                  <a:pt x="138" y="166"/>
                </a:lnTo>
                <a:lnTo>
                  <a:pt x="150" y="166"/>
                </a:lnTo>
                <a:lnTo>
                  <a:pt x="160" y="158"/>
                </a:lnTo>
                <a:lnTo>
                  <a:pt x="154" y="156"/>
                </a:lnTo>
                <a:lnTo>
                  <a:pt x="142" y="158"/>
                </a:lnTo>
                <a:lnTo>
                  <a:pt x="126" y="154"/>
                </a:lnTo>
                <a:lnTo>
                  <a:pt x="114" y="138"/>
                </a:lnTo>
                <a:lnTo>
                  <a:pt x="106" y="130"/>
                </a:lnTo>
                <a:lnTo>
                  <a:pt x="94" y="130"/>
                </a:lnTo>
                <a:lnTo>
                  <a:pt x="86" y="128"/>
                </a:lnTo>
                <a:lnTo>
                  <a:pt x="86" y="114"/>
                </a:lnTo>
                <a:lnTo>
                  <a:pt x="90" y="106"/>
                </a:lnTo>
                <a:lnTo>
                  <a:pt x="108" y="112"/>
                </a:lnTo>
                <a:lnTo>
                  <a:pt x="130" y="110"/>
                </a:lnTo>
                <a:lnTo>
                  <a:pt x="144" y="120"/>
                </a:lnTo>
                <a:lnTo>
                  <a:pt x="156" y="128"/>
                </a:lnTo>
                <a:lnTo>
                  <a:pt x="166" y="134"/>
                </a:lnTo>
                <a:lnTo>
                  <a:pt x="180" y="130"/>
                </a:lnTo>
                <a:lnTo>
                  <a:pt x="166" y="126"/>
                </a:lnTo>
                <a:lnTo>
                  <a:pt x="156" y="118"/>
                </a:lnTo>
                <a:lnTo>
                  <a:pt x="140" y="110"/>
                </a:lnTo>
                <a:lnTo>
                  <a:pt x="146" y="104"/>
                </a:lnTo>
                <a:lnTo>
                  <a:pt x="168" y="104"/>
                </a:lnTo>
                <a:lnTo>
                  <a:pt x="194" y="102"/>
                </a:lnTo>
                <a:lnTo>
                  <a:pt x="206" y="94"/>
                </a:lnTo>
                <a:lnTo>
                  <a:pt x="216" y="88"/>
                </a:lnTo>
                <a:lnTo>
                  <a:pt x="208" y="86"/>
                </a:lnTo>
                <a:lnTo>
                  <a:pt x="216" y="80"/>
                </a:lnTo>
                <a:lnTo>
                  <a:pt x="224" y="74"/>
                </a:lnTo>
                <a:lnTo>
                  <a:pt x="232" y="70"/>
                </a:lnTo>
                <a:lnTo>
                  <a:pt x="226" y="68"/>
                </a:lnTo>
                <a:lnTo>
                  <a:pt x="206" y="76"/>
                </a:lnTo>
                <a:lnTo>
                  <a:pt x="196" y="86"/>
                </a:lnTo>
                <a:lnTo>
                  <a:pt x="182" y="96"/>
                </a:lnTo>
                <a:lnTo>
                  <a:pt x="162" y="96"/>
                </a:lnTo>
                <a:lnTo>
                  <a:pt x="144" y="98"/>
                </a:lnTo>
                <a:lnTo>
                  <a:pt x="138" y="92"/>
                </a:lnTo>
                <a:lnTo>
                  <a:pt x="132" y="92"/>
                </a:lnTo>
                <a:lnTo>
                  <a:pt x="128" y="100"/>
                </a:lnTo>
                <a:lnTo>
                  <a:pt x="110" y="102"/>
                </a:lnTo>
                <a:lnTo>
                  <a:pt x="84" y="98"/>
                </a:lnTo>
                <a:lnTo>
                  <a:pt x="90" y="88"/>
                </a:lnTo>
                <a:lnTo>
                  <a:pt x="98" y="82"/>
                </a:lnTo>
                <a:lnTo>
                  <a:pt x="104" y="76"/>
                </a:lnTo>
                <a:lnTo>
                  <a:pt x="96" y="72"/>
                </a:lnTo>
                <a:lnTo>
                  <a:pt x="80" y="78"/>
                </a:lnTo>
                <a:lnTo>
                  <a:pt x="62" y="78"/>
                </a:lnTo>
                <a:lnTo>
                  <a:pt x="38" y="80"/>
                </a:lnTo>
                <a:lnTo>
                  <a:pt x="26" y="76"/>
                </a:lnTo>
                <a:lnTo>
                  <a:pt x="34" y="72"/>
                </a:lnTo>
                <a:lnTo>
                  <a:pt x="48" y="66"/>
                </a:lnTo>
                <a:lnTo>
                  <a:pt x="60" y="64"/>
                </a:lnTo>
                <a:lnTo>
                  <a:pt x="52" y="62"/>
                </a:lnTo>
                <a:lnTo>
                  <a:pt x="40" y="62"/>
                </a:lnTo>
                <a:lnTo>
                  <a:pt x="32" y="66"/>
                </a:lnTo>
                <a:lnTo>
                  <a:pt x="20" y="70"/>
                </a:lnTo>
                <a:lnTo>
                  <a:pt x="22" y="64"/>
                </a:lnTo>
                <a:lnTo>
                  <a:pt x="28" y="60"/>
                </a:lnTo>
                <a:lnTo>
                  <a:pt x="20" y="56"/>
                </a:lnTo>
                <a:lnTo>
                  <a:pt x="14" y="60"/>
                </a:lnTo>
                <a:lnTo>
                  <a:pt x="0" y="60"/>
                </a:lnTo>
                <a:lnTo>
                  <a:pt x="12" y="50"/>
                </a:lnTo>
                <a:lnTo>
                  <a:pt x="36" y="50"/>
                </a:lnTo>
                <a:lnTo>
                  <a:pt x="46" y="46"/>
                </a:lnTo>
                <a:lnTo>
                  <a:pt x="54" y="42"/>
                </a:lnTo>
                <a:lnTo>
                  <a:pt x="72" y="42"/>
                </a:lnTo>
                <a:lnTo>
                  <a:pt x="80" y="46"/>
                </a:lnTo>
                <a:lnTo>
                  <a:pt x="94" y="46"/>
                </a:lnTo>
                <a:lnTo>
                  <a:pt x="106" y="46"/>
                </a:lnTo>
                <a:lnTo>
                  <a:pt x="98" y="36"/>
                </a:lnTo>
                <a:lnTo>
                  <a:pt x="102" y="28"/>
                </a:lnTo>
                <a:lnTo>
                  <a:pt x="118" y="28"/>
                </a:lnTo>
                <a:lnTo>
                  <a:pt x="130" y="34"/>
                </a:lnTo>
                <a:lnTo>
                  <a:pt x="148" y="38"/>
                </a:lnTo>
                <a:lnTo>
                  <a:pt x="168" y="40"/>
                </a:lnTo>
                <a:lnTo>
                  <a:pt x="156" y="32"/>
                </a:lnTo>
                <a:lnTo>
                  <a:pt x="146" y="26"/>
                </a:lnTo>
                <a:lnTo>
                  <a:pt x="150" y="20"/>
                </a:lnTo>
                <a:lnTo>
                  <a:pt x="164" y="18"/>
                </a:lnTo>
                <a:lnTo>
                  <a:pt x="170" y="14"/>
                </a:lnTo>
                <a:lnTo>
                  <a:pt x="184" y="14"/>
                </a:lnTo>
                <a:lnTo>
                  <a:pt x="198" y="8"/>
                </a:lnTo>
                <a:lnTo>
                  <a:pt x="216" y="10"/>
                </a:lnTo>
                <a:lnTo>
                  <a:pt x="228" y="14"/>
                </a:lnTo>
                <a:lnTo>
                  <a:pt x="236" y="18"/>
                </a:lnTo>
                <a:lnTo>
                  <a:pt x="246" y="26"/>
                </a:lnTo>
                <a:lnTo>
                  <a:pt x="254" y="22"/>
                </a:lnTo>
                <a:lnTo>
                  <a:pt x="246" y="14"/>
                </a:lnTo>
                <a:lnTo>
                  <a:pt x="238" y="6"/>
                </a:lnTo>
                <a:lnTo>
                  <a:pt x="236" y="0"/>
                </a:lnTo>
                <a:lnTo>
                  <a:pt x="278" y="4"/>
                </a:lnTo>
                <a:lnTo>
                  <a:pt x="284" y="12"/>
                </a:lnTo>
                <a:lnTo>
                  <a:pt x="304" y="18"/>
                </a:lnTo>
                <a:lnTo>
                  <a:pt x="296" y="10"/>
                </a:lnTo>
                <a:lnTo>
                  <a:pt x="298" y="2"/>
                </a:lnTo>
                <a:lnTo>
                  <a:pt x="318" y="4"/>
                </a:lnTo>
                <a:lnTo>
                  <a:pt x="326" y="10"/>
                </a:lnTo>
                <a:lnTo>
                  <a:pt x="330" y="4"/>
                </a:lnTo>
                <a:lnTo>
                  <a:pt x="350" y="2"/>
                </a:lnTo>
                <a:lnTo>
                  <a:pt x="366" y="6"/>
                </a:lnTo>
                <a:lnTo>
                  <a:pt x="406" y="8"/>
                </a:lnTo>
                <a:lnTo>
                  <a:pt x="404" y="12"/>
                </a:lnTo>
                <a:lnTo>
                  <a:pt x="388" y="16"/>
                </a:lnTo>
                <a:lnTo>
                  <a:pt x="388" y="20"/>
                </a:lnTo>
                <a:lnTo>
                  <a:pt x="410" y="14"/>
                </a:lnTo>
                <a:lnTo>
                  <a:pt x="434" y="14"/>
                </a:lnTo>
                <a:lnTo>
                  <a:pt x="452" y="14"/>
                </a:lnTo>
                <a:lnTo>
                  <a:pt x="460" y="26"/>
                </a:lnTo>
                <a:lnTo>
                  <a:pt x="484" y="26"/>
                </a:lnTo>
                <a:lnTo>
                  <a:pt x="490" y="36"/>
                </a:lnTo>
                <a:lnTo>
                  <a:pt x="482" y="40"/>
                </a:lnTo>
                <a:lnTo>
                  <a:pt x="458" y="48"/>
                </a:lnTo>
                <a:lnTo>
                  <a:pt x="442" y="56"/>
                </a:lnTo>
                <a:lnTo>
                  <a:pt x="382" y="58"/>
                </a:lnTo>
                <a:lnTo>
                  <a:pt x="376" y="62"/>
                </a:lnTo>
                <a:lnTo>
                  <a:pt x="398" y="64"/>
                </a:lnTo>
                <a:lnTo>
                  <a:pt x="388" y="66"/>
                </a:lnTo>
                <a:lnTo>
                  <a:pt x="368" y="74"/>
                </a:lnTo>
                <a:lnTo>
                  <a:pt x="398" y="70"/>
                </a:lnTo>
                <a:lnTo>
                  <a:pt x="418" y="64"/>
                </a:lnTo>
                <a:lnTo>
                  <a:pt x="432" y="64"/>
                </a:lnTo>
                <a:lnTo>
                  <a:pt x="434" y="6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1" name="Freeform 15">
            <a:extLst>
              <a:ext uri="{FF2B5EF4-FFF2-40B4-BE49-F238E27FC236}">
                <a16:creationId xmlns:a16="http://schemas.microsoft.com/office/drawing/2014/main" id="{616D1BD9-FD7C-42C3-BA09-93EA217250E6}"/>
              </a:ext>
            </a:extLst>
          </p:cNvPr>
          <p:cNvSpPr>
            <a:spLocks/>
          </p:cNvSpPr>
          <p:nvPr/>
        </p:nvSpPr>
        <p:spPr bwMode="gray">
          <a:xfrm>
            <a:off x="3895247" y="3064114"/>
            <a:ext cx="216887" cy="198216"/>
          </a:xfrm>
          <a:custGeom>
            <a:avLst/>
            <a:gdLst>
              <a:gd name="T0" fmla="*/ 30 w 110"/>
              <a:gd name="T1" fmla="*/ 36 h 100"/>
              <a:gd name="T2" fmla="*/ 40 w 110"/>
              <a:gd name="T3" fmla="*/ 20 h 100"/>
              <a:gd name="T4" fmla="*/ 54 w 110"/>
              <a:gd name="T5" fmla="*/ 6 h 100"/>
              <a:gd name="T6" fmla="*/ 66 w 110"/>
              <a:gd name="T7" fmla="*/ 0 h 100"/>
              <a:gd name="T8" fmla="*/ 62 w 110"/>
              <a:gd name="T9" fmla="*/ 8 h 100"/>
              <a:gd name="T10" fmla="*/ 58 w 110"/>
              <a:gd name="T11" fmla="*/ 20 h 100"/>
              <a:gd name="T12" fmla="*/ 62 w 110"/>
              <a:gd name="T13" fmla="*/ 34 h 100"/>
              <a:gd name="T14" fmla="*/ 72 w 110"/>
              <a:gd name="T15" fmla="*/ 44 h 100"/>
              <a:gd name="T16" fmla="*/ 82 w 110"/>
              <a:gd name="T17" fmla="*/ 38 h 100"/>
              <a:gd name="T18" fmla="*/ 86 w 110"/>
              <a:gd name="T19" fmla="*/ 44 h 100"/>
              <a:gd name="T20" fmla="*/ 94 w 110"/>
              <a:gd name="T21" fmla="*/ 46 h 100"/>
              <a:gd name="T22" fmla="*/ 90 w 110"/>
              <a:gd name="T23" fmla="*/ 54 h 100"/>
              <a:gd name="T24" fmla="*/ 100 w 110"/>
              <a:gd name="T25" fmla="*/ 64 h 100"/>
              <a:gd name="T26" fmla="*/ 106 w 110"/>
              <a:gd name="T27" fmla="*/ 66 h 100"/>
              <a:gd name="T28" fmla="*/ 108 w 110"/>
              <a:gd name="T29" fmla="*/ 74 h 100"/>
              <a:gd name="T30" fmla="*/ 110 w 110"/>
              <a:gd name="T31" fmla="*/ 86 h 100"/>
              <a:gd name="T32" fmla="*/ 106 w 110"/>
              <a:gd name="T33" fmla="*/ 96 h 100"/>
              <a:gd name="T34" fmla="*/ 92 w 110"/>
              <a:gd name="T35" fmla="*/ 100 h 100"/>
              <a:gd name="T36" fmla="*/ 86 w 110"/>
              <a:gd name="T37" fmla="*/ 90 h 100"/>
              <a:gd name="T38" fmla="*/ 78 w 110"/>
              <a:gd name="T39" fmla="*/ 82 h 100"/>
              <a:gd name="T40" fmla="*/ 72 w 110"/>
              <a:gd name="T41" fmla="*/ 88 h 100"/>
              <a:gd name="T42" fmla="*/ 70 w 110"/>
              <a:gd name="T43" fmla="*/ 94 h 100"/>
              <a:gd name="T44" fmla="*/ 60 w 110"/>
              <a:gd name="T45" fmla="*/ 90 h 100"/>
              <a:gd name="T46" fmla="*/ 58 w 110"/>
              <a:gd name="T47" fmla="*/ 78 h 100"/>
              <a:gd name="T48" fmla="*/ 30 w 110"/>
              <a:gd name="T49" fmla="*/ 82 h 100"/>
              <a:gd name="T50" fmla="*/ 0 w 110"/>
              <a:gd name="T51" fmla="*/ 80 h 100"/>
              <a:gd name="T52" fmla="*/ 2 w 110"/>
              <a:gd name="T53" fmla="*/ 66 h 100"/>
              <a:gd name="T54" fmla="*/ 16 w 110"/>
              <a:gd name="T55" fmla="*/ 52 h 100"/>
              <a:gd name="T56" fmla="*/ 22 w 110"/>
              <a:gd name="T57" fmla="*/ 44 h 100"/>
              <a:gd name="T58" fmla="*/ 30 w 110"/>
              <a:gd name="T59"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100">
                <a:moveTo>
                  <a:pt x="30" y="36"/>
                </a:moveTo>
                <a:lnTo>
                  <a:pt x="40" y="20"/>
                </a:lnTo>
                <a:lnTo>
                  <a:pt x="54" y="6"/>
                </a:lnTo>
                <a:lnTo>
                  <a:pt x="66" y="0"/>
                </a:lnTo>
                <a:lnTo>
                  <a:pt x="62" y="8"/>
                </a:lnTo>
                <a:lnTo>
                  <a:pt x="58" y="20"/>
                </a:lnTo>
                <a:lnTo>
                  <a:pt x="62" y="34"/>
                </a:lnTo>
                <a:lnTo>
                  <a:pt x="72" y="44"/>
                </a:lnTo>
                <a:lnTo>
                  <a:pt x="82" y="38"/>
                </a:lnTo>
                <a:lnTo>
                  <a:pt x="86" y="44"/>
                </a:lnTo>
                <a:lnTo>
                  <a:pt x="94" y="46"/>
                </a:lnTo>
                <a:lnTo>
                  <a:pt x="90" y="54"/>
                </a:lnTo>
                <a:lnTo>
                  <a:pt x="100" y="64"/>
                </a:lnTo>
                <a:lnTo>
                  <a:pt x="106" y="66"/>
                </a:lnTo>
                <a:lnTo>
                  <a:pt x="108" y="74"/>
                </a:lnTo>
                <a:lnTo>
                  <a:pt x="110" y="86"/>
                </a:lnTo>
                <a:lnTo>
                  <a:pt x="106" y="96"/>
                </a:lnTo>
                <a:lnTo>
                  <a:pt x="92" y="100"/>
                </a:lnTo>
                <a:lnTo>
                  <a:pt x="86" y="90"/>
                </a:lnTo>
                <a:lnTo>
                  <a:pt x="78" y="82"/>
                </a:lnTo>
                <a:lnTo>
                  <a:pt x="72" y="88"/>
                </a:lnTo>
                <a:lnTo>
                  <a:pt x="70" y="94"/>
                </a:lnTo>
                <a:lnTo>
                  <a:pt x="60" y="90"/>
                </a:lnTo>
                <a:lnTo>
                  <a:pt x="58" y="78"/>
                </a:lnTo>
                <a:lnTo>
                  <a:pt x="30" y="82"/>
                </a:lnTo>
                <a:lnTo>
                  <a:pt x="0" y="80"/>
                </a:lnTo>
                <a:lnTo>
                  <a:pt x="2" y="66"/>
                </a:lnTo>
                <a:lnTo>
                  <a:pt x="16" y="52"/>
                </a:lnTo>
                <a:lnTo>
                  <a:pt x="22" y="44"/>
                </a:lnTo>
                <a:lnTo>
                  <a:pt x="30" y="3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2" name="Freeform 16">
            <a:extLst>
              <a:ext uri="{FF2B5EF4-FFF2-40B4-BE49-F238E27FC236}">
                <a16:creationId xmlns:a16="http://schemas.microsoft.com/office/drawing/2014/main" id="{0FF26516-AA39-447F-83A3-3896D80ADD43}"/>
              </a:ext>
            </a:extLst>
          </p:cNvPr>
          <p:cNvSpPr>
            <a:spLocks/>
          </p:cNvSpPr>
          <p:nvPr/>
        </p:nvSpPr>
        <p:spPr bwMode="gray">
          <a:xfrm>
            <a:off x="1351755" y="2073036"/>
            <a:ext cx="2661794" cy="1367689"/>
          </a:xfrm>
          <a:custGeom>
            <a:avLst/>
            <a:gdLst>
              <a:gd name="T0" fmla="*/ 1210 w 1350"/>
              <a:gd name="T1" fmla="*/ 602 h 690"/>
              <a:gd name="T2" fmla="*/ 1278 w 1350"/>
              <a:gd name="T3" fmla="*/ 596 h 690"/>
              <a:gd name="T4" fmla="*/ 1258 w 1350"/>
              <a:gd name="T5" fmla="*/ 630 h 690"/>
              <a:gd name="T6" fmla="*/ 1188 w 1350"/>
              <a:gd name="T7" fmla="*/ 656 h 690"/>
              <a:gd name="T8" fmla="*/ 1214 w 1350"/>
              <a:gd name="T9" fmla="*/ 620 h 690"/>
              <a:gd name="T10" fmla="*/ 1160 w 1350"/>
              <a:gd name="T11" fmla="*/ 612 h 690"/>
              <a:gd name="T12" fmla="*/ 1118 w 1350"/>
              <a:gd name="T13" fmla="*/ 612 h 690"/>
              <a:gd name="T14" fmla="*/ 1014 w 1350"/>
              <a:gd name="T15" fmla="*/ 652 h 690"/>
              <a:gd name="T16" fmla="*/ 980 w 1350"/>
              <a:gd name="T17" fmla="*/ 668 h 690"/>
              <a:gd name="T18" fmla="*/ 920 w 1350"/>
              <a:gd name="T19" fmla="*/ 688 h 690"/>
              <a:gd name="T20" fmla="*/ 940 w 1350"/>
              <a:gd name="T21" fmla="*/ 648 h 690"/>
              <a:gd name="T22" fmla="*/ 962 w 1350"/>
              <a:gd name="T23" fmla="*/ 622 h 690"/>
              <a:gd name="T24" fmla="*/ 892 w 1350"/>
              <a:gd name="T25" fmla="*/ 590 h 690"/>
              <a:gd name="T26" fmla="*/ 844 w 1350"/>
              <a:gd name="T27" fmla="*/ 554 h 690"/>
              <a:gd name="T28" fmla="*/ 786 w 1350"/>
              <a:gd name="T29" fmla="*/ 568 h 690"/>
              <a:gd name="T30" fmla="*/ 722 w 1350"/>
              <a:gd name="T31" fmla="*/ 544 h 690"/>
              <a:gd name="T32" fmla="*/ 250 w 1350"/>
              <a:gd name="T33" fmla="*/ 516 h 690"/>
              <a:gd name="T34" fmla="*/ 208 w 1350"/>
              <a:gd name="T35" fmla="*/ 486 h 690"/>
              <a:gd name="T36" fmla="*/ 194 w 1350"/>
              <a:gd name="T37" fmla="*/ 448 h 690"/>
              <a:gd name="T38" fmla="*/ 180 w 1350"/>
              <a:gd name="T39" fmla="*/ 420 h 690"/>
              <a:gd name="T40" fmla="*/ 136 w 1350"/>
              <a:gd name="T41" fmla="*/ 372 h 690"/>
              <a:gd name="T42" fmla="*/ 58 w 1350"/>
              <a:gd name="T43" fmla="*/ 330 h 690"/>
              <a:gd name="T44" fmla="*/ 18 w 1350"/>
              <a:gd name="T45" fmla="*/ 64 h 690"/>
              <a:gd name="T46" fmla="*/ 138 w 1350"/>
              <a:gd name="T47" fmla="*/ 60 h 690"/>
              <a:gd name="T48" fmla="*/ 230 w 1350"/>
              <a:gd name="T49" fmla="*/ 64 h 690"/>
              <a:gd name="T50" fmla="*/ 328 w 1350"/>
              <a:gd name="T51" fmla="*/ 66 h 690"/>
              <a:gd name="T52" fmla="*/ 410 w 1350"/>
              <a:gd name="T53" fmla="*/ 110 h 690"/>
              <a:gd name="T54" fmla="*/ 528 w 1350"/>
              <a:gd name="T55" fmla="*/ 142 h 690"/>
              <a:gd name="T56" fmla="*/ 600 w 1350"/>
              <a:gd name="T57" fmla="*/ 112 h 690"/>
              <a:gd name="T58" fmla="*/ 676 w 1350"/>
              <a:gd name="T59" fmla="*/ 106 h 690"/>
              <a:gd name="T60" fmla="*/ 716 w 1350"/>
              <a:gd name="T61" fmla="*/ 134 h 690"/>
              <a:gd name="T62" fmla="*/ 740 w 1350"/>
              <a:gd name="T63" fmla="*/ 64 h 690"/>
              <a:gd name="T64" fmla="*/ 718 w 1350"/>
              <a:gd name="T65" fmla="*/ 12 h 690"/>
              <a:gd name="T66" fmla="*/ 776 w 1350"/>
              <a:gd name="T67" fmla="*/ 48 h 690"/>
              <a:gd name="T68" fmla="*/ 812 w 1350"/>
              <a:gd name="T69" fmla="*/ 98 h 690"/>
              <a:gd name="T70" fmla="*/ 834 w 1350"/>
              <a:gd name="T71" fmla="*/ 112 h 690"/>
              <a:gd name="T72" fmla="*/ 886 w 1350"/>
              <a:gd name="T73" fmla="*/ 74 h 690"/>
              <a:gd name="T74" fmla="*/ 940 w 1350"/>
              <a:gd name="T75" fmla="*/ 94 h 690"/>
              <a:gd name="T76" fmla="*/ 916 w 1350"/>
              <a:gd name="T77" fmla="*/ 152 h 690"/>
              <a:gd name="T78" fmla="*/ 870 w 1350"/>
              <a:gd name="T79" fmla="*/ 156 h 690"/>
              <a:gd name="T80" fmla="*/ 816 w 1350"/>
              <a:gd name="T81" fmla="*/ 172 h 690"/>
              <a:gd name="T82" fmla="*/ 830 w 1350"/>
              <a:gd name="T83" fmla="*/ 210 h 690"/>
              <a:gd name="T84" fmla="*/ 778 w 1350"/>
              <a:gd name="T85" fmla="*/ 222 h 690"/>
              <a:gd name="T86" fmla="*/ 736 w 1350"/>
              <a:gd name="T87" fmla="*/ 336 h 690"/>
              <a:gd name="T88" fmla="*/ 800 w 1350"/>
              <a:gd name="T89" fmla="*/ 374 h 690"/>
              <a:gd name="T90" fmla="*/ 904 w 1350"/>
              <a:gd name="T91" fmla="*/ 418 h 690"/>
              <a:gd name="T92" fmla="*/ 944 w 1350"/>
              <a:gd name="T93" fmla="*/ 484 h 690"/>
              <a:gd name="T94" fmla="*/ 984 w 1350"/>
              <a:gd name="T95" fmla="*/ 462 h 690"/>
              <a:gd name="T96" fmla="*/ 1020 w 1350"/>
              <a:gd name="T97" fmla="*/ 372 h 690"/>
              <a:gd name="T98" fmla="*/ 1004 w 1350"/>
              <a:gd name="T99" fmla="*/ 304 h 690"/>
              <a:gd name="T100" fmla="*/ 1044 w 1350"/>
              <a:gd name="T101" fmla="*/ 258 h 690"/>
              <a:gd name="T102" fmla="*/ 1134 w 1350"/>
              <a:gd name="T103" fmla="*/ 290 h 690"/>
              <a:gd name="T104" fmla="*/ 1168 w 1350"/>
              <a:gd name="T105" fmla="*/ 352 h 690"/>
              <a:gd name="T106" fmla="*/ 1228 w 1350"/>
              <a:gd name="T107" fmla="*/ 328 h 690"/>
              <a:gd name="T108" fmla="*/ 1256 w 1350"/>
              <a:gd name="T109" fmla="*/ 398 h 690"/>
              <a:gd name="T110" fmla="*/ 1318 w 1350"/>
              <a:gd name="T111" fmla="*/ 430 h 690"/>
              <a:gd name="T112" fmla="*/ 1284 w 1350"/>
              <a:gd name="T113" fmla="*/ 458 h 690"/>
              <a:gd name="T114" fmla="*/ 1348 w 1350"/>
              <a:gd name="T115" fmla="*/ 458 h 690"/>
              <a:gd name="T116" fmla="*/ 1286 w 1350"/>
              <a:gd name="T117" fmla="*/ 524 h 690"/>
              <a:gd name="T118" fmla="*/ 1152 w 1350"/>
              <a:gd name="T119" fmla="*/ 548 h 690"/>
              <a:gd name="T120" fmla="*/ 1116 w 1350"/>
              <a:gd name="T121" fmla="*/ 590 h 690"/>
              <a:gd name="T122" fmla="*/ 1202 w 1350"/>
              <a:gd name="T123" fmla="*/ 548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0" h="690">
                <a:moveTo>
                  <a:pt x="1218" y="562"/>
                </a:moveTo>
                <a:lnTo>
                  <a:pt x="1214" y="568"/>
                </a:lnTo>
                <a:lnTo>
                  <a:pt x="1204" y="570"/>
                </a:lnTo>
                <a:lnTo>
                  <a:pt x="1208" y="580"/>
                </a:lnTo>
                <a:lnTo>
                  <a:pt x="1204" y="588"/>
                </a:lnTo>
                <a:lnTo>
                  <a:pt x="1206" y="594"/>
                </a:lnTo>
                <a:lnTo>
                  <a:pt x="1210" y="602"/>
                </a:lnTo>
                <a:lnTo>
                  <a:pt x="1222" y="610"/>
                </a:lnTo>
                <a:lnTo>
                  <a:pt x="1236" y="614"/>
                </a:lnTo>
                <a:lnTo>
                  <a:pt x="1254" y="614"/>
                </a:lnTo>
                <a:lnTo>
                  <a:pt x="1262" y="612"/>
                </a:lnTo>
                <a:lnTo>
                  <a:pt x="1266" y="604"/>
                </a:lnTo>
                <a:lnTo>
                  <a:pt x="1270" y="596"/>
                </a:lnTo>
                <a:lnTo>
                  <a:pt x="1278" y="596"/>
                </a:lnTo>
                <a:lnTo>
                  <a:pt x="1278" y="604"/>
                </a:lnTo>
                <a:lnTo>
                  <a:pt x="1284" y="608"/>
                </a:lnTo>
                <a:lnTo>
                  <a:pt x="1284" y="616"/>
                </a:lnTo>
                <a:lnTo>
                  <a:pt x="1274" y="616"/>
                </a:lnTo>
                <a:lnTo>
                  <a:pt x="1268" y="616"/>
                </a:lnTo>
                <a:lnTo>
                  <a:pt x="1262" y="626"/>
                </a:lnTo>
                <a:lnTo>
                  <a:pt x="1258" y="630"/>
                </a:lnTo>
                <a:lnTo>
                  <a:pt x="1246" y="634"/>
                </a:lnTo>
                <a:lnTo>
                  <a:pt x="1230" y="640"/>
                </a:lnTo>
                <a:lnTo>
                  <a:pt x="1220" y="640"/>
                </a:lnTo>
                <a:lnTo>
                  <a:pt x="1212" y="648"/>
                </a:lnTo>
                <a:lnTo>
                  <a:pt x="1204" y="656"/>
                </a:lnTo>
                <a:lnTo>
                  <a:pt x="1198" y="662"/>
                </a:lnTo>
                <a:lnTo>
                  <a:pt x="1188" y="656"/>
                </a:lnTo>
                <a:lnTo>
                  <a:pt x="1186" y="648"/>
                </a:lnTo>
                <a:lnTo>
                  <a:pt x="1190" y="640"/>
                </a:lnTo>
                <a:lnTo>
                  <a:pt x="1202" y="632"/>
                </a:lnTo>
                <a:lnTo>
                  <a:pt x="1214" y="628"/>
                </a:lnTo>
                <a:lnTo>
                  <a:pt x="1216" y="626"/>
                </a:lnTo>
                <a:lnTo>
                  <a:pt x="1216" y="624"/>
                </a:lnTo>
                <a:lnTo>
                  <a:pt x="1214" y="620"/>
                </a:lnTo>
                <a:lnTo>
                  <a:pt x="1210" y="618"/>
                </a:lnTo>
                <a:lnTo>
                  <a:pt x="1198" y="624"/>
                </a:lnTo>
                <a:lnTo>
                  <a:pt x="1188" y="628"/>
                </a:lnTo>
                <a:lnTo>
                  <a:pt x="1172" y="632"/>
                </a:lnTo>
                <a:lnTo>
                  <a:pt x="1168" y="626"/>
                </a:lnTo>
                <a:lnTo>
                  <a:pt x="1162" y="620"/>
                </a:lnTo>
                <a:lnTo>
                  <a:pt x="1160" y="612"/>
                </a:lnTo>
                <a:lnTo>
                  <a:pt x="1162" y="596"/>
                </a:lnTo>
                <a:lnTo>
                  <a:pt x="1160" y="588"/>
                </a:lnTo>
                <a:lnTo>
                  <a:pt x="1146" y="584"/>
                </a:lnTo>
                <a:lnTo>
                  <a:pt x="1138" y="580"/>
                </a:lnTo>
                <a:lnTo>
                  <a:pt x="1130" y="588"/>
                </a:lnTo>
                <a:lnTo>
                  <a:pt x="1122" y="602"/>
                </a:lnTo>
                <a:lnTo>
                  <a:pt x="1118" y="612"/>
                </a:lnTo>
                <a:lnTo>
                  <a:pt x="1118" y="618"/>
                </a:lnTo>
                <a:lnTo>
                  <a:pt x="1112" y="626"/>
                </a:lnTo>
                <a:lnTo>
                  <a:pt x="1100" y="632"/>
                </a:lnTo>
                <a:lnTo>
                  <a:pt x="1042" y="632"/>
                </a:lnTo>
                <a:lnTo>
                  <a:pt x="1026" y="644"/>
                </a:lnTo>
                <a:lnTo>
                  <a:pt x="1020" y="648"/>
                </a:lnTo>
                <a:lnTo>
                  <a:pt x="1014" y="652"/>
                </a:lnTo>
                <a:lnTo>
                  <a:pt x="1002" y="652"/>
                </a:lnTo>
                <a:lnTo>
                  <a:pt x="986" y="652"/>
                </a:lnTo>
                <a:lnTo>
                  <a:pt x="980" y="656"/>
                </a:lnTo>
                <a:lnTo>
                  <a:pt x="972" y="660"/>
                </a:lnTo>
                <a:lnTo>
                  <a:pt x="974" y="664"/>
                </a:lnTo>
                <a:lnTo>
                  <a:pt x="982" y="664"/>
                </a:lnTo>
                <a:lnTo>
                  <a:pt x="980" y="668"/>
                </a:lnTo>
                <a:lnTo>
                  <a:pt x="982" y="672"/>
                </a:lnTo>
                <a:lnTo>
                  <a:pt x="964" y="674"/>
                </a:lnTo>
                <a:lnTo>
                  <a:pt x="948" y="678"/>
                </a:lnTo>
                <a:lnTo>
                  <a:pt x="940" y="680"/>
                </a:lnTo>
                <a:lnTo>
                  <a:pt x="932" y="686"/>
                </a:lnTo>
                <a:lnTo>
                  <a:pt x="924" y="690"/>
                </a:lnTo>
                <a:lnTo>
                  <a:pt x="920" y="688"/>
                </a:lnTo>
                <a:lnTo>
                  <a:pt x="920" y="680"/>
                </a:lnTo>
                <a:lnTo>
                  <a:pt x="922" y="678"/>
                </a:lnTo>
                <a:lnTo>
                  <a:pt x="922" y="670"/>
                </a:lnTo>
                <a:lnTo>
                  <a:pt x="928" y="668"/>
                </a:lnTo>
                <a:lnTo>
                  <a:pt x="936" y="666"/>
                </a:lnTo>
                <a:lnTo>
                  <a:pt x="938" y="656"/>
                </a:lnTo>
                <a:lnTo>
                  <a:pt x="940" y="648"/>
                </a:lnTo>
                <a:lnTo>
                  <a:pt x="946" y="642"/>
                </a:lnTo>
                <a:lnTo>
                  <a:pt x="948" y="636"/>
                </a:lnTo>
                <a:lnTo>
                  <a:pt x="952" y="636"/>
                </a:lnTo>
                <a:lnTo>
                  <a:pt x="958" y="642"/>
                </a:lnTo>
                <a:lnTo>
                  <a:pt x="966" y="640"/>
                </a:lnTo>
                <a:lnTo>
                  <a:pt x="968" y="632"/>
                </a:lnTo>
                <a:lnTo>
                  <a:pt x="962" y="622"/>
                </a:lnTo>
                <a:lnTo>
                  <a:pt x="954" y="614"/>
                </a:lnTo>
                <a:lnTo>
                  <a:pt x="942" y="610"/>
                </a:lnTo>
                <a:lnTo>
                  <a:pt x="930" y="608"/>
                </a:lnTo>
                <a:lnTo>
                  <a:pt x="914" y="608"/>
                </a:lnTo>
                <a:lnTo>
                  <a:pt x="902" y="606"/>
                </a:lnTo>
                <a:lnTo>
                  <a:pt x="896" y="600"/>
                </a:lnTo>
                <a:lnTo>
                  <a:pt x="892" y="590"/>
                </a:lnTo>
                <a:lnTo>
                  <a:pt x="888" y="578"/>
                </a:lnTo>
                <a:lnTo>
                  <a:pt x="886" y="574"/>
                </a:lnTo>
                <a:lnTo>
                  <a:pt x="874" y="574"/>
                </a:lnTo>
                <a:lnTo>
                  <a:pt x="870" y="566"/>
                </a:lnTo>
                <a:lnTo>
                  <a:pt x="864" y="558"/>
                </a:lnTo>
                <a:lnTo>
                  <a:pt x="854" y="558"/>
                </a:lnTo>
                <a:lnTo>
                  <a:pt x="844" y="554"/>
                </a:lnTo>
                <a:lnTo>
                  <a:pt x="836" y="554"/>
                </a:lnTo>
                <a:lnTo>
                  <a:pt x="828" y="560"/>
                </a:lnTo>
                <a:lnTo>
                  <a:pt x="818" y="566"/>
                </a:lnTo>
                <a:lnTo>
                  <a:pt x="810" y="572"/>
                </a:lnTo>
                <a:lnTo>
                  <a:pt x="804" y="570"/>
                </a:lnTo>
                <a:lnTo>
                  <a:pt x="794" y="570"/>
                </a:lnTo>
                <a:lnTo>
                  <a:pt x="786" y="568"/>
                </a:lnTo>
                <a:lnTo>
                  <a:pt x="782" y="568"/>
                </a:lnTo>
                <a:lnTo>
                  <a:pt x="772" y="564"/>
                </a:lnTo>
                <a:lnTo>
                  <a:pt x="748" y="560"/>
                </a:lnTo>
                <a:lnTo>
                  <a:pt x="736" y="556"/>
                </a:lnTo>
                <a:lnTo>
                  <a:pt x="732" y="552"/>
                </a:lnTo>
                <a:lnTo>
                  <a:pt x="730" y="544"/>
                </a:lnTo>
                <a:lnTo>
                  <a:pt x="722" y="544"/>
                </a:lnTo>
                <a:lnTo>
                  <a:pt x="720" y="552"/>
                </a:lnTo>
                <a:lnTo>
                  <a:pt x="290" y="552"/>
                </a:lnTo>
                <a:lnTo>
                  <a:pt x="282" y="542"/>
                </a:lnTo>
                <a:lnTo>
                  <a:pt x="272" y="532"/>
                </a:lnTo>
                <a:lnTo>
                  <a:pt x="266" y="536"/>
                </a:lnTo>
                <a:lnTo>
                  <a:pt x="256" y="526"/>
                </a:lnTo>
                <a:lnTo>
                  <a:pt x="250" y="516"/>
                </a:lnTo>
                <a:lnTo>
                  <a:pt x="244" y="520"/>
                </a:lnTo>
                <a:lnTo>
                  <a:pt x="232" y="512"/>
                </a:lnTo>
                <a:lnTo>
                  <a:pt x="214" y="510"/>
                </a:lnTo>
                <a:lnTo>
                  <a:pt x="218" y="500"/>
                </a:lnTo>
                <a:lnTo>
                  <a:pt x="216" y="494"/>
                </a:lnTo>
                <a:lnTo>
                  <a:pt x="208" y="494"/>
                </a:lnTo>
                <a:lnTo>
                  <a:pt x="208" y="486"/>
                </a:lnTo>
                <a:lnTo>
                  <a:pt x="206" y="478"/>
                </a:lnTo>
                <a:lnTo>
                  <a:pt x="202" y="472"/>
                </a:lnTo>
                <a:lnTo>
                  <a:pt x="196" y="470"/>
                </a:lnTo>
                <a:lnTo>
                  <a:pt x="188" y="474"/>
                </a:lnTo>
                <a:lnTo>
                  <a:pt x="190" y="466"/>
                </a:lnTo>
                <a:lnTo>
                  <a:pt x="196" y="456"/>
                </a:lnTo>
                <a:lnTo>
                  <a:pt x="194" y="448"/>
                </a:lnTo>
                <a:lnTo>
                  <a:pt x="188" y="452"/>
                </a:lnTo>
                <a:lnTo>
                  <a:pt x="180" y="458"/>
                </a:lnTo>
                <a:lnTo>
                  <a:pt x="172" y="458"/>
                </a:lnTo>
                <a:lnTo>
                  <a:pt x="172" y="446"/>
                </a:lnTo>
                <a:lnTo>
                  <a:pt x="174" y="438"/>
                </a:lnTo>
                <a:lnTo>
                  <a:pt x="174" y="432"/>
                </a:lnTo>
                <a:lnTo>
                  <a:pt x="180" y="420"/>
                </a:lnTo>
                <a:lnTo>
                  <a:pt x="178" y="410"/>
                </a:lnTo>
                <a:lnTo>
                  <a:pt x="174" y="408"/>
                </a:lnTo>
                <a:lnTo>
                  <a:pt x="172" y="400"/>
                </a:lnTo>
                <a:lnTo>
                  <a:pt x="158" y="392"/>
                </a:lnTo>
                <a:lnTo>
                  <a:pt x="150" y="386"/>
                </a:lnTo>
                <a:lnTo>
                  <a:pt x="146" y="384"/>
                </a:lnTo>
                <a:lnTo>
                  <a:pt x="136" y="372"/>
                </a:lnTo>
                <a:lnTo>
                  <a:pt x="126" y="354"/>
                </a:lnTo>
                <a:lnTo>
                  <a:pt x="118" y="346"/>
                </a:lnTo>
                <a:lnTo>
                  <a:pt x="100" y="326"/>
                </a:lnTo>
                <a:lnTo>
                  <a:pt x="88" y="314"/>
                </a:lnTo>
                <a:lnTo>
                  <a:pt x="70" y="322"/>
                </a:lnTo>
                <a:lnTo>
                  <a:pt x="68" y="328"/>
                </a:lnTo>
                <a:lnTo>
                  <a:pt x="58" y="330"/>
                </a:lnTo>
                <a:lnTo>
                  <a:pt x="46" y="320"/>
                </a:lnTo>
                <a:lnTo>
                  <a:pt x="34" y="310"/>
                </a:lnTo>
                <a:lnTo>
                  <a:pt x="26" y="300"/>
                </a:lnTo>
                <a:lnTo>
                  <a:pt x="10" y="306"/>
                </a:lnTo>
                <a:lnTo>
                  <a:pt x="0" y="302"/>
                </a:lnTo>
                <a:lnTo>
                  <a:pt x="0" y="62"/>
                </a:lnTo>
                <a:lnTo>
                  <a:pt x="18" y="64"/>
                </a:lnTo>
                <a:lnTo>
                  <a:pt x="48" y="76"/>
                </a:lnTo>
                <a:lnTo>
                  <a:pt x="84" y="86"/>
                </a:lnTo>
                <a:lnTo>
                  <a:pt x="82" y="72"/>
                </a:lnTo>
                <a:lnTo>
                  <a:pt x="100" y="62"/>
                </a:lnTo>
                <a:lnTo>
                  <a:pt x="110" y="68"/>
                </a:lnTo>
                <a:lnTo>
                  <a:pt x="116" y="72"/>
                </a:lnTo>
                <a:lnTo>
                  <a:pt x="138" y="60"/>
                </a:lnTo>
                <a:lnTo>
                  <a:pt x="162" y="48"/>
                </a:lnTo>
                <a:lnTo>
                  <a:pt x="178" y="48"/>
                </a:lnTo>
                <a:lnTo>
                  <a:pt x="180" y="56"/>
                </a:lnTo>
                <a:lnTo>
                  <a:pt x="192" y="58"/>
                </a:lnTo>
                <a:lnTo>
                  <a:pt x="208" y="38"/>
                </a:lnTo>
                <a:lnTo>
                  <a:pt x="218" y="46"/>
                </a:lnTo>
                <a:lnTo>
                  <a:pt x="230" y="64"/>
                </a:lnTo>
                <a:lnTo>
                  <a:pt x="244" y="66"/>
                </a:lnTo>
                <a:lnTo>
                  <a:pt x="256" y="50"/>
                </a:lnTo>
                <a:lnTo>
                  <a:pt x="262" y="52"/>
                </a:lnTo>
                <a:lnTo>
                  <a:pt x="270" y="70"/>
                </a:lnTo>
                <a:lnTo>
                  <a:pt x="282" y="62"/>
                </a:lnTo>
                <a:lnTo>
                  <a:pt x="302" y="56"/>
                </a:lnTo>
                <a:lnTo>
                  <a:pt x="328" y="66"/>
                </a:lnTo>
                <a:lnTo>
                  <a:pt x="352" y="72"/>
                </a:lnTo>
                <a:lnTo>
                  <a:pt x="382" y="82"/>
                </a:lnTo>
                <a:lnTo>
                  <a:pt x="404" y="84"/>
                </a:lnTo>
                <a:lnTo>
                  <a:pt x="422" y="92"/>
                </a:lnTo>
                <a:lnTo>
                  <a:pt x="424" y="100"/>
                </a:lnTo>
                <a:lnTo>
                  <a:pt x="412" y="102"/>
                </a:lnTo>
                <a:lnTo>
                  <a:pt x="410" y="110"/>
                </a:lnTo>
                <a:lnTo>
                  <a:pt x="426" y="118"/>
                </a:lnTo>
                <a:lnTo>
                  <a:pt x="456" y="116"/>
                </a:lnTo>
                <a:lnTo>
                  <a:pt x="478" y="114"/>
                </a:lnTo>
                <a:lnTo>
                  <a:pt x="486" y="110"/>
                </a:lnTo>
                <a:lnTo>
                  <a:pt x="504" y="120"/>
                </a:lnTo>
                <a:lnTo>
                  <a:pt x="520" y="130"/>
                </a:lnTo>
                <a:lnTo>
                  <a:pt x="528" y="142"/>
                </a:lnTo>
                <a:lnTo>
                  <a:pt x="534" y="138"/>
                </a:lnTo>
                <a:lnTo>
                  <a:pt x="530" y="120"/>
                </a:lnTo>
                <a:lnTo>
                  <a:pt x="526" y="110"/>
                </a:lnTo>
                <a:lnTo>
                  <a:pt x="536" y="104"/>
                </a:lnTo>
                <a:lnTo>
                  <a:pt x="560" y="94"/>
                </a:lnTo>
                <a:lnTo>
                  <a:pt x="578" y="104"/>
                </a:lnTo>
                <a:lnTo>
                  <a:pt x="600" y="112"/>
                </a:lnTo>
                <a:lnTo>
                  <a:pt x="622" y="116"/>
                </a:lnTo>
                <a:lnTo>
                  <a:pt x="646" y="116"/>
                </a:lnTo>
                <a:lnTo>
                  <a:pt x="668" y="116"/>
                </a:lnTo>
                <a:lnTo>
                  <a:pt x="688" y="118"/>
                </a:lnTo>
                <a:lnTo>
                  <a:pt x="694" y="112"/>
                </a:lnTo>
                <a:lnTo>
                  <a:pt x="688" y="108"/>
                </a:lnTo>
                <a:lnTo>
                  <a:pt x="676" y="106"/>
                </a:lnTo>
                <a:lnTo>
                  <a:pt x="678" y="98"/>
                </a:lnTo>
                <a:lnTo>
                  <a:pt x="684" y="96"/>
                </a:lnTo>
                <a:lnTo>
                  <a:pt x="696" y="100"/>
                </a:lnTo>
                <a:lnTo>
                  <a:pt x="708" y="112"/>
                </a:lnTo>
                <a:lnTo>
                  <a:pt x="704" y="116"/>
                </a:lnTo>
                <a:lnTo>
                  <a:pt x="710" y="126"/>
                </a:lnTo>
                <a:lnTo>
                  <a:pt x="716" y="134"/>
                </a:lnTo>
                <a:lnTo>
                  <a:pt x="724" y="134"/>
                </a:lnTo>
                <a:lnTo>
                  <a:pt x="724" y="120"/>
                </a:lnTo>
                <a:lnTo>
                  <a:pt x="722" y="108"/>
                </a:lnTo>
                <a:lnTo>
                  <a:pt x="742" y="102"/>
                </a:lnTo>
                <a:lnTo>
                  <a:pt x="752" y="90"/>
                </a:lnTo>
                <a:lnTo>
                  <a:pt x="750" y="78"/>
                </a:lnTo>
                <a:lnTo>
                  <a:pt x="740" y="64"/>
                </a:lnTo>
                <a:lnTo>
                  <a:pt x="722" y="60"/>
                </a:lnTo>
                <a:lnTo>
                  <a:pt x="708" y="52"/>
                </a:lnTo>
                <a:lnTo>
                  <a:pt x="704" y="44"/>
                </a:lnTo>
                <a:lnTo>
                  <a:pt x="712" y="32"/>
                </a:lnTo>
                <a:lnTo>
                  <a:pt x="704" y="26"/>
                </a:lnTo>
                <a:lnTo>
                  <a:pt x="708" y="12"/>
                </a:lnTo>
                <a:lnTo>
                  <a:pt x="718" y="12"/>
                </a:lnTo>
                <a:lnTo>
                  <a:pt x="722" y="4"/>
                </a:lnTo>
                <a:lnTo>
                  <a:pt x="732" y="0"/>
                </a:lnTo>
                <a:lnTo>
                  <a:pt x="750" y="4"/>
                </a:lnTo>
                <a:lnTo>
                  <a:pt x="762" y="20"/>
                </a:lnTo>
                <a:lnTo>
                  <a:pt x="764" y="26"/>
                </a:lnTo>
                <a:lnTo>
                  <a:pt x="774" y="40"/>
                </a:lnTo>
                <a:lnTo>
                  <a:pt x="776" y="48"/>
                </a:lnTo>
                <a:lnTo>
                  <a:pt x="770" y="54"/>
                </a:lnTo>
                <a:lnTo>
                  <a:pt x="774" y="64"/>
                </a:lnTo>
                <a:lnTo>
                  <a:pt x="786" y="62"/>
                </a:lnTo>
                <a:lnTo>
                  <a:pt x="794" y="64"/>
                </a:lnTo>
                <a:lnTo>
                  <a:pt x="796" y="80"/>
                </a:lnTo>
                <a:lnTo>
                  <a:pt x="802" y="94"/>
                </a:lnTo>
                <a:lnTo>
                  <a:pt x="812" y="98"/>
                </a:lnTo>
                <a:lnTo>
                  <a:pt x="820" y="92"/>
                </a:lnTo>
                <a:lnTo>
                  <a:pt x="814" y="82"/>
                </a:lnTo>
                <a:lnTo>
                  <a:pt x="820" y="74"/>
                </a:lnTo>
                <a:lnTo>
                  <a:pt x="832" y="78"/>
                </a:lnTo>
                <a:lnTo>
                  <a:pt x="842" y="90"/>
                </a:lnTo>
                <a:lnTo>
                  <a:pt x="836" y="100"/>
                </a:lnTo>
                <a:lnTo>
                  <a:pt x="834" y="112"/>
                </a:lnTo>
                <a:lnTo>
                  <a:pt x="844" y="120"/>
                </a:lnTo>
                <a:lnTo>
                  <a:pt x="858" y="126"/>
                </a:lnTo>
                <a:lnTo>
                  <a:pt x="866" y="120"/>
                </a:lnTo>
                <a:lnTo>
                  <a:pt x="874" y="106"/>
                </a:lnTo>
                <a:lnTo>
                  <a:pt x="876" y="90"/>
                </a:lnTo>
                <a:lnTo>
                  <a:pt x="888" y="82"/>
                </a:lnTo>
                <a:lnTo>
                  <a:pt x="886" y="74"/>
                </a:lnTo>
                <a:lnTo>
                  <a:pt x="880" y="62"/>
                </a:lnTo>
                <a:lnTo>
                  <a:pt x="882" y="56"/>
                </a:lnTo>
                <a:lnTo>
                  <a:pt x="900" y="58"/>
                </a:lnTo>
                <a:lnTo>
                  <a:pt x="922" y="66"/>
                </a:lnTo>
                <a:lnTo>
                  <a:pt x="936" y="76"/>
                </a:lnTo>
                <a:lnTo>
                  <a:pt x="946" y="90"/>
                </a:lnTo>
                <a:lnTo>
                  <a:pt x="940" y="94"/>
                </a:lnTo>
                <a:lnTo>
                  <a:pt x="932" y="96"/>
                </a:lnTo>
                <a:lnTo>
                  <a:pt x="934" y="106"/>
                </a:lnTo>
                <a:lnTo>
                  <a:pt x="940" y="114"/>
                </a:lnTo>
                <a:lnTo>
                  <a:pt x="946" y="126"/>
                </a:lnTo>
                <a:lnTo>
                  <a:pt x="938" y="136"/>
                </a:lnTo>
                <a:lnTo>
                  <a:pt x="926" y="146"/>
                </a:lnTo>
                <a:lnTo>
                  <a:pt x="916" y="152"/>
                </a:lnTo>
                <a:lnTo>
                  <a:pt x="902" y="144"/>
                </a:lnTo>
                <a:lnTo>
                  <a:pt x="898" y="152"/>
                </a:lnTo>
                <a:lnTo>
                  <a:pt x="890" y="156"/>
                </a:lnTo>
                <a:lnTo>
                  <a:pt x="878" y="144"/>
                </a:lnTo>
                <a:lnTo>
                  <a:pt x="868" y="144"/>
                </a:lnTo>
                <a:lnTo>
                  <a:pt x="864" y="150"/>
                </a:lnTo>
                <a:lnTo>
                  <a:pt x="870" y="156"/>
                </a:lnTo>
                <a:lnTo>
                  <a:pt x="864" y="166"/>
                </a:lnTo>
                <a:lnTo>
                  <a:pt x="856" y="174"/>
                </a:lnTo>
                <a:lnTo>
                  <a:pt x="846" y="176"/>
                </a:lnTo>
                <a:lnTo>
                  <a:pt x="834" y="174"/>
                </a:lnTo>
                <a:lnTo>
                  <a:pt x="822" y="166"/>
                </a:lnTo>
                <a:lnTo>
                  <a:pt x="812" y="164"/>
                </a:lnTo>
                <a:lnTo>
                  <a:pt x="816" y="172"/>
                </a:lnTo>
                <a:lnTo>
                  <a:pt x="822" y="178"/>
                </a:lnTo>
                <a:lnTo>
                  <a:pt x="834" y="180"/>
                </a:lnTo>
                <a:lnTo>
                  <a:pt x="842" y="182"/>
                </a:lnTo>
                <a:lnTo>
                  <a:pt x="854" y="182"/>
                </a:lnTo>
                <a:lnTo>
                  <a:pt x="848" y="192"/>
                </a:lnTo>
                <a:lnTo>
                  <a:pt x="840" y="204"/>
                </a:lnTo>
                <a:lnTo>
                  <a:pt x="830" y="210"/>
                </a:lnTo>
                <a:lnTo>
                  <a:pt x="820" y="212"/>
                </a:lnTo>
                <a:lnTo>
                  <a:pt x="812" y="212"/>
                </a:lnTo>
                <a:lnTo>
                  <a:pt x="804" y="208"/>
                </a:lnTo>
                <a:lnTo>
                  <a:pt x="804" y="218"/>
                </a:lnTo>
                <a:lnTo>
                  <a:pt x="784" y="220"/>
                </a:lnTo>
                <a:lnTo>
                  <a:pt x="772" y="216"/>
                </a:lnTo>
                <a:lnTo>
                  <a:pt x="778" y="222"/>
                </a:lnTo>
                <a:lnTo>
                  <a:pt x="794" y="228"/>
                </a:lnTo>
                <a:lnTo>
                  <a:pt x="796" y="238"/>
                </a:lnTo>
                <a:lnTo>
                  <a:pt x="778" y="242"/>
                </a:lnTo>
                <a:lnTo>
                  <a:pt x="758" y="260"/>
                </a:lnTo>
                <a:lnTo>
                  <a:pt x="740" y="290"/>
                </a:lnTo>
                <a:lnTo>
                  <a:pt x="734" y="332"/>
                </a:lnTo>
                <a:lnTo>
                  <a:pt x="736" y="336"/>
                </a:lnTo>
                <a:lnTo>
                  <a:pt x="738" y="342"/>
                </a:lnTo>
                <a:lnTo>
                  <a:pt x="748" y="342"/>
                </a:lnTo>
                <a:lnTo>
                  <a:pt x="756" y="344"/>
                </a:lnTo>
                <a:lnTo>
                  <a:pt x="760" y="352"/>
                </a:lnTo>
                <a:lnTo>
                  <a:pt x="768" y="378"/>
                </a:lnTo>
                <a:lnTo>
                  <a:pt x="782" y="374"/>
                </a:lnTo>
                <a:lnTo>
                  <a:pt x="800" y="374"/>
                </a:lnTo>
                <a:lnTo>
                  <a:pt x="814" y="380"/>
                </a:lnTo>
                <a:lnTo>
                  <a:pt x="830" y="382"/>
                </a:lnTo>
                <a:lnTo>
                  <a:pt x="846" y="398"/>
                </a:lnTo>
                <a:lnTo>
                  <a:pt x="864" y="408"/>
                </a:lnTo>
                <a:lnTo>
                  <a:pt x="886" y="416"/>
                </a:lnTo>
                <a:lnTo>
                  <a:pt x="896" y="416"/>
                </a:lnTo>
                <a:lnTo>
                  <a:pt x="904" y="418"/>
                </a:lnTo>
                <a:lnTo>
                  <a:pt x="916" y="420"/>
                </a:lnTo>
                <a:lnTo>
                  <a:pt x="928" y="420"/>
                </a:lnTo>
                <a:lnTo>
                  <a:pt x="932" y="442"/>
                </a:lnTo>
                <a:lnTo>
                  <a:pt x="932" y="456"/>
                </a:lnTo>
                <a:lnTo>
                  <a:pt x="932" y="462"/>
                </a:lnTo>
                <a:lnTo>
                  <a:pt x="932" y="470"/>
                </a:lnTo>
                <a:lnTo>
                  <a:pt x="944" y="484"/>
                </a:lnTo>
                <a:lnTo>
                  <a:pt x="956" y="498"/>
                </a:lnTo>
                <a:lnTo>
                  <a:pt x="962" y="502"/>
                </a:lnTo>
                <a:lnTo>
                  <a:pt x="970" y="506"/>
                </a:lnTo>
                <a:lnTo>
                  <a:pt x="984" y="498"/>
                </a:lnTo>
                <a:lnTo>
                  <a:pt x="988" y="490"/>
                </a:lnTo>
                <a:lnTo>
                  <a:pt x="990" y="482"/>
                </a:lnTo>
                <a:lnTo>
                  <a:pt x="984" y="462"/>
                </a:lnTo>
                <a:lnTo>
                  <a:pt x="980" y="448"/>
                </a:lnTo>
                <a:lnTo>
                  <a:pt x="972" y="428"/>
                </a:lnTo>
                <a:lnTo>
                  <a:pt x="980" y="424"/>
                </a:lnTo>
                <a:lnTo>
                  <a:pt x="1002" y="418"/>
                </a:lnTo>
                <a:lnTo>
                  <a:pt x="1012" y="406"/>
                </a:lnTo>
                <a:lnTo>
                  <a:pt x="1022" y="394"/>
                </a:lnTo>
                <a:lnTo>
                  <a:pt x="1020" y="372"/>
                </a:lnTo>
                <a:lnTo>
                  <a:pt x="1010" y="354"/>
                </a:lnTo>
                <a:lnTo>
                  <a:pt x="998" y="346"/>
                </a:lnTo>
                <a:lnTo>
                  <a:pt x="988" y="340"/>
                </a:lnTo>
                <a:lnTo>
                  <a:pt x="990" y="334"/>
                </a:lnTo>
                <a:lnTo>
                  <a:pt x="996" y="328"/>
                </a:lnTo>
                <a:lnTo>
                  <a:pt x="1006" y="316"/>
                </a:lnTo>
                <a:lnTo>
                  <a:pt x="1004" y="304"/>
                </a:lnTo>
                <a:lnTo>
                  <a:pt x="1002" y="292"/>
                </a:lnTo>
                <a:lnTo>
                  <a:pt x="1006" y="274"/>
                </a:lnTo>
                <a:lnTo>
                  <a:pt x="996" y="264"/>
                </a:lnTo>
                <a:lnTo>
                  <a:pt x="1000" y="250"/>
                </a:lnTo>
                <a:lnTo>
                  <a:pt x="1018" y="250"/>
                </a:lnTo>
                <a:lnTo>
                  <a:pt x="1034" y="256"/>
                </a:lnTo>
                <a:lnTo>
                  <a:pt x="1044" y="258"/>
                </a:lnTo>
                <a:lnTo>
                  <a:pt x="1058" y="256"/>
                </a:lnTo>
                <a:lnTo>
                  <a:pt x="1064" y="248"/>
                </a:lnTo>
                <a:lnTo>
                  <a:pt x="1076" y="256"/>
                </a:lnTo>
                <a:lnTo>
                  <a:pt x="1090" y="266"/>
                </a:lnTo>
                <a:lnTo>
                  <a:pt x="1098" y="278"/>
                </a:lnTo>
                <a:lnTo>
                  <a:pt x="1112" y="286"/>
                </a:lnTo>
                <a:lnTo>
                  <a:pt x="1134" y="290"/>
                </a:lnTo>
                <a:lnTo>
                  <a:pt x="1130" y="300"/>
                </a:lnTo>
                <a:lnTo>
                  <a:pt x="1130" y="314"/>
                </a:lnTo>
                <a:lnTo>
                  <a:pt x="1136" y="328"/>
                </a:lnTo>
                <a:lnTo>
                  <a:pt x="1136" y="336"/>
                </a:lnTo>
                <a:lnTo>
                  <a:pt x="1148" y="338"/>
                </a:lnTo>
                <a:lnTo>
                  <a:pt x="1156" y="346"/>
                </a:lnTo>
                <a:lnTo>
                  <a:pt x="1168" y="352"/>
                </a:lnTo>
                <a:lnTo>
                  <a:pt x="1182" y="340"/>
                </a:lnTo>
                <a:lnTo>
                  <a:pt x="1196" y="328"/>
                </a:lnTo>
                <a:lnTo>
                  <a:pt x="1196" y="316"/>
                </a:lnTo>
                <a:lnTo>
                  <a:pt x="1204" y="306"/>
                </a:lnTo>
                <a:lnTo>
                  <a:pt x="1210" y="300"/>
                </a:lnTo>
                <a:lnTo>
                  <a:pt x="1218" y="312"/>
                </a:lnTo>
                <a:lnTo>
                  <a:pt x="1228" y="328"/>
                </a:lnTo>
                <a:lnTo>
                  <a:pt x="1242" y="346"/>
                </a:lnTo>
                <a:lnTo>
                  <a:pt x="1244" y="354"/>
                </a:lnTo>
                <a:lnTo>
                  <a:pt x="1254" y="360"/>
                </a:lnTo>
                <a:lnTo>
                  <a:pt x="1256" y="372"/>
                </a:lnTo>
                <a:lnTo>
                  <a:pt x="1260" y="384"/>
                </a:lnTo>
                <a:lnTo>
                  <a:pt x="1254" y="390"/>
                </a:lnTo>
                <a:lnTo>
                  <a:pt x="1256" y="398"/>
                </a:lnTo>
                <a:lnTo>
                  <a:pt x="1272" y="408"/>
                </a:lnTo>
                <a:lnTo>
                  <a:pt x="1274" y="412"/>
                </a:lnTo>
                <a:lnTo>
                  <a:pt x="1274" y="418"/>
                </a:lnTo>
                <a:lnTo>
                  <a:pt x="1284" y="422"/>
                </a:lnTo>
                <a:lnTo>
                  <a:pt x="1298" y="426"/>
                </a:lnTo>
                <a:lnTo>
                  <a:pt x="1310" y="430"/>
                </a:lnTo>
                <a:lnTo>
                  <a:pt x="1318" y="430"/>
                </a:lnTo>
                <a:lnTo>
                  <a:pt x="1314" y="438"/>
                </a:lnTo>
                <a:lnTo>
                  <a:pt x="1300" y="444"/>
                </a:lnTo>
                <a:lnTo>
                  <a:pt x="1292" y="448"/>
                </a:lnTo>
                <a:lnTo>
                  <a:pt x="1280" y="454"/>
                </a:lnTo>
                <a:lnTo>
                  <a:pt x="1282" y="456"/>
                </a:lnTo>
                <a:lnTo>
                  <a:pt x="1282" y="458"/>
                </a:lnTo>
                <a:lnTo>
                  <a:pt x="1284" y="458"/>
                </a:lnTo>
                <a:lnTo>
                  <a:pt x="1300" y="450"/>
                </a:lnTo>
                <a:lnTo>
                  <a:pt x="1314" y="444"/>
                </a:lnTo>
                <a:lnTo>
                  <a:pt x="1324" y="442"/>
                </a:lnTo>
                <a:lnTo>
                  <a:pt x="1328" y="452"/>
                </a:lnTo>
                <a:lnTo>
                  <a:pt x="1330" y="452"/>
                </a:lnTo>
                <a:lnTo>
                  <a:pt x="1336" y="452"/>
                </a:lnTo>
                <a:lnTo>
                  <a:pt x="1348" y="458"/>
                </a:lnTo>
                <a:lnTo>
                  <a:pt x="1350" y="474"/>
                </a:lnTo>
                <a:lnTo>
                  <a:pt x="1348" y="488"/>
                </a:lnTo>
                <a:lnTo>
                  <a:pt x="1340" y="496"/>
                </a:lnTo>
                <a:lnTo>
                  <a:pt x="1330" y="502"/>
                </a:lnTo>
                <a:lnTo>
                  <a:pt x="1310" y="502"/>
                </a:lnTo>
                <a:lnTo>
                  <a:pt x="1302" y="512"/>
                </a:lnTo>
                <a:lnTo>
                  <a:pt x="1286" y="524"/>
                </a:lnTo>
                <a:lnTo>
                  <a:pt x="1264" y="528"/>
                </a:lnTo>
                <a:lnTo>
                  <a:pt x="1238" y="524"/>
                </a:lnTo>
                <a:lnTo>
                  <a:pt x="1218" y="524"/>
                </a:lnTo>
                <a:lnTo>
                  <a:pt x="1190" y="526"/>
                </a:lnTo>
                <a:lnTo>
                  <a:pt x="1174" y="532"/>
                </a:lnTo>
                <a:lnTo>
                  <a:pt x="1166" y="544"/>
                </a:lnTo>
                <a:lnTo>
                  <a:pt x="1152" y="548"/>
                </a:lnTo>
                <a:lnTo>
                  <a:pt x="1138" y="560"/>
                </a:lnTo>
                <a:lnTo>
                  <a:pt x="1128" y="570"/>
                </a:lnTo>
                <a:lnTo>
                  <a:pt x="1114" y="586"/>
                </a:lnTo>
                <a:lnTo>
                  <a:pt x="1112" y="590"/>
                </a:lnTo>
                <a:lnTo>
                  <a:pt x="1110" y="592"/>
                </a:lnTo>
                <a:lnTo>
                  <a:pt x="1110" y="594"/>
                </a:lnTo>
                <a:lnTo>
                  <a:pt x="1116" y="590"/>
                </a:lnTo>
                <a:lnTo>
                  <a:pt x="1120" y="588"/>
                </a:lnTo>
                <a:lnTo>
                  <a:pt x="1134" y="572"/>
                </a:lnTo>
                <a:lnTo>
                  <a:pt x="1150" y="562"/>
                </a:lnTo>
                <a:lnTo>
                  <a:pt x="1168" y="554"/>
                </a:lnTo>
                <a:lnTo>
                  <a:pt x="1174" y="550"/>
                </a:lnTo>
                <a:lnTo>
                  <a:pt x="1184" y="546"/>
                </a:lnTo>
                <a:lnTo>
                  <a:pt x="1202" y="548"/>
                </a:lnTo>
                <a:lnTo>
                  <a:pt x="1214" y="552"/>
                </a:lnTo>
                <a:lnTo>
                  <a:pt x="1218" y="56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3" name="Freeform 17">
            <a:extLst>
              <a:ext uri="{FF2B5EF4-FFF2-40B4-BE49-F238E27FC236}">
                <a16:creationId xmlns:a16="http://schemas.microsoft.com/office/drawing/2014/main" id="{10AA9B25-7833-4FCE-82A5-DE6D7B767CEF}"/>
              </a:ext>
            </a:extLst>
          </p:cNvPr>
          <p:cNvSpPr>
            <a:spLocks/>
          </p:cNvSpPr>
          <p:nvPr/>
        </p:nvSpPr>
        <p:spPr bwMode="gray">
          <a:xfrm>
            <a:off x="2416472" y="1954107"/>
            <a:ext cx="74924" cy="55500"/>
          </a:xfrm>
          <a:custGeom>
            <a:avLst/>
            <a:gdLst>
              <a:gd name="T0" fmla="*/ 6 w 38"/>
              <a:gd name="T1" fmla="*/ 0 h 28"/>
              <a:gd name="T2" fmla="*/ 22 w 38"/>
              <a:gd name="T3" fmla="*/ 0 h 28"/>
              <a:gd name="T4" fmla="*/ 36 w 38"/>
              <a:gd name="T5" fmla="*/ 0 h 28"/>
              <a:gd name="T6" fmla="*/ 38 w 38"/>
              <a:gd name="T7" fmla="*/ 8 h 28"/>
              <a:gd name="T8" fmla="*/ 34 w 38"/>
              <a:gd name="T9" fmla="*/ 20 h 28"/>
              <a:gd name="T10" fmla="*/ 28 w 38"/>
              <a:gd name="T11" fmla="*/ 28 h 28"/>
              <a:gd name="T12" fmla="*/ 22 w 38"/>
              <a:gd name="T13" fmla="*/ 24 h 28"/>
              <a:gd name="T14" fmla="*/ 14 w 38"/>
              <a:gd name="T15" fmla="*/ 14 h 28"/>
              <a:gd name="T16" fmla="*/ 6 w 38"/>
              <a:gd name="T17" fmla="*/ 10 h 28"/>
              <a:gd name="T18" fmla="*/ 0 w 38"/>
              <a:gd name="T19" fmla="*/ 4 h 28"/>
              <a:gd name="T20" fmla="*/ 6 w 3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6" y="0"/>
                </a:moveTo>
                <a:lnTo>
                  <a:pt x="22" y="0"/>
                </a:lnTo>
                <a:lnTo>
                  <a:pt x="36" y="0"/>
                </a:lnTo>
                <a:lnTo>
                  <a:pt x="38" y="8"/>
                </a:lnTo>
                <a:lnTo>
                  <a:pt x="34" y="20"/>
                </a:lnTo>
                <a:lnTo>
                  <a:pt x="28" y="28"/>
                </a:lnTo>
                <a:lnTo>
                  <a:pt x="22" y="24"/>
                </a:lnTo>
                <a:lnTo>
                  <a:pt x="14" y="14"/>
                </a:lnTo>
                <a:lnTo>
                  <a:pt x="6" y="10"/>
                </a:lnTo>
                <a:lnTo>
                  <a:pt x="0" y="4"/>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4" name="Freeform 18">
            <a:extLst>
              <a:ext uri="{FF2B5EF4-FFF2-40B4-BE49-F238E27FC236}">
                <a16:creationId xmlns:a16="http://schemas.microsoft.com/office/drawing/2014/main" id="{8D69FD19-08F2-4EF9-B23E-C45E0AAE3920}"/>
              </a:ext>
            </a:extLst>
          </p:cNvPr>
          <p:cNvSpPr>
            <a:spLocks/>
          </p:cNvSpPr>
          <p:nvPr/>
        </p:nvSpPr>
        <p:spPr bwMode="gray">
          <a:xfrm>
            <a:off x="1923547" y="1708319"/>
            <a:ext cx="220830" cy="114966"/>
          </a:xfrm>
          <a:custGeom>
            <a:avLst/>
            <a:gdLst>
              <a:gd name="T0" fmla="*/ 0 w 112"/>
              <a:gd name="T1" fmla="*/ 50 h 58"/>
              <a:gd name="T2" fmla="*/ 4 w 112"/>
              <a:gd name="T3" fmla="*/ 40 h 58"/>
              <a:gd name="T4" fmla="*/ 16 w 112"/>
              <a:gd name="T5" fmla="*/ 38 h 58"/>
              <a:gd name="T6" fmla="*/ 26 w 112"/>
              <a:gd name="T7" fmla="*/ 32 h 58"/>
              <a:gd name="T8" fmla="*/ 36 w 112"/>
              <a:gd name="T9" fmla="*/ 26 h 58"/>
              <a:gd name="T10" fmla="*/ 50 w 112"/>
              <a:gd name="T11" fmla="*/ 18 h 58"/>
              <a:gd name="T12" fmla="*/ 58 w 112"/>
              <a:gd name="T13" fmla="*/ 10 h 58"/>
              <a:gd name="T14" fmla="*/ 76 w 112"/>
              <a:gd name="T15" fmla="*/ 8 h 58"/>
              <a:gd name="T16" fmla="*/ 86 w 112"/>
              <a:gd name="T17" fmla="*/ 8 h 58"/>
              <a:gd name="T18" fmla="*/ 92 w 112"/>
              <a:gd name="T19" fmla="*/ 12 h 58"/>
              <a:gd name="T20" fmla="*/ 96 w 112"/>
              <a:gd name="T21" fmla="*/ 0 h 58"/>
              <a:gd name="T22" fmla="*/ 106 w 112"/>
              <a:gd name="T23" fmla="*/ 4 h 58"/>
              <a:gd name="T24" fmla="*/ 112 w 112"/>
              <a:gd name="T25" fmla="*/ 8 h 58"/>
              <a:gd name="T26" fmla="*/ 108 w 112"/>
              <a:gd name="T27" fmla="*/ 14 h 58"/>
              <a:gd name="T28" fmla="*/ 100 w 112"/>
              <a:gd name="T29" fmla="*/ 16 h 58"/>
              <a:gd name="T30" fmla="*/ 106 w 112"/>
              <a:gd name="T31" fmla="*/ 24 h 58"/>
              <a:gd name="T32" fmla="*/ 104 w 112"/>
              <a:gd name="T33" fmla="*/ 30 h 58"/>
              <a:gd name="T34" fmla="*/ 96 w 112"/>
              <a:gd name="T35" fmla="*/ 32 h 58"/>
              <a:gd name="T36" fmla="*/ 90 w 112"/>
              <a:gd name="T37" fmla="*/ 38 h 58"/>
              <a:gd name="T38" fmla="*/ 84 w 112"/>
              <a:gd name="T39" fmla="*/ 44 h 58"/>
              <a:gd name="T40" fmla="*/ 74 w 112"/>
              <a:gd name="T41" fmla="*/ 42 h 58"/>
              <a:gd name="T42" fmla="*/ 76 w 112"/>
              <a:gd name="T43" fmla="*/ 32 h 58"/>
              <a:gd name="T44" fmla="*/ 72 w 112"/>
              <a:gd name="T45" fmla="*/ 28 h 58"/>
              <a:gd name="T46" fmla="*/ 66 w 112"/>
              <a:gd name="T47" fmla="*/ 30 h 58"/>
              <a:gd name="T48" fmla="*/ 64 w 112"/>
              <a:gd name="T49" fmla="*/ 34 h 58"/>
              <a:gd name="T50" fmla="*/ 64 w 112"/>
              <a:gd name="T51" fmla="*/ 40 h 58"/>
              <a:gd name="T52" fmla="*/ 60 w 112"/>
              <a:gd name="T53" fmla="*/ 48 h 58"/>
              <a:gd name="T54" fmla="*/ 54 w 112"/>
              <a:gd name="T55" fmla="*/ 50 h 58"/>
              <a:gd name="T56" fmla="*/ 48 w 112"/>
              <a:gd name="T57" fmla="*/ 48 h 58"/>
              <a:gd name="T58" fmla="*/ 48 w 112"/>
              <a:gd name="T59" fmla="*/ 58 h 58"/>
              <a:gd name="T60" fmla="*/ 34 w 112"/>
              <a:gd name="T61" fmla="*/ 58 h 58"/>
              <a:gd name="T62" fmla="*/ 32 w 112"/>
              <a:gd name="T63" fmla="*/ 50 h 58"/>
              <a:gd name="T64" fmla="*/ 24 w 112"/>
              <a:gd name="T65" fmla="*/ 50 h 58"/>
              <a:gd name="T66" fmla="*/ 24 w 112"/>
              <a:gd name="T67" fmla="*/ 54 h 58"/>
              <a:gd name="T68" fmla="*/ 8 w 112"/>
              <a:gd name="T69" fmla="*/ 54 h 58"/>
              <a:gd name="T70" fmla="*/ 0 w 112"/>
              <a:gd name="T71"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58">
                <a:moveTo>
                  <a:pt x="0" y="50"/>
                </a:moveTo>
                <a:lnTo>
                  <a:pt x="4" y="40"/>
                </a:lnTo>
                <a:lnTo>
                  <a:pt x="16" y="38"/>
                </a:lnTo>
                <a:lnTo>
                  <a:pt x="26" y="32"/>
                </a:lnTo>
                <a:lnTo>
                  <a:pt x="36" y="26"/>
                </a:lnTo>
                <a:lnTo>
                  <a:pt x="50" y="18"/>
                </a:lnTo>
                <a:lnTo>
                  <a:pt x="58" y="10"/>
                </a:lnTo>
                <a:lnTo>
                  <a:pt x="76" y="8"/>
                </a:lnTo>
                <a:lnTo>
                  <a:pt x="86" y="8"/>
                </a:lnTo>
                <a:lnTo>
                  <a:pt x="92" y="12"/>
                </a:lnTo>
                <a:lnTo>
                  <a:pt x="96" y="0"/>
                </a:lnTo>
                <a:lnTo>
                  <a:pt x="106" y="4"/>
                </a:lnTo>
                <a:lnTo>
                  <a:pt x="112" y="8"/>
                </a:lnTo>
                <a:lnTo>
                  <a:pt x="108" y="14"/>
                </a:lnTo>
                <a:lnTo>
                  <a:pt x="100" y="16"/>
                </a:lnTo>
                <a:lnTo>
                  <a:pt x="106" y="24"/>
                </a:lnTo>
                <a:lnTo>
                  <a:pt x="104" y="30"/>
                </a:lnTo>
                <a:lnTo>
                  <a:pt x="96" y="32"/>
                </a:lnTo>
                <a:lnTo>
                  <a:pt x="90" y="38"/>
                </a:lnTo>
                <a:lnTo>
                  <a:pt x="84" y="44"/>
                </a:lnTo>
                <a:lnTo>
                  <a:pt x="74" y="42"/>
                </a:lnTo>
                <a:lnTo>
                  <a:pt x="76" y="32"/>
                </a:lnTo>
                <a:lnTo>
                  <a:pt x="72" y="28"/>
                </a:lnTo>
                <a:lnTo>
                  <a:pt x="66" y="30"/>
                </a:lnTo>
                <a:lnTo>
                  <a:pt x="64" y="34"/>
                </a:lnTo>
                <a:lnTo>
                  <a:pt x="64" y="40"/>
                </a:lnTo>
                <a:lnTo>
                  <a:pt x="60" y="48"/>
                </a:lnTo>
                <a:lnTo>
                  <a:pt x="54" y="50"/>
                </a:lnTo>
                <a:lnTo>
                  <a:pt x="48" y="48"/>
                </a:lnTo>
                <a:lnTo>
                  <a:pt x="48" y="58"/>
                </a:lnTo>
                <a:lnTo>
                  <a:pt x="34" y="58"/>
                </a:lnTo>
                <a:lnTo>
                  <a:pt x="32" y="50"/>
                </a:lnTo>
                <a:lnTo>
                  <a:pt x="24" y="50"/>
                </a:lnTo>
                <a:lnTo>
                  <a:pt x="24" y="54"/>
                </a:lnTo>
                <a:lnTo>
                  <a:pt x="8" y="54"/>
                </a:lnTo>
                <a:lnTo>
                  <a:pt x="0" y="5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5" name="Freeform 19">
            <a:extLst>
              <a:ext uri="{FF2B5EF4-FFF2-40B4-BE49-F238E27FC236}">
                <a16:creationId xmlns:a16="http://schemas.microsoft.com/office/drawing/2014/main" id="{141D3012-A27F-4011-825C-745B884E3396}"/>
              </a:ext>
            </a:extLst>
          </p:cNvPr>
          <p:cNvSpPr>
            <a:spLocks/>
          </p:cNvSpPr>
          <p:nvPr/>
        </p:nvSpPr>
        <p:spPr bwMode="gray">
          <a:xfrm>
            <a:off x="2030019" y="1807426"/>
            <a:ext cx="55208" cy="39644"/>
          </a:xfrm>
          <a:custGeom>
            <a:avLst/>
            <a:gdLst>
              <a:gd name="T0" fmla="*/ 18 w 28"/>
              <a:gd name="T1" fmla="*/ 0 h 20"/>
              <a:gd name="T2" fmla="*/ 28 w 28"/>
              <a:gd name="T3" fmla="*/ 2 h 20"/>
              <a:gd name="T4" fmla="*/ 26 w 28"/>
              <a:gd name="T5" fmla="*/ 8 h 20"/>
              <a:gd name="T6" fmla="*/ 20 w 28"/>
              <a:gd name="T7" fmla="*/ 18 h 20"/>
              <a:gd name="T8" fmla="*/ 12 w 28"/>
              <a:gd name="T9" fmla="*/ 20 h 20"/>
              <a:gd name="T10" fmla="*/ 0 w 28"/>
              <a:gd name="T11" fmla="*/ 16 h 20"/>
              <a:gd name="T12" fmla="*/ 4 w 28"/>
              <a:gd name="T13" fmla="*/ 8 h 20"/>
              <a:gd name="T14" fmla="*/ 14 w 28"/>
              <a:gd name="T15" fmla="*/ 2 h 20"/>
              <a:gd name="T16" fmla="*/ 18 w 28"/>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
                <a:moveTo>
                  <a:pt x="18" y="0"/>
                </a:moveTo>
                <a:lnTo>
                  <a:pt x="28" y="2"/>
                </a:lnTo>
                <a:lnTo>
                  <a:pt x="26" y="8"/>
                </a:lnTo>
                <a:lnTo>
                  <a:pt x="20" y="18"/>
                </a:lnTo>
                <a:lnTo>
                  <a:pt x="12" y="20"/>
                </a:lnTo>
                <a:lnTo>
                  <a:pt x="0" y="16"/>
                </a:lnTo>
                <a:lnTo>
                  <a:pt x="4" y="8"/>
                </a:lnTo>
                <a:lnTo>
                  <a:pt x="14" y="2"/>
                </a:lnTo>
                <a:lnTo>
                  <a:pt x="1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6" name="Freeform 20">
            <a:extLst>
              <a:ext uri="{FF2B5EF4-FFF2-40B4-BE49-F238E27FC236}">
                <a16:creationId xmlns:a16="http://schemas.microsoft.com/office/drawing/2014/main" id="{911F81F2-0564-41BF-ADF7-EA8AF49AF241}"/>
              </a:ext>
            </a:extLst>
          </p:cNvPr>
          <p:cNvSpPr>
            <a:spLocks/>
          </p:cNvSpPr>
          <p:nvPr/>
        </p:nvSpPr>
        <p:spPr bwMode="gray">
          <a:xfrm>
            <a:off x="2219302" y="1676605"/>
            <a:ext cx="110415" cy="51535"/>
          </a:xfrm>
          <a:custGeom>
            <a:avLst/>
            <a:gdLst>
              <a:gd name="T0" fmla="*/ 0 w 56"/>
              <a:gd name="T1" fmla="*/ 6 h 26"/>
              <a:gd name="T2" fmla="*/ 14 w 56"/>
              <a:gd name="T3" fmla="*/ 0 h 26"/>
              <a:gd name="T4" fmla="*/ 32 w 56"/>
              <a:gd name="T5" fmla="*/ 0 h 26"/>
              <a:gd name="T6" fmla="*/ 54 w 56"/>
              <a:gd name="T7" fmla="*/ 0 h 26"/>
              <a:gd name="T8" fmla="*/ 56 w 56"/>
              <a:gd name="T9" fmla="*/ 6 h 26"/>
              <a:gd name="T10" fmla="*/ 44 w 56"/>
              <a:gd name="T11" fmla="*/ 8 h 26"/>
              <a:gd name="T12" fmla="*/ 40 w 56"/>
              <a:gd name="T13" fmla="*/ 12 h 26"/>
              <a:gd name="T14" fmla="*/ 50 w 56"/>
              <a:gd name="T15" fmla="*/ 12 h 26"/>
              <a:gd name="T16" fmla="*/ 50 w 56"/>
              <a:gd name="T17" fmla="*/ 18 h 26"/>
              <a:gd name="T18" fmla="*/ 44 w 56"/>
              <a:gd name="T19" fmla="*/ 24 h 26"/>
              <a:gd name="T20" fmla="*/ 32 w 56"/>
              <a:gd name="T21" fmla="*/ 24 h 26"/>
              <a:gd name="T22" fmla="*/ 22 w 56"/>
              <a:gd name="T23" fmla="*/ 24 h 26"/>
              <a:gd name="T24" fmla="*/ 16 w 56"/>
              <a:gd name="T25" fmla="*/ 26 h 26"/>
              <a:gd name="T26" fmla="*/ 4 w 56"/>
              <a:gd name="T27" fmla="*/ 20 h 26"/>
              <a:gd name="T28" fmla="*/ 0 w 56"/>
              <a:gd name="T2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6">
                <a:moveTo>
                  <a:pt x="0" y="6"/>
                </a:moveTo>
                <a:lnTo>
                  <a:pt x="14" y="0"/>
                </a:lnTo>
                <a:lnTo>
                  <a:pt x="32" y="0"/>
                </a:lnTo>
                <a:lnTo>
                  <a:pt x="54" y="0"/>
                </a:lnTo>
                <a:lnTo>
                  <a:pt x="56" y="6"/>
                </a:lnTo>
                <a:lnTo>
                  <a:pt x="44" y="8"/>
                </a:lnTo>
                <a:lnTo>
                  <a:pt x="40" y="12"/>
                </a:lnTo>
                <a:lnTo>
                  <a:pt x="50" y="12"/>
                </a:lnTo>
                <a:lnTo>
                  <a:pt x="50" y="18"/>
                </a:lnTo>
                <a:lnTo>
                  <a:pt x="44" y="24"/>
                </a:lnTo>
                <a:lnTo>
                  <a:pt x="32" y="24"/>
                </a:lnTo>
                <a:lnTo>
                  <a:pt x="22" y="24"/>
                </a:lnTo>
                <a:lnTo>
                  <a:pt x="16" y="26"/>
                </a:lnTo>
                <a:lnTo>
                  <a:pt x="4" y="20"/>
                </a:lnTo>
                <a:lnTo>
                  <a:pt x="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7" name="Freeform 21">
            <a:extLst>
              <a:ext uri="{FF2B5EF4-FFF2-40B4-BE49-F238E27FC236}">
                <a16:creationId xmlns:a16="http://schemas.microsoft.com/office/drawing/2014/main" id="{026C713C-FB6D-419E-B84D-99241582B4BB}"/>
              </a:ext>
            </a:extLst>
          </p:cNvPr>
          <p:cNvSpPr>
            <a:spLocks/>
          </p:cNvSpPr>
          <p:nvPr/>
        </p:nvSpPr>
        <p:spPr bwMode="gray">
          <a:xfrm>
            <a:off x="2219302" y="1629033"/>
            <a:ext cx="126189" cy="35678"/>
          </a:xfrm>
          <a:custGeom>
            <a:avLst/>
            <a:gdLst>
              <a:gd name="T0" fmla="*/ 8 w 64"/>
              <a:gd name="T1" fmla="*/ 12 h 18"/>
              <a:gd name="T2" fmla="*/ 24 w 64"/>
              <a:gd name="T3" fmla="*/ 6 h 18"/>
              <a:gd name="T4" fmla="*/ 42 w 64"/>
              <a:gd name="T5" fmla="*/ 0 h 18"/>
              <a:gd name="T6" fmla="*/ 56 w 64"/>
              <a:gd name="T7" fmla="*/ 2 h 18"/>
              <a:gd name="T8" fmla="*/ 64 w 64"/>
              <a:gd name="T9" fmla="*/ 8 h 18"/>
              <a:gd name="T10" fmla="*/ 62 w 64"/>
              <a:gd name="T11" fmla="*/ 14 h 18"/>
              <a:gd name="T12" fmla="*/ 52 w 64"/>
              <a:gd name="T13" fmla="*/ 16 h 18"/>
              <a:gd name="T14" fmla="*/ 34 w 64"/>
              <a:gd name="T15" fmla="*/ 16 h 18"/>
              <a:gd name="T16" fmla="*/ 14 w 64"/>
              <a:gd name="T17" fmla="*/ 18 h 18"/>
              <a:gd name="T18" fmla="*/ 0 w 64"/>
              <a:gd name="T19" fmla="*/ 18 h 18"/>
              <a:gd name="T20" fmla="*/ 8 w 64"/>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8">
                <a:moveTo>
                  <a:pt x="8" y="12"/>
                </a:moveTo>
                <a:lnTo>
                  <a:pt x="24" y="6"/>
                </a:lnTo>
                <a:lnTo>
                  <a:pt x="42" y="0"/>
                </a:lnTo>
                <a:lnTo>
                  <a:pt x="56" y="2"/>
                </a:lnTo>
                <a:lnTo>
                  <a:pt x="64" y="8"/>
                </a:lnTo>
                <a:lnTo>
                  <a:pt x="62" y="14"/>
                </a:lnTo>
                <a:lnTo>
                  <a:pt x="52" y="16"/>
                </a:lnTo>
                <a:lnTo>
                  <a:pt x="34" y="16"/>
                </a:lnTo>
                <a:lnTo>
                  <a:pt x="14" y="18"/>
                </a:lnTo>
                <a:lnTo>
                  <a:pt x="0" y="18"/>
                </a:lnTo>
                <a:lnTo>
                  <a:pt x="8" y="1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8" name="Freeform 22">
            <a:extLst>
              <a:ext uri="{FF2B5EF4-FFF2-40B4-BE49-F238E27FC236}">
                <a16:creationId xmlns:a16="http://schemas.microsoft.com/office/drawing/2014/main" id="{9DA920A7-555B-47CA-99C7-A32C855C2563}"/>
              </a:ext>
            </a:extLst>
          </p:cNvPr>
          <p:cNvSpPr>
            <a:spLocks/>
          </p:cNvSpPr>
          <p:nvPr/>
        </p:nvSpPr>
        <p:spPr bwMode="gray">
          <a:xfrm>
            <a:off x="2554492" y="1950142"/>
            <a:ext cx="189283" cy="154607"/>
          </a:xfrm>
          <a:custGeom>
            <a:avLst/>
            <a:gdLst>
              <a:gd name="T0" fmla="*/ 62 w 96"/>
              <a:gd name="T1" fmla="*/ 78 h 78"/>
              <a:gd name="T2" fmla="*/ 50 w 96"/>
              <a:gd name="T3" fmla="*/ 66 h 78"/>
              <a:gd name="T4" fmla="*/ 34 w 96"/>
              <a:gd name="T5" fmla="*/ 56 h 78"/>
              <a:gd name="T6" fmla="*/ 26 w 96"/>
              <a:gd name="T7" fmla="*/ 48 h 78"/>
              <a:gd name="T8" fmla="*/ 10 w 96"/>
              <a:gd name="T9" fmla="*/ 46 h 78"/>
              <a:gd name="T10" fmla="*/ 2 w 96"/>
              <a:gd name="T11" fmla="*/ 40 h 78"/>
              <a:gd name="T12" fmla="*/ 0 w 96"/>
              <a:gd name="T13" fmla="*/ 32 h 78"/>
              <a:gd name="T14" fmla="*/ 4 w 96"/>
              <a:gd name="T15" fmla="*/ 22 h 78"/>
              <a:gd name="T16" fmla="*/ 12 w 96"/>
              <a:gd name="T17" fmla="*/ 24 h 78"/>
              <a:gd name="T18" fmla="*/ 18 w 96"/>
              <a:gd name="T19" fmla="*/ 32 h 78"/>
              <a:gd name="T20" fmla="*/ 28 w 96"/>
              <a:gd name="T21" fmla="*/ 30 h 78"/>
              <a:gd name="T22" fmla="*/ 38 w 96"/>
              <a:gd name="T23" fmla="*/ 24 h 78"/>
              <a:gd name="T24" fmla="*/ 34 w 96"/>
              <a:gd name="T25" fmla="*/ 18 h 78"/>
              <a:gd name="T26" fmla="*/ 20 w 96"/>
              <a:gd name="T27" fmla="*/ 12 h 78"/>
              <a:gd name="T28" fmla="*/ 32 w 96"/>
              <a:gd name="T29" fmla="*/ 2 h 78"/>
              <a:gd name="T30" fmla="*/ 46 w 96"/>
              <a:gd name="T31" fmla="*/ 0 h 78"/>
              <a:gd name="T32" fmla="*/ 50 w 96"/>
              <a:gd name="T33" fmla="*/ 4 h 78"/>
              <a:gd name="T34" fmla="*/ 58 w 96"/>
              <a:gd name="T35" fmla="*/ 4 h 78"/>
              <a:gd name="T36" fmla="*/ 66 w 96"/>
              <a:gd name="T37" fmla="*/ 0 h 78"/>
              <a:gd name="T38" fmla="*/ 92 w 96"/>
              <a:gd name="T39" fmla="*/ 2 h 78"/>
              <a:gd name="T40" fmla="*/ 86 w 96"/>
              <a:gd name="T41" fmla="*/ 6 h 78"/>
              <a:gd name="T42" fmla="*/ 78 w 96"/>
              <a:gd name="T43" fmla="*/ 14 h 78"/>
              <a:gd name="T44" fmla="*/ 68 w 96"/>
              <a:gd name="T45" fmla="*/ 20 h 78"/>
              <a:gd name="T46" fmla="*/ 64 w 96"/>
              <a:gd name="T47" fmla="*/ 26 h 78"/>
              <a:gd name="T48" fmla="*/ 74 w 96"/>
              <a:gd name="T49" fmla="*/ 26 h 78"/>
              <a:gd name="T50" fmla="*/ 80 w 96"/>
              <a:gd name="T51" fmla="*/ 26 h 78"/>
              <a:gd name="T52" fmla="*/ 86 w 96"/>
              <a:gd name="T53" fmla="*/ 34 h 78"/>
              <a:gd name="T54" fmla="*/ 94 w 96"/>
              <a:gd name="T55" fmla="*/ 28 h 78"/>
              <a:gd name="T56" fmla="*/ 96 w 96"/>
              <a:gd name="T57" fmla="*/ 38 h 78"/>
              <a:gd name="T58" fmla="*/ 92 w 96"/>
              <a:gd name="T59" fmla="*/ 54 h 78"/>
              <a:gd name="T60" fmla="*/ 84 w 96"/>
              <a:gd name="T61" fmla="*/ 66 h 78"/>
              <a:gd name="T62" fmla="*/ 78 w 96"/>
              <a:gd name="T63" fmla="*/ 68 h 78"/>
              <a:gd name="T64" fmla="*/ 70 w 96"/>
              <a:gd name="T65" fmla="*/ 64 h 78"/>
              <a:gd name="T66" fmla="*/ 68 w 96"/>
              <a:gd name="T67" fmla="*/ 68 h 78"/>
              <a:gd name="T68" fmla="*/ 62 w 96"/>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78">
                <a:moveTo>
                  <a:pt x="62" y="78"/>
                </a:moveTo>
                <a:lnTo>
                  <a:pt x="50" y="66"/>
                </a:lnTo>
                <a:lnTo>
                  <a:pt x="34" y="56"/>
                </a:lnTo>
                <a:lnTo>
                  <a:pt x="26" y="48"/>
                </a:lnTo>
                <a:lnTo>
                  <a:pt x="10" y="46"/>
                </a:lnTo>
                <a:lnTo>
                  <a:pt x="2" y="40"/>
                </a:lnTo>
                <a:lnTo>
                  <a:pt x="0" y="32"/>
                </a:lnTo>
                <a:lnTo>
                  <a:pt x="4" y="22"/>
                </a:lnTo>
                <a:lnTo>
                  <a:pt x="12" y="24"/>
                </a:lnTo>
                <a:lnTo>
                  <a:pt x="18" y="32"/>
                </a:lnTo>
                <a:lnTo>
                  <a:pt x="28" y="30"/>
                </a:lnTo>
                <a:lnTo>
                  <a:pt x="38" y="24"/>
                </a:lnTo>
                <a:lnTo>
                  <a:pt x="34" y="18"/>
                </a:lnTo>
                <a:lnTo>
                  <a:pt x="20" y="12"/>
                </a:lnTo>
                <a:lnTo>
                  <a:pt x="32" y="2"/>
                </a:lnTo>
                <a:lnTo>
                  <a:pt x="46" y="0"/>
                </a:lnTo>
                <a:lnTo>
                  <a:pt x="50" y="4"/>
                </a:lnTo>
                <a:lnTo>
                  <a:pt x="58" y="4"/>
                </a:lnTo>
                <a:lnTo>
                  <a:pt x="66" y="0"/>
                </a:lnTo>
                <a:lnTo>
                  <a:pt x="92" y="2"/>
                </a:lnTo>
                <a:lnTo>
                  <a:pt x="86" y="6"/>
                </a:lnTo>
                <a:lnTo>
                  <a:pt x="78" y="14"/>
                </a:lnTo>
                <a:lnTo>
                  <a:pt x="68" y="20"/>
                </a:lnTo>
                <a:lnTo>
                  <a:pt x="64" y="26"/>
                </a:lnTo>
                <a:lnTo>
                  <a:pt x="74" y="26"/>
                </a:lnTo>
                <a:lnTo>
                  <a:pt x="80" y="26"/>
                </a:lnTo>
                <a:lnTo>
                  <a:pt x="86" y="34"/>
                </a:lnTo>
                <a:lnTo>
                  <a:pt x="94" y="28"/>
                </a:lnTo>
                <a:lnTo>
                  <a:pt x="96" y="38"/>
                </a:lnTo>
                <a:lnTo>
                  <a:pt x="92" y="54"/>
                </a:lnTo>
                <a:lnTo>
                  <a:pt x="84" y="66"/>
                </a:lnTo>
                <a:lnTo>
                  <a:pt x="78" y="68"/>
                </a:lnTo>
                <a:lnTo>
                  <a:pt x="70" y="64"/>
                </a:lnTo>
                <a:lnTo>
                  <a:pt x="68" y="68"/>
                </a:lnTo>
                <a:lnTo>
                  <a:pt x="62" y="7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49" name="Freeform 23">
            <a:extLst>
              <a:ext uri="{FF2B5EF4-FFF2-40B4-BE49-F238E27FC236}">
                <a16:creationId xmlns:a16="http://schemas.microsoft.com/office/drawing/2014/main" id="{584248A4-3395-4542-B211-2A4CA7B260E3}"/>
              </a:ext>
            </a:extLst>
          </p:cNvPr>
          <p:cNvSpPr>
            <a:spLocks/>
          </p:cNvSpPr>
          <p:nvPr/>
        </p:nvSpPr>
        <p:spPr bwMode="gray">
          <a:xfrm>
            <a:off x="2743774" y="1827249"/>
            <a:ext cx="90698" cy="67394"/>
          </a:xfrm>
          <a:custGeom>
            <a:avLst/>
            <a:gdLst>
              <a:gd name="T0" fmla="*/ 46 w 46"/>
              <a:gd name="T1" fmla="*/ 34 h 34"/>
              <a:gd name="T2" fmla="*/ 28 w 46"/>
              <a:gd name="T3" fmla="*/ 32 h 34"/>
              <a:gd name="T4" fmla="*/ 12 w 46"/>
              <a:gd name="T5" fmla="*/ 30 h 34"/>
              <a:gd name="T6" fmla="*/ 0 w 46"/>
              <a:gd name="T7" fmla="*/ 22 h 34"/>
              <a:gd name="T8" fmla="*/ 8 w 46"/>
              <a:gd name="T9" fmla="*/ 12 h 34"/>
              <a:gd name="T10" fmla="*/ 18 w 46"/>
              <a:gd name="T11" fmla="*/ 6 h 34"/>
              <a:gd name="T12" fmla="*/ 26 w 46"/>
              <a:gd name="T13" fmla="*/ 0 h 34"/>
              <a:gd name="T14" fmla="*/ 34 w 46"/>
              <a:gd name="T15" fmla="*/ 6 h 34"/>
              <a:gd name="T16" fmla="*/ 44 w 46"/>
              <a:gd name="T17" fmla="*/ 14 h 34"/>
              <a:gd name="T18" fmla="*/ 46 w 46"/>
              <a:gd name="T19" fmla="*/ 22 h 34"/>
              <a:gd name="T20" fmla="*/ 46 w 46"/>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34">
                <a:moveTo>
                  <a:pt x="46" y="34"/>
                </a:moveTo>
                <a:lnTo>
                  <a:pt x="28" y="32"/>
                </a:lnTo>
                <a:lnTo>
                  <a:pt x="12" y="30"/>
                </a:lnTo>
                <a:lnTo>
                  <a:pt x="0" y="22"/>
                </a:lnTo>
                <a:lnTo>
                  <a:pt x="8" y="12"/>
                </a:lnTo>
                <a:lnTo>
                  <a:pt x="18" y="6"/>
                </a:lnTo>
                <a:lnTo>
                  <a:pt x="26" y="0"/>
                </a:lnTo>
                <a:lnTo>
                  <a:pt x="34" y="6"/>
                </a:lnTo>
                <a:lnTo>
                  <a:pt x="44" y="14"/>
                </a:lnTo>
                <a:lnTo>
                  <a:pt x="46" y="22"/>
                </a:lnTo>
                <a:lnTo>
                  <a:pt x="46" y="3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0" name="Freeform 24">
            <a:extLst>
              <a:ext uri="{FF2B5EF4-FFF2-40B4-BE49-F238E27FC236}">
                <a16:creationId xmlns:a16="http://schemas.microsoft.com/office/drawing/2014/main" id="{2A6C47E8-1134-4129-AFCE-07C4E14F6B53}"/>
              </a:ext>
            </a:extLst>
          </p:cNvPr>
          <p:cNvSpPr>
            <a:spLocks/>
          </p:cNvSpPr>
          <p:nvPr/>
        </p:nvSpPr>
        <p:spPr bwMode="gray">
          <a:xfrm>
            <a:off x="2688567" y="1625069"/>
            <a:ext cx="106472" cy="63430"/>
          </a:xfrm>
          <a:custGeom>
            <a:avLst/>
            <a:gdLst>
              <a:gd name="T0" fmla="*/ 4 w 54"/>
              <a:gd name="T1" fmla="*/ 0 h 32"/>
              <a:gd name="T2" fmla="*/ 22 w 54"/>
              <a:gd name="T3" fmla="*/ 4 h 32"/>
              <a:gd name="T4" fmla="*/ 36 w 54"/>
              <a:gd name="T5" fmla="*/ 10 h 32"/>
              <a:gd name="T6" fmla="*/ 48 w 54"/>
              <a:gd name="T7" fmla="*/ 14 h 32"/>
              <a:gd name="T8" fmla="*/ 54 w 54"/>
              <a:gd name="T9" fmla="*/ 20 h 32"/>
              <a:gd name="T10" fmla="*/ 48 w 54"/>
              <a:gd name="T11" fmla="*/ 30 h 32"/>
              <a:gd name="T12" fmla="*/ 36 w 54"/>
              <a:gd name="T13" fmla="*/ 32 h 32"/>
              <a:gd name="T14" fmla="*/ 20 w 54"/>
              <a:gd name="T15" fmla="*/ 32 h 32"/>
              <a:gd name="T16" fmla="*/ 16 w 54"/>
              <a:gd name="T17" fmla="*/ 22 h 32"/>
              <a:gd name="T18" fmla="*/ 6 w 54"/>
              <a:gd name="T19" fmla="*/ 18 h 32"/>
              <a:gd name="T20" fmla="*/ 0 w 54"/>
              <a:gd name="T21" fmla="*/ 12 h 32"/>
              <a:gd name="T22" fmla="*/ 0 w 54"/>
              <a:gd name="T23" fmla="*/ 4 h 32"/>
              <a:gd name="T24" fmla="*/ 4 w 54"/>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32">
                <a:moveTo>
                  <a:pt x="4" y="0"/>
                </a:moveTo>
                <a:lnTo>
                  <a:pt x="22" y="4"/>
                </a:lnTo>
                <a:lnTo>
                  <a:pt x="36" y="10"/>
                </a:lnTo>
                <a:lnTo>
                  <a:pt x="48" y="14"/>
                </a:lnTo>
                <a:lnTo>
                  <a:pt x="54" y="20"/>
                </a:lnTo>
                <a:lnTo>
                  <a:pt x="48" y="30"/>
                </a:lnTo>
                <a:lnTo>
                  <a:pt x="36" y="32"/>
                </a:lnTo>
                <a:lnTo>
                  <a:pt x="20" y="32"/>
                </a:lnTo>
                <a:lnTo>
                  <a:pt x="16" y="22"/>
                </a:lnTo>
                <a:lnTo>
                  <a:pt x="6" y="18"/>
                </a:lnTo>
                <a:lnTo>
                  <a:pt x="0" y="12"/>
                </a:lnTo>
                <a:lnTo>
                  <a:pt x="0" y="4"/>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1" name="Freeform 25">
            <a:extLst>
              <a:ext uri="{FF2B5EF4-FFF2-40B4-BE49-F238E27FC236}">
                <a16:creationId xmlns:a16="http://schemas.microsoft.com/office/drawing/2014/main" id="{AD431580-CB88-47D7-9F5E-289E8E7151C7}"/>
              </a:ext>
            </a:extLst>
          </p:cNvPr>
          <p:cNvSpPr>
            <a:spLocks/>
          </p:cNvSpPr>
          <p:nvPr/>
        </p:nvSpPr>
        <p:spPr bwMode="gray">
          <a:xfrm>
            <a:off x="2735888" y="1442710"/>
            <a:ext cx="358850" cy="229930"/>
          </a:xfrm>
          <a:custGeom>
            <a:avLst/>
            <a:gdLst>
              <a:gd name="T0" fmla="*/ 116 w 182"/>
              <a:gd name="T1" fmla="*/ 110 h 116"/>
              <a:gd name="T2" fmla="*/ 102 w 182"/>
              <a:gd name="T3" fmla="*/ 104 h 116"/>
              <a:gd name="T4" fmla="*/ 96 w 182"/>
              <a:gd name="T5" fmla="*/ 112 h 116"/>
              <a:gd name="T6" fmla="*/ 66 w 182"/>
              <a:gd name="T7" fmla="*/ 110 h 116"/>
              <a:gd name="T8" fmla="*/ 78 w 182"/>
              <a:gd name="T9" fmla="*/ 102 h 116"/>
              <a:gd name="T10" fmla="*/ 62 w 182"/>
              <a:gd name="T11" fmla="*/ 96 h 116"/>
              <a:gd name="T12" fmla="*/ 40 w 182"/>
              <a:gd name="T13" fmla="*/ 86 h 116"/>
              <a:gd name="T14" fmla="*/ 70 w 182"/>
              <a:gd name="T15" fmla="*/ 82 h 116"/>
              <a:gd name="T16" fmla="*/ 96 w 182"/>
              <a:gd name="T17" fmla="*/ 80 h 116"/>
              <a:gd name="T18" fmla="*/ 78 w 182"/>
              <a:gd name="T19" fmla="*/ 72 h 116"/>
              <a:gd name="T20" fmla="*/ 50 w 182"/>
              <a:gd name="T21" fmla="*/ 74 h 116"/>
              <a:gd name="T22" fmla="*/ 24 w 182"/>
              <a:gd name="T23" fmla="*/ 74 h 116"/>
              <a:gd name="T24" fmla="*/ 0 w 182"/>
              <a:gd name="T25" fmla="*/ 44 h 116"/>
              <a:gd name="T26" fmla="*/ 14 w 182"/>
              <a:gd name="T27" fmla="*/ 48 h 116"/>
              <a:gd name="T28" fmla="*/ 36 w 182"/>
              <a:gd name="T29" fmla="*/ 42 h 116"/>
              <a:gd name="T30" fmla="*/ 16 w 182"/>
              <a:gd name="T31" fmla="*/ 38 h 116"/>
              <a:gd name="T32" fmla="*/ 24 w 182"/>
              <a:gd name="T33" fmla="*/ 28 h 116"/>
              <a:gd name="T34" fmla="*/ 42 w 182"/>
              <a:gd name="T35" fmla="*/ 26 h 116"/>
              <a:gd name="T36" fmla="*/ 24 w 182"/>
              <a:gd name="T37" fmla="*/ 18 h 116"/>
              <a:gd name="T38" fmla="*/ 34 w 182"/>
              <a:gd name="T39" fmla="*/ 10 h 116"/>
              <a:gd name="T40" fmla="*/ 58 w 182"/>
              <a:gd name="T41" fmla="*/ 10 h 116"/>
              <a:gd name="T42" fmla="*/ 42 w 182"/>
              <a:gd name="T43" fmla="*/ 4 h 116"/>
              <a:gd name="T44" fmla="*/ 70 w 182"/>
              <a:gd name="T45" fmla="*/ 2 h 116"/>
              <a:gd name="T46" fmla="*/ 118 w 182"/>
              <a:gd name="T47" fmla="*/ 34 h 116"/>
              <a:gd name="T48" fmla="*/ 126 w 182"/>
              <a:gd name="T49" fmla="*/ 48 h 116"/>
              <a:gd name="T50" fmla="*/ 138 w 182"/>
              <a:gd name="T51" fmla="*/ 34 h 116"/>
              <a:gd name="T52" fmla="*/ 142 w 182"/>
              <a:gd name="T53" fmla="*/ 46 h 116"/>
              <a:gd name="T54" fmla="*/ 152 w 182"/>
              <a:gd name="T55" fmla="*/ 58 h 116"/>
              <a:gd name="T56" fmla="*/ 164 w 182"/>
              <a:gd name="T57" fmla="*/ 66 h 116"/>
              <a:gd name="T58" fmla="*/ 176 w 182"/>
              <a:gd name="T59" fmla="*/ 68 h 116"/>
              <a:gd name="T60" fmla="*/ 178 w 182"/>
              <a:gd name="T61" fmla="*/ 80 h 116"/>
              <a:gd name="T62" fmla="*/ 162 w 182"/>
              <a:gd name="T63" fmla="*/ 82 h 116"/>
              <a:gd name="T64" fmla="*/ 140 w 182"/>
              <a:gd name="T65" fmla="*/ 98 h 116"/>
              <a:gd name="T66" fmla="*/ 144 w 182"/>
              <a:gd name="T67" fmla="*/ 82 h 116"/>
              <a:gd name="T68" fmla="*/ 134 w 182"/>
              <a:gd name="T69" fmla="*/ 92 h 116"/>
              <a:gd name="T70" fmla="*/ 136 w 182"/>
              <a:gd name="T71" fmla="*/ 102 h 116"/>
              <a:gd name="T72" fmla="*/ 136 w 182"/>
              <a:gd name="T73" fmla="*/ 108 h 116"/>
              <a:gd name="T74" fmla="*/ 128 w 182"/>
              <a:gd name="T75" fmla="*/ 106 h 116"/>
              <a:gd name="T76" fmla="*/ 124 w 182"/>
              <a:gd name="T7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 h="116">
                <a:moveTo>
                  <a:pt x="124" y="116"/>
                </a:moveTo>
                <a:lnTo>
                  <a:pt x="116" y="110"/>
                </a:lnTo>
                <a:lnTo>
                  <a:pt x="108" y="100"/>
                </a:lnTo>
                <a:lnTo>
                  <a:pt x="102" y="104"/>
                </a:lnTo>
                <a:lnTo>
                  <a:pt x="104" y="110"/>
                </a:lnTo>
                <a:lnTo>
                  <a:pt x="96" y="112"/>
                </a:lnTo>
                <a:lnTo>
                  <a:pt x="84" y="116"/>
                </a:lnTo>
                <a:lnTo>
                  <a:pt x="66" y="110"/>
                </a:lnTo>
                <a:lnTo>
                  <a:pt x="64" y="100"/>
                </a:lnTo>
                <a:lnTo>
                  <a:pt x="78" y="102"/>
                </a:lnTo>
                <a:lnTo>
                  <a:pt x="76" y="98"/>
                </a:lnTo>
                <a:lnTo>
                  <a:pt x="62" y="96"/>
                </a:lnTo>
                <a:lnTo>
                  <a:pt x="56" y="98"/>
                </a:lnTo>
                <a:lnTo>
                  <a:pt x="40" y="86"/>
                </a:lnTo>
                <a:lnTo>
                  <a:pt x="52" y="82"/>
                </a:lnTo>
                <a:lnTo>
                  <a:pt x="70" y="82"/>
                </a:lnTo>
                <a:lnTo>
                  <a:pt x="84" y="82"/>
                </a:lnTo>
                <a:lnTo>
                  <a:pt x="96" y="80"/>
                </a:lnTo>
                <a:lnTo>
                  <a:pt x="90" y="74"/>
                </a:lnTo>
                <a:lnTo>
                  <a:pt x="78" y="72"/>
                </a:lnTo>
                <a:lnTo>
                  <a:pt x="62" y="72"/>
                </a:lnTo>
                <a:lnTo>
                  <a:pt x="50" y="74"/>
                </a:lnTo>
                <a:lnTo>
                  <a:pt x="34" y="72"/>
                </a:lnTo>
                <a:lnTo>
                  <a:pt x="24" y="74"/>
                </a:lnTo>
                <a:lnTo>
                  <a:pt x="6" y="54"/>
                </a:lnTo>
                <a:lnTo>
                  <a:pt x="0" y="44"/>
                </a:lnTo>
                <a:lnTo>
                  <a:pt x="8" y="44"/>
                </a:lnTo>
                <a:lnTo>
                  <a:pt x="14" y="48"/>
                </a:lnTo>
                <a:lnTo>
                  <a:pt x="30" y="50"/>
                </a:lnTo>
                <a:lnTo>
                  <a:pt x="36" y="42"/>
                </a:lnTo>
                <a:lnTo>
                  <a:pt x="24" y="40"/>
                </a:lnTo>
                <a:lnTo>
                  <a:pt x="16" y="38"/>
                </a:lnTo>
                <a:lnTo>
                  <a:pt x="14" y="28"/>
                </a:lnTo>
                <a:lnTo>
                  <a:pt x="24" y="28"/>
                </a:lnTo>
                <a:lnTo>
                  <a:pt x="36" y="30"/>
                </a:lnTo>
                <a:lnTo>
                  <a:pt x="42" y="26"/>
                </a:lnTo>
                <a:lnTo>
                  <a:pt x="34" y="22"/>
                </a:lnTo>
                <a:lnTo>
                  <a:pt x="24" y="18"/>
                </a:lnTo>
                <a:lnTo>
                  <a:pt x="26" y="10"/>
                </a:lnTo>
                <a:lnTo>
                  <a:pt x="34" y="10"/>
                </a:lnTo>
                <a:lnTo>
                  <a:pt x="42" y="12"/>
                </a:lnTo>
                <a:lnTo>
                  <a:pt x="58" y="10"/>
                </a:lnTo>
                <a:lnTo>
                  <a:pt x="56" y="6"/>
                </a:lnTo>
                <a:lnTo>
                  <a:pt x="42" y="4"/>
                </a:lnTo>
                <a:lnTo>
                  <a:pt x="46" y="0"/>
                </a:lnTo>
                <a:lnTo>
                  <a:pt x="70" y="2"/>
                </a:lnTo>
                <a:lnTo>
                  <a:pt x="98" y="30"/>
                </a:lnTo>
                <a:lnTo>
                  <a:pt x="118" y="34"/>
                </a:lnTo>
                <a:lnTo>
                  <a:pt x="118" y="42"/>
                </a:lnTo>
                <a:lnTo>
                  <a:pt x="126" y="48"/>
                </a:lnTo>
                <a:lnTo>
                  <a:pt x="130" y="38"/>
                </a:lnTo>
                <a:lnTo>
                  <a:pt x="138" y="34"/>
                </a:lnTo>
                <a:lnTo>
                  <a:pt x="144" y="36"/>
                </a:lnTo>
                <a:lnTo>
                  <a:pt x="142" y="46"/>
                </a:lnTo>
                <a:lnTo>
                  <a:pt x="150" y="52"/>
                </a:lnTo>
                <a:lnTo>
                  <a:pt x="152" y="58"/>
                </a:lnTo>
                <a:lnTo>
                  <a:pt x="150" y="68"/>
                </a:lnTo>
                <a:lnTo>
                  <a:pt x="164" y="66"/>
                </a:lnTo>
                <a:lnTo>
                  <a:pt x="172" y="68"/>
                </a:lnTo>
                <a:lnTo>
                  <a:pt x="176" y="68"/>
                </a:lnTo>
                <a:lnTo>
                  <a:pt x="182" y="74"/>
                </a:lnTo>
                <a:lnTo>
                  <a:pt x="178" y="80"/>
                </a:lnTo>
                <a:lnTo>
                  <a:pt x="172" y="84"/>
                </a:lnTo>
                <a:lnTo>
                  <a:pt x="162" y="82"/>
                </a:lnTo>
                <a:lnTo>
                  <a:pt x="156" y="84"/>
                </a:lnTo>
                <a:lnTo>
                  <a:pt x="140" y="98"/>
                </a:lnTo>
                <a:lnTo>
                  <a:pt x="140" y="92"/>
                </a:lnTo>
                <a:lnTo>
                  <a:pt x="144" y="82"/>
                </a:lnTo>
                <a:lnTo>
                  <a:pt x="138" y="82"/>
                </a:lnTo>
                <a:lnTo>
                  <a:pt x="134" y="92"/>
                </a:lnTo>
                <a:lnTo>
                  <a:pt x="134" y="96"/>
                </a:lnTo>
                <a:lnTo>
                  <a:pt x="136" y="102"/>
                </a:lnTo>
                <a:lnTo>
                  <a:pt x="136" y="106"/>
                </a:lnTo>
                <a:lnTo>
                  <a:pt x="136" y="108"/>
                </a:lnTo>
                <a:lnTo>
                  <a:pt x="134" y="110"/>
                </a:lnTo>
                <a:lnTo>
                  <a:pt x="128" y="106"/>
                </a:lnTo>
                <a:lnTo>
                  <a:pt x="126" y="104"/>
                </a:lnTo>
                <a:lnTo>
                  <a:pt x="124" y="1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2" name="Freeform 26">
            <a:extLst>
              <a:ext uri="{FF2B5EF4-FFF2-40B4-BE49-F238E27FC236}">
                <a16:creationId xmlns:a16="http://schemas.microsoft.com/office/drawing/2014/main" id="{EEB6626B-C38E-4090-9FF9-9B5FA172CFA3}"/>
              </a:ext>
            </a:extLst>
          </p:cNvPr>
          <p:cNvSpPr>
            <a:spLocks/>
          </p:cNvSpPr>
          <p:nvPr/>
        </p:nvSpPr>
        <p:spPr bwMode="gray">
          <a:xfrm>
            <a:off x="2621529" y="1529924"/>
            <a:ext cx="51264" cy="31714"/>
          </a:xfrm>
          <a:custGeom>
            <a:avLst/>
            <a:gdLst>
              <a:gd name="T0" fmla="*/ 8 w 26"/>
              <a:gd name="T1" fmla="*/ 0 h 16"/>
              <a:gd name="T2" fmla="*/ 18 w 26"/>
              <a:gd name="T3" fmla="*/ 0 h 16"/>
              <a:gd name="T4" fmla="*/ 26 w 26"/>
              <a:gd name="T5" fmla="*/ 6 h 16"/>
              <a:gd name="T6" fmla="*/ 26 w 26"/>
              <a:gd name="T7" fmla="*/ 16 h 16"/>
              <a:gd name="T8" fmla="*/ 18 w 26"/>
              <a:gd name="T9" fmla="*/ 16 h 16"/>
              <a:gd name="T10" fmla="*/ 14 w 26"/>
              <a:gd name="T11" fmla="*/ 12 h 16"/>
              <a:gd name="T12" fmla="*/ 4 w 26"/>
              <a:gd name="T13" fmla="*/ 12 h 16"/>
              <a:gd name="T14" fmla="*/ 0 w 26"/>
              <a:gd name="T15" fmla="*/ 4 h 16"/>
              <a:gd name="T16" fmla="*/ 8 w 2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6">
                <a:moveTo>
                  <a:pt x="8" y="0"/>
                </a:moveTo>
                <a:lnTo>
                  <a:pt x="18" y="0"/>
                </a:lnTo>
                <a:lnTo>
                  <a:pt x="26" y="6"/>
                </a:lnTo>
                <a:lnTo>
                  <a:pt x="26" y="16"/>
                </a:lnTo>
                <a:lnTo>
                  <a:pt x="18" y="16"/>
                </a:lnTo>
                <a:lnTo>
                  <a:pt x="14" y="12"/>
                </a:lnTo>
                <a:lnTo>
                  <a:pt x="4" y="12"/>
                </a:lnTo>
                <a:lnTo>
                  <a:pt x="0" y="4"/>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3" name="Freeform 27">
            <a:extLst>
              <a:ext uri="{FF2B5EF4-FFF2-40B4-BE49-F238E27FC236}">
                <a16:creationId xmlns:a16="http://schemas.microsoft.com/office/drawing/2014/main" id="{0AFC2C89-21EA-4762-A1A3-D4D5FF23B5EC}"/>
              </a:ext>
            </a:extLst>
          </p:cNvPr>
          <p:cNvSpPr>
            <a:spLocks/>
          </p:cNvSpPr>
          <p:nvPr/>
        </p:nvSpPr>
        <p:spPr bwMode="gray">
          <a:xfrm>
            <a:off x="3236699" y="1958070"/>
            <a:ext cx="138018" cy="55500"/>
          </a:xfrm>
          <a:custGeom>
            <a:avLst/>
            <a:gdLst>
              <a:gd name="T0" fmla="*/ 4 w 70"/>
              <a:gd name="T1" fmla="*/ 0 h 28"/>
              <a:gd name="T2" fmla="*/ 22 w 70"/>
              <a:gd name="T3" fmla="*/ 0 h 28"/>
              <a:gd name="T4" fmla="*/ 42 w 70"/>
              <a:gd name="T5" fmla="*/ 2 h 28"/>
              <a:gd name="T6" fmla="*/ 62 w 70"/>
              <a:gd name="T7" fmla="*/ 12 h 28"/>
              <a:gd name="T8" fmla="*/ 70 w 70"/>
              <a:gd name="T9" fmla="*/ 22 h 28"/>
              <a:gd name="T10" fmla="*/ 60 w 70"/>
              <a:gd name="T11" fmla="*/ 24 h 28"/>
              <a:gd name="T12" fmla="*/ 46 w 70"/>
              <a:gd name="T13" fmla="*/ 24 h 28"/>
              <a:gd name="T14" fmla="*/ 32 w 70"/>
              <a:gd name="T15" fmla="*/ 24 h 28"/>
              <a:gd name="T16" fmla="*/ 26 w 70"/>
              <a:gd name="T17" fmla="*/ 28 h 28"/>
              <a:gd name="T18" fmla="*/ 14 w 70"/>
              <a:gd name="T19" fmla="*/ 26 h 28"/>
              <a:gd name="T20" fmla="*/ 10 w 70"/>
              <a:gd name="T21" fmla="*/ 16 h 28"/>
              <a:gd name="T22" fmla="*/ 0 w 70"/>
              <a:gd name="T23" fmla="*/ 10 h 28"/>
              <a:gd name="T24" fmla="*/ 0 w 70"/>
              <a:gd name="T25" fmla="*/ 0 h 28"/>
              <a:gd name="T26" fmla="*/ 4 w 70"/>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28">
                <a:moveTo>
                  <a:pt x="4" y="0"/>
                </a:moveTo>
                <a:lnTo>
                  <a:pt x="22" y="0"/>
                </a:lnTo>
                <a:lnTo>
                  <a:pt x="42" y="2"/>
                </a:lnTo>
                <a:lnTo>
                  <a:pt x="62" y="12"/>
                </a:lnTo>
                <a:lnTo>
                  <a:pt x="70" y="22"/>
                </a:lnTo>
                <a:lnTo>
                  <a:pt x="60" y="24"/>
                </a:lnTo>
                <a:lnTo>
                  <a:pt x="46" y="24"/>
                </a:lnTo>
                <a:lnTo>
                  <a:pt x="32" y="24"/>
                </a:lnTo>
                <a:lnTo>
                  <a:pt x="26" y="28"/>
                </a:lnTo>
                <a:lnTo>
                  <a:pt x="14" y="26"/>
                </a:lnTo>
                <a:lnTo>
                  <a:pt x="10" y="16"/>
                </a:lnTo>
                <a:lnTo>
                  <a:pt x="0" y="10"/>
                </a:lnTo>
                <a:lnTo>
                  <a:pt x="0" y="0"/>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4" name="Freeform 28">
            <a:extLst>
              <a:ext uri="{FF2B5EF4-FFF2-40B4-BE49-F238E27FC236}">
                <a16:creationId xmlns:a16="http://schemas.microsoft.com/office/drawing/2014/main" id="{D3255A66-4C85-4956-9D1E-4402BCE4304E}"/>
              </a:ext>
            </a:extLst>
          </p:cNvPr>
          <p:cNvSpPr>
            <a:spLocks/>
          </p:cNvSpPr>
          <p:nvPr/>
        </p:nvSpPr>
        <p:spPr bwMode="gray">
          <a:xfrm>
            <a:off x="3343172" y="2267288"/>
            <a:ext cx="70982" cy="59464"/>
          </a:xfrm>
          <a:custGeom>
            <a:avLst/>
            <a:gdLst>
              <a:gd name="T0" fmla="*/ 36 w 36"/>
              <a:gd name="T1" fmla="*/ 4 h 30"/>
              <a:gd name="T2" fmla="*/ 36 w 36"/>
              <a:gd name="T3" fmla="*/ 10 h 30"/>
              <a:gd name="T4" fmla="*/ 34 w 36"/>
              <a:gd name="T5" fmla="*/ 20 h 30"/>
              <a:gd name="T6" fmla="*/ 26 w 36"/>
              <a:gd name="T7" fmla="*/ 26 h 30"/>
              <a:gd name="T8" fmla="*/ 14 w 36"/>
              <a:gd name="T9" fmla="*/ 30 h 30"/>
              <a:gd name="T10" fmla="*/ 0 w 36"/>
              <a:gd name="T11" fmla="*/ 26 h 30"/>
              <a:gd name="T12" fmla="*/ 2 w 36"/>
              <a:gd name="T13" fmla="*/ 12 h 30"/>
              <a:gd name="T14" fmla="*/ 6 w 36"/>
              <a:gd name="T15" fmla="*/ 4 h 30"/>
              <a:gd name="T16" fmla="*/ 12 w 36"/>
              <a:gd name="T17" fmla="*/ 2 h 30"/>
              <a:gd name="T18" fmla="*/ 24 w 36"/>
              <a:gd name="T19" fmla="*/ 0 h 30"/>
              <a:gd name="T20" fmla="*/ 36 w 36"/>
              <a:gd name="T2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0">
                <a:moveTo>
                  <a:pt x="36" y="4"/>
                </a:moveTo>
                <a:lnTo>
                  <a:pt x="36" y="10"/>
                </a:lnTo>
                <a:lnTo>
                  <a:pt x="34" y="20"/>
                </a:lnTo>
                <a:lnTo>
                  <a:pt x="26" y="26"/>
                </a:lnTo>
                <a:lnTo>
                  <a:pt x="14" y="30"/>
                </a:lnTo>
                <a:lnTo>
                  <a:pt x="0" y="26"/>
                </a:lnTo>
                <a:lnTo>
                  <a:pt x="2" y="12"/>
                </a:lnTo>
                <a:lnTo>
                  <a:pt x="6" y="4"/>
                </a:lnTo>
                <a:lnTo>
                  <a:pt x="12" y="2"/>
                </a:lnTo>
                <a:lnTo>
                  <a:pt x="24" y="0"/>
                </a:lnTo>
                <a:lnTo>
                  <a:pt x="36"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5" name="Freeform 29">
            <a:extLst>
              <a:ext uri="{FF2B5EF4-FFF2-40B4-BE49-F238E27FC236}">
                <a16:creationId xmlns:a16="http://schemas.microsoft.com/office/drawing/2014/main" id="{BAED95BD-8909-4D1D-8A96-3A839F2178AD}"/>
              </a:ext>
            </a:extLst>
          </p:cNvPr>
          <p:cNvSpPr>
            <a:spLocks/>
          </p:cNvSpPr>
          <p:nvPr/>
        </p:nvSpPr>
        <p:spPr bwMode="gray">
          <a:xfrm>
            <a:off x="3031643" y="2398110"/>
            <a:ext cx="216887" cy="138752"/>
          </a:xfrm>
          <a:custGeom>
            <a:avLst/>
            <a:gdLst>
              <a:gd name="T0" fmla="*/ 18 w 110"/>
              <a:gd name="T1" fmla="*/ 16 h 70"/>
              <a:gd name="T2" fmla="*/ 18 w 110"/>
              <a:gd name="T3" fmla="*/ 6 h 70"/>
              <a:gd name="T4" fmla="*/ 28 w 110"/>
              <a:gd name="T5" fmla="*/ 0 h 70"/>
              <a:gd name="T6" fmla="*/ 40 w 110"/>
              <a:gd name="T7" fmla="*/ 0 h 70"/>
              <a:gd name="T8" fmla="*/ 40 w 110"/>
              <a:gd name="T9" fmla="*/ 8 h 70"/>
              <a:gd name="T10" fmla="*/ 42 w 110"/>
              <a:gd name="T11" fmla="*/ 12 h 70"/>
              <a:gd name="T12" fmla="*/ 52 w 110"/>
              <a:gd name="T13" fmla="*/ 14 h 70"/>
              <a:gd name="T14" fmla="*/ 54 w 110"/>
              <a:gd name="T15" fmla="*/ 16 h 70"/>
              <a:gd name="T16" fmla="*/ 56 w 110"/>
              <a:gd name="T17" fmla="*/ 20 h 70"/>
              <a:gd name="T18" fmla="*/ 62 w 110"/>
              <a:gd name="T19" fmla="*/ 22 h 70"/>
              <a:gd name="T20" fmla="*/ 70 w 110"/>
              <a:gd name="T21" fmla="*/ 30 h 70"/>
              <a:gd name="T22" fmla="*/ 84 w 110"/>
              <a:gd name="T23" fmla="*/ 32 h 70"/>
              <a:gd name="T24" fmla="*/ 86 w 110"/>
              <a:gd name="T25" fmla="*/ 38 h 70"/>
              <a:gd name="T26" fmla="*/ 88 w 110"/>
              <a:gd name="T27" fmla="*/ 46 h 70"/>
              <a:gd name="T28" fmla="*/ 98 w 110"/>
              <a:gd name="T29" fmla="*/ 46 h 70"/>
              <a:gd name="T30" fmla="*/ 108 w 110"/>
              <a:gd name="T31" fmla="*/ 48 h 70"/>
              <a:gd name="T32" fmla="*/ 110 w 110"/>
              <a:gd name="T33" fmla="*/ 52 h 70"/>
              <a:gd name="T34" fmla="*/ 110 w 110"/>
              <a:gd name="T35" fmla="*/ 56 h 70"/>
              <a:gd name="T36" fmla="*/ 108 w 110"/>
              <a:gd name="T37" fmla="*/ 56 h 70"/>
              <a:gd name="T38" fmla="*/ 106 w 110"/>
              <a:gd name="T39" fmla="*/ 60 h 70"/>
              <a:gd name="T40" fmla="*/ 102 w 110"/>
              <a:gd name="T41" fmla="*/ 60 h 70"/>
              <a:gd name="T42" fmla="*/ 100 w 110"/>
              <a:gd name="T43" fmla="*/ 62 h 70"/>
              <a:gd name="T44" fmla="*/ 90 w 110"/>
              <a:gd name="T45" fmla="*/ 60 h 70"/>
              <a:gd name="T46" fmla="*/ 84 w 110"/>
              <a:gd name="T47" fmla="*/ 58 h 70"/>
              <a:gd name="T48" fmla="*/ 76 w 110"/>
              <a:gd name="T49" fmla="*/ 52 h 70"/>
              <a:gd name="T50" fmla="*/ 68 w 110"/>
              <a:gd name="T51" fmla="*/ 46 h 70"/>
              <a:gd name="T52" fmla="*/ 64 w 110"/>
              <a:gd name="T53" fmla="*/ 42 h 70"/>
              <a:gd name="T54" fmla="*/ 60 w 110"/>
              <a:gd name="T55" fmla="*/ 44 h 70"/>
              <a:gd name="T56" fmla="*/ 58 w 110"/>
              <a:gd name="T57" fmla="*/ 48 h 70"/>
              <a:gd name="T58" fmla="*/ 52 w 110"/>
              <a:gd name="T59" fmla="*/ 56 h 70"/>
              <a:gd name="T60" fmla="*/ 40 w 110"/>
              <a:gd name="T61" fmla="*/ 68 h 70"/>
              <a:gd name="T62" fmla="*/ 24 w 110"/>
              <a:gd name="T63" fmla="*/ 70 h 70"/>
              <a:gd name="T64" fmla="*/ 26 w 110"/>
              <a:gd name="T65" fmla="*/ 56 h 70"/>
              <a:gd name="T66" fmla="*/ 14 w 110"/>
              <a:gd name="T67" fmla="*/ 56 h 70"/>
              <a:gd name="T68" fmla="*/ 10 w 110"/>
              <a:gd name="T69" fmla="*/ 56 h 70"/>
              <a:gd name="T70" fmla="*/ 6 w 110"/>
              <a:gd name="T71" fmla="*/ 62 h 70"/>
              <a:gd name="T72" fmla="*/ 0 w 110"/>
              <a:gd name="T73" fmla="*/ 56 h 70"/>
              <a:gd name="T74" fmla="*/ 6 w 110"/>
              <a:gd name="T75" fmla="*/ 48 h 70"/>
              <a:gd name="T76" fmla="*/ 16 w 110"/>
              <a:gd name="T77" fmla="*/ 38 h 70"/>
              <a:gd name="T78" fmla="*/ 16 w 110"/>
              <a:gd name="T79" fmla="*/ 26 h 70"/>
              <a:gd name="T80" fmla="*/ 18 w 110"/>
              <a:gd name="T81" fmla="*/ 22 h 70"/>
              <a:gd name="T82" fmla="*/ 18 w 110"/>
              <a:gd name="T8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18" y="16"/>
                </a:moveTo>
                <a:lnTo>
                  <a:pt x="18" y="6"/>
                </a:lnTo>
                <a:lnTo>
                  <a:pt x="28" y="0"/>
                </a:lnTo>
                <a:lnTo>
                  <a:pt x="40" y="0"/>
                </a:lnTo>
                <a:lnTo>
                  <a:pt x="40" y="8"/>
                </a:lnTo>
                <a:lnTo>
                  <a:pt x="42" y="12"/>
                </a:lnTo>
                <a:lnTo>
                  <a:pt x="52" y="14"/>
                </a:lnTo>
                <a:lnTo>
                  <a:pt x="54" y="16"/>
                </a:lnTo>
                <a:lnTo>
                  <a:pt x="56" y="20"/>
                </a:lnTo>
                <a:lnTo>
                  <a:pt x="62" y="22"/>
                </a:lnTo>
                <a:lnTo>
                  <a:pt x="70" y="30"/>
                </a:lnTo>
                <a:lnTo>
                  <a:pt x="84" y="32"/>
                </a:lnTo>
                <a:lnTo>
                  <a:pt x="86" y="38"/>
                </a:lnTo>
                <a:lnTo>
                  <a:pt x="88" y="46"/>
                </a:lnTo>
                <a:lnTo>
                  <a:pt x="98" y="46"/>
                </a:lnTo>
                <a:lnTo>
                  <a:pt x="108" y="48"/>
                </a:lnTo>
                <a:lnTo>
                  <a:pt x="110" y="52"/>
                </a:lnTo>
                <a:lnTo>
                  <a:pt x="110" y="56"/>
                </a:lnTo>
                <a:lnTo>
                  <a:pt x="108" y="56"/>
                </a:lnTo>
                <a:lnTo>
                  <a:pt x="106" y="60"/>
                </a:lnTo>
                <a:lnTo>
                  <a:pt x="102" y="60"/>
                </a:lnTo>
                <a:lnTo>
                  <a:pt x="100" y="62"/>
                </a:lnTo>
                <a:lnTo>
                  <a:pt x="90" y="60"/>
                </a:lnTo>
                <a:lnTo>
                  <a:pt x="84" y="58"/>
                </a:lnTo>
                <a:lnTo>
                  <a:pt x="76" y="52"/>
                </a:lnTo>
                <a:lnTo>
                  <a:pt x="68" y="46"/>
                </a:lnTo>
                <a:lnTo>
                  <a:pt x="64" y="42"/>
                </a:lnTo>
                <a:lnTo>
                  <a:pt x="60" y="44"/>
                </a:lnTo>
                <a:lnTo>
                  <a:pt x="58" y="48"/>
                </a:lnTo>
                <a:lnTo>
                  <a:pt x="52" y="56"/>
                </a:lnTo>
                <a:lnTo>
                  <a:pt x="40" y="68"/>
                </a:lnTo>
                <a:lnTo>
                  <a:pt x="24" y="70"/>
                </a:lnTo>
                <a:lnTo>
                  <a:pt x="26" y="56"/>
                </a:lnTo>
                <a:lnTo>
                  <a:pt x="14" y="56"/>
                </a:lnTo>
                <a:lnTo>
                  <a:pt x="10" y="56"/>
                </a:lnTo>
                <a:lnTo>
                  <a:pt x="6" y="62"/>
                </a:lnTo>
                <a:lnTo>
                  <a:pt x="0" y="56"/>
                </a:lnTo>
                <a:lnTo>
                  <a:pt x="6" y="48"/>
                </a:lnTo>
                <a:lnTo>
                  <a:pt x="16" y="38"/>
                </a:lnTo>
                <a:lnTo>
                  <a:pt x="16" y="26"/>
                </a:lnTo>
                <a:lnTo>
                  <a:pt x="18" y="22"/>
                </a:lnTo>
                <a:lnTo>
                  <a:pt x="18" y="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6" name="Freeform 30">
            <a:extLst>
              <a:ext uri="{FF2B5EF4-FFF2-40B4-BE49-F238E27FC236}">
                <a16:creationId xmlns:a16="http://schemas.microsoft.com/office/drawing/2014/main" id="{B450EB5C-E985-4951-8E97-8ADC7424F98F}"/>
              </a:ext>
            </a:extLst>
          </p:cNvPr>
          <p:cNvSpPr>
            <a:spLocks/>
          </p:cNvSpPr>
          <p:nvPr/>
        </p:nvSpPr>
        <p:spPr bwMode="gray">
          <a:xfrm>
            <a:off x="2653076" y="2184036"/>
            <a:ext cx="134076" cy="71358"/>
          </a:xfrm>
          <a:custGeom>
            <a:avLst/>
            <a:gdLst>
              <a:gd name="T0" fmla="*/ 6 w 68"/>
              <a:gd name="T1" fmla="*/ 26 h 36"/>
              <a:gd name="T2" fmla="*/ 0 w 68"/>
              <a:gd name="T3" fmla="*/ 24 h 36"/>
              <a:gd name="T4" fmla="*/ 10 w 68"/>
              <a:gd name="T5" fmla="*/ 16 h 36"/>
              <a:gd name="T6" fmla="*/ 18 w 68"/>
              <a:gd name="T7" fmla="*/ 10 h 36"/>
              <a:gd name="T8" fmla="*/ 20 w 68"/>
              <a:gd name="T9" fmla="*/ 0 h 36"/>
              <a:gd name="T10" fmla="*/ 28 w 68"/>
              <a:gd name="T11" fmla="*/ 2 h 36"/>
              <a:gd name="T12" fmla="*/ 38 w 68"/>
              <a:gd name="T13" fmla="*/ 6 h 36"/>
              <a:gd name="T14" fmla="*/ 48 w 68"/>
              <a:gd name="T15" fmla="*/ 14 h 36"/>
              <a:gd name="T16" fmla="*/ 60 w 68"/>
              <a:gd name="T17" fmla="*/ 18 h 36"/>
              <a:gd name="T18" fmla="*/ 66 w 68"/>
              <a:gd name="T19" fmla="*/ 24 h 36"/>
              <a:gd name="T20" fmla="*/ 68 w 68"/>
              <a:gd name="T21" fmla="*/ 32 h 36"/>
              <a:gd name="T22" fmla="*/ 64 w 68"/>
              <a:gd name="T23" fmla="*/ 34 h 36"/>
              <a:gd name="T24" fmla="*/ 56 w 68"/>
              <a:gd name="T25" fmla="*/ 36 h 36"/>
              <a:gd name="T26" fmla="*/ 44 w 68"/>
              <a:gd name="T27" fmla="*/ 36 h 36"/>
              <a:gd name="T28" fmla="*/ 28 w 68"/>
              <a:gd name="T29" fmla="*/ 34 h 36"/>
              <a:gd name="T30" fmla="*/ 18 w 68"/>
              <a:gd name="T31" fmla="*/ 30 h 36"/>
              <a:gd name="T32" fmla="*/ 6 w 68"/>
              <a:gd name="T3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36">
                <a:moveTo>
                  <a:pt x="6" y="26"/>
                </a:moveTo>
                <a:lnTo>
                  <a:pt x="0" y="24"/>
                </a:lnTo>
                <a:lnTo>
                  <a:pt x="10" y="16"/>
                </a:lnTo>
                <a:lnTo>
                  <a:pt x="18" y="10"/>
                </a:lnTo>
                <a:lnTo>
                  <a:pt x="20" y="0"/>
                </a:lnTo>
                <a:lnTo>
                  <a:pt x="28" y="2"/>
                </a:lnTo>
                <a:lnTo>
                  <a:pt x="38" y="6"/>
                </a:lnTo>
                <a:lnTo>
                  <a:pt x="48" y="14"/>
                </a:lnTo>
                <a:lnTo>
                  <a:pt x="60" y="18"/>
                </a:lnTo>
                <a:lnTo>
                  <a:pt x="66" y="24"/>
                </a:lnTo>
                <a:lnTo>
                  <a:pt x="68" y="32"/>
                </a:lnTo>
                <a:lnTo>
                  <a:pt x="64" y="34"/>
                </a:lnTo>
                <a:lnTo>
                  <a:pt x="56" y="36"/>
                </a:lnTo>
                <a:lnTo>
                  <a:pt x="44" y="36"/>
                </a:lnTo>
                <a:lnTo>
                  <a:pt x="28" y="34"/>
                </a:lnTo>
                <a:lnTo>
                  <a:pt x="18" y="30"/>
                </a:lnTo>
                <a:lnTo>
                  <a:pt x="6" y="2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7" name="Freeform 31">
            <a:extLst>
              <a:ext uri="{FF2B5EF4-FFF2-40B4-BE49-F238E27FC236}">
                <a16:creationId xmlns:a16="http://schemas.microsoft.com/office/drawing/2014/main" id="{15D174C6-04DA-4682-A35A-CD29E6AED2B6}"/>
              </a:ext>
            </a:extLst>
          </p:cNvPr>
          <p:cNvSpPr>
            <a:spLocks/>
          </p:cNvSpPr>
          <p:nvPr/>
        </p:nvSpPr>
        <p:spPr bwMode="gray">
          <a:xfrm>
            <a:off x="2948832" y="1950142"/>
            <a:ext cx="906982" cy="650148"/>
          </a:xfrm>
          <a:custGeom>
            <a:avLst/>
            <a:gdLst>
              <a:gd name="T0" fmla="*/ 148 w 460"/>
              <a:gd name="T1" fmla="*/ 30 h 328"/>
              <a:gd name="T2" fmla="*/ 154 w 460"/>
              <a:gd name="T3" fmla="*/ 52 h 328"/>
              <a:gd name="T4" fmla="*/ 184 w 460"/>
              <a:gd name="T5" fmla="*/ 36 h 328"/>
              <a:gd name="T6" fmla="*/ 238 w 460"/>
              <a:gd name="T7" fmla="*/ 44 h 328"/>
              <a:gd name="T8" fmla="*/ 250 w 460"/>
              <a:gd name="T9" fmla="*/ 54 h 328"/>
              <a:gd name="T10" fmla="*/ 258 w 460"/>
              <a:gd name="T11" fmla="*/ 58 h 328"/>
              <a:gd name="T12" fmla="*/ 280 w 460"/>
              <a:gd name="T13" fmla="*/ 68 h 328"/>
              <a:gd name="T14" fmla="*/ 284 w 460"/>
              <a:gd name="T15" fmla="*/ 86 h 328"/>
              <a:gd name="T16" fmla="*/ 306 w 460"/>
              <a:gd name="T17" fmla="*/ 90 h 328"/>
              <a:gd name="T18" fmla="*/ 332 w 460"/>
              <a:gd name="T19" fmla="*/ 92 h 328"/>
              <a:gd name="T20" fmla="*/ 324 w 460"/>
              <a:gd name="T21" fmla="*/ 108 h 328"/>
              <a:gd name="T22" fmla="*/ 360 w 460"/>
              <a:gd name="T23" fmla="*/ 116 h 328"/>
              <a:gd name="T24" fmla="*/ 342 w 460"/>
              <a:gd name="T25" fmla="*/ 122 h 328"/>
              <a:gd name="T26" fmla="*/ 368 w 460"/>
              <a:gd name="T27" fmla="*/ 134 h 328"/>
              <a:gd name="T28" fmla="*/ 346 w 460"/>
              <a:gd name="T29" fmla="*/ 136 h 328"/>
              <a:gd name="T30" fmla="*/ 346 w 460"/>
              <a:gd name="T31" fmla="*/ 150 h 328"/>
              <a:gd name="T32" fmla="*/ 382 w 460"/>
              <a:gd name="T33" fmla="*/ 160 h 328"/>
              <a:gd name="T34" fmla="*/ 404 w 460"/>
              <a:gd name="T35" fmla="*/ 174 h 328"/>
              <a:gd name="T36" fmla="*/ 434 w 460"/>
              <a:gd name="T37" fmla="*/ 190 h 328"/>
              <a:gd name="T38" fmla="*/ 460 w 460"/>
              <a:gd name="T39" fmla="*/ 208 h 328"/>
              <a:gd name="T40" fmla="*/ 434 w 460"/>
              <a:gd name="T41" fmla="*/ 216 h 328"/>
              <a:gd name="T42" fmla="*/ 420 w 460"/>
              <a:gd name="T43" fmla="*/ 240 h 328"/>
              <a:gd name="T44" fmla="*/ 386 w 460"/>
              <a:gd name="T45" fmla="*/ 222 h 328"/>
              <a:gd name="T46" fmla="*/ 358 w 460"/>
              <a:gd name="T47" fmla="*/ 230 h 328"/>
              <a:gd name="T48" fmla="*/ 408 w 460"/>
              <a:gd name="T49" fmla="*/ 284 h 328"/>
              <a:gd name="T50" fmla="*/ 394 w 460"/>
              <a:gd name="T51" fmla="*/ 290 h 328"/>
              <a:gd name="T52" fmla="*/ 356 w 460"/>
              <a:gd name="T53" fmla="*/ 290 h 328"/>
              <a:gd name="T54" fmla="*/ 366 w 460"/>
              <a:gd name="T55" fmla="*/ 306 h 328"/>
              <a:gd name="T56" fmla="*/ 354 w 460"/>
              <a:gd name="T57" fmla="*/ 322 h 328"/>
              <a:gd name="T58" fmla="*/ 310 w 460"/>
              <a:gd name="T59" fmla="*/ 314 h 328"/>
              <a:gd name="T60" fmla="*/ 288 w 460"/>
              <a:gd name="T61" fmla="*/ 280 h 328"/>
              <a:gd name="T62" fmla="*/ 256 w 460"/>
              <a:gd name="T63" fmla="*/ 258 h 328"/>
              <a:gd name="T64" fmla="*/ 238 w 460"/>
              <a:gd name="T65" fmla="*/ 260 h 328"/>
              <a:gd name="T66" fmla="*/ 208 w 460"/>
              <a:gd name="T67" fmla="*/ 270 h 328"/>
              <a:gd name="T68" fmla="*/ 202 w 460"/>
              <a:gd name="T69" fmla="*/ 236 h 328"/>
              <a:gd name="T70" fmla="*/ 238 w 460"/>
              <a:gd name="T71" fmla="*/ 240 h 328"/>
              <a:gd name="T72" fmla="*/ 246 w 460"/>
              <a:gd name="T73" fmla="*/ 222 h 328"/>
              <a:gd name="T74" fmla="*/ 272 w 460"/>
              <a:gd name="T75" fmla="*/ 172 h 328"/>
              <a:gd name="T76" fmla="*/ 246 w 460"/>
              <a:gd name="T77" fmla="*/ 156 h 328"/>
              <a:gd name="T78" fmla="*/ 218 w 460"/>
              <a:gd name="T79" fmla="*/ 150 h 328"/>
              <a:gd name="T80" fmla="*/ 212 w 460"/>
              <a:gd name="T81" fmla="*/ 124 h 328"/>
              <a:gd name="T82" fmla="*/ 186 w 460"/>
              <a:gd name="T83" fmla="*/ 106 h 328"/>
              <a:gd name="T84" fmla="*/ 178 w 460"/>
              <a:gd name="T85" fmla="*/ 112 h 328"/>
              <a:gd name="T86" fmla="*/ 130 w 460"/>
              <a:gd name="T87" fmla="*/ 116 h 328"/>
              <a:gd name="T88" fmla="*/ 56 w 460"/>
              <a:gd name="T89" fmla="*/ 110 h 328"/>
              <a:gd name="T90" fmla="*/ 20 w 460"/>
              <a:gd name="T91" fmla="*/ 102 h 328"/>
              <a:gd name="T92" fmla="*/ 32 w 460"/>
              <a:gd name="T93" fmla="*/ 86 h 328"/>
              <a:gd name="T94" fmla="*/ 0 w 460"/>
              <a:gd name="T95" fmla="*/ 72 h 328"/>
              <a:gd name="T96" fmla="*/ 38 w 460"/>
              <a:gd name="T97" fmla="*/ 2 h 328"/>
              <a:gd name="T98" fmla="*/ 64 w 460"/>
              <a:gd name="T99" fmla="*/ 12 h 328"/>
              <a:gd name="T100" fmla="*/ 68 w 460"/>
              <a:gd name="T101" fmla="*/ 76 h 328"/>
              <a:gd name="T102" fmla="*/ 78 w 460"/>
              <a:gd name="T103" fmla="*/ 46 h 328"/>
              <a:gd name="T104" fmla="*/ 108 w 460"/>
              <a:gd name="T105" fmla="*/ 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0" h="328">
                <a:moveTo>
                  <a:pt x="134" y="6"/>
                </a:moveTo>
                <a:lnTo>
                  <a:pt x="140" y="14"/>
                </a:lnTo>
                <a:lnTo>
                  <a:pt x="146" y="22"/>
                </a:lnTo>
                <a:lnTo>
                  <a:pt x="148" y="30"/>
                </a:lnTo>
                <a:lnTo>
                  <a:pt x="148" y="38"/>
                </a:lnTo>
                <a:lnTo>
                  <a:pt x="144" y="42"/>
                </a:lnTo>
                <a:lnTo>
                  <a:pt x="144" y="52"/>
                </a:lnTo>
                <a:lnTo>
                  <a:pt x="154" y="52"/>
                </a:lnTo>
                <a:lnTo>
                  <a:pt x="158" y="42"/>
                </a:lnTo>
                <a:lnTo>
                  <a:pt x="168" y="42"/>
                </a:lnTo>
                <a:lnTo>
                  <a:pt x="180" y="50"/>
                </a:lnTo>
                <a:lnTo>
                  <a:pt x="184" y="36"/>
                </a:lnTo>
                <a:lnTo>
                  <a:pt x="198" y="34"/>
                </a:lnTo>
                <a:lnTo>
                  <a:pt x="214" y="34"/>
                </a:lnTo>
                <a:lnTo>
                  <a:pt x="230" y="40"/>
                </a:lnTo>
                <a:lnTo>
                  <a:pt x="238" y="44"/>
                </a:lnTo>
                <a:lnTo>
                  <a:pt x="228" y="50"/>
                </a:lnTo>
                <a:lnTo>
                  <a:pt x="226" y="58"/>
                </a:lnTo>
                <a:lnTo>
                  <a:pt x="240" y="52"/>
                </a:lnTo>
                <a:lnTo>
                  <a:pt x="250" y="54"/>
                </a:lnTo>
                <a:lnTo>
                  <a:pt x="244" y="60"/>
                </a:lnTo>
                <a:lnTo>
                  <a:pt x="238" y="68"/>
                </a:lnTo>
                <a:lnTo>
                  <a:pt x="246" y="66"/>
                </a:lnTo>
                <a:lnTo>
                  <a:pt x="258" y="58"/>
                </a:lnTo>
                <a:lnTo>
                  <a:pt x="260" y="66"/>
                </a:lnTo>
                <a:lnTo>
                  <a:pt x="254" y="74"/>
                </a:lnTo>
                <a:lnTo>
                  <a:pt x="264" y="74"/>
                </a:lnTo>
                <a:lnTo>
                  <a:pt x="280" y="68"/>
                </a:lnTo>
                <a:lnTo>
                  <a:pt x="290" y="70"/>
                </a:lnTo>
                <a:lnTo>
                  <a:pt x="296" y="76"/>
                </a:lnTo>
                <a:lnTo>
                  <a:pt x="292" y="80"/>
                </a:lnTo>
                <a:lnTo>
                  <a:pt x="284" y="86"/>
                </a:lnTo>
                <a:lnTo>
                  <a:pt x="290" y="90"/>
                </a:lnTo>
                <a:lnTo>
                  <a:pt x="300" y="86"/>
                </a:lnTo>
                <a:lnTo>
                  <a:pt x="306" y="84"/>
                </a:lnTo>
                <a:lnTo>
                  <a:pt x="306" y="90"/>
                </a:lnTo>
                <a:lnTo>
                  <a:pt x="298" y="98"/>
                </a:lnTo>
                <a:lnTo>
                  <a:pt x="304" y="98"/>
                </a:lnTo>
                <a:lnTo>
                  <a:pt x="320" y="92"/>
                </a:lnTo>
                <a:lnTo>
                  <a:pt x="332" y="92"/>
                </a:lnTo>
                <a:lnTo>
                  <a:pt x="342" y="96"/>
                </a:lnTo>
                <a:lnTo>
                  <a:pt x="342" y="100"/>
                </a:lnTo>
                <a:lnTo>
                  <a:pt x="334" y="104"/>
                </a:lnTo>
                <a:lnTo>
                  <a:pt x="324" y="108"/>
                </a:lnTo>
                <a:lnTo>
                  <a:pt x="332" y="112"/>
                </a:lnTo>
                <a:lnTo>
                  <a:pt x="350" y="108"/>
                </a:lnTo>
                <a:lnTo>
                  <a:pt x="356" y="110"/>
                </a:lnTo>
                <a:lnTo>
                  <a:pt x="360" y="116"/>
                </a:lnTo>
                <a:lnTo>
                  <a:pt x="362" y="122"/>
                </a:lnTo>
                <a:lnTo>
                  <a:pt x="354" y="122"/>
                </a:lnTo>
                <a:lnTo>
                  <a:pt x="348" y="122"/>
                </a:lnTo>
                <a:lnTo>
                  <a:pt x="342" y="122"/>
                </a:lnTo>
                <a:lnTo>
                  <a:pt x="342" y="128"/>
                </a:lnTo>
                <a:lnTo>
                  <a:pt x="352" y="128"/>
                </a:lnTo>
                <a:lnTo>
                  <a:pt x="362" y="128"/>
                </a:lnTo>
                <a:lnTo>
                  <a:pt x="368" y="134"/>
                </a:lnTo>
                <a:lnTo>
                  <a:pt x="370" y="138"/>
                </a:lnTo>
                <a:lnTo>
                  <a:pt x="368" y="138"/>
                </a:lnTo>
                <a:lnTo>
                  <a:pt x="362" y="138"/>
                </a:lnTo>
                <a:lnTo>
                  <a:pt x="346" y="136"/>
                </a:lnTo>
                <a:lnTo>
                  <a:pt x="344" y="138"/>
                </a:lnTo>
                <a:lnTo>
                  <a:pt x="342" y="140"/>
                </a:lnTo>
                <a:lnTo>
                  <a:pt x="342" y="144"/>
                </a:lnTo>
                <a:lnTo>
                  <a:pt x="346" y="150"/>
                </a:lnTo>
                <a:lnTo>
                  <a:pt x="354" y="156"/>
                </a:lnTo>
                <a:lnTo>
                  <a:pt x="362" y="156"/>
                </a:lnTo>
                <a:lnTo>
                  <a:pt x="370" y="154"/>
                </a:lnTo>
                <a:lnTo>
                  <a:pt x="382" y="160"/>
                </a:lnTo>
                <a:lnTo>
                  <a:pt x="382" y="166"/>
                </a:lnTo>
                <a:lnTo>
                  <a:pt x="388" y="168"/>
                </a:lnTo>
                <a:lnTo>
                  <a:pt x="398" y="170"/>
                </a:lnTo>
                <a:lnTo>
                  <a:pt x="404" y="174"/>
                </a:lnTo>
                <a:lnTo>
                  <a:pt x="406" y="180"/>
                </a:lnTo>
                <a:lnTo>
                  <a:pt x="416" y="180"/>
                </a:lnTo>
                <a:lnTo>
                  <a:pt x="424" y="182"/>
                </a:lnTo>
                <a:lnTo>
                  <a:pt x="434" y="190"/>
                </a:lnTo>
                <a:lnTo>
                  <a:pt x="438" y="194"/>
                </a:lnTo>
                <a:lnTo>
                  <a:pt x="450" y="196"/>
                </a:lnTo>
                <a:lnTo>
                  <a:pt x="460" y="204"/>
                </a:lnTo>
                <a:lnTo>
                  <a:pt x="460" y="208"/>
                </a:lnTo>
                <a:lnTo>
                  <a:pt x="460" y="212"/>
                </a:lnTo>
                <a:lnTo>
                  <a:pt x="458" y="214"/>
                </a:lnTo>
                <a:lnTo>
                  <a:pt x="444" y="216"/>
                </a:lnTo>
                <a:lnTo>
                  <a:pt x="434" y="216"/>
                </a:lnTo>
                <a:lnTo>
                  <a:pt x="436" y="226"/>
                </a:lnTo>
                <a:lnTo>
                  <a:pt x="430" y="232"/>
                </a:lnTo>
                <a:lnTo>
                  <a:pt x="420" y="232"/>
                </a:lnTo>
                <a:lnTo>
                  <a:pt x="420" y="240"/>
                </a:lnTo>
                <a:lnTo>
                  <a:pt x="414" y="248"/>
                </a:lnTo>
                <a:lnTo>
                  <a:pt x="398" y="240"/>
                </a:lnTo>
                <a:lnTo>
                  <a:pt x="390" y="230"/>
                </a:lnTo>
                <a:lnTo>
                  <a:pt x="386" y="222"/>
                </a:lnTo>
                <a:lnTo>
                  <a:pt x="364" y="208"/>
                </a:lnTo>
                <a:lnTo>
                  <a:pt x="356" y="212"/>
                </a:lnTo>
                <a:lnTo>
                  <a:pt x="360" y="222"/>
                </a:lnTo>
                <a:lnTo>
                  <a:pt x="358" y="230"/>
                </a:lnTo>
                <a:lnTo>
                  <a:pt x="364" y="244"/>
                </a:lnTo>
                <a:lnTo>
                  <a:pt x="376" y="256"/>
                </a:lnTo>
                <a:lnTo>
                  <a:pt x="394" y="270"/>
                </a:lnTo>
                <a:lnTo>
                  <a:pt x="408" y="284"/>
                </a:lnTo>
                <a:lnTo>
                  <a:pt x="406" y="290"/>
                </a:lnTo>
                <a:lnTo>
                  <a:pt x="400" y="288"/>
                </a:lnTo>
                <a:lnTo>
                  <a:pt x="396" y="288"/>
                </a:lnTo>
                <a:lnTo>
                  <a:pt x="394" y="290"/>
                </a:lnTo>
                <a:lnTo>
                  <a:pt x="400" y="304"/>
                </a:lnTo>
                <a:lnTo>
                  <a:pt x="394" y="310"/>
                </a:lnTo>
                <a:lnTo>
                  <a:pt x="378" y="302"/>
                </a:lnTo>
                <a:lnTo>
                  <a:pt x="356" y="290"/>
                </a:lnTo>
                <a:lnTo>
                  <a:pt x="344" y="278"/>
                </a:lnTo>
                <a:lnTo>
                  <a:pt x="338" y="282"/>
                </a:lnTo>
                <a:lnTo>
                  <a:pt x="348" y="292"/>
                </a:lnTo>
                <a:lnTo>
                  <a:pt x="366" y="306"/>
                </a:lnTo>
                <a:lnTo>
                  <a:pt x="370" y="312"/>
                </a:lnTo>
                <a:lnTo>
                  <a:pt x="374" y="320"/>
                </a:lnTo>
                <a:lnTo>
                  <a:pt x="378" y="328"/>
                </a:lnTo>
                <a:lnTo>
                  <a:pt x="354" y="322"/>
                </a:lnTo>
                <a:lnTo>
                  <a:pt x="334" y="314"/>
                </a:lnTo>
                <a:lnTo>
                  <a:pt x="320" y="304"/>
                </a:lnTo>
                <a:lnTo>
                  <a:pt x="312" y="304"/>
                </a:lnTo>
                <a:lnTo>
                  <a:pt x="310" y="314"/>
                </a:lnTo>
                <a:lnTo>
                  <a:pt x="296" y="298"/>
                </a:lnTo>
                <a:lnTo>
                  <a:pt x="290" y="290"/>
                </a:lnTo>
                <a:lnTo>
                  <a:pt x="294" y="286"/>
                </a:lnTo>
                <a:lnTo>
                  <a:pt x="288" y="280"/>
                </a:lnTo>
                <a:lnTo>
                  <a:pt x="280" y="282"/>
                </a:lnTo>
                <a:lnTo>
                  <a:pt x="272" y="274"/>
                </a:lnTo>
                <a:lnTo>
                  <a:pt x="262" y="264"/>
                </a:lnTo>
                <a:lnTo>
                  <a:pt x="256" y="258"/>
                </a:lnTo>
                <a:lnTo>
                  <a:pt x="244" y="254"/>
                </a:lnTo>
                <a:lnTo>
                  <a:pt x="238" y="250"/>
                </a:lnTo>
                <a:lnTo>
                  <a:pt x="238" y="258"/>
                </a:lnTo>
                <a:lnTo>
                  <a:pt x="238" y="260"/>
                </a:lnTo>
                <a:lnTo>
                  <a:pt x="236" y="262"/>
                </a:lnTo>
                <a:lnTo>
                  <a:pt x="224" y="262"/>
                </a:lnTo>
                <a:lnTo>
                  <a:pt x="218" y="266"/>
                </a:lnTo>
                <a:lnTo>
                  <a:pt x="208" y="270"/>
                </a:lnTo>
                <a:lnTo>
                  <a:pt x="194" y="268"/>
                </a:lnTo>
                <a:lnTo>
                  <a:pt x="186" y="258"/>
                </a:lnTo>
                <a:lnTo>
                  <a:pt x="188" y="246"/>
                </a:lnTo>
                <a:lnTo>
                  <a:pt x="202" y="236"/>
                </a:lnTo>
                <a:lnTo>
                  <a:pt x="214" y="238"/>
                </a:lnTo>
                <a:lnTo>
                  <a:pt x="226" y="242"/>
                </a:lnTo>
                <a:lnTo>
                  <a:pt x="232" y="246"/>
                </a:lnTo>
                <a:lnTo>
                  <a:pt x="238" y="240"/>
                </a:lnTo>
                <a:lnTo>
                  <a:pt x="246" y="236"/>
                </a:lnTo>
                <a:lnTo>
                  <a:pt x="258" y="232"/>
                </a:lnTo>
                <a:lnTo>
                  <a:pt x="254" y="228"/>
                </a:lnTo>
                <a:lnTo>
                  <a:pt x="246" y="222"/>
                </a:lnTo>
                <a:lnTo>
                  <a:pt x="254" y="210"/>
                </a:lnTo>
                <a:lnTo>
                  <a:pt x="268" y="202"/>
                </a:lnTo>
                <a:lnTo>
                  <a:pt x="280" y="190"/>
                </a:lnTo>
                <a:lnTo>
                  <a:pt x="272" y="172"/>
                </a:lnTo>
                <a:lnTo>
                  <a:pt x="264" y="160"/>
                </a:lnTo>
                <a:lnTo>
                  <a:pt x="256" y="160"/>
                </a:lnTo>
                <a:lnTo>
                  <a:pt x="254" y="152"/>
                </a:lnTo>
                <a:lnTo>
                  <a:pt x="246" y="156"/>
                </a:lnTo>
                <a:lnTo>
                  <a:pt x="240" y="148"/>
                </a:lnTo>
                <a:lnTo>
                  <a:pt x="240" y="142"/>
                </a:lnTo>
                <a:lnTo>
                  <a:pt x="228" y="142"/>
                </a:lnTo>
                <a:lnTo>
                  <a:pt x="218" y="150"/>
                </a:lnTo>
                <a:lnTo>
                  <a:pt x="210" y="142"/>
                </a:lnTo>
                <a:lnTo>
                  <a:pt x="222" y="134"/>
                </a:lnTo>
                <a:lnTo>
                  <a:pt x="218" y="128"/>
                </a:lnTo>
                <a:lnTo>
                  <a:pt x="212" y="124"/>
                </a:lnTo>
                <a:lnTo>
                  <a:pt x="202" y="114"/>
                </a:lnTo>
                <a:lnTo>
                  <a:pt x="196" y="120"/>
                </a:lnTo>
                <a:lnTo>
                  <a:pt x="190" y="112"/>
                </a:lnTo>
                <a:lnTo>
                  <a:pt x="186" y="106"/>
                </a:lnTo>
                <a:lnTo>
                  <a:pt x="178" y="98"/>
                </a:lnTo>
                <a:lnTo>
                  <a:pt x="172" y="100"/>
                </a:lnTo>
                <a:lnTo>
                  <a:pt x="176" y="106"/>
                </a:lnTo>
                <a:lnTo>
                  <a:pt x="178" y="112"/>
                </a:lnTo>
                <a:lnTo>
                  <a:pt x="172" y="116"/>
                </a:lnTo>
                <a:lnTo>
                  <a:pt x="158" y="116"/>
                </a:lnTo>
                <a:lnTo>
                  <a:pt x="136" y="110"/>
                </a:lnTo>
                <a:lnTo>
                  <a:pt x="130" y="116"/>
                </a:lnTo>
                <a:lnTo>
                  <a:pt x="118" y="118"/>
                </a:lnTo>
                <a:lnTo>
                  <a:pt x="90" y="114"/>
                </a:lnTo>
                <a:lnTo>
                  <a:pt x="74" y="110"/>
                </a:lnTo>
                <a:lnTo>
                  <a:pt x="56" y="110"/>
                </a:lnTo>
                <a:lnTo>
                  <a:pt x="48" y="104"/>
                </a:lnTo>
                <a:lnTo>
                  <a:pt x="40" y="100"/>
                </a:lnTo>
                <a:lnTo>
                  <a:pt x="32" y="106"/>
                </a:lnTo>
                <a:lnTo>
                  <a:pt x="20" y="102"/>
                </a:lnTo>
                <a:lnTo>
                  <a:pt x="8" y="94"/>
                </a:lnTo>
                <a:lnTo>
                  <a:pt x="8" y="84"/>
                </a:lnTo>
                <a:lnTo>
                  <a:pt x="16" y="84"/>
                </a:lnTo>
                <a:lnTo>
                  <a:pt x="32" y="86"/>
                </a:lnTo>
                <a:lnTo>
                  <a:pt x="38" y="82"/>
                </a:lnTo>
                <a:lnTo>
                  <a:pt x="32" y="76"/>
                </a:lnTo>
                <a:lnTo>
                  <a:pt x="16" y="78"/>
                </a:lnTo>
                <a:lnTo>
                  <a:pt x="0" y="72"/>
                </a:lnTo>
                <a:lnTo>
                  <a:pt x="0" y="50"/>
                </a:lnTo>
                <a:lnTo>
                  <a:pt x="8" y="30"/>
                </a:lnTo>
                <a:lnTo>
                  <a:pt x="20" y="14"/>
                </a:lnTo>
                <a:lnTo>
                  <a:pt x="38" y="2"/>
                </a:lnTo>
                <a:lnTo>
                  <a:pt x="52" y="0"/>
                </a:lnTo>
                <a:lnTo>
                  <a:pt x="82" y="2"/>
                </a:lnTo>
                <a:lnTo>
                  <a:pt x="76" y="8"/>
                </a:lnTo>
                <a:lnTo>
                  <a:pt x="64" y="12"/>
                </a:lnTo>
                <a:lnTo>
                  <a:pt x="54" y="28"/>
                </a:lnTo>
                <a:lnTo>
                  <a:pt x="54" y="40"/>
                </a:lnTo>
                <a:lnTo>
                  <a:pt x="54" y="50"/>
                </a:lnTo>
                <a:lnTo>
                  <a:pt x="68" y="76"/>
                </a:lnTo>
                <a:lnTo>
                  <a:pt x="82" y="72"/>
                </a:lnTo>
                <a:lnTo>
                  <a:pt x="76" y="64"/>
                </a:lnTo>
                <a:lnTo>
                  <a:pt x="66" y="50"/>
                </a:lnTo>
                <a:lnTo>
                  <a:pt x="78" y="46"/>
                </a:lnTo>
                <a:lnTo>
                  <a:pt x="70" y="38"/>
                </a:lnTo>
                <a:lnTo>
                  <a:pt x="72" y="26"/>
                </a:lnTo>
                <a:lnTo>
                  <a:pt x="84" y="16"/>
                </a:lnTo>
                <a:lnTo>
                  <a:pt x="108" y="4"/>
                </a:lnTo>
                <a:lnTo>
                  <a:pt x="122" y="2"/>
                </a:lnTo>
                <a:lnTo>
                  <a:pt x="134"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8" name="Freeform 32">
            <a:extLst>
              <a:ext uri="{FF2B5EF4-FFF2-40B4-BE49-F238E27FC236}">
                <a16:creationId xmlns:a16="http://schemas.microsoft.com/office/drawing/2014/main" id="{163577DB-5F73-4230-81A7-5773DDBBC931}"/>
              </a:ext>
            </a:extLst>
          </p:cNvPr>
          <p:cNvSpPr>
            <a:spLocks/>
          </p:cNvSpPr>
          <p:nvPr/>
        </p:nvSpPr>
        <p:spPr bwMode="gray">
          <a:xfrm>
            <a:off x="3126285" y="2544789"/>
            <a:ext cx="70982" cy="43608"/>
          </a:xfrm>
          <a:custGeom>
            <a:avLst/>
            <a:gdLst>
              <a:gd name="T0" fmla="*/ 34 w 36"/>
              <a:gd name="T1" fmla="*/ 0 h 22"/>
              <a:gd name="T2" fmla="*/ 22 w 36"/>
              <a:gd name="T3" fmla="*/ 0 h 22"/>
              <a:gd name="T4" fmla="*/ 8 w 36"/>
              <a:gd name="T5" fmla="*/ 6 h 22"/>
              <a:gd name="T6" fmla="*/ 4 w 36"/>
              <a:gd name="T7" fmla="*/ 10 h 22"/>
              <a:gd name="T8" fmla="*/ 2 w 36"/>
              <a:gd name="T9" fmla="*/ 12 h 22"/>
              <a:gd name="T10" fmla="*/ 0 w 36"/>
              <a:gd name="T11" fmla="*/ 14 h 22"/>
              <a:gd name="T12" fmla="*/ 6 w 36"/>
              <a:gd name="T13" fmla="*/ 18 h 22"/>
              <a:gd name="T14" fmla="*/ 10 w 36"/>
              <a:gd name="T15" fmla="*/ 22 h 22"/>
              <a:gd name="T16" fmla="*/ 22 w 36"/>
              <a:gd name="T17" fmla="*/ 18 h 22"/>
              <a:gd name="T18" fmla="*/ 30 w 36"/>
              <a:gd name="T19" fmla="*/ 12 h 22"/>
              <a:gd name="T20" fmla="*/ 36 w 36"/>
              <a:gd name="T21" fmla="*/ 4 h 22"/>
              <a:gd name="T22" fmla="*/ 34 w 36"/>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2">
                <a:moveTo>
                  <a:pt x="34" y="0"/>
                </a:moveTo>
                <a:lnTo>
                  <a:pt x="22" y="0"/>
                </a:lnTo>
                <a:lnTo>
                  <a:pt x="8" y="6"/>
                </a:lnTo>
                <a:lnTo>
                  <a:pt x="4" y="10"/>
                </a:lnTo>
                <a:lnTo>
                  <a:pt x="2" y="12"/>
                </a:lnTo>
                <a:lnTo>
                  <a:pt x="0" y="14"/>
                </a:lnTo>
                <a:lnTo>
                  <a:pt x="6" y="18"/>
                </a:lnTo>
                <a:lnTo>
                  <a:pt x="10" y="22"/>
                </a:lnTo>
                <a:lnTo>
                  <a:pt x="22" y="18"/>
                </a:lnTo>
                <a:lnTo>
                  <a:pt x="30" y="12"/>
                </a:lnTo>
                <a:lnTo>
                  <a:pt x="36" y="4"/>
                </a:lnTo>
                <a:lnTo>
                  <a:pt x="3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59" name="Freeform 33">
            <a:extLst>
              <a:ext uri="{FF2B5EF4-FFF2-40B4-BE49-F238E27FC236}">
                <a16:creationId xmlns:a16="http://schemas.microsoft.com/office/drawing/2014/main" id="{D1850797-833E-4471-BD3C-F5FA8F31D6CB}"/>
              </a:ext>
            </a:extLst>
          </p:cNvPr>
          <p:cNvSpPr>
            <a:spLocks/>
          </p:cNvSpPr>
          <p:nvPr/>
        </p:nvSpPr>
        <p:spPr bwMode="gray">
          <a:xfrm>
            <a:off x="3248529" y="2572540"/>
            <a:ext cx="35490" cy="43608"/>
          </a:xfrm>
          <a:custGeom>
            <a:avLst/>
            <a:gdLst>
              <a:gd name="T0" fmla="*/ 8 w 18"/>
              <a:gd name="T1" fmla="*/ 0 h 22"/>
              <a:gd name="T2" fmla="*/ 2 w 18"/>
              <a:gd name="T3" fmla="*/ 6 h 22"/>
              <a:gd name="T4" fmla="*/ 0 w 18"/>
              <a:gd name="T5" fmla="*/ 14 h 22"/>
              <a:gd name="T6" fmla="*/ 8 w 18"/>
              <a:gd name="T7" fmla="*/ 22 h 22"/>
              <a:gd name="T8" fmla="*/ 18 w 18"/>
              <a:gd name="T9" fmla="*/ 10 h 22"/>
              <a:gd name="T10" fmla="*/ 16 w 18"/>
              <a:gd name="T11" fmla="*/ 2 h 22"/>
              <a:gd name="T12" fmla="*/ 8 w 1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8" h="22">
                <a:moveTo>
                  <a:pt x="8" y="0"/>
                </a:moveTo>
                <a:lnTo>
                  <a:pt x="2" y="6"/>
                </a:lnTo>
                <a:lnTo>
                  <a:pt x="0" y="14"/>
                </a:lnTo>
                <a:lnTo>
                  <a:pt x="8" y="22"/>
                </a:lnTo>
                <a:lnTo>
                  <a:pt x="18" y="10"/>
                </a:lnTo>
                <a:lnTo>
                  <a:pt x="16" y="2"/>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0" name="Freeform 34">
            <a:extLst>
              <a:ext uri="{FF2B5EF4-FFF2-40B4-BE49-F238E27FC236}">
                <a16:creationId xmlns:a16="http://schemas.microsoft.com/office/drawing/2014/main" id="{012C184B-68CC-47DF-AE7D-5A7149D1B3BC}"/>
              </a:ext>
            </a:extLst>
          </p:cNvPr>
          <p:cNvSpPr>
            <a:spLocks/>
          </p:cNvSpPr>
          <p:nvPr/>
        </p:nvSpPr>
        <p:spPr bwMode="gray">
          <a:xfrm>
            <a:off x="2164094" y="1676605"/>
            <a:ext cx="43377" cy="27749"/>
          </a:xfrm>
          <a:custGeom>
            <a:avLst/>
            <a:gdLst>
              <a:gd name="T0" fmla="*/ 8 w 22"/>
              <a:gd name="T1" fmla="*/ 0 h 14"/>
              <a:gd name="T2" fmla="*/ 16 w 22"/>
              <a:gd name="T3" fmla="*/ 2 h 14"/>
              <a:gd name="T4" fmla="*/ 22 w 22"/>
              <a:gd name="T5" fmla="*/ 8 h 14"/>
              <a:gd name="T6" fmla="*/ 20 w 22"/>
              <a:gd name="T7" fmla="*/ 12 h 14"/>
              <a:gd name="T8" fmla="*/ 10 w 22"/>
              <a:gd name="T9" fmla="*/ 14 h 14"/>
              <a:gd name="T10" fmla="*/ 2 w 22"/>
              <a:gd name="T11" fmla="*/ 8 h 14"/>
              <a:gd name="T12" fmla="*/ 0 w 22"/>
              <a:gd name="T13" fmla="*/ 2 h 14"/>
              <a:gd name="T14" fmla="*/ 8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8" y="0"/>
                </a:moveTo>
                <a:lnTo>
                  <a:pt x="16" y="2"/>
                </a:lnTo>
                <a:lnTo>
                  <a:pt x="22" y="8"/>
                </a:lnTo>
                <a:lnTo>
                  <a:pt x="20" y="12"/>
                </a:lnTo>
                <a:lnTo>
                  <a:pt x="10" y="14"/>
                </a:lnTo>
                <a:lnTo>
                  <a:pt x="2" y="8"/>
                </a:lnTo>
                <a:lnTo>
                  <a:pt x="0" y="2"/>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1" name="Freeform 35">
            <a:extLst>
              <a:ext uri="{FF2B5EF4-FFF2-40B4-BE49-F238E27FC236}">
                <a16:creationId xmlns:a16="http://schemas.microsoft.com/office/drawing/2014/main" id="{5D21324C-CA9A-4325-8871-36F64136B556}"/>
              </a:ext>
            </a:extLst>
          </p:cNvPr>
          <p:cNvSpPr>
            <a:spLocks/>
          </p:cNvSpPr>
          <p:nvPr/>
        </p:nvSpPr>
        <p:spPr bwMode="gray">
          <a:xfrm>
            <a:off x="3425982" y="2271252"/>
            <a:ext cx="39433" cy="31714"/>
          </a:xfrm>
          <a:custGeom>
            <a:avLst/>
            <a:gdLst>
              <a:gd name="T0" fmla="*/ 8 w 20"/>
              <a:gd name="T1" fmla="*/ 0 h 16"/>
              <a:gd name="T2" fmla="*/ 16 w 20"/>
              <a:gd name="T3" fmla="*/ 6 h 16"/>
              <a:gd name="T4" fmla="*/ 20 w 20"/>
              <a:gd name="T5" fmla="*/ 12 h 16"/>
              <a:gd name="T6" fmla="*/ 16 w 20"/>
              <a:gd name="T7" fmla="*/ 16 h 16"/>
              <a:gd name="T8" fmla="*/ 6 w 20"/>
              <a:gd name="T9" fmla="*/ 14 h 16"/>
              <a:gd name="T10" fmla="*/ 0 w 20"/>
              <a:gd name="T11" fmla="*/ 10 h 16"/>
              <a:gd name="T12" fmla="*/ 0 w 20"/>
              <a:gd name="T13" fmla="*/ 2 h 16"/>
              <a:gd name="T14" fmla="*/ 8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8" y="0"/>
                </a:moveTo>
                <a:lnTo>
                  <a:pt x="16" y="6"/>
                </a:lnTo>
                <a:lnTo>
                  <a:pt x="20" y="12"/>
                </a:lnTo>
                <a:lnTo>
                  <a:pt x="16" y="16"/>
                </a:lnTo>
                <a:lnTo>
                  <a:pt x="6" y="14"/>
                </a:lnTo>
                <a:lnTo>
                  <a:pt x="0" y="10"/>
                </a:lnTo>
                <a:lnTo>
                  <a:pt x="0" y="2"/>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2" name="Freeform 36">
            <a:extLst>
              <a:ext uri="{FF2B5EF4-FFF2-40B4-BE49-F238E27FC236}">
                <a16:creationId xmlns:a16="http://schemas.microsoft.com/office/drawing/2014/main" id="{1BC51CA6-35BF-4472-AFA6-FCD5B617FF98}"/>
              </a:ext>
            </a:extLst>
          </p:cNvPr>
          <p:cNvSpPr>
            <a:spLocks/>
          </p:cNvSpPr>
          <p:nvPr/>
        </p:nvSpPr>
        <p:spPr bwMode="gray">
          <a:xfrm>
            <a:off x="3753285" y="3131508"/>
            <a:ext cx="74924" cy="35678"/>
          </a:xfrm>
          <a:custGeom>
            <a:avLst/>
            <a:gdLst>
              <a:gd name="T0" fmla="*/ 0 w 38"/>
              <a:gd name="T1" fmla="*/ 2 h 18"/>
              <a:gd name="T2" fmla="*/ 8 w 38"/>
              <a:gd name="T3" fmla="*/ 8 h 18"/>
              <a:gd name="T4" fmla="*/ 18 w 38"/>
              <a:gd name="T5" fmla="*/ 14 h 18"/>
              <a:gd name="T6" fmla="*/ 34 w 38"/>
              <a:gd name="T7" fmla="*/ 18 h 18"/>
              <a:gd name="T8" fmla="*/ 38 w 38"/>
              <a:gd name="T9" fmla="*/ 12 h 18"/>
              <a:gd name="T10" fmla="*/ 30 w 38"/>
              <a:gd name="T11" fmla="*/ 6 h 18"/>
              <a:gd name="T12" fmla="*/ 22 w 38"/>
              <a:gd name="T13" fmla="*/ 2 h 18"/>
              <a:gd name="T14" fmla="*/ 14 w 38"/>
              <a:gd name="T15" fmla="*/ 0 h 18"/>
              <a:gd name="T16" fmla="*/ 8 w 38"/>
              <a:gd name="T17" fmla="*/ 0 h 18"/>
              <a:gd name="T18" fmla="*/ 0 w 38"/>
              <a:gd name="T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8">
                <a:moveTo>
                  <a:pt x="0" y="2"/>
                </a:moveTo>
                <a:lnTo>
                  <a:pt x="8" y="8"/>
                </a:lnTo>
                <a:lnTo>
                  <a:pt x="18" y="14"/>
                </a:lnTo>
                <a:lnTo>
                  <a:pt x="34" y="18"/>
                </a:lnTo>
                <a:lnTo>
                  <a:pt x="38" y="12"/>
                </a:lnTo>
                <a:lnTo>
                  <a:pt x="30" y="6"/>
                </a:lnTo>
                <a:lnTo>
                  <a:pt x="22" y="2"/>
                </a:lnTo>
                <a:lnTo>
                  <a:pt x="14" y="0"/>
                </a:lnTo>
                <a:lnTo>
                  <a:pt x="8" y="0"/>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3" name="Freeform 37">
            <a:extLst>
              <a:ext uri="{FF2B5EF4-FFF2-40B4-BE49-F238E27FC236}">
                <a16:creationId xmlns:a16="http://schemas.microsoft.com/office/drawing/2014/main" id="{26722658-63C2-4C04-AA23-3FEF53D2A5C5}"/>
              </a:ext>
            </a:extLst>
          </p:cNvPr>
          <p:cNvSpPr>
            <a:spLocks/>
          </p:cNvSpPr>
          <p:nvPr/>
        </p:nvSpPr>
        <p:spPr bwMode="gray">
          <a:xfrm>
            <a:off x="1753982" y="3091864"/>
            <a:ext cx="141963" cy="99107"/>
          </a:xfrm>
          <a:custGeom>
            <a:avLst/>
            <a:gdLst>
              <a:gd name="T0" fmla="*/ 0 w 72"/>
              <a:gd name="T1" fmla="*/ 0 h 50"/>
              <a:gd name="T2" fmla="*/ 12 w 72"/>
              <a:gd name="T3" fmla="*/ 2 h 50"/>
              <a:gd name="T4" fmla="*/ 24 w 72"/>
              <a:gd name="T5" fmla="*/ 6 h 50"/>
              <a:gd name="T6" fmla="*/ 32 w 72"/>
              <a:gd name="T7" fmla="*/ 10 h 50"/>
              <a:gd name="T8" fmla="*/ 42 w 72"/>
              <a:gd name="T9" fmla="*/ 16 h 50"/>
              <a:gd name="T10" fmla="*/ 50 w 72"/>
              <a:gd name="T11" fmla="*/ 26 h 50"/>
              <a:gd name="T12" fmla="*/ 56 w 72"/>
              <a:gd name="T13" fmla="*/ 30 h 50"/>
              <a:gd name="T14" fmla="*/ 66 w 72"/>
              <a:gd name="T15" fmla="*/ 36 h 50"/>
              <a:gd name="T16" fmla="*/ 70 w 72"/>
              <a:gd name="T17" fmla="*/ 42 h 50"/>
              <a:gd name="T18" fmla="*/ 72 w 72"/>
              <a:gd name="T19" fmla="*/ 46 h 50"/>
              <a:gd name="T20" fmla="*/ 66 w 72"/>
              <a:gd name="T21" fmla="*/ 48 h 50"/>
              <a:gd name="T22" fmla="*/ 56 w 72"/>
              <a:gd name="T23" fmla="*/ 50 h 50"/>
              <a:gd name="T24" fmla="*/ 46 w 72"/>
              <a:gd name="T25" fmla="*/ 46 h 50"/>
              <a:gd name="T26" fmla="*/ 46 w 72"/>
              <a:gd name="T27" fmla="*/ 38 h 50"/>
              <a:gd name="T28" fmla="*/ 40 w 72"/>
              <a:gd name="T29" fmla="*/ 38 h 50"/>
              <a:gd name="T30" fmla="*/ 34 w 72"/>
              <a:gd name="T31" fmla="*/ 32 h 50"/>
              <a:gd name="T32" fmla="*/ 28 w 72"/>
              <a:gd name="T33" fmla="*/ 24 h 50"/>
              <a:gd name="T34" fmla="*/ 22 w 72"/>
              <a:gd name="T35" fmla="*/ 24 h 50"/>
              <a:gd name="T36" fmla="*/ 20 w 72"/>
              <a:gd name="T37" fmla="*/ 18 h 50"/>
              <a:gd name="T38" fmla="*/ 14 w 72"/>
              <a:gd name="T39" fmla="*/ 18 h 50"/>
              <a:gd name="T40" fmla="*/ 6 w 72"/>
              <a:gd name="T41" fmla="*/ 14 h 50"/>
              <a:gd name="T42" fmla="*/ 0 w 72"/>
              <a:gd name="T43" fmla="*/ 10 h 50"/>
              <a:gd name="T44" fmla="*/ 0 w 72"/>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50">
                <a:moveTo>
                  <a:pt x="0" y="0"/>
                </a:moveTo>
                <a:lnTo>
                  <a:pt x="12" y="2"/>
                </a:lnTo>
                <a:lnTo>
                  <a:pt x="24" y="6"/>
                </a:lnTo>
                <a:lnTo>
                  <a:pt x="32" y="10"/>
                </a:lnTo>
                <a:lnTo>
                  <a:pt x="42" y="16"/>
                </a:lnTo>
                <a:lnTo>
                  <a:pt x="50" y="26"/>
                </a:lnTo>
                <a:lnTo>
                  <a:pt x="56" y="30"/>
                </a:lnTo>
                <a:lnTo>
                  <a:pt x="66" y="36"/>
                </a:lnTo>
                <a:lnTo>
                  <a:pt x="70" y="42"/>
                </a:lnTo>
                <a:lnTo>
                  <a:pt x="72" y="46"/>
                </a:lnTo>
                <a:lnTo>
                  <a:pt x="66" y="48"/>
                </a:lnTo>
                <a:lnTo>
                  <a:pt x="56" y="50"/>
                </a:lnTo>
                <a:lnTo>
                  <a:pt x="46" y="46"/>
                </a:lnTo>
                <a:lnTo>
                  <a:pt x="46" y="38"/>
                </a:lnTo>
                <a:lnTo>
                  <a:pt x="40" y="38"/>
                </a:lnTo>
                <a:lnTo>
                  <a:pt x="34" y="32"/>
                </a:lnTo>
                <a:lnTo>
                  <a:pt x="28" y="24"/>
                </a:lnTo>
                <a:lnTo>
                  <a:pt x="22" y="24"/>
                </a:lnTo>
                <a:lnTo>
                  <a:pt x="20" y="18"/>
                </a:lnTo>
                <a:lnTo>
                  <a:pt x="14" y="18"/>
                </a:lnTo>
                <a:lnTo>
                  <a:pt x="6" y="14"/>
                </a:lnTo>
                <a:lnTo>
                  <a:pt x="0" y="10"/>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0" name="Freeform 39">
            <a:extLst>
              <a:ext uri="{FF2B5EF4-FFF2-40B4-BE49-F238E27FC236}">
                <a16:creationId xmlns:a16="http://schemas.microsoft.com/office/drawing/2014/main" id="{DA5F9F44-D9CC-40B2-A607-45D71D1980B1}"/>
              </a:ext>
            </a:extLst>
          </p:cNvPr>
          <p:cNvSpPr>
            <a:spLocks/>
          </p:cNvSpPr>
          <p:nvPr/>
        </p:nvSpPr>
        <p:spPr bwMode="gray">
          <a:xfrm>
            <a:off x="523641" y="2100786"/>
            <a:ext cx="1171190" cy="820612"/>
          </a:xfrm>
          <a:custGeom>
            <a:avLst/>
            <a:gdLst>
              <a:gd name="T0" fmla="*/ 540 w 594"/>
              <a:gd name="T1" fmla="*/ 354 h 414"/>
              <a:gd name="T2" fmla="*/ 510 w 594"/>
              <a:gd name="T3" fmla="*/ 318 h 414"/>
              <a:gd name="T4" fmla="*/ 500 w 594"/>
              <a:gd name="T5" fmla="*/ 332 h 414"/>
              <a:gd name="T6" fmla="*/ 464 w 594"/>
              <a:gd name="T7" fmla="*/ 324 h 414"/>
              <a:gd name="T8" fmla="*/ 414 w 594"/>
              <a:gd name="T9" fmla="*/ 298 h 414"/>
              <a:gd name="T10" fmla="*/ 362 w 594"/>
              <a:gd name="T11" fmla="*/ 288 h 414"/>
              <a:gd name="T12" fmla="*/ 318 w 594"/>
              <a:gd name="T13" fmla="*/ 272 h 414"/>
              <a:gd name="T14" fmla="*/ 314 w 594"/>
              <a:gd name="T15" fmla="*/ 294 h 414"/>
              <a:gd name="T16" fmla="*/ 278 w 594"/>
              <a:gd name="T17" fmla="*/ 304 h 414"/>
              <a:gd name="T18" fmla="*/ 252 w 594"/>
              <a:gd name="T19" fmla="*/ 298 h 414"/>
              <a:gd name="T20" fmla="*/ 270 w 594"/>
              <a:gd name="T21" fmla="*/ 274 h 414"/>
              <a:gd name="T22" fmla="*/ 274 w 594"/>
              <a:gd name="T23" fmla="*/ 266 h 414"/>
              <a:gd name="T24" fmla="*/ 236 w 594"/>
              <a:gd name="T25" fmla="*/ 298 h 414"/>
              <a:gd name="T26" fmla="*/ 222 w 594"/>
              <a:gd name="T27" fmla="*/ 322 h 414"/>
              <a:gd name="T28" fmla="*/ 196 w 594"/>
              <a:gd name="T29" fmla="*/ 348 h 414"/>
              <a:gd name="T30" fmla="*/ 146 w 594"/>
              <a:gd name="T31" fmla="*/ 384 h 414"/>
              <a:gd name="T32" fmla="*/ 112 w 594"/>
              <a:gd name="T33" fmla="*/ 398 h 414"/>
              <a:gd name="T34" fmla="*/ 90 w 594"/>
              <a:gd name="T35" fmla="*/ 408 h 414"/>
              <a:gd name="T36" fmla="*/ 84 w 594"/>
              <a:gd name="T37" fmla="*/ 394 h 414"/>
              <a:gd name="T38" fmla="*/ 114 w 594"/>
              <a:gd name="T39" fmla="*/ 382 h 414"/>
              <a:gd name="T40" fmla="*/ 156 w 594"/>
              <a:gd name="T41" fmla="*/ 354 h 414"/>
              <a:gd name="T42" fmla="*/ 170 w 594"/>
              <a:gd name="T43" fmla="*/ 320 h 414"/>
              <a:gd name="T44" fmla="*/ 138 w 594"/>
              <a:gd name="T45" fmla="*/ 328 h 414"/>
              <a:gd name="T46" fmla="*/ 100 w 594"/>
              <a:gd name="T47" fmla="*/ 328 h 414"/>
              <a:gd name="T48" fmla="*/ 86 w 594"/>
              <a:gd name="T49" fmla="*/ 286 h 414"/>
              <a:gd name="T50" fmla="*/ 56 w 594"/>
              <a:gd name="T51" fmla="*/ 300 h 414"/>
              <a:gd name="T52" fmla="*/ 48 w 594"/>
              <a:gd name="T53" fmla="*/ 274 h 414"/>
              <a:gd name="T54" fmla="*/ 24 w 594"/>
              <a:gd name="T55" fmla="*/ 258 h 414"/>
              <a:gd name="T56" fmla="*/ 46 w 594"/>
              <a:gd name="T57" fmla="*/ 226 h 414"/>
              <a:gd name="T58" fmla="*/ 80 w 594"/>
              <a:gd name="T59" fmla="*/ 214 h 414"/>
              <a:gd name="T60" fmla="*/ 102 w 594"/>
              <a:gd name="T61" fmla="*/ 184 h 414"/>
              <a:gd name="T62" fmla="*/ 86 w 594"/>
              <a:gd name="T63" fmla="*/ 180 h 414"/>
              <a:gd name="T64" fmla="*/ 20 w 594"/>
              <a:gd name="T65" fmla="*/ 168 h 414"/>
              <a:gd name="T66" fmla="*/ 10 w 594"/>
              <a:gd name="T67" fmla="*/ 150 h 414"/>
              <a:gd name="T68" fmla="*/ 60 w 594"/>
              <a:gd name="T69" fmla="*/ 132 h 414"/>
              <a:gd name="T70" fmla="*/ 100 w 594"/>
              <a:gd name="T71" fmla="*/ 142 h 414"/>
              <a:gd name="T72" fmla="*/ 102 w 594"/>
              <a:gd name="T73" fmla="*/ 132 h 414"/>
              <a:gd name="T74" fmla="*/ 84 w 594"/>
              <a:gd name="T75" fmla="*/ 116 h 414"/>
              <a:gd name="T76" fmla="*/ 44 w 594"/>
              <a:gd name="T77" fmla="*/ 94 h 414"/>
              <a:gd name="T78" fmla="*/ 22 w 594"/>
              <a:gd name="T79" fmla="*/ 68 h 414"/>
              <a:gd name="T80" fmla="*/ 88 w 594"/>
              <a:gd name="T81" fmla="*/ 28 h 414"/>
              <a:gd name="T82" fmla="*/ 132 w 594"/>
              <a:gd name="T83" fmla="*/ 12 h 414"/>
              <a:gd name="T84" fmla="*/ 186 w 594"/>
              <a:gd name="T85" fmla="*/ 8 h 414"/>
              <a:gd name="T86" fmla="*/ 244 w 594"/>
              <a:gd name="T87" fmla="*/ 16 h 414"/>
              <a:gd name="T88" fmla="*/ 318 w 594"/>
              <a:gd name="T89" fmla="*/ 30 h 414"/>
              <a:gd name="T90" fmla="*/ 400 w 594"/>
              <a:gd name="T91" fmla="*/ 40 h 414"/>
              <a:gd name="T92" fmla="*/ 438 w 594"/>
              <a:gd name="T93" fmla="*/ 288 h 414"/>
              <a:gd name="T94" fmla="*/ 478 w 594"/>
              <a:gd name="T95" fmla="*/ 316 h 414"/>
              <a:gd name="T96" fmla="*/ 508 w 594"/>
              <a:gd name="T97" fmla="*/ 300 h 414"/>
              <a:gd name="T98" fmla="*/ 556 w 594"/>
              <a:gd name="T99" fmla="*/ 358 h 414"/>
              <a:gd name="T100" fmla="*/ 594 w 594"/>
              <a:gd name="T101" fmla="*/ 394 h 414"/>
              <a:gd name="T102" fmla="*/ 582 w 594"/>
              <a:gd name="T103" fmla="*/ 39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414">
                <a:moveTo>
                  <a:pt x="568" y="384"/>
                </a:moveTo>
                <a:lnTo>
                  <a:pt x="552" y="370"/>
                </a:lnTo>
                <a:lnTo>
                  <a:pt x="542" y="362"/>
                </a:lnTo>
                <a:lnTo>
                  <a:pt x="540" y="354"/>
                </a:lnTo>
                <a:lnTo>
                  <a:pt x="530" y="342"/>
                </a:lnTo>
                <a:lnTo>
                  <a:pt x="522" y="336"/>
                </a:lnTo>
                <a:lnTo>
                  <a:pt x="518" y="330"/>
                </a:lnTo>
                <a:lnTo>
                  <a:pt x="510" y="318"/>
                </a:lnTo>
                <a:lnTo>
                  <a:pt x="506" y="322"/>
                </a:lnTo>
                <a:lnTo>
                  <a:pt x="510" y="334"/>
                </a:lnTo>
                <a:lnTo>
                  <a:pt x="506" y="338"/>
                </a:lnTo>
                <a:lnTo>
                  <a:pt x="500" y="332"/>
                </a:lnTo>
                <a:lnTo>
                  <a:pt x="496" y="328"/>
                </a:lnTo>
                <a:lnTo>
                  <a:pt x="492" y="336"/>
                </a:lnTo>
                <a:lnTo>
                  <a:pt x="480" y="332"/>
                </a:lnTo>
                <a:lnTo>
                  <a:pt x="464" y="324"/>
                </a:lnTo>
                <a:lnTo>
                  <a:pt x="440" y="310"/>
                </a:lnTo>
                <a:lnTo>
                  <a:pt x="438" y="302"/>
                </a:lnTo>
                <a:lnTo>
                  <a:pt x="426" y="304"/>
                </a:lnTo>
                <a:lnTo>
                  <a:pt x="414" y="298"/>
                </a:lnTo>
                <a:lnTo>
                  <a:pt x="400" y="296"/>
                </a:lnTo>
                <a:lnTo>
                  <a:pt x="378" y="296"/>
                </a:lnTo>
                <a:lnTo>
                  <a:pt x="368" y="296"/>
                </a:lnTo>
                <a:lnTo>
                  <a:pt x="362" y="288"/>
                </a:lnTo>
                <a:lnTo>
                  <a:pt x="348" y="286"/>
                </a:lnTo>
                <a:lnTo>
                  <a:pt x="344" y="280"/>
                </a:lnTo>
                <a:lnTo>
                  <a:pt x="332" y="274"/>
                </a:lnTo>
                <a:lnTo>
                  <a:pt x="318" y="272"/>
                </a:lnTo>
                <a:lnTo>
                  <a:pt x="306" y="272"/>
                </a:lnTo>
                <a:lnTo>
                  <a:pt x="306" y="280"/>
                </a:lnTo>
                <a:lnTo>
                  <a:pt x="310" y="286"/>
                </a:lnTo>
                <a:lnTo>
                  <a:pt x="314" y="294"/>
                </a:lnTo>
                <a:lnTo>
                  <a:pt x="310" y="296"/>
                </a:lnTo>
                <a:lnTo>
                  <a:pt x="294" y="296"/>
                </a:lnTo>
                <a:lnTo>
                  <a:pt x="286" y="298"/>
                </a:lnTo>
                <a:lnTo>
                  <a:pt x="278" y="304"/>
                </a:lnTo>
                <a:lnTo>
                  <a:pt x="268" y="312"/>
                </a:lnTo>
                <a:lnTo>
                  <a:pt x="256" y="316"/>
                </a:lnTo>
                <a:lnTo>
                  <a:pt x="250" y="308"/>
                </a:lnTo>
                <a:lnTo>
                  <a:pt x="252" y="298"/>
                </a:lnTo>
                <a:lnTo>
                  <a:pt x="256" y="290"/>
                </a:lnTo>
                <a:lnTo>
                  <a:pt x="258" y="280"/>
                </a:lnTo>
                <a:lnTo>
                  <a:pt x="262" y="276"/>
                </a:lnTo>
                <a:lnTo>
                  <a:pt x="270" y="274"/>
                </a:lnTo>
                <a:lnTo>
                  <a:pt x="280" y="272"/>
                </a:lnTo>
                <a:lnTo>
                  <a:pt x="284" y="264"/>
                </a:lnTo>
                <a:lnTo>
                  <a:pt x="286" y="260"/>
                </a:lnTo>
                <a:lnTo>
                  <a:pt x="274" y="266"/>
                </a:lnTo>
                <a:lnTo>
                  <a:pt x="264" y="268"/>
                </a:lnTo>
                <a:lnTo>
                  <a:pt x="244" y="282"/>
                </a:lnTo>
                <a:lnTo>
                  <a:pt x="236" y="290"/>
                </a:lnTo>
                <a:lnTo>
                  <a:pt x="236" y="298"/>
                </a:lnTo>
                <a:lnTo>
                  <a:pt x="230" y="304"/>
                </a:lnTo>
                <a:lnTo>
                  <a:pt x="220" y="306"/>
                </a:lnTo>
                <a:lnTo>
                  <a:pt x="216" y="314"/>
                </a:lnTo>
                <a:lnTo>
                  <a:pt x="222" y="322"/>
                </a:lnTo>
                <a:lnTo>
                  <a:pt x="224" y="326"/>
                </a:lnTo>
                <a:lnTo>
                  <a:pt x="218" y="332"/>
                </a:lnTo>
                <a:lnTo>
                  <a:pt x="208" y="340"/>
                </a:lnTo>
                <a:lnTo>
                  <a:pt x="196" y="348"/>
                </a:lnTo>
                <a:lnTo>
                  <a:pt x="176" y="360"/>
                </a:lnTo>
                <a:lnTo>
                  <a:pt x="154" y="372"/>
                </a:lnTo>
                <a:lnTo>
                  <a:pt x="148" y="378"/>
                </a:lnTo>
                <a:lnTo>
                  <a:pt x="146" y="384"/>
                </a:lnTo>
                <a:lnTo>
                  <a:pt x="134" y="390"/>
                </a:lnTo>
                <a:lnTo>
                  <a:pt x="130" y="394"/>
                </a:lnTo>
                <a:lnTo>
                  <a:pt x="116" y="394"/>
                </a:lnTo>
                <a:lnTo>
                  <a:pt x="112" y="398"/>
                </a:lnTo>
                <a:lnTo>
                  <a:pt x="104" y="402"/>
                </a:lnTo>
                <a:lnTo>
                  <a:pt x="98" y="398"/>
                </a:lnTo>
                <a:lnTo>
                  <a:pt x="94" y="400"/>
                </a:lnTo>
                <a:lnTo>
                  <a:pt x="90" y="408"/>
                </a:lnTo>
                <a:lnTo>
                  <a:pt x="84" y="412"/>
                </a:lnTo>
                <a:lnTo>
                  <a:pt x="76" y="410"/>
                </a:lnTo>
                <a:lnTo>
                  <a:pt x="78" y="402"/>
                </a:lnTo>
                <a:lnTo>
                  <a:pt x="84" y="394"/>
                </a:lnTo>
                <a:lnTo>
                  <a:pt x="90" y="390"/>
                </a:lnTo>
                <a:lnTo>
                  <a:pt x="100" y="388"/>
                </a:lnTo>
                <a:lnTo>
                  <a:pt x="110" y="388"/>
                </a:lnTo>
                <a:lnTo>
                  <a:pt x="114" y="382"/>
                </a:lnTo>
                <a:lnTo>
                  <a:pt x="124" y="378"/>
                </a:lnTo>
                <a:lnTo>
                  <a:pt x="140" y="366"/>
                </a:lnTo>
                <a:lnTo>
                  <a:pt x="150" y="356"/>
                </a:lnTo>
                <a:lnTo>
                  <a:pt x="156" y="354"/>
                </a:lnTo>
                <a:lnTo>
                  <a:pt x="160" y="342"/>
                </a:lnTo>
                <a:lnTo>
                  <a:pt x="160" y="332"/>
                </a:lnTo>
                <a:lnTo>
                  <a:pt x="168" y="328"/>
                </a:lnTo>
                <a:lnTo>
                  <a:pt x="170" y="320"/>
                </a:lnTo>
                <a:lnTo>
                  <a:pt x="160" y="322"/>
                </a:lnTo>
                <a:lnTo>
                  <a:pt x="148" y="328"/>
                </a:lnTo>
                <a:lnTo>
                  <a:pt x="142" y="322"/>
                </a:lnTo>
                <a:lnTo>
                  <a:pt x="138" y="328"/>
                </a:lnTo>
                <a:lnTo>
                  <a:pt x="134" y="330"/>
                </a:lnTo>
                <a:lnTo>
                  <a:pt x="126" y="322"/>
                </a:lnTo>
                <a:lnTo>
                  <a:pt x="110" y="320"/>
                </a:lnTo>
                <a:lnTo>
                  <a:pt x="100" y="328"/>
                </a:lnTo>
                <a:lnTo>
                  <a:pt x="90" y="330"/>
                </a:lnTo>
                <a:lnTo>
                  <a:pt x="88" y="304"/>
                </a:lnTo>
                <a:lnTo>
                  <a:pt x="86" y="296"/>
                </a:lnTo>
                <a:lnTo>
                  <a:pt x="86" y="286"/>
                </a:lnTo>
                <a:lnTo>
                  <a:pt x="80" y="286"/>
                </a:lnTo>
                <a:lnTo>
                  <a:pt x="78" y="296"/>
                </a:lnTo>
                <a:lnTo>
                  <a:pt x="74" y="300"/>
                </a:lnTo>
                <a:lnTo>
                  <a:pt x="56" y="300"/>
                </a:lnTo>
                <a:lnTo>
                  <a:pt x="48" y="292"/>
                </a:lnTo>
                <a:lnTo>
                  <a:pt x="40" y="280"/>
                </a:lnTo>
                <a:lnTo>
                  <a:pt x="42" y="274"/>
                </a:lnTo>
                <a:lnTo>
                  <a:pt x="48" y="274"/>
                </a:lnTo>
                <a:lnTo>
                  <a:pt x="40" y="268"/>
                </a:lnTo>
                <a:lnTo>
                  <a:pt x="40" y="260"/>
                </a:lnTo>
                <a:lnTo>
                  <a:pt x="36" y="268"/>
                </a:lnTo>
                <a:lnTo>
                  <a:pt x="24" y="258"/>
                </a:lnTo>
                <a:lnTo>
                  <a:pt x="30" y="246"/>
                </a:lnTo>
                <a:lnTo>
                  <a:pt x="34" y="242"/>
                </a:lnTo>
                <a:lnTo>
                  <a:pt x="46" y="234"/>
                </a:lnTo>
                <a:lnTo>
                  <a:pt x="46" y="226"/>
                </a:lnTo>
                <a:lnTo>
                  <a:pt x="50" y="220"/>
                </a:lnTo>
                <a:lnTo>
                  <a:pt x="58" y="220"/>
                </a:lnTo>
                <a:lnTo>
                  <a:pt x="72" y="222"/>
                </a:lnTo>
                <a:lnTo>
                  <a:pt x="80" y="214"/>
                </a:lnTo>
                <a:lnTo>
                  <a:pt x="88" y="210"/>
                </a:lnTo>
                <a:lnTo>
                  <a:pt x="110" y="208"/>
                </a:lnTo>
                <a:lnTo>
                  <a:pt x="108" y="194"/>
                </a:lnTo>
                <a:lnTo>
                  <a:pt x="102" y="184"/>
                </a:lnTo>
                <a:lnTo>
                  <a:pt x="108" y="178"/>
                </a:lnTo>
                <a:lnTo>
                  <a:pt x="104" y="174"/>
                </a:lnTo>
                <a:lnTo>
                  <a:pt x="94" y="174"/>
                </a:lnTo>
                <a:lnTo>
                  <a:pt x="86" y="180"/>
                </a:lnTo>
                <a:lnTo>
                  <a:pt x="76" y="186"/>
                </a:lnTo>
                <a:lnTo>
                  <a:pt x="22" y="184"/>
                </a:lnTo>
                <a:lnTo>
                  <a:pt x="14" y="176"/>
                </a:lnTo>
                <a:lnTo>
                  <a:pt x="20" y="168"/>
                </a:lnTo>
                <a:lnTo>
                  <a:pt x="20" y="164"/>
                </a:lnTo>
                <a:lnTo>
                  <a:pt x="4" y="164"/>
                </a:lnTo>
                <a:lnTo>
                  <a:pt x="0" y="156"/>
                </a:lnTo>
                <a:lnTo>
                  <a:pt x="10" y="150"/>
                </a:lnTo>
                <a:lnTo>
                  <a:pt x="22" y="140"/>
                </a:lnTo>
                <a:lnTo>
                  <a:pt x="36" y="136"/>
                </a:lnTo>
                <a:lnTo>
                  <a:pt x="52" y="130"/>
                </a:lnTo>
                <a:lnTo>
                  <a:pt x="60" y="132"/>
                </a:lnTo>
                <a:lnTo>
                  <a:pt x="62" y="140"/>
                </a:lnTo>
                <a:lnTo>
                  <a:pt x="72" y="146"/>
                </a:lnTo>
                <a:lnTo>
                  <a:pt x="88" y="144"/>
                </a:lnTo>
                <a:lnTo>
                  <a:pt x="100" y="142"/>
                </a:lnTo>
                <a:lnTo>
                  <a:pt x="114" y="136"/>
                </a:lnTo>
                <a:lnTo>
                  <a:pt x="118" y="130"/>
                </a:lnTo>
                <a:lnTo>
                  <a:pt x="108" y="128"/>
                </a:lnTo>
                <a:lnTo>
                  <a:pt x="102" y="132"/>
                </a:lnTo>
                <a:lnTo>
                  <a:pt x="88" y="130"/>
                </a:lnTo>
                <a:lnTo>
                  <a:pt x="88" y="122"/>
                </a:lnTo>
                <a:lnTo>
                  <a:pt x="92" y="118"/>
                </a:lnTo>
                <a:lnTo>
                  <a:pt x="84" y="116"/>
                </a:lnTo>
                <a:lnTo>
                  <a:pt x="66" y="120"/>
                </a:lnTo>
                <a:lnTo>
                  <a:pt x="60" y="108"/>
                </a:lnTo>
                <a:lnTo>
                  <a:pt x="50" y="100"/>
                </a:lnTo>
                <a:lnTo>
                  <a:pt x="44" y="94"/>
                </a:lnTo>
                <a:lnTo>
                  <a:pt x="38" y="90"/>
                </a:lnTo>
                <a:lnTo>
                  <a:pt x="26" y="90"/>
                </a:lnTo>
                <a:lnTo>
                  <a:pt x="20" y="82"/>
                </a:lnTo>
                <a:lnTo>
                  <a:pt x="22" y="68"/>
                </a:lnTo>
                <a:lnTo>
                  <a:pt x="58" y="64"/>
                </a:lnTo>
                <a:lnTo>
                  <a:pt x="70" y="54"/>
                </a:lnTo>
                <a:lnTo>
                  <a:pt x="74" y="42"/>
                </a:lnTo>
                <a:lnTo>
                  <a:pt x="88" y="28"/>
                </a:lnTo>
                <a:lnTo>
                  <a:pt x="104" y="28"/>
                </a:lnTo>
                <a:lnTo>
                  <a:pt x="120" y="20"/>
                </a:lnTo>
                <a:lnTo>
                  <a:pt x="128" y="20"/>
                </a:lnTo>
                <a:lnTo>
                  <a:pt x="132" y="12"/>
                </a:lnTo>
                <a:lnTo>
                  <a:pt x="158" y="10"/>
                </a:lnTo>
                <a:lnTo>
                  <a:pt x="176" y="0"/>
                </a:lnTo>
                <a:lnTo>
                  <a:pt x="190" y="2"/>
                </a:lnTo>
                <a:lnTo>
                  <a:pt x="186" y="8"/>
                </a:lnTo>
                <a:lnTo>
                  <a:pt x="190" y="14"/>
                </a:lnTo>
                <a:lnTo>
                  <a:pt x="204" y="8"/>
                </a:lnTo>
                <a:lnTo>
                  <a:pt x="212" y="12"/>
                </a:lnTo>
                <a:lnTo>
                  <a:pt x="244" y="16"/>
                </a:lnTo>
                <a:lnTo>
                  <a:pt x="244" y="22"/>
                </a:lnTo>
                <a:lnTo>
                  <a:pt x="268" y="24"/>
                </a:lnTo>
                <a:lnTo>
                  <a:pt x="296" y="24"/>
                </a:lnTo>
                <a:lnTo>
                  <a:pt x="318" y="30"/>
                </a:lnTo>
                <a:lnTo>
                  <a:pt x="344" y="36"/>
                </a:lnTo>
                <a:lnTo>
                  <a:pt x="364" y="40"/>
                </a:lnTo>
                <a:lnTo>
                  <a:pt x="394" y="36"/>
                </a:lnTo>
                <a:lnTo>
                  <a:pt x="400" y="40"/>
                </a:lnTo>
                <a:lnTo>
                  <a:pt x="420" y="48"/>
                </a:lnTo>
                <a:lnTo>
                  <a:pt x="420" y="288"/>
                </a:lnTo>
                <a:lnTo>
                  <a:pt x="430" y="292"/>
                </a:lnTo>
                <a:lnTo>
                  <a:pt x="438" y="288"/>
                </a:lnTo>
                <a:lnTo>
                  <a:pt x="446" y="286"/>
                </a:lnTo>
                <a:lnTo>
                  <a:pt x="454" y="296"/>
                </a:lnTo>
                <a:lnTo>
                  <a:pt x="470" y="308"/>
                </a:lnTo>
                <a:lnTo>
                  <a:pt x="478" y="316"/>
                </a:lnTo>
                <a:lnTo>
                  <a:pt x="488" y="314"/>
                </a:lnTo>
                <a:lnTo>
                  <a:pt x="490" y="308"/>
                </a:lnTo>
                <a:lnTo>
                  <a:pt x="498" y="304"/>
                </a:lnTo>
                <a:lnTo>
                  <a:pt x="508" y="300"/>
                </a:lnTo>
                <a:lnTo>
                  <a:pt x="520" y="312"/>
                </a:lnTo>
                <a:lnTo>
                  <a:pt x="530" y="322"/>
                </a:lnTo>
                <a:lnTo>
                  <a:pt x="546" y="338"/>
                </a:lnTo>
                <a:lnTo>
                  <a:pt x="556" y="358"/>
                </a:lnTo>
                <a:lnTo>
                  <a:pt x="566" y="370"/>
                </a:lnTo>
                <a:lnTo>
                  <a:pt x="578" y="378"/>
                </a:lnTo>
                <a:lnTo>
                  <a:pt x="592" y="386"/>
                </a:lnTo>
                <a:lnTo>
                  <a:pt x="594" y="394"/>
                </a:lnTo>
                <a:lnTo>
                  <a:pt x="590" y="410"/>
                </a:lnTo>
                <a:lnTo>
                  <a:pt x="576" y="414"/>
                </a:lnTo>
                <a:lnTo>
                  <a:pt x="580" y="404"/>
                </a:lnTo>
                <a:lnTo>
                  <a:pt x="582" y="394"/>
                </a:lnTo>
                <a:lnTo>
                  <a:pt x="576" y="392"/>
                </a:lnTo>
                <a:lnTo>
                  <a:pt x="570" y="386"/>
                </a:lnTo>
                <a:lnTo>
                  <a:pt x="568" y="38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1" name="Freeform 40">
            <a:extLst>
              <a:ext uri="{FF2B5EF4-FFF2-40B4-BE49-F238E27FC236}">
                <a16:creationId xmlns:a16="http://schemas.microsoft.com/office/drawing/2014/main" id="{A41997A1-444B-4481-BC60-84246DEF11B3}"/>
              </a:ext>
            </a:extLst>
          </p:cNvPr>
          <p:cNvSpPr>
            <a:spLocks/>
          </p:cNvSpPr>
          <p:nvPr/>
        </p:nvSpPr>
        <p:spPr bwMode="gray">
          <a:xfrm>
            <a:off x="929811" y="2778683"/>
            <a:ext cx="74925" cy="51536"/>
          </a:xfrm>
          <a:custGeom>
            <a:avLst/>
            <a:gdLst>
              <a:gd name="T0" fmla="*/ 28 w 38"/>
              <a:gd name="T1" fmla="*/ 2 h 26"/>
              <a:gd name="T2" fmla="*/ 20 w 38"/>
              <a:gd name="T3" fmla="*/ 4 h 26"/>
              <a:gd name="T4" fmla="*/ 14 w 38"/>
              <a:gd name="T5" fmla="*/ 6 h 26"/>
              <a:gd name="T6" fmla="*/ 14 w 38"/>
              <a:gd name="T7" fmla="*/ 14 h 26"/>
              <a:gd name="T8" fmla="*/ 8 w 38"/>
              <a:gd name="T9" fmla="*/ 12 h 26"/>
              <a:gd name="T10" fmla="*/ 4 w 38"/>
              <a:gd name="T11" fmla="*/ 8 h 26"/>
              <a:gd name="T12" fmla="*/ 0 w 38"/>
              <a:gd name="T13" fmla="*/ 12 h 26"/>
              <a:gd name="T14" fmla="*/ 2 w 38"/>
              <a:gd name="T15" fmla="*/ 20 h 26"/>
              <a:gd name="T16" fmla="*/ 8 w 38"/>
              <a:gd name="T17" fmla="*/ 26 h 26"/>
              <a:gd name="T18" fmla="*/ 26 w 38"/>
              <a:gd name="T19" fmla="*/ 24 h 26"/>
              <a:gd name="T20" fmla="*/ 32 w 38"/>
              <a:gd name="T21" fmla="*/ 16 h 26"/>
              <a:gd name="T22" fmla="*/ 38 w 38"/>
              <a:gd name="T23" fmla="*/ 10 h 26"/>
              <a:gd name="T24" fmla="*/ 34 w 38"/>
              <a:gd name="T25" fmla="*/ 0 h 26"/>
              <a:gd name="T26" fmla="*/ 28 w 38"/>
              <a:gd name="T2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6">
                <a:moveTo>
                  <a:pt x="28" y="2"/>
                </a:moveTo>
                <a:lnTo>
                  <a:pt x="20" y="4"/>
                </a:lnTo>
                <a:lnTo>
                  <a:pt x="14" y="6"/>
                </a:lnTo>
                <a:lnTo>
                  <a:pt x="14" y="14"/>
                </a:lnTo>
                <a:lnTo>
                  <a:pt x="8" y="12"/>
                </a:lnTo>
                <a:lnTo>
                  <a:pt x="4" y="8"/>
                </a:lnTo>
                <a:lnTo>
                  <a:pt x="0" y="12"/>
                </a:lnTo>
                <a:lnTo>
                  <a:pt x="2" y="20"/>
                </a:lnTo>
                <a:lnTo>
                  <a:pt x="8" y="26"/>
                </a:lnTo>
                <a:lnTo>
                  <a:pt x="26" y="24"/>
                </a:lnTo>
                <a:lnTo>
                  <a:pt x="32" y="16"/>
                </a:lnTo>
                <a:lnTo>
                  <a:pt x="38" y="10"/>
                </a:lnTo>
                <a:lnTo>
                  <a:pt x="34" y="0"/>
                </a:lnTo>
                <a:lnTo>
                  <a:pt x="28"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2" name="Freeform 41">
            <a:extLst>
              <a:ext uri="{FF2B5EF4-FFF2-40B4-BE49-F238E27FC236}">
                <a16:creationId xmlns:a16="http://schemas.microsoft.com/office/drawing/2014/main" id="{144BF5FE-9F51-4083-9F36-46048D4642B4}"/>
              </a:ext>
            </a:extLst>
          </p:cNvPr>
          <p:cNvSpPr>
            <a:spLocks/>
          </p:cNvSpPr>
          <p:nvPr/>
        </p:nvSpPr>
        <p:spPr bwMode="gray">
          <a:xfrm>
            <a:off x="535471" y="2671647"/>
            <a:ext cx="51264" cy="31714"/>
          </a:xfrm>
          <a:custGeom>
            <a:avLst/>
            <a:gdLst>
              <a:gd name="T0" fmla="*/ 22 w 26"/>
              <a:gd name="T1" fmla="*/ 0 h 16"/>
              <a:gd name="T2" fmla="*/ 26 w 26"/>
              <a:gd name="T3" fmla="*/ 4 h 16"/>
              <a:gd name="T4" fmla="*/ 26 w 26"/>
              <a:gd name="T5" fmla="*/ 8 h 16"/>
              <a:gd name="T6" fmla="*/ 22 w 26"/>
              <a:gd name="T7" fmla="*/ 16 h 16"/>
              <a:gd name="T8" fmla="*/ 14 w 26"/>
              <a:gd name="T9" fmla="*/ 14 h 16"/>
              <a:gd name="T10" fmla="*/ 10 w 26"/>
              <a:gd name="T11" fmla="*/ 16 h 16"/>
              <a:gd name="T12" fmla="*/ 4 w 26"/>
              <a:gd name="T13" fmla="*/ 10 h 16"/>
              <a:gd name="T14" fmla="*/ 0 w 26"/>
              <a:gd name="T15" fmla="*/ 6 h 16"/>
              <a:gd name="T16" fmla="*/ 2 w 26"/>
              <a:gd name="T17" fmla="*/ 0 h 16"/>
              <a:gd name="T18" fmla="*/ 8 w 26"/>
              <a:gd name="T19" fmla="*/ 0 h 16"/>
              <a:gd name="T20" fmla="*/ 22 w 2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6">
                <a:moveTo>
                  <a:pt x="22" y="0"/>
                </a:moveTo>
                <a:lnTo>
                  <a:pt x="26" y="4"/>
                </a:lnTo>
                <a:lnTo>
                  <a:pt x="26" y="8"/>
                </a:lnTo>
                <a:lnTo>
                  <a:pt x="22" y="16"/>
                </a:lnTo>
                <a:lnTo>
                  <a:pt x="14" y="14"/>
                </a:lnTo>
                <a:lnTo>
                  <a:pt x="10" y="16"/>
                </a:lnTo>
                <a:lnTo>
                  <a:pt x="4" y="10"/>
                </a:lnTo>
                <a:lnTo>
                  <a:pt x="0" y="6"/>
                </a:lnTo>
                <a:lnTo>
                  <a:pt x="2" y="0"/>
                </a:lnTo>
                <a:lnTo>
                  <a:pt x="8" y="0"/>
                </a:lnTo>
                <a:lnTo>
                  <a:pt x="2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3" name="Freeform 42">
            <a:extLst>
              <a:ext uri="{FF2B5EF4-FFF2-40B4-BE49-F238E27FC236}">
                <a16:creationId xmlns:a16="http://schemas.microsoft.com/office/drawing/2014/main" id="{74FCFC0F-F244-42F0-BA69-F826E1FE9676}"/>
              </a:ext>
            </a:extLst>
          </p:cNvPr>
          <p:cNvSpPr>
            <a:spLocks/>
          </p:cNvSpPr>
          <p:nvPr/>
        </p:nvSpPr>
        <p:spPr bwMode="gray">
          <a:xfrm>
            <a:off x="1501604" y="2774719"/>
            <a:ext cx="47321" cy="79286"/>
          </a:xfrm>
          <a:custGeom>
            <a:avLst/>
            <a:gdLst>
              <a:gd name="T0" fmla="*/ 0 w 24"/>
              <a:gd name="T1" fmla="*/ 0 h 40"/>
              <a:gd name="T2" fmla="*/ 10 w 24"/>
              <a:gd name="T3" fmla="*/ 2 h 40"/>
              <a:gd name="T4" fmla="*/ 16 w 24"/>
              <a:gd name="T5" fmla="*/ 6 h 40"/>
              <a:gd name="T6" fmla="*/ 18 w 24"/>
              <a:gd name="T7" fmla="*/ 20 h 40"/>
              <a:gd name="T8" fmla="*/ 24 w 24"/>
              <a:gd name="T9" fmla="*/ 30 h 40"/>
              <a:gd name="T10" fmla="*/ 24 w 24"/>
              <a:gd name="T11" fmla="*/ 40 h 40"/>
              <a:gd name="T12" fmla="*/ 16 w 24"/>
              <a:gd name="T13" fmla="*/ 32 h 40"/>
              <a:gd name="T14" fmla="*/ 8 w 24"/>
              <a:gd name="T15" fmla="*/ 22 h 40"/>
              <a:gd name="T16" fmla="*/ 4 w 24"/>
              <a:gd name="T17" fmla="*/ 16 h 40"/>
              <a:gd name="T18" fmla="*/ 0 w 24"/>
              <a:gd name="T19" fmla="*/ 8 h 40"/>
              <a:gd name="T20" fmla="*/ 0 w 24"/>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0" y="0"/>
                </a:moveTo>
                <a:lnTo>
                  <a:pt x="10" y="2"/>
                </a:lnTo>
                <a:lnTo>
                  <a:pt x="16" y="6"/>
                </a:lnTo>
                <a:lnTo>
                  <a:pt x="18" y="20"/>
                </a:lnTo>
                <a:lnTo>
                  <a:pt x="24" y="30"/>
                </a:lnTo>
                <a:lnTo>
                  <a:pt x="24" y="40"/>
                </a:lnTo>
                <a:lnTo>
                  <a:pt x="16" y="32"/>
                </a:lnTo>
                <a:lnTo>
                  <a:pt x="8" y="22"/>
                </a:lnTo>
                <a:lnTo>
                  <a:pt x="4" y="16"/>
                </a:lnTo>
                <a:lnTo>
                  <a:pt x="0" y="8"/>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4" name="Freeform 43">
            <a:extLst>
              <a:ext uri="{FF2B5EF4-FFF2-40B4-BE49-F238E27FC236}">
                <a16:creationId xmlns:a16="http://schemas.microsoft.com/office/drawing/2014/main" id="{61EF0D02-5B4B-47CE-AB42-C39BB60FFC9D}"/>
              </a:ext>
            </a:extLst>
          </p:cNvPr>
          <p:cNvSpPr>
            <a:spLocks/>
          </p:cNvSpPr>
          <p:nvPr/>
        </p:nvSpPr>
        <p:spPr bwMode="gray">
          <a:xfrm>
            <a:off x="1588359" y="2854005"/>
            <a:ext cx="43377" cy="75322"/>
          </a:xfrm>
          <a:custGeom>
            <a:avLst/>
            <a:gdLst>
              <a:gd name="T0" fmla="*/ 0 w 22"/>
              <a:gd name="T1" fmla="*/ 8 h 38"/>
              <a:gd name="T2" fmla="*/ 0 w 22"/>
              <a:gd name="T3" fmla="*/ 0 h 38"/>
              <a:gd name="T4" fmla="*/ 8 w 22"/>
              <a:gd name="T5" fmla="*/ 2 h 38"/>
              <a:gd name="T6" fmla="*/ 14 w 22"/>
              <a:gd name="T7" fmla="*/ 14 h 38"/>
              <a:gd name="T8" fmla="*/ 22 w 22"/>
              <a:gd name="T9" fmla="*/ 24 h 38"/>
              <a:gd name="T10" fmla="*/ 22 w 22"/>
              <a:gd name="T11" fmla="*/ 32 h 38"/>
              <a:gd name="T12" fmla="*/ 18 w 22"/>
              <a:gd name="T13" fmla="*/ 38 h 38"/>
              <a:gd name="T14" fmla="*/ 12 w 22"/>
              <a:gd name="T15" fmla="*/ 30 h 38"/>
              <a:gd name="T16" fmla="*/ 6 w 22"/>
              <a:gd name="T17" fmla="*/ 24 h 38"/>
              <a:gd name="T18" fmla="*/ 4 w 22"/>
              <a:gd name="T19" fmla="*/ 16 h 38"/>
              <a:gd name="T20" fmla="*/ 0 w 22"/>
              <a:gd name="T2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8">
                <a:moveTo>
                  <a:pt x="0" y="8"/>
                </a:moveTo>
                <a:lnTo>
                  <a:pt x="0" y="0"/>
                </a:lnTo>
                <a:lnTo>
                  <a:pt x="8" y="2"/>
                </a:lnTo>
                <a:lnTo>
                  <a:pt x="14" y="14"/>
                </a:lnTo>
                <a:lnTo>
                  <a:pt x="22" y="24"/>
                </a:lnTo>
                <a:lnTo>
                  <a:pt x="22" y="32"/>
                </a:lnTo>
                <a:lnTo>
                  <a:pt x="18" y="38"/>
                </a:lnTo>
                <a:lnTo>
                  <a:pt x="12" y="30"/>
                </a:lnTo>
                <a:lnTo>
                  <a:pt x="6" y="24"/>
                </a:lnTo>
                <a:lnTo>
                  <a:pt x="4" y="16"/>
                </a:lnTo>
                <a:lnTo>
                  <a:pt x="0" y="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5" name="Freeform 44">
            <a:extLst>
              <a:ext uri="{FF2B5EF4-FFF2-40B4-BE49-F238E27FC236}">
                <a16:creationId xmlns:a16="http://schemas.microsoft.com/office/drawing/2014/main" id="{45A556D7-1794-41E1-A2C6-3E498F1E9CE8}"/>
              </a:ext>
            </a:extLst>
          </p:cNvPr>
          <p:cNvSpPr>
            <a:spLocks/>
          </p:cNvSpPr>
          <p:nvPr/>
        </p:nvSpPr>
        <p:spPr bwMode="gray">
          <a:xfrm>
            <a:off x="1596246" y="2953113"/>
            <a:ext cx="51264" cy="67393"/>
          </a:xfrm>
          <a:custGeom>
            <a:avLst/>
            <a:gdLst>
              <a:gd name="T0" fmla="*/ 0 w 26"/>
              <a:gd name="T1" fmla="*/ 0 h 34"/>
              <a:gd name="T2" fmla="*/ 10 w 26"/>
              <a:gd name="T3" fmla="*/ 4 h 34"/>
              <a:gd name="T4" fmla="*/ 18 w 26"/>
              <a:gd name="T5" fmla="*/ 4 h 34"/>
              <a:gd name="T6" fmla="*/ 20 w 26"/>
              <a:gd name="T7" fmla="*/ 8 h 34"/>
              <a:gd name="T8" fmla="*/ 18 w 26"/>
              <a:gd name="T9" fmla="*/ 16 h 34"/>
              <a:gd name="T10" fmla="*/ 22 w 26"/>
              <a:gd name="T11" fmla="*/ 22 h 34"/>
              <a:gd name="T12" fmla="*/ 26 w 26"/>
              <a:gd name="T13" fmla="*/ 34 h 34"/>
              <a:gd name="T14" fmla="*/ 18 w 26"/>
              <a:gd name="T15" fmla="*/ 32 h 34"/>
              <a:gd name="T16" fmla="*/ 8 w 26"/>
              <a:gd name="T17" fmla="*/ 20 h 34"/>
              <a:gd name="T18" fmla="*/ 2 w 26"/>
              <a:gd name="T19" fmla="*/ 12 h 34"/>
              <a:gd name="T20" fmla="*/ 0 w 2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4">
                <a:moveTo>
                  <a:pt x="0" y="0"/>
                </a:moveTo>
                <a:lnTo>
                  <a:pt x="10" y="4"/>
                </a:lnTo>
                <a:lnTo>
                  <a:pt x="18" y="4"/>
                </a:lnTo>
                <a:lnTo>
                  <a:pt x="20" y="8"/>
                </a:lnTo>
                <a:lnTo>
                  <a:pt x="18" y="16"/>
                </a:lnTo>
                <a:lnTo>
                  <a:pt x="22" y="22"/>
                </a:lnTo>
                <a:lnTo>
                  <a:pt x="26" y="34"/>
                </a:lnTo>
                <a:lnTo>
                  <a:pt x="18" y="32"/>
                </a:lnTo>
                <a:lnTo>
                  <a:pt x="8" y="20"/>
                </a:lnTo>
                <a:lnTo>
                  <a:pt x="2" y="1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6" name="Freeform 45">
            <a:extLst>
              <a:ext uri="{FF2B5EF4-FFF2-40B4-BE49-F238E27FC236}">
                <a16:creationId xmlns:a16="http://schemas.microsoft.com/office/drawing/2014/main" id="{90587E6D-A3A5-4BCE-93EC-76DD104EC81E}"/>
              </a:ext>
            </a:extLst>
          </p:cNvPr>
          <p:cNvSpPr>
            <a:spLocks/>
          </p:cNvSpPr>
          <p:nvPr/>
        </p:nvSpPr>
        <p:spPr bwMode="gray">
          <a:xfrm>
            <a:off x="602509" y="2905541"/>
            <a:ext cx="63094" cy="39643"/>
          </a:xfrm>
          <a:custGeom>
            <a:avLst/>
            <a:gdLst>
              <a:gd name="T0" fmla="*/ 32 w 32"/>
              <a:gd name="T1" fmla="*/ 4 h 20"/>
              <a:gd name="T2" fmla="*/ 28 w 32"/>
              <a:gd name="T3" fmla="*/ 10 h 20"/>
              <a:gd name="T4" fmla="*/ 22 w 32"/>
              <a:gd name="T5" fmla="*/ 12 h 20"/>
              <a:gd name="T6" fmla="*/ 12 w 32"/>
              <a:gd name="T7" fmla="*/ 14 h 20"/>
              <a:gd name="T8" fmla="*/ 6 w 32"/>
              <a:gd name="T9" fmla="*/ 20 h 20"/>
              <a:gd name="T10" fmla="*/ 0 w 32"/>
              <a:gd name="T11" fmla="*/ 18 h 20"/>
              <a:gd name="T12" fmla="*/ 6 w 32"/>
              <a:gd name="T13" fmla="*/ 8 h 20"/>
              <a:gd name="T14" fmla="*/ 14 w 32"/>
              <a:gd name="T15" fmla="*/ 4 h 20"/>
              <a:gd name="T16" fmla="*/ 26 w 32"/>
              <a:gd name="T17" fmla="*/ 0 h 20"/>
              <a:gd name="T18" fmla="*/ 32 w 32"/>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0">
                <a:moveTo>
                  <a:pt x="32" y="4"/>
                </a:moveTo>
                <a:lnTo>
                  <a:pt x="28" y="10"/>
                </a:lnTo>
                <a:lnTo>
                  <a:pt x="22" y="12"/>
                </a:lnTo>
                <a:lnTo>
                  <a:pt x="12" y="14"/>
                </a:lnTo>
                <a:lnTo>
                  <a:pt x="6" y="20"/>
                </a:lnTo>
                <a:lnTo>
                  <a:pt x="0" y="18"/>
                </a:lnTo>
                <a:lnTo>
                  <a:pt x="6" y="8"/>
                </a:lnTo>
                <a:lnTo>
                  <a:pt x="14" y="4"/>
                </a:lnTo>
                <a:lnTo>
                  <a:pt x="26" y="0"/>
                </a:lnTo>
                <a:lnTo>
                  <a:pt x="32"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7" name="Freeform 46">
            <a:extLst>
              <a:ext uri="{FF2B5EF4-FFF2-40B4-BE49-F238E27FC236}">
                <a16:creationId xmlns:a16="http://schemas.microsoft.com/office/drawing/2014/main" id="{0FE83B12-05FF-4514-A93B-BD0648915FDB}"/>
              </a:ext>
            </a:extLst>
          </p:cNvPr>
          <p:cNvSpPr>
            <a:spLocks/>
          </p:cNvSpPr>
          <p:nvPr/>
        </p:nvSpPr>
        <p:spPr bwMode="gray">
          <a:xfrm>
            <a:off x="1541038" y="2770754"/>
            <a:ext cx="31547" cy="59465"/>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8" name="Freeform 47">
            <a:extLst>
              <a:ext uri="{FF2B5EF4-FFF2-40B4-BE49-F238E27FC236}">
                <a16:creationId xmlns:a16="http://schemas.microsoft.com/office/drawing/2014/main" id="{874A106F-4922-45BC-A087-5F43428F6F60}"/>
              </a:ext>
            </a:extLst>
          </p:cNvPr>
          <p:cNvSpPr>
            <a:spLocks/>
          </p:cNvSpPr>
          <p:nvPr/>
        </p:nvSpPr>
        <p:spPr bwMode="gray">
          <a:xfrm>
            <a:off x="1635680" y="2873827"/>
            <a:ext cx="27604" cy="39643"/>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09" name="Freeform 48">
            <a:extLst>
              <a:ext uri="{FF2B5EF4-FFF2-40B4-BE49-F238E27FC236}">
                <a16:creationId xmlns:a16="http://schemas.microsoft.com/office/drawing/2014/main" id="{BAD4BE42-8167-4E7C-8F07-2F66CEBAF54F}"/>
              </a:ext>
            </a:extLst>
          </p:cNvPr>
          <p:cNvSpPr>
            <a:spLocks/>
          </p:cNvSpPr>
          <p:nvPr/>
        </p:nvSpPr>
        <p:spPr bwMode="gray">
          <a:xfrm>
            <a:off x="1541038" y="2770754"/>
            <a:ext cx="31547" cy="59465"/>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10" name="Freeform 49">
            <a:extLst>
              <a:ext uri="{FF2B5EF4-FFF2-40B4-BE49-F238E27FC236}">
                <a16:creationId xmlns:a16="http://schemas.microsoft.com/office/drawing/2014/main" id="{FCCF66C6-D67B-49F5-AA42-2A2097F36BD2}"/>
              </a:ext>
            </a:extLst>
          </p:cNvPr>
          <p:cNvSpPr>
            <a:spLocks/>
          </p:cNvSpPr>
          <p:nvPr/>
        </p:nvSpPr>
        <p:spPr bwMode="gray">
          <a:xfrm>
            <a:off x="1635680" y="2873827"/>
            <a:ext cx="27604" cy="39643"/>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111" name="Freeform 50">
            <a:extLst>
              <a:ext uri="{FF2B5EF4-FFF2-40B4-BE49-F238E27FC236}">
                <a16:creationId xmlns:a16="http://schemas.microsoft.com/office/drawing/2014/main" id="{5D7D5F30-3568-4C05-ADAB-1497B931BCA0}"/>
              </a:ext>
            </a:extLst>
          </p:cNvPr>
          <p:cNvSpPr>
            <a:spLocks/>
          </p:cNvSpPr>
          <p:nvPr/>
        </p:nvSpPr>
        <p:spPr bwMode="gray">
          <a:xfrm>
            <a:off x="1572586" y="2826255"/>
            <a:ext cx="27604" cy="27750"/>
          </a:xfrm>
          <a:custGeom>
            <a:avLst/>
            <a:gdLst>
              <a:gd name="T0" fmla="*/ 4 w 14"/>
              <a:gd name="T1" fmla="*/ 0 h 14"/>
              <a:gd name="T2" fmla="*/ 8 w 14"/>
              <a:gd name="T3" fmla="*/ 0 h 14"/>
              <a:gd name="T4" fmla="*/ 14 w 14"/>
              <a:gd name="T5" fmla="*/ 6 h 14"/>
              <a:gd name="T6" fmla="*/ 8 w 14"/>
              <a:gd name="T7" fmla="*/ 10 h 14"/>
              <a:gd name="T8" fmla="*/ 2 w 14"/>
              <a:gd name="T9" fmla="*/ 14 h 14"/>
              <a:gd name="T10" fmla="*/ 0 w 14"/>
              <a:gd name="T11" fmla="*/ 6 h 14"/>
              <a:gd name="T12" fmla="*/ 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4" y="0"/>
                </a:moveTo>
                <a:lnTo>
                  <a:pt x="8" y="0"/>
                </a:lnTo>
                <a:lnTo>
                  <a:pt x="14" y="6"/>
                </a:lnTo>
                <a:lnTo>
                  <a:pt x="8" y="10"/>
                </a:lnTo>
                <a:lnTo>
                  <a:pt x="2" y="14"/>
                </a:lnTo>
                <a:lnTo>
                  <a:pt x="0" y="6"/>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5" name="Freeform 51">
            <a:extLst>
              <a:ext uri="{FF2B5EF4-FFF2-40B4-BE49-F238E27FC236}">
                <a16:creationId xmlns:a16="http://schemas.microsoft.com/office/drawing/2014/main" id="{1936F901-62CB-4F37-9BC2-4222FD341D83}"/>
              </a:ext>
            </a:extLst>
          </p:cNvPr>
          <p:cNvSpPr>
            <a:spLocks/>
          </p:cNvSpPr>
          <p:nvPr/>
        </p:nvSpPr>
        <p:spPr bwMode="gray">
          <a:xfrm>
            <a:off x="1864397" y="3151330"/>
            <a:ext cx="1798191" cy="888006"/>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4" name="Freeform 53">
            <a:extLst>
              <a:ext uri="{FF2B5EF4-FFF2-40B4-BE49-F238E27FC236}">
                <a16:creationId xmlns:a16="http://schemas.microsoft.com/office/drawing/2014/main" id="{CCB64BB9-43CC-404C-AF90-566F081D7A50}"/>
              </a:ext>
            </a:extLst>
          </p:cNvPr>
          <p:cNvSpPr>
            <a:spLocks/>
          </p:cNvSpPr>
          <p:nvPr/>
        </p:nvSpPr>
        <p:spPr bwMode="gray">
          <a:xfrm>
            <a:off x="858831" y="4174123"/>
            <a:ext cx="23661" cy="19821"/>
          </a:xfrm>
          <a:custGeom>
            <a:avLst/>
            <a:gdLst>
              <a:gd name="T0" fmla="*/ 12 w 12"/>
              <a:gd name="T1" fmla="*/ 6 h 10"/>
              <a:gd name="T2" fmla="*/ 10 w 12"/>
              <a:gd name="T3" fmla="*/ 2 h 10"/>
              <a:gd name="T4" fmla="*/ 4 w 12"/>
              <a:gd name="T5" fmla="*/ 0 h 10"/>
              <a:gd name="T6" fmla="*/ 0 w 12"/>
              <a:gd name="T7" fmla="*/ 4 h 10"/>
              <a:gd name="T8" fmla="*/ 4 w 12"/>
              <a:gd name="T9" fmla="*/ 6 h 10"/>
              <a:gd name="T10" fmla="*/ 10 w 12"/>
              <a:gd name="T11" fmla="*/ 10 h 10"/>
              <a:gd name="T12" fmla="*/ 12 w 12"/>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12" y="6"/>
                </a:moveTo>
                <a:lnTo>
                  <a:pt x="10" y="2"/>
                </a:lnTo>
                <a:lnTo>
                  <a:pt x="4" y="0"/>
                </a:lnTo>
                <a:lnTo>
                  <a:pt x="0" y="4"/>
                </a:lnTo>
                <a:lnTo>
                  <a:pt x="4" y="6"/>
                </a:lnTo>
                <a:lnTo>
                  <a:pt x="10" y="10"/>
                </a:lnTo>
                <a:lnTo>
                  <a:pt x="12"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5" name="Freeform 54">
            <a:extLst>
              <a:ext uri="{FF2B5EF4-FFF2-40B4-BE49-F238E27FC236}">
                <a16:creationId xmlns:a16="http://schemas.microsoft.com/office/drawing/2014/main" id="{B1D10F90-393A-468F-BDE2-3425CB0CF024}"/>
              </a:ext>
            </a:extLst>
          </p:cNvPr>
          <p:cNvSpPr>
            <a:spLocks/>
          </p:cNvSpPr>
          <p:nvPr/>
        </p:nvSpPr>
        <p:spPr bwMode="gray">
          <a:xfrm>
            <a:off x="890379" y="4201873"/>
            <a:ext cx="31547" cy="39643"/>
          </a:xfrm>
          <a:custGeom>
            <a:avLst/>
            <a:gdLst>
              <a:gd name="T0" fmla="*/ 16 w 16"/>
              <a:gd name="T1" fmla="*/ 14 h 20"/>
              <a:gd name="T2" fmla="*/ 8 w 16"/>
              <a:gd name="T3" fmla="*/ 16 h 20"/>
              <a:gd name="T4" fmla="*/ 4 w 16"/>
              <a:gd name="T5" fmla="*/ 20 h 20"/>
              <a:gd name="T6" fmla="*/ 0 w 16"/>
              <a:gd name="T7" fmla="*/ 12 h 20"/>
              <a:gd name="T8" fmla="*/ 0 w 16"/>
              <a:gd name="T9" fmla="*/ 6 h 20"/>
              <a:gd name="T10" fmla="*/ 4 w 16"/>
              <a:gd name="T11" fmla="*/ 0 h 20"/>
              <a:gd name="T12" fmla="*/ 8 w 16"/>
              <a:gd name="T13" fmla="*/ 2 h 20"/>
              <a:gd name="T14" fmla="*/ 14 w 16"/>
              <a:gd name="T15" fmla="*/ 6 h 20"/>
              <a:gd name="T16" fmla="*/ 16 w 16"/>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
                <a:moveTo>
                  <a:pt x="16" y="14"/>
                </a:moveTo>
                <a:lnTo>
                  <a:pt x="8" y="16"/>
                </a:lnTo>
                <a:lnTo>
                  <a:pt x="4" y="20"/>
                </a:lnTo>
                <a:lnTo>
                  <a:pt x="0" y="12"/>
                </a:lnTo>
                <a:lnTo>
                  <a:pt x="0" y="6"/>
                </a:lnTo>
                <a:lnTo>
                  <a:pt x="4" y="0"/>
                </a:lnTo>
                <a:lnTo>
                  <a:pt x="8" y="2"/>
                </a:lnTo>
                <a:lnTo>
                  <a:pt x="14" y="6"/>
                </a:lnTo>
                <a:lnTo>
                  <a:pt x="16" y="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6" name="Freeform 55">
            <a:extLst>
              <a:ext uri="{FF2B5EF4-FFF2-40B4-BE49-F238E27FC236}">
                <a16:creationId xmlns:a16="http://schemas.microsoft.com/office/drawing/2014/main" id="{A8242263-71CB-4EFB-A567-EB5B44C7B00D}"/>
              </a:ext>
            </a:extLst>
          </p:cNvPr>
          <p:cNvSpPr>
            <a:spLocks/>
          </p:cNvSpPr>
          <p:nvPr/>
        </p:nvSpPr>
        <p:spPr bwMode="gray">
          <a:xfrm>
            <a:off x="819397" y="4150337"/>
            <a:ext cx="11830" cy="15857"/>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7" name="Freeform 56">
            <a:extLst>
              <a:ext uri="{FF2B5EF4-FFF2-40B4-BE49-F238E27FC236}">
                <a16:creationId xmlns:a16="http://schemas.microsoft.com/office/drawing/2014/main" id="{1037CACA-20EC-4F10-8BA0-B1D605BBD9D3}"/>
              </a:ext>
            </a:extLst>
          </p:cNvPr>
          <p:cNvSpPr>
            <a:spLocks/>
          </p:cNvSpPr>
          <p:nvPr/>
        </p:nvSpPr>
        <p:spPr bwMode="gray">
          <a:xfrm>
            <a:off x="819397" y="4150337"/>
            <a:ext cx="11830" cy="15857"/>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8" name="Freeform 57">
            <a:extLst>
              <a:ext uri="{FF2B5EF4-FFF2-40B4-BE49-F238E27FC236}">
                <a16:creationId xmlns:a16="http://schemas.microsoft.com/office/drawing/2014/main" id="{5F111C5C-0DC9-4C33-A38F-877EE14DF696}"/>
              </a:ext>
            </a:extLst>
          </p:cNvPr>
          <p:cNvSpPr>
            <a:spLocks/>
          </p:cNvSpPr>
          <p:nvPr/>
        </p:nvSpPr>
        <p:spPr bwMode="gray">
          <a:xfrm>
            <a:off x="772076" y="4134480"/>
            <a:ext cx="11830" cy="7929"/>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99" name="Freeform 58">
            <a:extLst>
              <a:ext uri="{FF2B5EF4-FFF2-40B4-BE49-F238E27FC236}">
                <a16:creationId xmlns:a16="http://schemas.microsoft.com/office/drawing/2014/main" id="{6AE5C46C-B211-4D32-8E99-63029AF085EA}"/>
              </a:ext>
            </a:extLst>
          </p:cNvPr>
          <p:cNvSpPr>
            <a:spLocks/>
          </p:cNvSpPr>
          <p:nvPr/>
        </p:nvSpPr>
        <p:spPr bwMode="gray">
          <a:xfrm>
            <a:off x="772076" y="4134480"/>
            <a:ext cx="11830" cy="7929"/>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7" name="Freeform 59">
            <a:extLst>
              <a:ext uri="{FF2B5EF4-FFF2-40B4-BE49-F238E27FC236}">
                <a16:creationId xmlns:a16="http://schemas.microsoft.com/office/drawing/2014/main" id="{29E96C3E-659C-4DCC-921C-F582CC739E21}"/>
              </a:ext>
            </a:extLst>
          </p:cNvPr>
          <p:cNvSpPr>
            <a:spLocks/>
          </p:cNvSpPr>
          <p:nvPr/>
        </p:nvSpPr>
        <p:spPr bwMode="gray">
          <a:xfrm>
            <a:off x="2877850" y="4277193"/>
            <a:ext cx="114358" cy="126858"/>
          </a:xfrm>
          <a:custGeom>
            <a:avLst/>
            <a:gdLst>
              <a:gd name="T0" fmla="*/ 34 w 58"/>
              <a:gd name="T1" fmla="*/ 64 h 64"/>
              <a:gd name="T2" fmla="*/ 42 w 58"/>
              <a:gd name="T3" fmla="*/ 56 h 64"/>
              <a:gd name="T4" fmla="*/ 48 w 58"/>
              <a:gd name="T5" fmla="*/ 50 h 64"/>
              <a:gd name="T6" fmla="*/ 52 w 58"/>
              <a:gd name="T7" fmla="*/ 46 h 64"/>
              <a:gd name="T8" fmla="*/ 58 w 58"/>
              <a:gd name="T9" fmla="*/ 38 h 64"/>
              <a:gd name="T10" fmla="*/ 54 w 58"/>
              <a:gd name="T11" fmla="*/ 34 h 64"/>
              <a:gd name="T12" fmla="*/ 48 w 58"/>
              <a:gd name="T13" fmla="*/ 34 h 64"/>
              <a:gd name="T14" fmla="*/ 48 w 58"/>
              <a:gd name="T15" fmla="*/ 0 h 64"/>
              <a:gd name="T16" fmla="*/ 18 w 58"/>
              <a:gd name="T17" fmla="*/ 2 h 64"/>
              <a:gd name="T18" fmla="*/ 16 w 58"/>
              <a:gd name="T19" fmla="*/ 6 h 64"/>
              <a:gd name="T20" fmla="*/ 18 w 58"/>
              <a:gd name="T21" fmla="*/ 14 h 64"/>
              <a:gd name="T22" fmla="*/ 26 w 58"/>
              <a:gd name="T23" fmla="*/ 20 h 64"/>
              <a:gd name="T24" fmla="*/ 30 w 58"/>
              <a:gd name="T25" fmla="*/ 26 h 64"/>
              <a:gd name="T26" fmla="*/ 26 w 58"/>
              <a:gd name="T27" fmla="*/ 28 h 64"/>
              <a:gd name="T28" fmla="*/ 14 w 58"/>
              <a:gd name="T29" fmla="*/ 30 h 64"/>
              <a:gd name="T30" fmla="*/ 10 w 58"/>
              <a:gd name="T31" fmla="*/ 28 h 64"/>
              <a:gd name="T32" fmla="*/ 4 w 58"/>
              <a:gd name="T33" fmla="*/ 36 h 64"/>
              <a:gd name="T34" fmla="*/ 2 w 58"/>
              <a:gd name="T35" fmla="*/ 42 h 64"/>
              <a:gd name="T36" fmla="*/ 0 w 58"/>
              <a:gd name="T37" fmla="*/ 54 h 64"/>
              <a:gd name="T38" fmla="*/ 6 w 58"/>
              <a:gd name="T39" fmla="*/ 58 h 64"/>
              <a:gd name="T40" fmla="*/ 12 w 58"/>
              <a:gd name="T41" fmla="*/ 62 h 64"/>
              <a:gd name="T42" fmla="*/ 22 w 58"/>
              <a:gd name="T43" fmla="*/ 64 h 64"/>
              <a:gd name="T44" fmla="*/ 34 w 58"/>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64">
                <a:moveTo>
                  <a:pt x="34" y="64"/>
                </a:moveTo>
                <a:lnTo>
                  <a:pt x="42" y="56"/>
                </a:lnTo>
                <a:lnTo>
                  <a:pt x="48" y="50"/>
                </a:lnTo>
                <a:lnTo>
                  <a:pt x="52" y="46"/>
                </a:lnTo>
                <a:lnTo>
                  <a:pt x="58" y="38"/>
                </a:lnTo>
                <a:lnTo>
                  <a:pt x="54" y="34"/>
                </a:lnTo>
                <a:lnTo>
                  <a:pt x="48" y="34"/>
                </a:lnTo>
                <a:lnTo>
                  <a:pt x="48" y="0"/>
                </a:lnTo>
                <a:lnTo>
                  <a:pt x="18" y="2"/>
                </a:lnTo>
                <a:lnTo>
                  <a:pt x="16" y="6"/>
                </a:lnTo>
                <a:lnTo>
                  <a:pt x="18" y="14"/>
                </a:lnTo>
                <a:lnTo>
                  <a:pt x="26" y="20"/>
                </a:lnTo>
                <a:lnTo>
                  <a:pt x="30" y="26"/>
                </a:lnTo>
                <a:lnTo>
                  <a:pt x="26" y="28"/>
                </a:lnTo>
                <a:lnTo>
                  <a:pt x="14" y="30"/>
                </a:lnTo>
                <a:lnTo>
                  <a:pt x="10" y="28"/>
                </a:lnTo>
                <a:lnTo>
                  <a:pt x="4" y="36"/>
                </a:lnTo>
                <a:lnTo>
                  <a:pt x="2" y="42"/>
                </a:lnTo>
                <a:lnTo>
                  <a:pt x="0" y="54"/>
                </a:lnTo>
                <a:lnTo>
                  <a:pt x="6" y="58"/>
                </a:lnTo>
                <a:lnTo>
                  <a:pt x="12" y="62"/>
                </a:lnTo>
                <a:lnTo>
                  <a:pt x="22" y="64"/>
                </a:lnTo>
                <a:lnTo>
                  <a:pt x="34" y="6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8" name="Freeform 60">
            <a:extLst>
              <a:ext uri="{FF2B5EF4-FFF2-40B4-BE49-F238E27FC236}">
                <a16:creationId xmlns:a16="http://schemas.microsoft.com/office/drawing/2014/main" id="{DB7F40F7-BA10-4B7B-8E87-444F7A3B3D28}"/>
              </a:ext>
            </a:extLst>
          </p:cNvPr>
          <p:cNvSpPr>
            <a:spLocks/>
          </p:cNvSpPr>
          <p:nvPr/>
        </p:nvSpPr>
        <p:spPr bwMode="gray">
          <a:xfrm>
            <a:off x="2972492" y="4257373"/>
            <a:ext cx="23661" cy="87216"/>
          </a:xfrm>
          <a:custGeom>
            <a:avLst/>
            <a:gdLst>
              <a:gd name="T0" fmla="*/ 10 w 12"/>
              <a:gd name="T1" fmla="*/ 0 h 44"/>
              <a:gd name="T2" fmla="*/ 12 w 12"/>
              <a:gd name="T3" fmla="*/ 6 h 44"/>
              <a:gd name="T4" fmla="*/ 10 w 12"/>
              <a:gd name="T5" fmla="*/ 12 h 44"/>
              <a:gd name="T6" fmla="*/ 10 w 12"/>
              <a:gd name="T7" fmla="*/ 26 h 44"/>
              <a:gd name="T8" fmla="*/ 10 w 12"/>
              <a:gd name="T9" fmla="*/ 34 h 44"/>
              <a:gd name="T10" fmla="*/ 6 w 12"/>
              <a:gd name="T11" fmla="*/ 38 h 44"/>
              <a:gd name="T12" fmla="*/ 0 w 12"/>
              <a:gd name="T13" fmla="*/ 44 h 44"/>
              <a:gd name="T14" fmla="*/ 0 w 12"/>
              <a:gd name="T15" fmla="*/ 10 h 44"/>
              <a:gd name="T16" fmla="*/ 6 w 12"/>
              <a:gd name="T17" fmla="*/ 4 h 44"/>
              <a:gd name="T18" fmla="*/ 10 w 12"/>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4">
                <a:moveTo>
                  <a:pt x="10" y="0"/>
                </a:moveTo>
                <a:lnTo>
                  <a:pt x="12" y="6"/>
                </a:lnTo>
                <a:lnTo>
                  <a:pt x="10" y="12"/>
                </a:lnTo>
                <a:lnTo>
                  <a:pt x="10" y="26"/>
                </a:lnTo>
                <a:lnTo>
                  <a:pt x="10" y="34"/>
                </a:lnTo>
                <a:lnTo>
                  <a:pt x="6" y="38"/>
                </a:lnTo>
                <a:lnTo>
                  <a:pt x="0" y="44"/>
                </a:lnTo>
                <a:lnTo>
                  <a:pt x="0" y="10"/>
                </a:lnTo>
                <a:lnTo>
                  <a:pt x="6" y="4"/>
                </a:lnTo>
                <a:lnTo>
                  <a:pt x="1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69" name="Freeform 61">
            <a:extLst>
              <a:ext uri="{FF2B5EF4-FFF2-40B4-BE49-F238E27FC236}">
                <a16:creationId xmlns:a16="http://schemas.microsoft.com/office/drawing/2014/main" id="{7095A538-D4C3-40C6-9151-E7D2189CCBA7}"/>
              </a:ext>
            </a:extLst>
          </p:cNvPr>
          <p:cNvSpPr>
            <a:spLocks/>
          </p:cNvSpPr>
          <p:nvPr/>
        </p:nvSpPr>
        <p:spPr bwMode="gray">
          <a:xfrm>
            <a:off x="2944888" y="4384231"/>
            <a:ext cx="67037" cy="43608"/>
          </a:xfrm>
          <a:custGeom>
            <a:avLst/>
            <a:gdLst>
              <a:gd name="T0" fmla="*/ 0 w 34"/>
              <a:gd name="T1" fmla="*/ 10 h 22"/>
              <a:gd name="T2" fmla="*/ 12 w 34"/>
              <a:gd name="T3" fmla="*/ 0 h 22"/>
              <a:gd name="T4" fmla="*/ 18 w 34"/>
              <a:gd name="T5" fmla="*/ 4 h 22"/>
              <a:gd name="T6" fmla="*/ 24 w 34"/>
              <a:gd name="T7" fmla="*/ 8 h 22"/>
              <a:gd name="T8" fmla="*/ 32 w 34"/>
              <a:gd name="T9" fmla="*/ 10 h 22"/>
              <a:gd name="T10" fmla="*/ 34 w 34"/>
              <a:gd name="T11" fmla="*/ 14 h 22"/>
              <a:gd name="T12" fmla="*/ 30 w 34"/>
              <a:gd name="T13" fmla="*/ 20 h 22"/>
              <a:gd name="T14" fmla="*/ 26 w 34"/>
              <a:gd name="T15" fmla="*/ 22 h 22"/>
              <a:gd name="T16" fmla="*/ 16 w 34"/>
              <a:gd name="T17" fmla="*/ 18 h 22"/>
              <a:gd name="T18" fmla="*/ 8 w 34"/>
              <a:gd name="T19" fmla="*/ 14 h 22"/>
              <a:gd name="T20" fmla="*/ 0 w 34"/>
              <a:gd name="T2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0" y="10"/>
                </a:moveTo>
                <a:lnTo>
                  <a:pt x="12" y="0"/>
                </a:lnTo>
                <a:lnTo>
                  <a:pt x="18" y="4"/>
                </a:lnTo>
                <a:lnTo>
                  <a:pt x="24" y="8"/>
                </a:lnTo>
                <a:lnTo>
                  <a:pt x="32" y="10"/>
                </a:lnTo>
                <a:lnTo>
                  <a:pt x="34" y="14"/>
                </a:lnTo>
                <a:lnTo>
                  <a:pt x="30" y="20"/>
                </a:lnTo>
                <a:lnTo>
                  <a:pt x="26" y="22"/>
                </a:lnTo>
                <a:lnTo>
                  <a:pt x="16" y="18"/>
                </a:lnTo>
                <a:lnTo>
                  <a:pt x="8" y="14"/>
                </a:lnTo>
                <a:lnTo>
                  <a:pt x="0" y="1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0" name="Freeform 62">
            <a:extLst>
              <a:ext uri="{FF2B5EF4-FFF2-40B4-BE49-F238E27FC236}">
                <a16:creationId xmlns:a16="http://schemas.microsoft.com/office/drawing/2014/main" id="{8775FD35-CCB7-4F1D-996A-D514BD3EF972}"/>
              </a:ext>
            </a:extLst>
          </p:cNvPr>
          <p:cNvSpPr>
            <a:spLocks/>
          </p:cNvSpPr>
          <p:nvPr/>
        </p:nvSpPr>
        <p:spPr bwMode="gray">
          <a:xfrm>
            <a:off x="2968548" y="4340624"/>
            <a:ext cx="189283" cy="95144"/>
          </a:xfrm>
          <a:custGeom>
            <a:avLst/>
            <a:gdLst>
              <a:gd name="T0" fmla="*/ 12 w 96"/>
              <a:gd name="T1" fmla="*/ 6 h 48"/>
              <a:gd name="T2" fmla="*/ 26 w 96"/>
              <a:gd name="T3" fmla="*/ 2 h 48"/>
              <a:gd name="T4" fmla="*/ 34 w 96"/>
              <a:gd name="T5" fmla="*/ 2 h 48"/>
              <a:gd name="T6" fmla="*/ 42 w 96"/>
              <a:gd name="T7" fmla="*/ 4 h 48"/>
              <a:gd name="T8" fmla="*/ 52 w 96"/>
              <a:gd name="T9" fmla="*/ 2 h 48"/>
              <a:gd name="T10" fmla="*/ 64 w 96"/>
              <a:gd name="T11" fmla="*/ 0 h 48"/>
              <a:gd name="T12" fmla="*/ 74 w 96"/>
              <a:gd name="T13" fmla="*/ 0 h 48"/>
              <a:gd name="T14" fmla="*/ 80 w 96"/>
              <a:gd name="T15" fmla="*/ 0 h 48"/>
              <a:gd name="T16" fmla="*/ 84 w 96"/>
              <a:gd name="T17" fmla="*/ 4 h 48"/>
              <a:gd name="T18" fmla="*/ 96 w 96"/>
              <a:gd name="T19" fmla="*/ 12 h 48"/>
              <a:gd name="T20" fmla="*/ 94 w 96"/>
              <a:gd name="T21" fmla="*/ 16 h 48"/>
              <a:gd name="T22" fmla="*/ 88 w 96"/>
              <a:gd name="T23" fmla="*/ 18 h 48"/>
              <a:gd name="T24" fmla="*/ 80 w 96"/>
              <a:gd name="T25" fmla="*/ 18 h 48"/>
              <a:gd name="T26" fmla="*/ 70 w 96"/>
              <a:gd name="T27" fmla="*/ 18 h 48"/>
              <a:gd name="T28" fmla="*/ 64 w 96"/>
              <a:gd name="T29" fmla="*/ 22 h 48"/>
              <a:gd name="T30" fmla="*/ 56 w 96"/>
              <a:gd name="T31" fmla="*/ 30 h 48"/>
              <a:gd name="T32" fmla="*/ 48 w 96"/>
              <a:gd name="T33" fmla="*/ 32 h 48"/>
              <a:gd name="T34" fmla="*/ 42 w 96"/>
              <a:gd name="T35" fmla="*/ 34 h 48"/>
              <a:gd name="T36" fmla="*/ 40 w 96"/>
              <a:gd name="T37" fmla="*/ 42 h 48"/>
              <a:gd name="T38" fmla="*/ 36 w 96"/>
              <a:gd name="T39" fmla="*/ 46 h 48"/>
              <a:gd name="T40" fmla="*/ 30 w 96"/>
              <a:gd name="T41" fmla="*/ 48 h 48"/>
              <a:gd name="T42" fmla="*/ 30 w 96"/>
              <a:gd name="T43" fmla="*/ 42 h 48"/>
              <a:gd name="T44" fmla="*/ 28 w 96"/>
              <a:gd name="T45" fmla="*/ 36 h 48"/>
              <a:gd name="T46" fmla="*/ 22 w 96"/>
              <a:gd name="T47" fmla="*/ 36 h 48"/>
              <a:gd name="T48" fmla="*/ 20 w 96"/>
              <a:gd name="T49" fmla="*/ 32 h 48"/>
              <a:gd name="T50" fmla="*/ 6 w 96"/>
              <a:gd name="T51" fmla="*/ 26 h 48"/>
              <a:gd name="T52" fmla="*/ 0 w 96"/>
              <a:gd name="T53" fmla="*/ 22 h 48"/>
              <a:gd name="T54" fmla="*/ 12 w 96"/>
              <a:gd name="T5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48">
                <a:moveTo>
                  <a:pt x="12" y="6"/>
                </a:moveTo>
                <a:lnTo>
                  <a:pt x="26" y="2"/>
                </a:lnTo>
                <a:lnTo>
                  <a:pt x="34" y="2"/>
                </a:lnTo>
                <a:lnTo>
                  <a:pt x="42" y="4"/>
                </a:lnTo>
                <a:lnTo>
                  <a:pt x="52" y="2"/>
                </a:lnTo>
                <a:lnTo>
                  <a:pt x="64" y="0"/>
                </a:lnTo>
                <a:lnTo>
                  <a:pt x="74" y="0"/>
                </a:lnTo>
                <a:lnTo>
                  <a:pt x="80" y="0"/>
                </a:lnTo>
                <a:lnTo>
                  <a:pt x="84" y="4"/>
                </a:lnTo>
                <a:lnTo>
                  <a:pt x="96" y="12"/>
                </a:lnTo>
                <a:lnTo>
                  <a:pt x="94" y="16"/>
                </a:lnTo>
                <a:lnTo>
                  <a:pt x="88" y="18"/>
                </a:lnTo>
                <a:lnTo>
                  <a:pt x="80" y="18"/>
                </a:lnTo>
                <a:lnTo>
                  <a:pt x="70" y="18"/>
                </a:lnTo>
                <a:lnTo>
                  <a:pt x="64" y="22"/>
                </a:lnTo>
                <a:lnTo>
                  <a:pt x="56" y="30"/>
                </a:lnTo>
                <a:lnTo>
                  <a:pt x="48" y="32"/>
                </a:lnTo>
                <a:lnTo>
                  <a:pt x="42" y="34"/>
                </a:lnTo>
                <a:lnTo>
                  <a:pt x="40" y="42"/>
                </a:lnTo>
                <a:lnTo>
                  <a:pt x="36" y="46"/>
                </a:lnTo>
                <a:lnTo>
                  <a:pt x="30" y="48"/>
                </a:lnTo>
                <a:lnTo>
                  <a:pt x="30" y="42"/>
                </a:lnTo>
                <a:lnTo>
                  <a:pt x="28" y="36"/>
                </a:lnTo>
                <a:lnTo>
                  <a:pt x="22" y="36"/>
                </a:lnTo>
                <a:lnTo>
                  <a:pt x="20" y="32"/>
                </a:lnTo>
                <a:lnTo>
                  <a:pt x="6" y="26"/>
                </a:lnTo>
                <a:lnTo>
                  <a:pt x="0" y="22"/>
                </a:lnTo>
                <a:lnTo>
                  <a:pt x="12"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1" name="Freeform 63">
            <a:extLst>
              <a:ext uri="{FF2B5EF4-FFF2-40B4-BE49-F238E27FC236}">
                <a16:creationId xmlns:a16="http://schemas.microsoft.com/office/drawing/2014/main" id="{9FE247A4-6740-4786-82D8-8EEF64E6D081}"/>
              </a:ext>
            </a:extLst>
          </p:cNvPr>
          <p:cNvSpPr>
            <a:spLocks/>
          </p:cNvSpPr>
          <p:nvPr/>
        </p:nvSpPr>
        <p:spPr bwMode="gray">
          <a:xfrm>
            <a:off x="3027698" y="4372337"/>
            <a:ext cx="126189" cy="130822"/>
          </a:xfrm>
          <a:custGeom>
            <a:avLst/>
            <a:gdLst>
              <a:gd name="T0" fmla="*/ 54 w 64"/>
              <a:gd name="T1" fmla="*/ 66 h 66"/>
              <a:gd name="T2" fmla="*/ 44 w 64"/>
              <a:gd name="T3" fmla="*/ 62 h 66"/>
              <a:gd name="T4" fmla="*/ 26 w 64"/>
              <a:gd name="T5" fmla="*/ 60 h 66"/>
              <a:gd name="T6" fmla="*/ 14 w 64"/>
              <a:gd name="T7" fmla="*/ 50 h 66"/>
              <a:gd name="T8" fmla="*/ 6 w 64"/>
              <a:gd name="T9" fmla="*/ 42 h 66"/>
              <a:gd name="T10" fmla="*/ 0 w 64"/>
              <a:gd name="T11" fmla="*/ 32 h 66"/>
              <a:gd name="T12" fmla="*/ 10 w 64"/>
              <a:gd name="T13" fmla="*/ 26 h 66"/>
              <a:gd name="T14" fmla="*/ 12 w 64"/>
              <a:gd name="T15" fmla="*/ 18 h 66"/>
              <a:gd name="T16" fmla="*/ 26 w 64"/>
              <a:gd name="T17" fmla="*/ 14 h 66"/>
              <a:gd name="T18" fmla="*/ 34 w 64"/>
              <a:gd name="T19" fmla="*/ 6 h 66"/>
              <a:gd name="T20" fmla="*/ 40 w 64"/>
              <a:gd name="T21" fmla="*/ 2 h 66"/>
              <a:gd name="T22" fmla="*/ 50 w 64"/>
              <a:gd name="T23" fmla="*/ 2 h 66"/>
              <a:gd name="T24" fmla="*/ 58 w 64"/>
              <a:gd name="T25" fmla="*/ 2 h 66"/>
              <a:gd name="T26" fmla="*/ 64 w 64"/>
              <a:gd name="T27" fmla="*/ 0 h 66"/>
              <a:gd name="T28" fmla="*/ 64 w 64"/>
              <a:gd name="T29" fmla="*/ 6 h 66"/>
              <a:gd name="T30" fmla="*/ 62 w 64"/>
              <a:gd name="T31" fmla="*/ 18 h 66"/>
              <a:gd name="T32" fmla="*/ 58 w 64"/>
              <a:gd name="T33" fmla="*/ 30 h 66"/>
              <a:gd name="T34" fmla="*/ 56 w 64"/>
              <a:gd name="T35" fmla="*/ 42 h 66"/>
              <a:gd name="T36" fmla="*/ 56 w 64"/>
              <a:gd name="T37" fmla="*/ 52 h 66"/>
              <a:gd name="T38" fmla="*/ 54 w 64"/>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66">
                <a:moveTo>
                  <a:pt x="54" y="66"/>
                </a:moveTo>
                <a:lnTo>
                  <a:pt x="44" y="62"/>
                </a:lnTo>
                <a:lnTo>
                  <a:pt x="26" y="60"/>
                </a:lnTo>
                <a:lnTo>
                  <a:pt x="14" y="50"/>
                </a:lnTo>
                <a:lnTo>
                  <a:pt x="6" y="42"/>
                </a:lnTo>
                <a:lnTo>
                  <a:pt x="0" y="32"/>
                </a:lnTo>
                <a:lnTo>
                  <a:pt x="10" y="26"/>
                </a:lnTo>
                <a:lnTo>
                  <a:pt x="12" y="18"/>
                </a:lnTo>
                <a:lnTo>
                  <a:pt x="26" y="14"/>
                </a:lnTo>
                <a:lnTo>
                  <a:pt x="34" y="6"/>
                </a:lnTo>
                <a:lnTo>
                  <a:pt x="40" y="2"/>
                </a:lnTo>
                <a:lnTo>
                  <a:pt x="50" y="2"/>
                </a:lnTo>
                <a:lnTo>
                  <a:pt x="58" y="2"/>
                </a:lnTo>
                <a:lnTo>
                  <a:pt x="64" y="0"/>
                </a:lnTo>
                <a:lnTo>
                  <a:pt x="64" y="6"/>
                </a:lnTo>
                <a:lnTo>
                  <a:pt x="62" y="18"/>
                </a:lnTo>
                <a:lnTo>
                  <a:pt x="58" y="30"/>
                </a:lnTo>
                <a:lnTo>
                  <a:pt x="56" y="42"/>
                </a:lnTo>
                <a:lnTo>
                  <a:pt x="56" y="52"/>
                </a:lnTo>
                <a:lnTo>
                  <a:pt x="54" y="6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2" name="Freeform 64">
            <a:extLst>
              <a:ext uri="{FF2B5EF4-FFF2-40B4-BE49-F238E27FC236}">
                <a16:creationId xmlns:a16="http://schemas.microsoft.com/office/drawing/2014/main" id="{E849CED0-A867-4604-A0CA-89DB51DE6EB9}"/>
              </a:ext>
            </a:extLst>
          </p:cNvPr>
          <p:cNvSpPr>
            <a:spLocks/>
          </p:cNvSpPr>
          <p:nvPr/>
        </p:nvSpPr>
        <p:spPr bwMode="gray">
          <a:xfrm>
            <a:off x="3075020" y="4491268"/>
            <a:ext cx="98584" cy="87216"/>
          </a:xfrm>
          <a:custGeom>
            <a:avLst/>
            <a:gdLst>
              <a:gd name="T0" fmla="*/ 18 w 50"/>
              <a:gd name="T1" fmla="*/ 20 h 44"/>
              <a:gd name="T2" fmla="*/ 12 w 50"/>
              <a:gd name="T3" fmla="*/ 16 h 44"/>
              <a:gd name="T4" fmla="*/ 10 w 50"/>
              <a:gd name="T5" fmla="*/ 22 h 44"/>
              <a:gd name="T6" fmla="*/ 8 w 50"/>
              <a:gd name="T7" fmla="*/ 24 h 44"/>
              <a:gd name="T8" fmla="*/ 2 w 50"/>
              <a:gd name="T9" fmla="*/ 20 h 44"/>
              <a:gd name="T10" fmla="*/ 0 w 50"/>
              <a:gd name="T11" fmla="*/ 16 h 44"/>
              <a:gd name="T12" fmla="*/ 0 w 50"/>
              <a:gd name="T13" fmla="*/ 10 h 44"/>
              <a:gd name="T14" fmla="*/ 2 w 50"/>
              <a:gd name="T15" fmla="*/ 6 h 44"/>
              <a:gd name="T16" fmla="*/ 2 w 50"/>
              <a:gd name="T17" fmla="*/ 0 h 44"/>
              <a:gd name="T18" fmla="*/ 18 w 50"/>
              <a:gd name="T19" fmla="*/ 2 h 44"/>
              <a:gd name="T20" fmla="*/ 30 w 50"/>
              <a:gd name="T21" fmla="*/ 6 h 44"/>
              <a:gd name="T22" fmla="*/ 34 w 50"/>
              <a:gd name="T23" fmla="*/ 10 h 44"/>
              <a:gd name="T24" fmla="*/ 42 w 50"/>
              <a:gd name="T25" fmla="*/ 18 h 44"/>
              <a:gd name="T26" fmla="*/ 48 w 50"/>
              <a:gd name="T27" fmla="*/ 24 h 44"/>
              <a:gd name="T28" fmla="*/ 50 w 50"/>
              <a:gd name="T29" fmla="*/ 28 h 44"/>
              <a:gd name="T30" fmla="*/ 46 w 50"/>
              <a:gd name="T31" fmla="*/ 30 h 44"/>
              <a:gd name="T32" fmla="*/ 44 w 50"/>
              <a:gd name="T33" fmla="*/ 36 h 44"/>
              <a:gd name="T34" fmla="*/ 42 w 50"/>
              <a:gd name="T35" fmla="*/ 42 h 44"/>
              <a:gd name="T36" fmla="*/ 38 w 50"/>
              <a:gd name="T37" fmla="*/ 44 h 44"/>
              <a:gd name="T38" fmla="*/ 34 w 50"/>
              <a:gd name="T39" fmla="*/ 32 h 44"/>
              <a:gd name="T40" fmla="*/ 28 w 50"/>
              <a:gd name="T41" fmla="*/ 26 h 44"/>
              <a:gd name="T42" fmla="*/ 24 w 50"/>
              <a:gd name="T43" fmla="*/ 24 h 44"/>
              <a:gd name="T44" fmla="*/ 18 w 50"/>
              <a:gd name="T4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44">
                <a:moveTo>
                  <a:pt x="18" y="20"/>
                </a:moveTo>
                <a:lnTo>
                  <a:pt x="12" y="16"/>
                </a:lnTo>
                <a:lnTo>
                  <a:pt x="10" y="22"/>
                </a:lnTo>
                <a:lnTo>
                  <a:pt x="8" y="24"/>
                </a:lnTo>
                <a:lnTo>
                  <a:pt x="2" y="20"/>
                </a:lnTo>
                <a:lnTo>
                  <a:pt x="0" y="16"/>
                </a:lnTo>
                <a:lnTo>
                  <a:pt x="0" y="10"/>
                </a:lnTo>
                <a:lnTo>
                  <a:pt x="2" y="6"/>
                </a:lnTo>
                <a:lnTo>
                  <a:pt x="2" y="0"/>
                </a:lnTo>
                <a:lnTo>
                  <a:pt x="18" y="2"/>
                </a:lnTo>
                <a:lnTo>
                  <a:pt x="30" y="6"/>
                </a:lnTo>
                <a:lnTo>
                  <a:pt x="34" y="10"/>
                </a:lnTo>
                <a:lnTo>
                  <a:pt x="42" y="18"/>
                </a:lnTo>
                <a:lnTo>
                  <a:pt x="48" y="24"/>
                </a:lnTo>
                <a:lnTo>
                  <a:pt x="50" y="28"/>
                </a:lnTo>
                <a:lnTo>
                  <a:pt x="46" y="30"/>
                </a:lnTo>
                <a:lnTo>
                  <a:pt x="44" y="36"/>
                </a:lnTo>
                <a:lnTo>
                  <a:pt x="42" y="42"/>
                </a:lnTo>
                <a:lnTo>
                  <a:pt x="38" y="44"/>
                </a:lnTo>
                <a:lnTo>
                  <a:pt x="34" y="32"/>
                </a:lnTo>
                <a:lnTo>
                  <a:pt x="28" y="26"/>
                </a:lnTo>
                <a:lnTo>
                  <a:pt x="24" y="24"/>
                </a:lnTo>
                <a:lnTo>
                  <a:pt x="18" y="2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3" name="Freeform 65">
            <a:extLst>
              <a:ext uri="{FF2B5EF4-FFF2-40B4-BE49-F238E27FC236}">
                <a16:creationId xmlns:a16="http://schemas.microsoft.com/office/drawing/2014/main" id="{CB3FE85D-0296-4F67-8B58-74B3BA7F306E}"/>
              </a:ext>
            </a:extLst>
          </p:cNvPr>
          <p:cNvSpPr>
            <a:spLocks/>
          </p:cNvSpPr>
          <p:nvPr/>
        </p:nvSpPr>
        <p:spPr bwMode="gray">
          <a:xfrm>
            <a:off x="3149945" y="4542803"/>
            <a:ext cx="201113" cy="75321"/>
          </a:xfrm>
          <a:custGeom>
            <a:avLst/>
            <a:gdLst>
              <a:gd name="T0" fmla="*/ 88 w 102"/>
              <a:gd name="T1" fmla="*/ 34 h 38"/>
              <a:gd name="T2" fmla="*/ 82 w 102"/>
              <a:gd name="T3" fmla="*/ 32 h 38"/>
              <a:gd name="T4" fmla="*/ 80 w 102"/>
              <a:gd name="T5" fmla="*/ 28 h 38"/>
              <a:gd name="T6" fmla="*/ 80 w 102"/>
              <a:gd name="T7" fmla="*/ 22 h 38"/>
              <a:gd name="T8" fmla="*/ 80 w 102"/>
              <a:gd name="T9" fmla="*/ 16 h 38"/>
              <a:gd name="T10" fmla="*/ 78 w 102"/>
              <a:gd name="T11" fmla="*/ 12 h 38"/>
              <a:gd name="T12" fmla="*/ 72 w 102"/>
              <a:gd name="T13" fmla="*/ 10 h 38"/>
              <a:gd name="T14" fmla="*/ 66 w 102"/>
              <a:gd name="T15" fmla="*/ 10 h 38"/>
              <a:gd name="T16" fmla="*/ 62 w 102"/>
              <a:gd name="T17" fmla="*/ 12 h 38"/>
              <a:gd name="T18" fmla="*/ 60 w 102"/>
              <a:gd name="T19" fmla="*/ 16 h 38"/>
              <a:gd name="T20" fmla="*/ 52 w 102"/>
              <a:gd name="T21" fmla="*/ 18 h 38"/>
              <a:gd name="T22" fmla="*/ 48 w 102"/>
              <a:gd name="T23" fmla="*/ 22 h 38"/>
              <a:gd name="T24" fmla="*/ 50 w 102"/>
              <a:gd name="T25" fmla="*/ 26 h 38"/>
              <a:gd name="T26" fmla="*/ 52 w 102"/>
              <a:gd name="T27" fmla="*/ 30 h 38"/>
              <a:gd name="T28" fmla="*/ 52 w 102"/>
              <a:gd name="T29" fmla="*/ 36 h 38"/>
              <a:gd name="T30" fmla="*/ 44 w 102"/>
              <a:gd name="T31" fmla="*/ 38 h 38"/>
              <a:gd name="T32" fmla="*/ 38 w 102"/>
              <a:gd name="T33" fmla="*/ 32 h 38"/>
              <a:gd name="T34" fmla="*/ 32 w 102"/>
              <a:gd name="T35" fmla="*/ 26 h 38"/>
              <a:gd name="T36" fmla="*/ 26 w 102"/>
              <a:gd name="T37" fmla="*/ 22 h 38"/>
              <a:gd name="T38" fmla="*/ 18 w 102"/>
              <a:gd name="T39" fmla="*/ 20 h 38"/>
              <a:gd name="T40" fmla="*/ 14 w 102"/>
              <a:gd name="T41" fmla="*/ 18 h 38"/>
              <a:gd name="T42" fmla="*/ 8 w 102"/>
              <a:gd name="T43" fmla="*/ 20 h 38"/>
              <a:gd name="T44" fmla="*/ 0 w 102"/>
              <a:gd name="T45" fmla="*/ 18 h 38"/>
              <a:gd name="T46" fmla="*/ 4 w 102"/>
              <a:gd name="T47" fmla="*/ 14 h 38"/>
              <a:gd name="T48" fmla="*/ 6 w 102"/>
              <a:gd name="T49" fmla="*/ 8 h 38"/>
              <a:gd name="T50" fmla="*/ 12 w 102"/>
              <a:gd name="T51" fmla="*/ 2 h 38"/>
              <a:gd name="T52" fmla="*/ 18 w 102"/>
              <a:gd name="T53" fmla="*/ 4 h 38"/>
              <a:gd name="T54" fmla="*/ 22 w 102"/>
              <a:gd name="T55" fmla="*/ 8 h 38"/>
              <a:gd name="T56" fmla="*/ 30 w 102"/>
              <a:gd name="T57" fmla="*/ 12 h 38"/>
              <a:gd name="T58" fmla="*/ 38 w 102"/>
              <a:gd name="T59" fmla="*/ 12 h 38"/>
              <a:gd name="T60" fmla="*/ 44 w 102"/>
              <a:gd name="T61" fmla="*/ 10 h 38"/>
              <a:gd name="T62" fmla="*/ 52 w 102"/>
              <a:gd name="T63" fmla="*/ 6 h 38"/>
              <a:gd name="T64" fmla="*/ 62 w 102"/>
              <a:gd name="T65" fmla="*/ 2 h 38"/>
              <a:gd name="T66" fmla="*/ 72 w 102"/>
              <a:gd name="T67" fmla="*/ 0 h 38"/>
              <a:gd name="T68" fmla="*/ 82 w 102"/>
              <a:gd name="T69" fmla="*/ 2 h 38"/>
              <a:gd name="T70" fmla="*/ 88 w 102"/>
              <a:gd name="T71" fmla="*/ 6 h 38"/>
              <a:gd name="T72" fmla="*/ 94 w 102"/>
              <a:gd name="T73" fmla="*/ 10 h 38"/>
              <a:gd name="T74" fmla="*/ 98 w 102"/>
              <a:gd name="T75" fmla="*/ 16 h 38"/>
              <a:gd name="T76" fmla="*/ 102 w 102"/>
              <a:gd name="T77" fmla="*/ 20 h 38"/>
              <a:gd name="T78" fmla="*/ 100 w 102"/>
              <a:gd name="T79" fmla="*/ 26 h 38"/>
              <a:gd name="T80" fmla="*/ 94 w 102"/>
              <a:gd name="T81" fmla="*/ 30 h 38"/>
              <a:gd name="T82" fmla="*/ 88 w 102"/>
              <a:gd name="T83"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 h="38">
                <a:moveTo>
                  <a:pt x="88" y="34"/>
                </a:moveTo>
                <a:lnTo>
                  <a:pt x="82" y="32"/>
                </a:lnTo>
                <a:lnTo>
                  <a:pt x="80" y="28"/>
                </a:lnTo>
                <a:lnTo>
                  <a:pt x="80" y="22"/>
                </a:lnTo>
                <a:lnTo>
                  <a:pt x="80" y="16"/>
                </a:lnTo>
                <a:lnTo>
                  <a:pt x="78" y="12"/>
                </a:lnTo>
                <a:lnTo>
                  <a:pt x="72" y="10"/>
                </a:lnTo>
                <a:lnTo>
                  <a:pt x="66" y="10"/>
                </a:lnTo>
                <a:lnTo>
                  <a:pt x="62" y="12"/>
                </a:lnTo>
                <a:lnTo>
                  <a:pt x="60" y="16"/>
                </a:lnTo>
                <a:lnTo>
                  <a:pt x="52" y="18"/>
                </a:lnTo>
                <a:lnTo>
                  <a:pt x="48" y="22"/>
                </a:lnTo>
                <a:lnTo>
                  <a:pt x="50" y="26"/>
                </a:lnTo>
                <a:lnTo>
                  <a:pt x="52" y="30"/>
                </a:lnTo>
                <a:lnTo>
                  <a:pt x="52" y="36"/>
                </a:lnTo>
                <a:lnTo>
                  <a:pt x="44" y="38"/>
                </a:lnTo>
                <a:lnTo>
                  <a:pt x="38" y="32"/>
                </a:lnTo>
                <a:lnTo>
                  <a:pt x="32" y="26"/>
                </a:lnTo>
                <a:lnTo>
                  <a:pt x="26" y="22"/>
                </a:lnTo>
                <a:lnTo>
                  <a:pt x="18" y="20"/>
                </a:lnTo>
                <a:lnTo>
                  <a:pt x="14" y="18"/>
                </a:lnTo>
                <a:lnTo>
                  <a:pt x="8" y="20"/>
                </a:lnTo>
                <a:lnTo>
                  <a:pt x="0" y="18"/>
                </a:lnTo>
                <a:lnTo>
                  <a:pt x="4" y="14"/>
                </a:lnTo>
                <a:lnTo>
                  <a:pt x="6" y="8"/>
                </a:lnTo>
                <a:lnTo>
                  <a:pt x="12" y="2"/>
                </a:lnTo>
                <a:lnTo>
                  <a:pt x="18" y="4"/>
                </a:lnTo>
                <a:lnTo>
                  <a:pt x="22" y="8"/>
                </a:lnTo>
                <a:lnTo>
                  <a:pt x="30" y="12"/>
                </a:lnTo>
                <a:lnTo>
                  <a:pt x="38" y="12"/>
                </a:lnTo>
                <a:lnTo>
                  <a:pt x="44" y="10"/>
                </a:lnTo>
                <a:lnTo>
                  <a:pt x="52" y="6"/>
                </a:lnTo>
                <a:lnTo>
                  <a:pt x="62" y="2"/>
                </a:lnTo>
                <a:lnTo>
                  <a:pt x="72" y="0"/>
                </a:lnTo>
                <a:lnTo>
                  <a:pt x="82" y="2"/>
                </a:lnTo>
                <a:lnTo>
                  <a:pt x="88" y="6"/>
                </a:lnTo>
                <a:lnTo>
                  <a:pt x="94" y="10"/>
                </a:lnTo>
                <a:lnTo>
                  <a:pt x="98" y="16"/>
                </a:lnTo>
                <a:lnTo>
                  <a:pt x="102" y="20"/>
                </a:lnTo>
                <a:lnTo>
                  <a:pt x="100" y="26"/>
                </a:lnTo>
                <a:lnTo>
                  <a:pt x="94" y="30"/>
                </a:lnTo>
                <a:lnTo>
                  <a:pt x="88" y="3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4" name="Freeform 66">
            <a:extLst>
              <a:ext uri="{FF2B5EF4-FFF2-40B4-BE49-F238E27FC236}">
                <a16:creationId xmlns:a16="http://schemas.microsoft.com/office/drawing/2014/main" id="{73BF7B22-6FB0-439F-9FAD-B18B885BC174}"/>
              </a:ext>
            </a:extLst>
          </p:cNvPr>
          <p:cNvSpPr>
            <a:spLocks/>
          </p:cNvSpPr>
          <p:nvPr/>
        </p:nvSpPr>
        <p:spPr bwMode="gray">
          <a:xfrm>
            <a:off x="3106568" y="4102763"/>
            <a:ext cx="327302" cy="111000"/>
          </a:xfrm>
          <a:custGeom>
            <a:avLst/>
            <a:gdLst>
              <a:gd name="T0" fmla="*/ 148 w 166"/>
              <a:gd name="T1" fmla="*/ 56 h 56"/>
              <a:gd name="T2" fmla="*/ 140 w 166"/>
              <a:gd name="T3" fmla="*/ 52 h 56"/>
              <a:gd name="T4" fmla="*/ 130 w 166"/>
              <a:gd name="T5" fmla="*/ 52 h 56"/>
              <a:gd name="T6" fmla="*/ 124 w 166"/>
              <a:gd name="T7" fmla="*/ 56 h 56"/>
              <a:gd name="T8" fmla="*/ 116 w 166"/>
              <a:gd name="T9" fmla="*/ 54 h 56"/>
              <a:gd name="T10" fmla="*/ 118 w 166"/>
              <a:gd name="T11" fmla="*/ 46 h 56"/>
              <a:gd name="T12" fmla="*/ 116 w 166"/>
              <a:gd name="T13" fmla="*/ 40 h 56"/>
              <a:gd name="T14" fmla="*/ 104 w 166"/>
              <a:gd name="T15" fmla="*/ 40 h 56"/>
              <a:gd name="T16" fmla="*/ 100 w 166"/>
              <a:gd name="T17" fmla="*/ 32 h 56"/>
              <a:gd name="T18" fmla="*/ 94 w 166"/>
              <a:gd name="T19" fmla="*/ 30 h 56"/>
              <a:gd name="T20" fmla="*/ 80 w 166"/>
              <a:gd name="T21" fmla="*/ 26 h 56"/>
              <a:gd name="T22" fmla="*/ 76 w 166"/>
              <a:gd name="T23" fmla="*/ 22 h 56"/>
              <a:gd name="T24" fmla="*/ 62 w 166"/>
              <a:gd name="T25" fmla="*/ 18 h 56"/>
              <a:gd name="T26" fmla="*/ 48 w 166"/>
              <a:gd name="T27" fmla="*/ 16 h 56"/>
              <a:gd name="T28" fmla="*/ 44 w 166"/>
              <a:gd name="T29" fmla="*/ 12 h 56"/>
              <a:gd name="T30" fmla="*/ 34 w 166"/>
              <a:gd name="T31" fmla="*/ 10 h 56"/>
              <a:gd name="T32" fmla="*/ 28 w 166"/>
              <a:gd name="T33" fmla="*/ 14 h 56"/>
              <a:gd name="T34" fmla="*/ 20 w 166"/>
              <a:gd name="T35" fmla="*/ 18 h 56"/>
              <a:gd name="T36" fmla="*/ 12 w 166"/>
              <a:gd name="T37" fmla="*/ 22 h 56"/>
              <a:gd name="T38" fmla="*/ 0 w 166"/>
              <a:gd name="T39" fmla="*/ 22 h 56"/>
              <a:gd name="T40" fmla="*/ 2 w 166"/>
              <a:gd name="T41" fmla="*/ 16 h 56"/>
              <a:gd name="T42" fmla="*/ 10 w 166"/>
              <a:gd name="T43" fmla="*/ 6 h 56"/>
              <a:gd name="T44" fmla="*/ 26 w 166"/>
              <a:gd name="T45" fmla="*/ 2 h 56"/>
              <a:gd name="T46" fmla="*/ 40 w 166"/>
              <a:gd name="T47" fmla="*/ 0 h 56"/>
              <a:gd name="T48" fmla="*/ 58 w 166"/>
              <a:gd name="T49" fmla="*/ 0 h 56"/>
              <a:gd name="T50" fmla="*/ 74 w 166"/>
              <a:gd name="T51" fmla="*/ 4 h 56"/>
              <a:gd name="T52" fmla="*/ 88 w 166"/>
              <a:gd name="T53" fmla="*/ 10 h 56"/>
              <a:gd name="T54" fmla="*/ 104 w 166"/>
              <a:gd name="T55" fmla="*/ 14 h 56"/>
              <a:gd name="T56" fmla="*/ 110 w 166"/>
              <a:gd name="T57" fmla="*/ 20 h 56"/>
              <a:gd name="T58" fmla="*/ 116 w 166"/>
              <a:gd name="T59" fmla="*/ 24 h 56"/>
              <a:gd name="T60" fmla="*/ 130 w 166"/>
              <a:gd name="T61" fmla="*/ 30 h 56"/>
              <a:gd name="T62" fmla="*/ 142 w 166"/>
              <a:gd name="T63" fmla="*/ 34 h 56"/>
              <a:gd name="T64" fmla="*/ 154 w 166"/>
              <a:gd name="T65" fmla="*/ 40 h 56"/>
              <a:gd name="T66" fmla="*/ 166 w 166"/>
              <a:gd name="T67" fmla="*/ 46 h 56"/>
              <a:gd name="T68" fmla="*/ 160 w 166"/>
              <a:gd name="T69" fmla="*/ 50 h 56"/>
              <a:gd name="T70" fmla="*/ 152 w 166"/>
              <a:gd name="T71" fmla="*/ 52 h 56"/>
              <a:gd name="T72" fmla="*/ 150 w 166"/>
              <a:gd name="T73" fmla="*/ 56 h 56"/>
              <a:gd name="T74" fmla="*/ 148 w 166"/>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56">
                <a:moveTo>
                  <a:pt x="148" y="56"/>
                </a:moveTo>
                <a:lnTo>
                  <a:pt x="140" y="52"/>
                </a:lnTo>
                <a:lnTo>
                  <a:pt x="130" y="52"/>
                </a:lnTo>
                <a:lnTo>
                  <a:pt x="124" y="56"/>
                </a:lnTo>
                <a:lnTo>
                  <a:pt x="116" y="54"/>
                </a:lnTo>
                <a:lnTo>
                  <a:pt x="118" y="46"/>
                </a:lnTo>
                <a:lnTo>
                  <a:pt x="116" y="40"/>
                </a:lnTo>
                <a:lnTo>
                  <a:pt x="104" y="40"/>
                </a:lnTo>
                <a:lnTo>
                  <a:pt x="100" y="32"/>
                </a:lnTo>
                <a:lnTo>
                  <a:pt x="94" y="30"/>
                </a:lnTo>
                <a:lnTo>
                  <a:pt x="80" y="26"/>
                </a:lnTo>
                <a:lnTo>
                  <a:pt x="76" y="22"/>
                </a:lnTo>
                <a:lnTo>
                  <a:pt x="62" y="18"/>
                </a:lnTo>
                <a:lnTo>
                  <a:pt x="48" y="16"/>
                </a:lnTo>
                <a:lnTo>
                  <a:pt x="44" y="12"/>
                </a:lnTo>
                <a:lnTo>
                  <a:pt x="34" y="10"/>
                </a:lnTo>
                <a:lnTo>
                  <a:pt x="28" y="14"/>
                </a:lnTo>
                <a:lnTo>
                  <a:pt x="20" y="18"/>
                </a:lnTo>
                <a:lnTo>
                  <a:pt x="12" y="22"/>
                </a:lnTo>
                <a:lnTo>
                  <a:pt x="0" y="22"/>
                </a:lnTo>
                <a:lnTo>
                  <a:pt x="2" y="16"/>
                </a:lnTo>
                <a:lnTo>
                  <a:pt x="10" y="6"/>
                </a:lnTo>
                <a:lnTo>
                  <a:pt x="26" y="2"/>
                </a:lnTo>
                <a:lnTo>
                  <a:pt x="40" y="0"/>
                </a:lnTo>
                <a:lnTo>
                  <a:pt x="58" y="0"/>
                </a:lnTo>
                <a:lnTo>
                  <a:pt x="74" y="4"/>
                </a:lnTo>
                <a:lnTo>
                  <a:pt x="88" y="10"/>
                </a:lnTo>
                <a:lnTo>
                  <a:pt x="104" y="14"/>
                </a:lnTo>
                <a:lnTo>
                  <a:pt x="110" y="20"/>
                </a:lnTo>
                <a:lnTo>
                  <a:pt x="116" y="24"/>
                </a:lnTo>
                <a:lnTo>
                  <a:pt x="130" y="30"/>
                </a:lnTo>
                <a:lnTo>
                  <a:pt x="142" y="34"/>
                </a:lnTo>
                <a:lnTo>
                  <a:pt x="154" y="40"/>
                </a:lnTo>
                <a:lnTo>
                  <a:pt x="166" y="46"/>
                </a:lnTo>
                <a:lnTo>
                  <a:pt x="160" y="50"/>
                </a:lnTo>
                <a:lnTo>
                  <a:pt x="152" y="52"/>
                </a:lnTo>
                <a:lnTo>
                  <a:pt x="150" y="56"/>
                </a:lnTo>
                <a:lnTo>
                  <a:pt x="148" y="5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5" name="Freeform 67">
            <a:extLst>
              <a:ext uri="{FF2B5EF4-FFF2-40B4-BE49-F238E27FC236}">
                <a16:creationId xmlns:a16="http://schemas.microsoft.com/office/drawing/2014/main" id="{66896519-6D3A-4262-AA88-2F2F1844BDA5}"/>
              </a:ext>
            </a:extLst>
          </p:cNvPr>
          <p:cNvSpPr>
            <a:spLocks/>
          </p:cNvSpPr>
          <p:nvPr/>
        </p:nvSpPr>
        <p:spPr bwMode="gray">
          <a:xfrm>
            <a:off x="3433869" y="4205837"/>
            <a:ext cx="86756" cy="59464"/>
          </a:xfrm>
          <a:custGeom>
            <a:avLst/>
            <a:gdLst>
              <a:gd name="T0" fmla="*/ 0 w 44"/>
              <a:gd name="T1" fmla="*/ 28 h 30"/>
              <a:gd name="T2" fmla="*/ 16 w 44"/>
              <a:gd name="T3" fmla="*/ 30 h 30"/>
              <a:gd name="T4" fmla="*/ 32 w 44"/>
              <a:gd name="T5" fmla="*/ 30 h 30"/>
              <a:gd name="T6" fmla="*/ 40 w 44"/>
              <a:gd name="T7" fmla="*/ 30 h 30"/>
              <a:gd name="T8" fmla="*/ 40 w 44"/>
              <a:gd name="T9" fmla="*/ 24 h 30"/>
              <a:gd name="T10" fmla="*/ 36 w 44"/>
              <a:gd name="T11" fmla="*/ 20 h 30"/>
              <a:gd name="T12" fmla="*/ 42 w 44"/>
              <a:gd name="T13" fmla="*/ 18 h 30"/>
              <a:gd name="T14" fmla="*/ 44 w 44"/>
              <a:gd name="T15" fmla="*/ 14 h 30"/>
              <a:gd name="T16" fmla="*/ 42 w 44"/>
              <a:gd name="T17" fmla="*/ 4 h 30"/>
              <a:gd name="T18" fmla="*/ 32 w 44"/>
              <a:gd name="T19" fmla="*/ 2 h 30"/>
              <a:gd name="T20" fmla="*/ 24 w 44"/>
              <a:gd name="T21" fmla="*/ 0 h 30"/>
              <a:gd name="T22" fmla="*/ 16 w 44"/>
              <a:gd name="T23" fmla="*/ 2 h 30"/>
              <a:gd name="T24" fmla="*/ 22 w 44"/>
              <a:gd name="T25" fmla="*/ 6 h 30"/>
              <a:gd name="T26" fmla="*/ 28 w 44"/>
              <a:gd name="T27" fmla="*/ 14 h 30"/>
              <a:gd name="T28" fmla="*/ 28 w 44"/>
              <a:gd name="T29" fmla="*/ 20 h 30"/>
              <a:gd name="T30" fmla="*/ 20 w 44"/>
              <a:gd name="T31" fmla="*/ 20 h 30"/>
              <a:gd name="T32" fmla="*/ 14 w 44"/>
              <a:gd name="T33" fmla="*/ 18 h 30"/>
              <a:gd name="T34" fmla="*/ 6 w 44"/>
              <a:gd name="T35" fmla="*/ 20 h 30"/>
              <a:gd name="T36" fmla="*/ 0 w 44"/>
              <a:gd name="T37" fmla="*/ 20 h 30"/>
              <a:gd name="T38" fmla="*/ 0 w 44"/>
              <a:gd name="T3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30">
                <a:moveTo>
                  <a:pt x="0" y="28"/>
                </a:moveTo>
                <a:lnTo>
                  <a:pt x="16" y="30"/>
                </a:lnTo>
                <a:lnTo>
                  <a:pt x="32" y="30"/>
                </a:lnTo>
                <a:lnTo>
                  <a:pt x="40" y="30"/>
                </a:lnTo>
                <a:lnTo>
                  <a:pt x="40" y="24"/>
                </a:lnTo>
                <a:lnTo>
                  <a:pt x="36" y="20"/>
                </a:lnTo>
                <a:lnTo>
                  <a:pt x="42" y="18"/>
                </a:lnTo>
                <a:lnTo>
                  <a:pt x="44" y="14"/>
                </a:lnTo>
                <a:lnTo>
                  <a:pt x="42" y="4"/>
                </a:lnTo>
                <a:lnTo>
                  <a:pt x="32" y="2"/>
                </a:lnTo>
                <a:lnTo>
                  <a:pt x="24" y="0"/>
                </a:lnTo>
                <a:lnTo>
                  <a:pt x="16" y="2"/>
                </a:lnTo>
                <a:lnTo>
                  <a:pt x="22" y="6"/>
                </a:lnTo>
                <a:lnTo>
                  <a:pt x="28" y="14"/>
                </a:lnTo>
                <a:lnTo>
                  <a:pt x="28" y="20"/>
                </a:lnTo>
                <a:lnTo>
                  <a:pt x="20" y="20"/>
                </a:lnTo>
                <a:lnTo>
                  <a:pt x="14" y="18"/>
                </a:lnTo>
                <a:lnTo>
                  <a:pt x="6" y="20"/>
                </a:lnTo>
                <a:lnTo>
                  <a:pt x="0" y="20"/>
                </a:lnTo>
                <a:lnTo>
                  <a:pt x="0" y="2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6" name="Freeform 68">
            <a:extLst>
              <a:ext uri="{FF2B5EF4-FFF2-40B4-BE49-F238E27FC236}">
                <a16:creationId xmlns:a16="http://schemas.microsoft.com/office/drawing/2014/main" id="{9DEBE63A-CA43-4920-BA84-A32E61434687}"/>
              </a:ext>
            </a:extLst>
          </p:cNvPr>
          <p:cNvSpPr>
            <a:spLocks/>
          </p:cNvSpPr>
          <p:nvPr/>
        </p:nvSpPr>
        <p:spPr bwMode="gray">
          <a:xfrm>
            <a:off x="3311624" y="4249444"/>
            <a:ext cx="63094" cy="35678"/>
          </a:xfrm>
          <a:custGeom>
            <a:avLst/>
            <a:gdLst>
              <a:gd name="T0" fmla="*/ 0 w 32"/>
              <a:gd name="T1" fmla="*/ 6 h 18"/>
              <a:gd name="T2" fmla="*/ 6 w 32"/>
              <a:gd name="T3" fmla="*/ 0 h 18"/>
              <a:gd name="T4" fmla="*/ 14 w 32"/>
              <a:gd name="T5" fmla="*/ 0 h 18"/>
              <a:gd name="T6" fmla="*/ 20 w 32"/>
              <a:gd name="T7" fmla="*/ 2 h 18"/>
              <a:gd name="T8" fmla="*/ 28 w 32"/>
              <a:gd name="T9" fmla="*/ 6 h 18"/>
              <a:gd name="T10" fmla="*/ 32 w 32"/>
              <a:gd name="T11" fmla="*/ 10 h 18"/>
              <a:gd name="T12" fmla="*/ 24 w 32"/>
              <a:gd name="T13" fmla="*/ 14 h 18"/>
              <a:gd name="T14" fmla="*/ 18 w 32"/>
              <a:gd name="T15" fmla="*/ 14 h 18"/>
              <a:gd name="T16" fmla="*/ 14 w 32"/>
              <a:gd name="T17" fmla="*/ 18 h 18"/>
              <a:gd name="T18" fmla="*/ 10 w 32"/>
              <a:gd name="T19" fmla="*/ 12 h 18"/>
              <a:gd name="T20" fmla="*/ 6 w 32"/>
              <a:gd name="T21" fmla="*/ 8 h 18"/>
              <a:gd name="T22" fmla="*/ 0 w 32"/>
              <a:gd name="T2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0" y="6"/>
                </a:moveTo>
                <a:lnTo>
                  <a:pt x="6" y="0"/>
                </a:lnTo>
                <a:lnTo>
                  <a:pt x="14" y="0"/>
                </a:lnTo>
                <a:lnTo>
                  <a:pt x="20" y="2"/>
                </a:lnTo>
                <a:lnTo>
                  <a:pt x="28" y="6"/>
                </a:lnTo>
                <a:lnTo>
                  <a:pt x="32" y="10"/>
                </a:lnTo>
                <a:lnTo>
                  <a:pt x="24" y="14"/>
                </a:lnTo>
                <a:lnTo>
                  <a:pt x="18" y="14"/>
                </a:lnTo>
                <a:lnTo>
                  <a:pt x="14" y="18"/>
                </a:lnTo>
                <a:lnTo>
                  <a:pt x="10" y="12"/>
                </a:lnTo>
                <a:lnTo>
                  <a:pt x="6" y="8"/>
                </a:lnTo>
                <a:lnTo>
                  <a:pt x="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7" name="Freeform 69">
            <a:extLst>
              <a:ext uri="{FF2B5EF4-FFF2-40B4-BE49-F238E27FC236}">
                <a16:creationId xmlns:a16="http://schemas.microsoft.com/office/drawing/2014/main" id="{9CBBE023-F945-4859-8286-C1E4CEFAFEDF}"/>
              </a:ext>
            </a:extLst>
          </p:cNvPr>
          <p:cNvSpPr>
            <a:spLocks/>
          </p:cNvSpPr>
          <p:nvPr/>
        </p:nvSpPr>
        <p:spPr bwMode="gray">
          <a:xfrm>
            <a:off x="3504851" y="4213766"/>
            <a:ext cx="114358" cy="71358"/>
          </a:xfrm>
          <a:custGeom>
            <a:avLst/>
            <a:gdLst>
              <a:gd name="T0" fmla="*/ 6 w 58"/>
              <a:gd name="T1" fmla="*/ 0 h 36"/>
              <a:gd name="T2" fmla="*/ 16 w 58"/>
              <a:gd name="T3" fmla="*/ 2 h 36"/>
              <a:gd name="T4" fmla="*/ 24 w 58"/>
              <a:gd name="T5" fmla="*/ 2 h 36"/>
              <a:gd name="T6" fmla="*/ 34 w 58"/>
              <a:gd name="T7" fmla="*/ 4 h 36"/>
              <a:gd name="T8" fmla="*/ 40 w 58"/>
              <a:gd name="T9" fmla="*/ 6 h 36"/>
              <a:gd name="T10" fmla="*/ 46 w 58"/>
              <a:gd name="T11" fmla="*/ 10 h 36"/>
              <a:gd name="T12" fmla="*/ 56 w 58"/>
              <a:gd name="T13" fmla="*/ 16 h 36"/>
              <a:gd name="T14" fmla="*/ 58 w 58"/>
              <a:gd name="T15" fmla="*/ 20 h 36"/>
              <a:gd name="T16" fmla="*/ 54 w 58"/>
              <a:gd name="T17" fmla="*/ 24 h 36"/>
              <a:gd name="T18" fmla="*/ 44 w 58"/>
              <a:gd name="T19" fmla="*/ 22 h 36"/>
              <a:gd name="T20" fmla="*/ 38 w 58"/>
              <a:gd name="T21" fmla="*/ 22 h 36"/>
              <a:gd name="T22" fmla="*/ 30 w 58"/>
              <a:gd name="T23" fmla="*/ 24 h 36"/>
              <a:gd name="T24" fmla="*/ 24 w 58"/>
              <a:gd name="T25" fmla="*/ 24 h 36"/>
              <a:gd name="T26" fmla="*/ 20 w 58"/>
              <a:gd name="T27" fmla="*/ 20 h 36"/>
              <a:gd name="T28" fmla="*/ 14 w 58"/>
              <a:gd name="T29" fmla="*/ 22 h 36"/>
              <a:gd name="T30" fmla="*/ 12 w 58"/>
              <a:gd name="T31" fmla="*/ 28 h 36"/>
              <a:gd name="T32" fmla="*/ 12 w 58"/>
              <a:gd name="T33" fmla="*/ 34 h 36"/>
              <a:gd name="T34" fmla="*/ 8 w 58"/>
              <a:gd name="T35" fmla="*/ 36 h 36"/>
              <a:gd name="T36" fmla="*/ 4 w 58"/>
              <a:gd name="T37" fmla="*/ 30 h 36"/>
              <a:gd name="T38" fmla="*/ 4 w 58"/>
              <a:gd name="T39" fmla="*/ 26 h 36"/>
              <a:gd name="T40" fmla="*/ 4 w 58"/>
              <a:gd name="T41" fmla="*/ 20 h 36"/>
              <a:gd name="T42" fmla="*/ 0 w 58"/>
              <a:gd name="T43" fmla="*/ 16 h 36"/>
              <a:gd name="T44" fmla="*/ 6 w 58"/>
              <a:gd name="T45" fmla="*/ 14 h 36"/>
              <a:gd name="T46" fmla="*/ 8 w 58"/>
              <a:gd name="T47" fmla="*/ 10 h 36"/>
              <a:gd name="T48" fmla="*/ 6 w 58"/>
              <a:gd name="T4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36">
                <a:moveTo>
                  <a:pt x="6" y="0"/>
                </a:moveTo>
                <a:lnTo>
                  <a:pt x="16" y="2"/>
                </a:lnTo>
                <a:lnTo>
                  <a:pt x="24" y="2"/>
                </a:lnTo>
                <a:lnTo>
                  <a:pt x="34" y="4"/>
                </a:lnTo>
                <a:lnTo>
                  <a:pt x="40" y="6"/>
                </a:lnTo>
                <a:lnTo>
                  <a:pt x="46" y="10"/>
                </a:lnTo>
                <a:lnTo>
                  <a:pt x="56" y="16"/>
                </a:lnTo>
                <a:lnTo>
                  <a:pt x="58" y="20"/>
                </a:lnTo>
                <a:lnTo>
                  <a:pt x="54" y="24"/>
                </a:lnTo>
                <a:lnTo>
                  <a:pt x="44" y="22"/>
                </a:lnTo>
                <a:lnTo>
                  <a:pt x="38" y="22"/>
                </a:lnTo>
                <a:lnTo>
                  <a:pt x="30" y="24"/>
                </a:lnTo>
                <a:lnTo>
                  <a:pt x="24" y="24"/>
                </a:lnTo>
                <a:lnTo>
                  <a:pt x="20" y="20"/>
                </a:lnTo>
                <a:lnTo>
                  <a:pt x="14" y="22"/>
                </a:lnTo>
                <a:lnTo>
                  <a:pt x="12" y="28"/>
                </a:lnTo>
                <a:lnTo>
                  <a:pt x="12" y="34"/>
                </a:lnTo>
                <a:lnTo>
                  <a:pt x="8" y="36"/>
                </a:lnTo>
                <a:lnTo>
                  <a:pt x="4" y="30"/>
                </a:lnTo>
                <a:lnTo>
                  <a:pt x="4" y="26"/>
                </a:lnTo>
                <a:lnTo>
                  <a:pt x="4" y="20"/>
                </a:lnTo>
                <a:lnTo>
                  <a:pt x="0" y="16"/>
                </a:lnTo>
                <a:lnTo>
                  <a:pt x="6" y="14"/>
                </a:lnTo>
                <a:lnTo>
                  <a:pt x="8" y="10"/>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8" name="Freeform 70">
            <a:extLst>
              <a:ext uri="{FF2B5EF4-FFF2-40B4-BE49-F238E27FC236}">
                <a16:creationId xmlns:a16="http://schemas.microsoft.com/office/drawing/2014/main" id="{974ABD61-9F8A-4A5D-9D44-F17E89ADA77A}"/>
              </a:ext>
            </a:extLst>
          </p:cNvPr>
          <p:cNvSpPr>
            <a:spLocks/>
          </p:cNvSpPr>
          <p:nvPr/>
        </p:nvSpPr>
        <p:spPr bwMode="gray">
          <a:xfrm>
            <a:off x="3654699" y="4253407"/>
            <a:ext cx="51264" cy="19822"/>
          </a:xfrm>
          <a:custGeom>
            <a:avLst/>
            <a:gdLst>
              <a:gd name="T0" fmla="*/ 18 w 26"/>
              <a:gd name="T1" fmla="*/ 0 h 10"/>
              <a:gd name="T2" fmla="*/ 8 w 26"/>
              <a:gd name="T3" fmla="*/ 0 h 10"/>
              <a:gd name="T4" fmla="*/ 0 w 26"/>
              <a:gd name="T5" fmla="*/ 4 h 10"/>
              <a:gd name="T6" fmla="*/ 4 w 26"/>
              <a:gd name="T7" fmla="*/ 10 h 10"/>
              <a:gd name="T8" fmla="*/ 12 w 26"/>
              <a:gd name="T9" fmla="*/ 10 h 10"/>
              <a:gd name="T10" fmla="*/ 22 w 26"/>
              <a:gd name="T11" fmla="*/ 10 h 10"/>
              <a:gd name="T12" fmla="*/ 26 w 26"/>
              <a:gd name="T13" fmla="*/ 8 h 10"/>
              <a:gd name="T14" fmla="*/ 26 w 26"/>
              <a:gd name="T15" fmla="*/ 4 h 10"/>
              <a:gd name="T16" fmla="*/ 22 w 26"/>
              <a:gd name="T17" fmla="*/ 0 h 10"/>
              <a:gd name="T18" fmla="*/ 18 w 2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18" y="0"/>
                </a:moveTo>
                <a:lnTo>
                  <a:pt x="8" y="0"/>
                </a:lnTo>
                <a:lnTo>
                  <a:pt x="0" y="4"/>
                </a:lnTo>
                <a:lnTo>
                  <a:pt x="4" y="10"/>
                </a:lnTo>
                <a:lnTo>
                  <a:pt x="12" y="10"/>
                </a:lnTo>
                <a:lnTo>
                  <a:pt x="22" y="10"/>
                </a:lnTo>
                <a:lnTo>
                  <a:pt x="26" y="8"/>
                </a:lnTo>
                <a:lnTo>
                  <a:pt x="26" y="4"/>
                </a:lnTo>
                <a:lnTo>
                  <a:pt x="22" y="0"/>
                </a:lnTo>
                <a:lnTo>
                  <a:pt x="1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79" name="Freeform 71">
            <a:extLst>
              <a:ext uri="{FF2B5EF4-FFF2-40B4-BE49-F238E27FC236}">
                <a16:creationId xmlns:a16="http://schemas.microsoft.com/office/drawing/2014/main" id="{5D31D364-A674-49EE-BA9D-A58CDFA7145C}"/>
              </a:ext>
            </a:extLst>
          </p:cNvPr>
          <p:cNvSpPr>
            <a:spLocks/>
          </p:cNvSpPr>
          <p:nvPr/>
        </p:nvSpPr>
        <p:spPr bwMode="gray">
          <a:xfrm>
            <a:off x="3307681" y="4035373"/>
            <a:ext cx="23661" cy="31714"/>
          </a:xfrm>
          <a:custGeom>
            <a:avLst/>
            <a:gdLst>
              <a:gd name="T0" fmla="*/ 8 w 12"/>
              <a:gd name="T1" fmla="*/ 4 h 16"/>
              <a:gd name="T2" fmla="*/ 2 w 12"/>
              <a:gd name="T3" fmla="*/ 0 h 16"/>
              <a:gd name="T4" fmla="*/ 0 w 12"/>
              <a:gd name="T5" fmla="*/ 8 h 16"/>
              <a:gd name="T6" fmla="*/ 6 w 12"/>
              <a:gd name="T7" fmla="*/ 12 h 16"/>
              <a:gd name="T8" fmla="*/ 10 w 12"/>
              <a:gd name="T9" fmla="*/ 16 h 16"/>
              <a:gd name="T10" fmla="*/ 12 w 12"/>
              <a:gd name="T11" fmla="*/ 10 h 16"/>
              <a:gd name="T12" fmla="*/ 8 w 12"/>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8" y="4"/>
                </a:moveTo>
                <a:lnTo>
                  <a:pt x="2" y="0"/>
                </a:lnTo>
                <a:lnTo>
                  <a:pt x="0" y="8"/>
                </a:lnTo>
                <a:lnTo>
                  <a:pt x="6" y="12"/>
                </a:lnTo>
                <a:lnTo>
                  <a:pt x="10" y="16"/>
                </a:lnTo>
                <a:lnTo>
                  <a:pt x="12" y="10"/>
                </a:lnTo>
                <a:lnTo>
                  <a:pt x="8"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0" name="Freeform 72">
            <a:extLst>
              <a:ext uri="{FF2B5EF4-FFF2-40B4-BE49-F238E27FC236}">
                <a16:creationId xmlns:a16="http://schemas.microsoft.com/office/drawing/2014/main" id="{6618E5CE-E12F-4981-957E-744C0017C6F2}"/>
              </a:ext>
            </a:extLst>
          </p:cNvPr>
          <p:cNvSpPr>
            <a:spLocks/>
          </p:cNvSpPr>
          <p:nvPr/>
        </p:nvSpPr>
        <p:spPr bwMode="gray">
          <a:xfrm>
            <a:off x="3725680" y="3781654"/>
            <a:ext cx="23661" cy="15858"/>
          </a:xfrm>
          <a:custGeom>
            <a:avLst/>
            <a:gdLst>
              <a:gd name="T0" fmla="*/ 6 w 12"/>
              <a:gd name="T1" fmla="*/ 0 h 8"/>
              <a:gd name="T2" fmla="*/ 2 w 12"/>
              <a:gd name="T3" fmla="*/ 2 h 8"/>
              <a:gd name="T4" fmla="*/ 0 w 12"/>
              <a:gd name="T5" fmla="*/ 8 h 8"/>
              <a:gd name="T6" fmla="*/ 8 w 12"/>
              <a:gd name="T7" fmla="*/ 8 h 8"/>
              <a:gd name="T8" fmla="*/ 12 w 12"/>
              <a:gd name="T9" fmla="*/ 8 h 8"/>
              <a:gd name="T10" fmla="*/ 6 w 12"/>
              <a:gd name="T11" fmla="*/ 0 h 8"/>
            </a:gdLst>
            <a:ahLst/>
            <a:cxnLst>
              <a:cxn ang="0">
                <a:pos x="T0" y="T1"/>
              </a:cxn>
              <a:cxn ang="0">
                <a:pos x="T2" y="T3"/>
              </a:cxn>
              <a:cxn ang="0">
                <a:pos x="T4" y="T5"/>
              </a:cxn>
              <a:cxn ang="0">
                <a:pos x="T6" y="T7"/>
              </a:cxn>
              <a:cxn ang="0">
                <a:pos x="T8" y="T9"/>
              </a:cxn>
              <a:cxn ang="0">
                <a:pos x="T10" y="T11"/>
              </a:cxn>
            </a:cxnLst>
            <a:rect l="0" t="0" r="r" b="b"/>
            <a:pathLst>
              <a:path w="12" h="8">
                <a:moveTo>
                  <a:pt x="6" y="0"/>
                </a:moveTo>
                <a:lnTo>
                  <a:pt x="2" y="2"/>
                </a:lnTo>
                <a:lnTo>
                  <a:pt x="0" y="8"/>
                </a:lnTo>
                <a:lnTo>
                  <a:pt x="8" y="8"/>
                </a:lnTo>
                <a:lnTo>
                  <a:pt x="12" y="8"/>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1" name="Freeform 73">
            <a:extLst>
              <a:ext uri="{FF2B5EF4-FFF2-40B4-BE49-F238E27FC236}">
                <a16:creationId xmlns:a16="http://schemas.microsoft.com/office/drawing/2014/main" id="{72C6F6E6-BAF8-42BB-B475-DB4803C6D38D}"/>
              </a:ext>
            </a:extLst>
          </p:cNvPr>
          <p:cNvSpPr>
            <a:spLocks/>
          </p:cNvSpPr>
          <p:nvPr/>
        </p:nvSpPr>
        <p:spPr bwMode="gray">
          <a:xfrm>
            <a:off x="3295851" y="4451624"/>
            <a:ext cx="366737" cy="527253"/>
          </a:xfrm>
          <a:custGeom>
            <a:avLst/>
            <a:gdLst>
              <a:gd name="T0" fmla="*/ 30 w 186"/>
              <a:gd name="T1" fmla="*/ 72 h 266"/>
              <a:gd name="T2" fmla="*/ 34 w 186"/>
              <a:gd name="T3" fmla="*/ 58 h 266"/>
              <a:gd name="T4" fmla="*/ 50 w 186"/>
              <a:gd name="T5" fmla="*/ 42 h 266"/>
              <a:gd name="T6" fmla="*/ 54 w 186"/>
              <a:gd name="T7" fmla="*/ 28 h 266"/>
              <a:gd name="T8" fmla="*/ 74 w 186"/>
              <a:gd name="T9" fmla="*/ 20 h 266"/>
              <a:gd name="T10" fmla="*/ 88 w 186"/>
              <a:gd name="T11" fmla="*/ 16 h 266"/>
              <a:gd name="T12" fmla="*/ 104 w 186"/>
              <a:gd name="T13" fmla="*/ 6 h 266"/>
              <a:gd name="T14" fmla="*/ 116 w 186"/>
              <a:gd name="T15" fmla="*/ 0 h 266"/>
              <a:gd name="T16" fmla="*/ 118 w 186"/>
              <a:gd name="T17" fmla="*/ 10 h 266"/>
              <a:gd name="T18" fmla="*/ 106 w 186"/>
              <a:gd name="T19" fmla="*/ 18 h 266"/>
              <a:gd name="T20" fmla="*/ 92 w 186"/>
              <a:gd name="T21" fmla="*/ 34 h 266"/>
              <a:gd name="T22" fmla="*/ 92 w 186"/>
              <a:gd name="T23" fmla="*/ 54 h 266"/>
              <a:gd name="T24" fmla="*/ 100 w 186"/>
              <a:gd name="T25" fmla="*/ 64 h 266"/>
              <a:gd name="T26" fmla="*/ 102 w 186"/>
              <a:gd name="T27" fmla="*/ 82 h 266"/>
              <a:gd name="T28" fmla="*/ 136 w 186"/>
              <a:gd name="T29" fmla="*/ 84 h 266"/>
              <a:gd name="T30" fmla="*/ 176 w 186"/>
              <a:gd name="T31" fmla="*/ 96 h 266"/>
              <a:gd name="T32" fmla="*/ 176 w 186"/>
              <a:gd name="T33" fmla="*/ 110 h 266"/>
              <a:gd name="T34" fmla="*/ 176 w 186"/>
              <a:gd name="T35" fmla="*/ 128 h 266"/>
              <a:gd name="T36" fmla="*/ 178 w 186"/>
              <a:gd name="T37" fmla="*/ 136 h 266"/>
              <a:gd name="T38" fmla="*/ 180 w 186"/>
              <a:gd name="T39" fmla="*/ 150 h 266"/>
              <a:gd name="T40" fmla="*/ 184 w 186"/>
              <a:gd name="T41" fmla="*/ 162 h 266"/>
              <a:gd name="T42" fmla="*/ 178 w 186"/>
              <a:gd name="T43" fmla="*/ 168 h 266"/>
              <a:gd name="T44" fmla="*/ 168 w 186"/>
              <a:gd name="T45" fmla="*/ 170 h 266"/>
              <a:gd name="T46" fmla="*/ 140 w 186"/>
              <a:gd name="T47" fmla="*/ 172 h 266"/>
              <a:gd name="T48" fmla="*/ 138 w 186"/>
              <a:gd name="T49" fmla="*/ 176 h 266"/>
              <a:gd name="T50" fmla="*/ 146 w 186"/>
              <a:gd name="T51" fmla="*/ 180 h 266"/>
              <a:gd name="T52" fmla="*/ 152 w 186"/>
              <a:gd name="T53" fmla="*/ 188 h 266"/>
              <a:gd name="T54" fmla="*/ 142 w 186"/>
              <a:gd name="T55" fmla="*/ 186 h 266"/>
              <a:gd name="T56" fmla="*/ 140 w 186"/>
              <a:gd name="T57" fmla="*/ 200 h 266"/>
              <a:gd name="T58" fmla="*/ 148 w 186"/>
              <a:gd name="T59" fmla="*/ 220 h 266"/>
              <a:gd name="T60" fmla="*/ 144 w 186"/>
              <a:gd name="T61" fmla="*/ 252 h 266"/>
              <a:gd name="T62" fmla="*/ 132 w 186"/>
              <a:gd name="T63" fmla="*/ 262 h 266"/>
              <a:gd name="T64" fmla="*/ 136 w 186"/>
              <a:gd name="T65" fmla="*/ 246 h 266"/>
              <a:gd name="T66" fmla="*/ 132 w 186"/>
              <a:gd name="T67" fmla="*/ 234 h 266"/>
              <a:gd name="T68" fmla="*/ 86 w 186"/>
              <a:gd name="T69" fmla="*/ 224 h 266"/>
              <a:gd name="T70" fmla="*/ 64 w 186"/>
              <a:gd name="T71" fmla="*/ 200 h 266"/>
              <a:gd name="T72" fmla="*/ 38 w 186"/>
              <a:gd name="T73" fmla="*/ 192 h 266"/>
              <a:gd name="T74" fmla="*/ 16 w 186"/>
              <a:gd name="T75" fmla="*/ 186 h 266"/>
              <a:gd name="T76" fmla="*/ 4 w 186"/>
              <a:gd name="T77" fmla="*/ 168 h 266"/>
              <a:gd name="T78" fmla="*/ 12 w 186"/>
              <a:gd name="T79" fmla="*/ 158 h 266"/>
              <a:gd name="T80" fmla="*/ 24 w 186"/>
              <a:gd name="T81" fmla="*/ 138 h 266"/>
              <a:gd name="T82" fmla="*/ 24 w 186"/>
              <a:gd name="T83" fmla="*/ 110 h 266"/>
              <a:gd name="T84" fmla="*/ 20 w 186"/>
              <a:gd name="T85" fmla="*/ 90 h 266"/>
              <a:gd name="T86" fmla="*/ 26 w 186"/>
              <a:gd name="T87" fmla="*/ 7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 h="266">
                <a:moveTo>
                  <a:pt x="28" y="66"/>
                </a:moveTo>
                <a:lnTo>
                  <a:pt x="30" y="72"/>
                </a:lnTo>
                <a:lnTo>
                  <a:pt x="34" y="68"/>
                </a:lnTo>
                <a:lnTo>
                  <a:pt x="34" y="58"/>
                </a:lnTo>
                <a:lnTo>
                  <a:pt x="44" y="50"/>
                </a:lnTo>
                <a:lnTo>
                  <a:pt x="50" y="42"/>
                </a:lnTo>
                <a:lnTo>
                  <a:pt x="52" y="36"/>
                </a:lnTo>
                <a:lnTo>
                  <a:pt x="54" y="28"/>
                </a:lnTo>
                <a:lnTo>
                  <a:pt x="68" y="20"/>
                </a:lnTo>
                <a:lnTo>
                  <a:pt x="74" y="20"/>
                </a:lnTo>
                <a:lnTo>
                  <a:pt x="78" y="16"/>
                </a:lnTo>
                <a:lnTo>
                  <a:pt x="88" y="16"/>
                </a:lnTo>
                <a:lnTo>
                  <a:pt x="96" y="12"/>
                </a:lnTo>
                <a:lnTo>
                  <a:pt x="104" y="6"/>
                </a:lnTo>
                <a:lnTo>
                  <a:pt x="110" y="0"/>
                </a:lnTo>
                <a:lnTo>
                  <a:pt x="116" y="0"/>
                </a:lnTo>
                <a:lnTo>
                  <a:pt x="120" y="2"/>
                </a:lnTo>
                <a:lnTo>
                  <a:pt x="118" y="10"/>
                </a:lnTo>
                <a:lnTo>
                  <a:pt x="112" y="14"/>
                </a:lnTo>
                <a:lnTo>
                  <a:pt x="106" y="18"/>
                </a:lnTo>
                <a:lnTo>
                  <a:pt x="96" y="26"/>
                </a:lnTo>
                <a:lnTo>
                  <a:pt x="92" y="34"/>
                </a:lnTo>
                <a:lnTo>
                  <a:pt x="90" y="48"/>
                </a:lnTo>
                <a:lnTo>
                  <a:pt x="92" y="54"/>
                </a:lnTo>
                <a:lnTo>
                  <a:pt x="96" y="60"/>
                </a:lnTo>
                <a:lnTo>
                  <a:pt x="100" y="64"/>
                </a:lnTo>
                <a:lnTo>
                  <a:pt x="102" y="68"/>
                </a:lnTo>
                <a:lnTo>
                  <a:pt x="102" y="82"/>
                </a:lnTo>
                <a:lnTo>
                  <a:pt x="108" y="86"/>
                </a:lnTo>
                <a:lnTo>
                  <a:pt x="136" y="84"/>
                </a:lnTo>
                <a:lnTo>
                  <a:pt x="148" y="98"/>
                </a:lnTo>
                <a:lnTo>
                  <a:pt x="176" y="96"/>
                </a:lnTo>
                <a:lnTo>
                  <a:pt x="182" y="102"/>
                </a:lnTo>
                <a:lnTo>
                  <a:pt x="176" y="110"/>
                </a:lnTo>
                <a:lnTo>
                  <a:pt x="176" y="120"/>
                </a:lnTo>
                <a:lnTo>
                  <a:pt x="176" y="128"/>
                </a:lnTo>
                <a:lnTo>
                  <a:pt x="176" y="136"/>
                </a:lnTo>
                <a:lnTo>
                  <a:pt x="178" y="136"/>
                </a:lnTo>
                <a:lnTo>
                  <a:pt x="180" y="138"/>
                </a:lnTo>
                <a:lnTo>
                  <a:pt x="180" y="150"/>
                </a:lnTo>
                <a:lnTo>
                  <a:pt x="180" y="160"/>
                </a:lnTo>
                <a:lnTo>
                  <a:pt x="184" y="162"/>
                </a:lnTo>
                <a:lnTo>
                  <a:pt x="186" y="172"/>
                </a:lnTo>
                <a:lnTo>
                  <a:pt x="178" y="168"/>
                </a:lnTo>
                <a:lnTo>
                  <a:pt x="174" y="168"/>
                </a:lnTo>
                <a:lnTo>
                  <a:pt x="168" y="170"/>
                </a:lnTo>
                <a:lnTo>
                  <a:pt x="150" y="170"/>
                </a:lnTo>
                <a:lnTo>
                  <a:pt x="140" y="172"/>
                </a:lnTo>
                <a:lnTo>
                  <a:pt x="140" y="174"/>
                </a:lnTo>
                <a:lnTo>
                  <a:pt x="138" y="176"/>
                </a:lnTo>
                <a:lnTo>
                  <a:pt x="140" y="178"/>
                </a:lnTo>
                <a:lnTo>
                  <a:pt x="146" y="180"/>
                </a:lnTo>
                <a:lnTo>
                  <a:pt x="152" y="182"/>
                </a:lnTo>
                <a:lnTo>
                  <a:pt x="152" y="188"/>
                </a:lnTo>
                <a:lnTo>
                  <a:pt x="146" y="186"/>
                </a:lnTo>
                <a:lnTo>
                  <a:pt x="142" y="186"/>
                </a:lnTo>
                <a:lnTo>
                  <a:pt x="140" y="188"/>
                </a:lnTo>
                <a:lnTo>
                  <a:pt x="140" y="200"/>
                </a:lnTo>
                <a:lnTo>
                  <a:pt x="146" y="208"/>
                </a:lnTo>
                <a:lnTo>
                  <a:pt x="148" y="220"/>
                </a:lnTo>
                <a:lnTo>
                  <a:pt x="146" y="234"/>
                </a:lnTo>
                <a:lnTo>
                  <a:pt x="144" y="252"/>
                </a:lnTo>
                <a:lnTo>
                  <a:pt x="138" y="266"/>
                </a:lnTo>
                <a:lnTo>
                  <a:pt x="132" y="262"/>
                </a:lnTo>
                <a:lnTo>
                  <a:pt x="132" y="252"/>
                </a:lnTo>
                <a:lnTo>
                  <a:pt x="136" y="246"/>
                </a:lnTo>
                <a:lnTo>
                  <a:pt x="134" y="240"/>
                </a:lnTo>
                <a:lnTo>
                  <a:pt x="132" y="234"/>
                </a:lnTo>
                <a:lnTo>
                  <a:pt x="90" y="232"/>
                </a:lnTo>
                <a:lnTo>
                  <a:pt x="86" y="224"/>
                </a:lnTo>
                <a:lnTo>
                  <a:pt x="74" y="212"/>
                </a:lnTo>
                <a:lnTo>
                  <a:pt x="64" y="200"/>
                </a:lnTo>
                <a:lnTo>
                  <a:pt x="50" y="196"/>
                </a:lnTo>
                <a:lnTo>
                  <a:pt x="38" y="192"/>
                </a:lnTo>
                <a:lnTo>
                  <a:pt x="26" y="192"/>
                </a:lnTo>
                <a:lnTo>
                  <a:pt x="16" y="186"/>
                </a:lnTo>
                <a:lnTo>
                  <a:pt x="0" y="176"/>
                </a:lnTo>
                <a:lnTo>
                  <a:pt x="4" y="168"/>
                </a:lnTo>
                <a:lnTo>
                  <a:pt x="4" y="158"/>
                </a:lnTo>
                <a:lnTo>
                  <a:pt x="12" y="158"/>
                </a:lnTo>
                <a:lnTo>
                  <a:pt x="20" y="152"/>
                </a:lnTo>
                <a:lnTo>
                  <a:pt x="24" y="138"/>
                </a:lnTo>
                <a:lnTo>
                  <a:pt x="24" y="124"/>
                </a:lnTo>
                <a:lnTo>
                  <a:pt x="24" y="110"/>
                </a:lnTo>
                <a:lnTo>
                  <a:pt x="22" y="96"/>
                </a:lnTo>
                <a:lnTo>
                  <a:pt x="20" y="90"/>
                </a:lnTo>
                <a:lnTo>
                  <a:pt x="14" y="80"/>
                </a:lnTo>
                <a:lnTo>
                  <a:pt x="26" y="72"/>
                </a:lnTo>
                <a:lnTo>
                  <a:pt x="28" y="6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2" name="Freeform 74">
            <a:extLst>
              <a:ext uri="{FF2B5EF4-FFF2-40B4-BE49-F238E27FC236}">
                <a16:creationId xmlns:a16="http://schemas.microsoft.com/office/drawing/2014/main" id="{AEE25394-281A-4B2D-9C7C-642F373FFE99}"/>
              </a:ext>
            </a:extLst>
          </p:cNvPr>
          <p:cNvSpPr>
            <a:spLocks/>
          </p:cNvSpPr>
          <p:nvPr/>
        </p:nvSpPr>
        <p:spPr bwMode="gray">
          <a:xfrm>
            <a:off x="3232757" y="4800484"/>
            <a:ext cx="173509" cy="198216"/>
          </a:xfrm>
          <a:custGeom>
            <a:avLst/>
            <a:gdLst>
              <a:gd name="T0" fmla="*/ 26 w 88"/>
              <a:gd name="T1" fmla="*/ 100 h 100"/>
              <a:gd name="T2" fmla="*/ 20 w 88"/>
              <a:gd name="T3" fmla="*/ 94 h 100"/>
              <a:gd name="T4" fmla="*/ 8 w 88"/>
              <a:gd name="T5" fmla="*/ 88 h 100"/>
              <a:gd name="T6" fmla="*/ 8 w 88"/>
              <a:gd name="T7" fmla="*/ 76 h 100"/>
              <a:gd name="T8" fmla="*/ 14 w 88"/>
              <a:gd name="T9" fmla="*/ 72 h 100"/>
              <a:gd name="T10" fmla="*/ 18 w 88"/>
              <a:gd name="T11" fmla="*/ 64 h 100"/>
              <a:gd name="T12" fmla="*/ 18 w 88"/>
              <a:gd name="T13" fmla="*/ 58 h 100"/>
              <a:gd name="T14" fmla="*/ 14 w 88"/>
              <a:gd name="T15" fmla="*/ 58 h 100"/>
              <a:gd name="T16" fmla="*/ 10 w 88"/>
              <a:gd name="T17" fmla="*/ 62 h 100"/>
              <a:gd name="T18" fmla="*/ 6 w 88"/>
              <a:gd name="T19" fmla="*/ 62 h 100"/>
              <a:gd name="T20" fmla="*/ 0 w 88"/>
              <a:gd name="T21" fmla="*/ 58 h 100"/>
              <a:gd name="T22" fmla="*/ 0 w 88"/>
              <a:gd name="T23" fmla="*/ 48 h 100"/>
              <a:gd name="T24" fmla="*/ 2 w 88"/>
              <a:gd name="T25" fmla="*/ 38 h 100"/>
              <a:gd name="T26" fmla="*/ 6 w 88"/>
              <a:gd name="T27" fmla="*/ 26 h 100"/>
              <a:gd name="T28" fmla="*/ 10 w 88"/>
              <a:gd name="T29" fmla="*/ 18 h 100"/>
              <a:gd name="T30" fmla="*/ 14 w 88"/>
              <a:gd name="T31" fmla="*/ 12 h 100"/>
              <a:gd name="T32" fmla="*/ 22 w 88"/>
              <a:gd name="T33" fmla="*/ 6 h 100"/>
              <a:gd name="T34" fmla="*/ 32 w 88"/>
              <a:gd name="T35" fmla="*/ 0 h 100"/>
              <a:gd name="T36" fmla="*/ 58 w 88"/>
              <a:gd name="T37" fmla="*/ 16 h 100"/>
              <a:gd name="T38" fmla="*/ 70 w 88"/>
              <a:gd name="T39" fmla="*/ 16 h 100"/>
              <a:gd name="T40" fmla="*/ 88 w 88"/>
              <a:gd name="T41" fmla="*/ 22 h 100"/>
              <a:gd name="T42" fmla="*/ 86 w 88"/>
              <a:gd name="T43" fmla="*/ 30 h 100"/>
              <a:gd name="T44" fmla="*/ 86 w 88"/>
              <a:gd name="T45" fmla="*/ 40 h 100"/>
              <a:gd name="T46" fmla="*/ 82 w 88"/>
              <a:gd name="T47" fmla="*/ 48 h 100"/>
              <a:gd name="T48" fmla="*/ 76 w 88"/>
              <a:gd name="T49" fmla="*/ 56 h 100"/>
              <a:gd name="T50" fmla="*/ 68 w 88"/>
              <a:gd name="T51" fmla="*/ 62 h 100"/>
              <a:gd name="T52" fmla="*/ 52 w 88"/>
              <a:gd name="T53" fmla="*/ 68 h 100"/>
              <a:gd name="T54" fmla="*/ 46 w 88"/>
              <a:gd name="T55" fmla="*/ 74 h 100"/>
              <a:gd name="T56" fmla="*/ 40 w 88"/>
              <a:gd name="T57" fmla="*/ 82 h 100"/>
              <a:gd name="T58" fmla="*/ 36 w 88"/>
              <a:gd name="T59" fmla="*/ 92 h 100"/>
              <a:gd name="T60" fmla="*/ 26 w 88"/>
              <a:gd name="T6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00">
                <a:moveTo>
                  <a:pt x="26" y="100"/>
                </a:moveTo>
                <a:lnTo>
                  <a:pt x="20" y="94"/>
                </a:lnTo>
                <a:lnTo>
                  <a:pt x="8" y="88"/>
                </a:lnTo>
                <a:lnTo>
                  <a:pt x="8" y="76"/>
                </a:lnTo>
                <a:lnTo>
                  <a:pt x="14" y="72"/>
                </a:lnTo>
                <a:lnTo>
                  <a:pt x="18" y="64"/>
                </a:lnTo>
                <a:lnTo>
                  <a:pt x="18" y="58"/>
                </a:lnTo>
                <a:lnTo>
                  <a:pt x="14" y="58"/>
                </a:lnTo>
                <a:lnTo>
                  <a:pt x="10" y="62"/>
                </a:lnTo>
                <a:lnTo>
                  <a:pt x="6" y="62"/>
                </a:lnTo>
                <a:lnTo>
                  <a:pt x="0" y="58"/>
                </a:lnTo>
                <a:lnTo>
                  <a:pt x="0" y="48"/>
                </a:lnTo>
                <a:lnTo>
                  <a:pt x="2" y="38"/>
                </a:lnTo>
                <a:lnTo>
                  <a:pt x="6" y="26"/>
                </a:lnTo>
                <a:lnTo>
                  <a:pt x="10" y="18"/>
                </a:lnTo>
                <a:lnTo>
                  <a:pt x="14" y="12"/>
                </a:lnTo>
                <a:lnTo>
                  <a:pt x="22" y="6"/>
                </a:lnTo>
                <a:lnTo>
                  <a:pt x="32" y="0"/>
                </a:lnTo>
                <a:lnTo>
                  <a:pt x="58" y="16"/>
                </a:lnTo>
                <a:lnTo>
                  <a:pt x="70" y="16"/>
                </a:lnTo>
                <a:lnTo>
                  <a:pt x="88" y="22"/>
                </a:lnTo>
                <a:lnTo>
                  <a:pt x="86" y="30"/>
                </a:lnTo>
                <a:lnTo>
                  <a:pt x="86" y="40"/>
                </a:lnTo>
                <a:lnTo>
                  <a:pt x="82" y="48"/>
                </a:lnTo>
                <a:lnTo>
                  <a:pt x="76" y="56"/>
                </a:lnTo>
                <a:lnTo>
                  <a:pt x="68" y="62"/>
                </a:lnTo>
                <a:lnTo>
                  <a:pt x="52" y="68"/>
                </a:lnTo>
                <a:lnTo>
                  <a:pt x="46" y="74"/>
                </a:lnTo>
                <a:lnTo>
                  <a:pt x="40" y="82"/>
                </a:lnTo>
                <a:lnTo>
                  <a:pt x="36" y="92"/>
                </a:lnTo>
                <a:lnTo>
                  <a:pt x="26" y="10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3" name="Freeform 75">
            <a:extLst>
              <a:ext uri="{FF2B5EF4-FFF2-40B4-BE49-F238E27FC236}">
                <a16:creationId xmlns:a16="http://schemas.microsoft.com/office/drawing/2014/main" id="{80EEABF5-D50A-4519-BEA1-98B4364AF91D}"/>
              </a:ext>
            </a:extLst>
          </p:cNvPr>
          <p:cNvSpPr>
            <a:spLocks/>
          </p:cNvSpPr>
          <p:nvPr/>
        </p:nvSpPr>
        <p:spPr bwMode="gray">
          <a:xfrm>
            <a:off x="3820322" y="4499195"/>
            <a:ext cx="39433" cy="31714"/>
          </a:xfrm>
          <a:custGeom>
            <a:avLst/>
            <a:gdLst>
              <a:gd name="T0" fmla="*/ 12 w 20"/>
              <a:gd name="T1" fmla="*/ 0 h 16"/>
              <a:gd name="T2" fmla="*/ 20 w 20"/>
              <a:gd name="T3" fmla="*/ 0 h 16"/>
              <a:gd name="T4" fmla="*/ 18 w 20"/>
              <a:gd name="T5" fmla="*/ 10 h 16"/>
              <a:gd name="T6" fmla="*/ 14 w 20"/>
              <a:gd name="T7" fmla="*/ 16 h 16"/>
              <a:gd name="T8" fmla="*/ 0 w 20"/>
              <a:gd name="T9" fmla="*/ 14 h 16"/>
              <a:gd name="T10" fmla="*/ 6 w 20"/>
              <a:gd name="T11" fmla="*/ 6 h 16"/>
              <a:gd name="T12" fmla="*/ 10 w 20"/>
              <a:gd name="T13" fmla="*/ 6 h 16"/>
              <a:gd name="T14" fmla="*/ 12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12" y="0"/>
                </a:moveTo>
                <a:lnTo>
                  <a:pt x="20" y="0"/>
                </a:lnTo>
                <a:lnTo>
                  <a:pt x="18" y="10"/>
                </a:lnTo>
                <a:lnTo>
                  <a:pt x="14" y="16"/>
                </a:lnTo>
                <a:lnTo>
                  <a:pt x="0" y="14"/>
                </a:lnTo>
                <a:lnTo>
                  <a:pt x="6" y="6"/>
                </a:lnTo>
                <a:lnTo>
                  <a:pt x="10" y="6"/>
                </a:lnTo>
                <a:lnTo>
                  <a:pt x="1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4" name="Freeform 76">
            <a:extLst>
              <a:ext uri="{FF2B5EF4-FFF2-40B4-BE49-F238E27FC236}">
                <a16:creationId xmlns:a16="http://schemas.microsoft.com/office/drawing/2014/main" id="{35B97ACF-9C36-4D8D-AC88-BD84DC5AD351}"/>
              </a:ext>
            </a:extLst>
          </p:cNvPr>
          <p:cNvSpPr>
            <a:spLocks/>
          </p:cNvSpPr>
          <p:nvPr/>
        </p:nvSpPr>
        <p:spPr bwMode="gray">
          <a:xfrm>
            <a:off x="3473304" y="4455589"/>
            <a:ext cx="414056" cy="364716"/>
          </a:xfrm>
          <a:custGeom>
            <a:avLst/>
            <a:gdLst>
              <a:gd name="T0" fmla="*/ 46 w 210"/>
              <a:gd name="T1" fmla="*/ 8 h 184"/>
              <a:gd name="T2" fmla="*/ 50 w 210"/>
              <a:gd name="T3" fmla="*/ 0 h 184"/>
              <a:gd name="T4" fmla="*/ 52 w 210"/>
              <a:gd name="T5" fmla="*/ 12 h 184"/>
              <a:gd name="T6" fmla="*/ 70 w 210"/>
              <a:gd name="T7" fmla="*/ 16 h 184"/>
              <a:gd name="T8" fmla="*/ 80 w 210"/>
              <a:gd name="T9" fmla="*/ 24 h 184"/>
              <a:gd name="T10" fmla="*/ 108 w 210"/>
              <a:gd name="T11" fmla="*/ 28 h 184"/>
              <a:gd name="T12" fmla="*/ 138 w 210"/>
              <a:gd name="T13" fmla="*/ 32 h 184"/>
              <a:gd name="T14" fmla="*/ 156 w 210"/>
              <a:gd name="T15" fmla="*/ 26 h 184"/>
              <a:gd name="T16" fmla="*/ 174 w 210"/>
              <a:gd name="T17" fmla="*/ 28 h 184"/>
              <a:gd name="T18" fmla="*/ 162 w 210"/>
              <a:gd name="T19" fmla="*/ 32 h 184"/>
              <a:gd name="T20" fmla="*/ 176 w 210"/>
              <a:gd name="T21" fmla="*/ 40 h 184"/>
              <a:gd name="T22" fmla="*/ 192 w 210"/>
              <a:gd name="T23" fmla="*/ 46 h 184"/>
              <a:gd name="T24" fmla="*/ 188 w 210"/>
              <a:gd name="T25" fmla="*/ 56 h 184"/>
              <a:gd name="T26" fmla="*/ 196 w 210"/>
              <a:gd name="T27" fmla="*/ 60 h 184"/>
              <a:gd name="T28" fmla="*/ 210 w 210"/>
              <a:gd name="T29" fmla="*/ 62 h 184"/>
              <a:gd name="T30" fmla="*/ 200 w 210"/>
              <a:gd name="T31" fmla="*/ 76 h 184"/>
              <a:gd name="T32" fmla="*/ 192 w 210"/>
              <a:gd name="T33" fmla="*/ 90 h 184"/>
              <a:gd name="T34" fmla="*/ 190 w 210"/>
              <a:gd name="T35" fmla="*/ 104 h 184"/>
              <a:gd name="T36" fmla="*/ 196 w 210"/>
              <a:gd name="T37" fmla="*/ 116 h 184"/>
              <a:gd name="T38" fmla="*/ 180 w 210"/>
              <a:gd name="T39" fmla="*/ 130 h 184"/>
              <a:gd name="T40" fmla="*/ 164 w 210"/>
              <a:gd name="T41" fmla="*/ 136 h 184"/>
              <a:gd name="T42" fmla="*/ 148 w 210"/>
              <a:gd name="T43" fmla="*/ 134 h 184"/>
              <a:gd name="T44" fmla="*/ 134 w 210"/>
              <a:gd name="T45" fmla="*/ 132 h 184"/>
              <a:gd name="T46" fmla="*/ 142 w 210"/>
              <a:gd name="T47" fmla="*/ 148 h 184"/>
              <a:gd name="T48" fmla="*/ 154 w 210"/>
              <a:gd name="T49" fmla="*/ 156 h 184"/>
              <a:gd name="T50" fmla="*/ 152 w 210"/>
              <a:gd name="T51" fmla="*/ 166 h 184"/>
              <a:gd name="T52" fmla="*/ 140 w 210"/>
              <a:gd name="T53" fmla="*/ 168 h 184"/>
              <a:gd name="T54" fmla="*/ 116 w 210"/>
              <a:gd name="T55" fmla="*/ 184 h 184"/>
              <a:gd name="T56" fmla="*/ 98 w 210"/>
              <a:gd name="T57" fmla="*/ 174 h 184"/>
              <a:gd name="T58" fmla="*/ 94 w 210"/>
              <a:gd name="T59" fmla="*/ 160 h 184"/>
              <a:gd name="T60" fmla="*/ 90 w 210"/>
              <a:gd name="T61" fmla="*/ 136 h 184"/>
              <a:gd name="T62" fmla="*/ 86 w 210"/>
              <a:gd name="T63" fmla="*/ 108 h 184"/>
              <a:gd name="T64" fmla="*/ 86 w 210"/>
              <a:gd name="T65" fmla="*/ 94 h 184"/>
              <a:gd name="T66" fmla="*/ 46 w 210"/>
              <a:gd name="T67" fmla="*/ 82 h 184"/>
              <a:gd name="T68" fmla="*/ 12 w 210"/>
              <a:gd name="T69" fmla="*/ 80 h 184"/>
              <a:gd name="T70" fmla="*/ 0 w 210"/>
              <a:gd name="T71" fmla="*/ 46 h 184"/>
              <a:gd name="T72" fmla="*/ 8 w 210"/>
              <a:gd name="T73" fmla="*/ 22 h 184"/>
              <a:gd name="T74" fmla="*/ 22 w 210"/>
              <a:gd name="T75" fmla="*/ 16 h 184"/>
              <a:gd name="T76" fmla="*/ 22 w 210"/>
              <a:gd name="T77" fmla="*/ 30 h 184"/>
              <a:gd name="T78" fmla="*/ 18 w 210"/>
              <a:gd name="T79" fmla="*/ 46 h 184"/>
              <a:gd name="T80" fmla="*/ 30 w 210"/>
              <a:gd name="T81" fmla="*/ 48 h 184"/>
              <a:gd name="T82" fmla="*/ 30 w 210"/>
              <a:gd name="T83" fmla="*/ 32 h 184"/>
              <a:gd name="T84" fmla="*/ 32 w 210"/>
              <a:gd name="T85" fmla="*/ 20 h 184"/>
              <a:gd name="T86" fmla="*/ 44 w 210"/>
              <a:gd name="T87" fmla="*/ 1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184">
                <a:moveTo>
                  <a:pt x="44" y="14"/>
                </a:moveTo>
                <a:lnTo>
                  <a:pt x="46" y="8"/>
                </a:lnTo>
                <a:lnTo>
                  <a:pt x="46" y="2"/>
                </a:lnTo>
                <a:lnTo>
                  <a:pt x="50" y="0"/>
                </a:lnTo>
                <a:lnTo>
                  <a:pt x="52" y="4"/>
                </a:lnTo>
                <a:lnTo>
                  <a:pt x="52" y="12"/>
                </a:lnTo>
                <a:lnTo>
                  <a:pt x="60" y="14"/>
                </a:lnTo>
                <a:lnTo>
                  <a:pt x="70" y="16"/>
                </a:lnTo>
                <a:lnTo>
                  <a:pt x="76" y="22"/>
                </a:lnTo>
                <a:lnTo>
                  <a:pt x="80" y="24"/>
                </a:lnTo>
                <a:lnTo>
                  <a:pt x="98" y="28"/>
                </a:lnTo>
                <a:lnTo>
                  <a:pt x="108" y="28"/>
                </a:lnTo>
                <a:lnTo>
                  <a:pt x="126" y="36"/>
                </a:lnTo>
                <a:lnTo>
                  <a:pt x="138" y="32"/>
                </a:lnTo>
                <a:lnTo>
                  <a:pt x="146" y="28"/>
                </a:lnTo>
                <a:lnTo>
                  <a:pt x="156" y="26"/>
                </a:lnTo>
                <a:lnTo>
                  <a:pt x="164" y="28"/>
                </a:lnTo>
                <a:lnTo>
                  <a:pt x="174" y="28"/>
                </a:lnTo>
                <a:lnTo>
                  <a:pt x="170" y="30"/>
                </a:lnTo>
                <a:lnTo>
                  <a:pt x="162" y="32"/>
                </a:lnTo>
                <a:lnTo>
                  <a:pt x="164" y="40"/>
                </a:lnTo>
                <a:lnTo>
                  <a:pt x="176" y="40"/>
                </a:lnTo>
                <a:lnTo>
                  <a:pt x="188" y="42"/>
                </a:lnTo>
                <a:lnTo>
                  <a:pt x="192" y="46"/>
                </a:lnTo>
                <a:lnTo>
                  <a:pt x="192" y="52"/>
                </a:lnTo>
                <a:lnTo>
                  <a:pt x="188" y="56"/>
                </a:lnTo>
                <a:lnTo>
                  <a:pt x="188" y="62"/>
                </a:lnTo>
                <a:lnTo>
                  <a:pt x="196" y="60"/>
                </a:lnTo>
                <a:lnTo>
                  <a:pt x="202" y="58"/>
                </a:lnTo>
                <a:lnTo>
                  <a:pt x="210" y="62"/>
                </a:lnTo>
                <a:lnTo>
                  <a:pt x="204" y="70"/>
                </a:lnTo>
                <a:lnTo>
                  <a:pt x="200" y="76"/>
                </a:lnTo>
                <a:lnTo>
                  <a:pt x="202" y="84"/>
                </a:lnTo>
                <a:lnTo>
                  <a:pt x="192" y="90"/>
                </a:lnTo>
                <a:lnTo>
                  <a:pt x="188" y="96"/>
                </a:lnTo>
                <a:lnTo>
                  <a:pt x="190" y="104"/>
                </a:lnTo>
                <a:lnTo>
                  <a:pt x="194" y="110"/>
                </a:lnTo>
                <a:lnTo>
                  <a:pt x="196" y="116"/>
                </a:lnTo>
                <a:lnTo>
                  <a:pt x="192" y="126"/>
                </a:lnTo>
                <a:lnTo>
                  <a:pt x="180" y="130"/>
                </a:lnTo>
                <a:lnTo>
                  <a:pt x="170" y="132"/>
                </a:lnTo>
                <a:lnTo>
                  <a:pt x="164" y="136"/>
                </a:lnTo>
                <a:lnTo>
                  <a:pt x="158" y="136"/>
                </a:lnTo>
                <a:lnTo>
                  <a:pt x="148" y="134"/>
                </a:lnTo>
                <a:lnTo>
                  <a:pt x="140" y="130"/>
                </a:lnTo>
                <a:lnTo>
                  <a:pt x="134" y="132"/>
                </a:lnTo>
                <a:lnTo>
                  <a:pt x="140" y="138"/>
                </a:lnTo>
                <a:lnTo>
                  <a:pt x="142" y="148"/>
                </a:lnTo>
                <a:lnTo>
                  <a:pt x="148" y="156"/>
                </a:lnTo>
                <a:lnTo>
                  <a:pt x="154" y="156"/>
                </a:lnTo>
                <a:lnTo>
                  <a:pt x="154" y="160"/>
                </a:lnTo>
                <a:lnTo>
                  <a:pt x="152" y="166"/>
                </a:lnTo>
                <a:lnTo>
                  <a:pt x="146" y="166"/>
                </a:lnTo>
                <a:lnTo>
                  <a:pt x="140" y="168"/>
                </a:lnTo>
                <a:lnTo>
                  <a:pt x="130" y="180"/>
                </a:lnTo>
                <a:lnTo>
                  <a:pt x="116" y="184"/>
                </a:lnTo>
                <a:lnTo>
                  <a:pt x="106" y="182"/>
                </a:lnTo>
                <a:lnTo>
                  <a:pt x="98" y="174"/>
                </a:lnTo>
                <a:lnTo>
                  <a:pt x="96" y="170"/>
                </a:lnTo>
                <a:lnTo>
                  <a:pt x="94" y="160"/>
                </a:lnTo>
                <a:lnTo>
                  <a:pt x="90" y="158"/>
                </a:lnTo>
                <a:lnTo>
                  <a:pt x="90" y="136"/>
                </a:lnTo>
                <a:lnTo>
                  <a:pt x="86" y="134"/>
                </a:lnTo>
                <a:lnTo>
                  <a:pt x="86" y="108"/>
                </a:lnTo>
                <a:lnTo>
                  <a:pt x="92" y="100"/>
                </a:lnTo>
                <a:lnTo>
                  <a:pt x="86" y="94"/>
                </a:lnTo>
                <a:lnTo>
                  <a:pt x="58" y="96"/>
                </a:lnTo>
                <a:lnTo>
                  <a:pt x="46" y="82"/>
                </a:lnTo>
                <a:lnTo>
                  <a:pt x="18" y="84"/>
                </a:lnTo>
                <a:lnTo>
                  <a:pt x="12" y="80"/>
                </a:lnTo>
                <a:lnTo>
                  <a:pt x="12" y="66"/>
                </a:lnTo>
                <a:lnTo>
                  <a:pt x="0" y="46"/>
                </a:lnTo>
                <a:lnTo>
                  <a:pt x="2" y="32"/>
                </a:lnTo>
                <a:lnTo>
                  <a:pt x="8" y="22"/>
                </a:lnTo>
                <a:lnTo>
                  <a:pt x="18" y="14"/>
                </a:lnTo>
                <a:lnTo>
                  <a:pt x="22" y="16"/>
                </a:lnTo>
                <a:lnTo>
                  <a:pt x="22" y="20"/>
                </a:lnTo>
                <a:lnTo>
                  <a:pt x="22" y="30"/>
                </a:lnTo>
                <a:lnTo>
                  <a:pt x="16" y="34"/>
                </a:lnTo>
                <a:lnTo>
                  <a:pt x="18" y="46"/>
                </a:lnTo>
                <a:lnTo>
                  <a:pt x="22" y="52"/>
                </a:lnTo>
                <a:lnTo>
                  <a:pt x="30" y="48"/>
                </a:lnTo>
                <a:lnTo>
                  <a:pt x="34" y="40"/>
                </a:lnTo>
                <a:lnTo>
                  <a:pt x="30" y="32"/>
                </a:lnTo>
                <a:lnTo>
                  <a:pt x="28" y="26"/>
                </a:lnTo>
                <a:lnTo>
                  <a:pt x="32" y="20"/>
                </a:lnTo>
                <a:lnTo>
                  <a:pt x="38" y="18"/>
                </a:lnTo>
                <a:lnTo>
                  <a:pt x="44" y="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5" name="Freeform 77">
            <a:extLst>
              <a:ext uri="{FF2B5EF4-FFF2-40B4-BE49-F238E27FC236}">
                <a16:creationId xmlns:a16="http://schemas.microsoft.com/office/drawing/2014/main" id="{895259ED-385D-4BA2-BFDE-2358ECA8696A}"/>
              </a:ext>
            </a:extLst>
          </p:cNvPr>
          <p:cNvSpPr>
            <a:spLocks/>
          </p:cNvSpPr>
          <p:nvPr/>
        </p:nvSpPr>
        <p:spPr bwMode="gray">
          <a:xfrm>
            <a:off x="3843984" y="4578482"/>
            <a:ext cx="138018" cy="225965"/>
          </a:xfrm>
          <a:custGeom>
            <a:avLst/>
            <a:gdLst>
              <a:gd name="T0" fmla="*/ 42 w 70"/>
              <a:gd name="T1" fmla="*/ 30 h 114"/>
              <a:gd name="T2" fmla="*/ 50 w 70"/>
              <a:gd name="T3" fmla="*/ 24 h 114"/>
              <a:gd name="T4" fmla="*/ 58 w 70"/>
              <a:gd name="T5" fmla="*/ 30 h 114"/>
              <a:gd name="T6" fmla="*/ 66 w 70"/>
              <a:gd name="T7" fmla="*/ 40 h 114"/>
              <a:gd name="T8" fmla="*/ 64 w 70"/>
              <a:gd name="T9" fmla="*/ 48 h 114"/>
              <a:gd name="T10" fmla="*/ 60 w 70"/>
              <a:gd name="T11" fmla="*/ 54 h 114"/>
              <a:gd name="T12" fmla="*/ 54 w 70"/>
              <a:gd name="T13" fmla="*/ 62 h 114"/>
              <a:gd name="T14" fmla="*/ 52 w 70"/>
              <a:gd name="T15" fmla="*/ 72 h 114"/>
              <a:gd name="T16" fmla="*/ 56 w 70"/>
              <a:gd name="T17" fmla="*/ 76 h 114"/>
              <a:gd name="T18" fmla="*/ 60 w 70"/>
              <a:gd name="T19" fmla="*/ 82 h 114"/>
              <a:gd name="T20" fmla="*/ 64 w 70"/>
              <a:gd name="T21" fmla="*/ 86 h 114"/>
              <a:gd name="T22" fmla="*/ 66 w 70"/>
              <a:gd name="T23" fmla="*/ 90 h 114"/>
              <a:gd name="T24" fmla="*/ 70 w 70"/>
              <a:gd name="T25" fmla="*/ 100 h 114"/>
              <a:gd name="T26" fmla="*/ 66 w 70"/>
              <a:gd name="T27" fmla="*/ 104 h 114"/>
              <a:gd name="T28" fmla="*/ 58 w 70"/>
              <a:gd name="T29" fmla="*/ 108 h 114"/>
              <a:gd name="T30" fmla="*/ 52 w 70"/>
              <a:gd name="T31" fmla="*/ 112 h 114"/>
              <a:gd name="T32" fmla="*/ 42 w 70"/>
              <a:gd name="T33" fmla="*/ 114 h 114"/>
              <a:gd name="T34" fmla="*/ 34 w 70"/>
              <a:gd name="T35" fmla="*/ 114 h 114"/>
              <a:gd name="T36" fmla="*/ 26 w 70"/>
              <a:gd name="T37" fmla="*/ 106 h 114"/>
              <a:gd name="T38" fmla="*/ 20 w 70"/>
              <a:gd name="T39" fmla="*/ 98 h 114"/>
              <a:gd name="T40" fmla="*/ 20 w 70"/>
              <a:gd name="T41" fmla="*/ 90 h 114"/>
              <a:gd name="T42" fmla="*/ 20 w 70"/>
              <a:gd name="T43" fmla="*/ 78 h 114"/>
              <a:gd name="T44" fmla="*/ 26 w 70"/>
              <a:gd name="T45" fmla="*/ 72 h 114"/>
              <a:gd name="T46" fmla="*/ 22 w 70"/>
              <a:gd name="T47" fmla="*/ 62 h 114"/>
              <a:gd name="T48" fmla="*/ 18 w 70"/>
              <a:gd name="T49" fmla="*/ 50 h 114"/>
              <a:gd name="T50" fmla="*/ 6 w 70"/>
              <a:gd name="T51" fmla="*/ 50 h 114"/>
              <a:gd name="T52" fmla="*/ 2 w 70"/>
              <a:gd name="T53" fmla="*/ 42 h 114"/>
              <a:gd name="T54" fmla="*/ 0 w 70"/>
              <a:gd name="T55" fmla="*/ 34 h 114"/>
              <a:gd name="T56" fmla="*/ 4 w 70"/>
              <a:gd name="T57" fmla="*/ 28 h 114"/>
              <a:gd name="T58" fmla="*/ 14 w 70"/>
              <a:gd name="T59" fmla="*/ 22 h 114"/>
              <a:gd name="T60" fmla="*/ 12 w 70"/>
              <a:gd name="T61" fmla="*/ 14 h 114"/>
              <a:gd name="T62" fmla="*/ 16 w 70"/>
              <a:gd name="T63" fmla="*/ 8 h 114"/>
              <a:gd name="T64" fmla="*/ 22 w 70"/>
              <a:gd name="T65" fmla="*/ 0 h 114"/>
              <a:gd name="T66" fmla="*/ 28 w 70"/>
              <a:gd name="T67" fmla="*/ 2 h 114"/>
              <a:gd name="T68" fmla="*/ 34 w 70"/>
              <a:gd name="T69" fmla="*/ 6 h 114"/>
              <a:gd name="T70" fmla="*/ 42 w 70"/>
              <a:gd name="T71" fmla="*/ 12 h 114"/>
              <a:gd name="T72" fmla="*/ 44 w 70"/>
              <a:gd name="T73" fmla="*/ 16 h 114"/>
              <a:gd name="T74" fmla="*/ 44 w 70"/>
              <a:gd name="T75" fmla="*/ 22 h 114"/>
              <a:gd name="T76" fmla="*/ 42 w 70"/>
              <a:gd name="T77"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114">
                <a:moveTo>
                  <a:pt x="42" y="30"/>
                </a:moveTo>
                <a:lnTo>
                  <a:pt x="50" y="24"/>
                </a:lnTo>
                <a:lnTo>
                  <a:pt x="58" y="30"/>
                </a:lnTo>
                <a:lnTo>
                  <a:pt x="66" y="40"/>
                </a:lnTo>
                <a:lnTo>
                  <a:pt x="64" y="48"/>
                </a:lnTo>
                <a:lnTo>
                  <a:pt x="60" y="54"/>
                </a:lnTo>
                <a:lnTo>
                  <a:pt x="54" y="62"/>
                </a:lnTo>
                <a:lnTo>
                  <a:pt x="52" y="72"/>
                </a:lnTo>
                <a:lnTo>
                  <a:pt x="56" y="76"/>
                </a:lnTo>
                <a:lnTo>
                  <a:pt x="60" y="82"/>
                </a:lnTo>
                <a:lnTo>
                  <a:pt x="64" y="86"/>
                </a:lnTo>
                <a:lnTo>
                  <a:pt x="66" y="90"/>
                </a:lnTo>
                <a:lnTo>
                  <a:pt x="70" y="100"/>
                </a:lnTo>
                <a:lnTo>
                  <a:pt x="66" y="104"/>
                </a:lnTo>
                <a:lnTo>
                  <a:pt x="58" y="108"/>
                </a:lnTo>
                <a:lnTo>
                  <a:pt x="52" y="112"/>
                </a:lnTo>
                <a:lnTo>
                  <a:pt x="42" y="114"/>
                </a:lnTo>
                <a:lnTo>
                  <a:pt x="34" y="114"/>
                </a:lnTo>
                <a:lnTo>
                  <a:pt x="26" y="106"/>
                </a:lnTo>
                <a:lnTo>
                  <a:pt x="20" y="98"/>
                </a:lnTo>
                <a:lnTo>
                  <a:pt x="20" y="90"/>
                </a:lnTo>
                <a:lnTo>
                  <a:pt x="20" y="78"/>
                </a:lnTo>
                <a:lnTo>
                  <a:pt x="26" y="72"/>
                </a:lnTo>
                <a:lnTo>
                  <a:pt x="22" y="62"/>
                </a:lnTo>
                <a:lnTo>
                  <a:pt x="18" y="50"/>
                </a:lnTo>
                <a:lnTo>
                  <a:pt x="6" y="50"/>
                </a:lnTo>
                <a:lnTo>
                  <a:pt x="2" y="42"/>
                </a:lnTo>
                <a:lnTo>
                  <a:pt x="0" y="34"/>
                </a:lnTo>
                <a:lnTo>
                  <a:pt x="4" y="28"/>
                </a:lnTo>
                <a:lnTo>
                  <a:pt x="14" y="22"/>
                </a:lnTo>
                <a:lnTo>
                  <a:pt x="12" y="14"/>
                </a:lnTo>
                <a:lnTo>
                  <a:pt x="16" y="8"/>
                </a:lnTo>
                <a:lnTo>
                  <a:pt x="22" y="0"/>
                </a:lnTo>
                <a:lnTo>
                  <a:pt x="28" y="2"/>
                </a:lnTo>
                <a:lnTo>
                  <a:pt x="34" y="6"/>
                </a:lnTo>
                <a:lnTo>
                  <a:pt x="42" y="12"/>
                </a:lnTo>
                <a:lnTo>
                  <a:pt x="44" y="16"/>
                </a:lnTo>
                <a:lnTo>
                  <a:pt x="44" y="22"/>
                </a:lnTo>
                <a:lnTo>
                  <a:pt x="42" y="3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6" name="Freeform 78">
            <a:extLst>
              <a:ext uri="{FF2B5EF4-FFF2-40B4-BE49-F238E27FC236}">
                <a16:creationId xmlns:a16="http://schemas.microsoft.com/office/drawing/2014/main" id="{2BEB15BA-FD97-4C25-B066-059C507CD384}"/>
              </a:ext>
            </a:extLst>
          </p:cNvPr>
          <p:cNvSpPr>
            <a:spLocks/>
          </p:cNvSpPr>
          <p:nvPr/>
        </p:nvSpPr>
        <p:spPr bwMode="gray">
          <a:xfrm>
            <a:off x="4052983" y="4661732"/>
            <a:ext cx="94642" cy="118930"/>
          </a:xfrm>
          <a:custGeom>
            <a:avLst/>
            <a:gdLst>
              <a:gd name="T0" fmla="*/ 6 w 48"/>
              <a:gd name="T1" fmla="*/ 0 h 60"/>
              <a:gd name="T2" fmla="*/ 16 w 48"/>
              <a:gd name="T3" fmla="*/ 2 h 60"/>
              <a:gd name="T4" fmla="*/ 28 w 48"/>
              <a:gd name="T5" fmla="*/ 6 h 60"/>
              <a:gd name="T6" fmla="*/ 38 w 48"/>
              <a:gd name="T7" fmla="*/ 12 h 60"/>
              <a:gd name="T8" fmla="*/ 44 w 48"/>
              <a:gd name="T9" fmla="*/ 20 h 60"/>
              <a:gd name="T10" fmla="*/ 48 w 48"/>
              <a:gd name="T11" fmla="*/ 26 h 60"/>
              <a:gd name="T12" fmla="*/ 42 w 48"/>
              <a:gd name="T13" fmla="*/ 34 h 60"/>
              <a:gd name="T14" fmla="*/ 36 w 48"/>
              <a:gd name="T15" fmla="*/ 46 h 60"/>
              <a:gd name="T16" fmla="*/ 30 w 48"/>
              <a:gd name="T17" fmla="*/ 60 h 60"/>
              <a:gd name="T18" fmla="*/ 24 w 48"/>
              <a:gd name="T19" fmla="*/ 56 h 60"/>
              <a:gd name="T20" fmla="*/ 14 w 48"/>
              <a:gd name="T21" fmla="*/ 54 h 60"/>
              <a:gd name="T22" fmla="*/ 8 w 48"/>
              <a:gd name="T23" fmla="*/ 58 h 60"/>
              <a:gd name="T24" fmla="*/ 2 w 48"/>
              <a:gd name="T25" fmla="*/ 58 h 60"/>
              <a:gd name="T26" fmla="*/ 2 w 48"/>
              <a:gd name="T27" fmla="*/ 50 h 60"/>
              <a:gd name="T28" fmla="*/ 6 w 48"/>
              <a:gd name="T29" fmla="*/ 36 h 60"/>
              <a:gd name="T30" fmla="*/ 10 w 48"/>
              <a:gd name="T31" fmla="*/ 28 h 60"/>
              <a:gd name="T32" fmla="*/ 4 w 48"/>
              <a:gd name="T33" fmla="*/ 24 h 60"/>
              <a:gd name="T34" fmla="*/ 0 w 48"/>
              <a:gd name="T35" fmla="*/ 18 h 60"/>
              <a:gd name="T36" fmla="*/ 0 w 48"/>
              <a:gd name="T37" fmla="*/ 12 h 60"/>
              <a:gd name="T38" fmla="*/ 2 w 48"/>
              <a:gd name="T39" fmla="*/ 6 h 60"/>
              <a:gd name="T40" fmla="*/ 6 w 48"/>
              <a:gd name="T4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0">
                <a:moveTo>
                  <a:pt x="6" y="0"/>
                </a:moveTo>
                <a:lnTo>
                  <a:pt x="16" y="2"/>
                </a:lnTo>
                <a:lnTo>
                  <a:pt x="28" y="6"/>
                </a:lnTo>
                <a:lnTo>
                  <a:pt x="38" y="12"/>
                </a:lnTo>
                <a:lnTo>
                  <a:pt x="44" y="20"/>
                </a:lnTo>
                <a:lnTo>
                  <a:pt x="48" y="26"/>
                </a:lnTo>
                <a:lnTo>
                  <a:pt x="42" y="34"/>
                </a:lnTo>
                <a:lnTo>
                  <a:pt x="36" y="46"/>
                </a:lnTo>
                <a:lnTo>
                  <a:pt x="30" y="60"/>
                </a:lnTo>
                <a:lnTo>
                  <a:pt x="24" y="56"/>
                </a:lnTo>
                <a:lnTo>
                  <a:pt x="14" y="54"/>
                </a:lnTo>
                <a:lnTo>
                  <a:pt x="8" y="58"/>
                </a:lnTo>
                <a:lnTo>
                  <a:pt x="2" y="58"/>
                </a:lnTo>
                <a:lnTo>
                  <a:pt x="2" y="50"/>
                </a:lnTo>
                <a:lnTo>
                  <a:pt x="6" y="36"/>
                </a:lnTo>
                <a:lnTo>
                  <a:pt x="10" y="28"/>
                </a:lnTo>
                <a:lnTo>
                  <a:pt x="4" y="24"/>
                </a:lnTo>
                <a:lnTo>
                  <a:pt x="0" y="18"/>
                </a:lnTo>
                <a:lnTo>
                  <a:pt x="0" y="12"/>
                </a:lnTo>
                <a:lnTo>
                  <a:pt x="2" y="6"/>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7" name="Freeform 79">
            <a:extLst>
              <a:ext uri="{FF2B5EF4-FFF2-40B4-BE49-F238E27FC236}">
                <a16:creationId xmlns:a16="http://schemas.microsoft.com/office/drawing/2014/main" id="{90813E70-9715-4D53-9E87-25A38F2502B5}"/>
              </a:ext>
            </a:extLst>
          </p:cNvPr>
          <p:cNvSpPr>
            <a:spLocks/>
          </p:cNvSpPr>
          <p:nvPr/>
        </p:nvSpPr>
        <p:spPr bwMode="gray">
          <a:xfrm>
            <a:off x="3946511" y="4657768"/>
            <a:ext cx="126189" cy="126858"/>
          </a:xfrm>
          <a:custGeom>
            <a:avLst/>
            <a:gdLst>
              <a:gd name="T0" fmla="*/ 14 w 64"/>
              <a:gd name="T1" fmla="*/ 0 h 64"/>
              <a:gd name="T2" fmla="*/ 22 w 64"/>
              <a:gd name="T3" fmla="*/ 0 h 64"/>
              <a:gd name="T4" fmla="*/ 32 w 64"/>
              <a:gd name="T5" fmla="*/ 2 h 64"/>
              <a:gd name="T6" fmla="*/ 36 w 64"/>
              <a:gd name="T7" fmla="*/ 2 h 64"/>
              <a:gd name="T8" fmla="*/ 42 w 64"/>
              <a:gd name="T9" fmla="*/ 2 h 64"/>
              <a:gd name="T10" fmla="*/ 48 w 64"/>
              <a:gd name="T11" fmla="*/ 2 h 64"/>
              <a:gd name="T12" fmla="*/ 54 w 64"/>
              <a:gd name="T13" fmla="*/ 2 h 64"/>
              <a:gd name="T14" fmla="*/ 60 w 64"/>
              <a:gd name="T15" fmla="*/ 2 h 64"/>
              <a:gd name="T16" fmla="*/ 54 w 64"/>
              <a:gd name="T17" fmla="*/ 14 h 64"/>
              <a:gd name="T18" fmla="*/ 54 w 64"/>
              <a:gd name="T19" fmla="*/ 20 h 64"/>
              <a:gd name="T20" fmla="*/ 58 w 64"/>
              <a:gd name="T21" fmla="*/ 26 h 64"/>
              <a:gd name="T22" fmla="*/ 64 w 64"/>
              <a:gd name="T23" fmla="*/ 30 h 64"/>
              <a:gd name="T24" fmla="*/ 56 w 64"/>
              <a:gd name="T25" fmla="*/ 52 h 64"/>
              <a:gd name="T26" fmla="*/ 56 w 64"/>
              <a:gd name="T27" fmla="*/ 60 h 64"/>
              <a:gd name="T28" fmla="*/ 50 w 64"/>
              <a:gd name="T29" fmla="*/ 58 h 64"/>
              <a:gd name="T30" fmla="*/ 42 w 64"/>
              <a:gd name="T31" fmla="*/ 56 h 64"/>
              <a:gd name="T32" fmla="*/ 36 w 64"/>
              <a:gd name="T33" fmla="*/ 54 h 64"/>
              <a:gd name="T34" fmla="*/ 32 w 64"/>
              <a:gd name="T35" fmla="*/ 54 h 64"/>
              <a:gd name="T36" fmla="*/ 32 w 64"/>
              <a:gd name="T37" fmla="*/ 60 h 64"/>
              <a:gd name="T38" fmla="*/ 30 w 64"/>
              <a:gd name="T39" fmla="*/ 64 h 64"/>
              <a:gd name="T40" fmla="*/ 28 w 64"/>
              <a:gd name="T41" fmla="*/ 64 h 64"/>
              <a:gd name="T42" fmla="*/ 22 w 64"/>
              <a:gd name="T43" fmla="*/ 64 h 64"/>
              <a:gd name="T44" fmla="*/ 18 w 64"/>
              <a:gd name="T45" fmla="*/ 60 h 64"/>
              <a:gd name="T46" fmla="*/ 12 w 64"/>
              <a:gd name="T47" fmla="*/ 46 h 64"/>
              <a:gd name="T48" fmla="*/ 0 w 64"/>
              <a:gd name="T49" fmla="*/ 32 h 64"/>
              <a:gd name="T50" fmla="*/ 2 w 64"/>
              <a:gd name="T51" fmla="*/ 22 h 64"/>
              <a:gd name="T52" fmla="*/ 8 w 64"/>
              <a:gd name="T53" fmla="*/ 14 h 64"/>
              <a:gd name="T54" fmla="*/ 12 w 64"/>
              <a:gd name="T55" fmla="*/ 8 h 64"/>
              <a:gd name="T56" fmla="*/ 14 w 64"/>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64">
                <a:moveTo>
                  <a:pt x="14" y="0"/>
                </a:moveTo>
                <a:lnTo>
                  <a:pt x="22" y="0"/>
                </a:lnTo>
                <a:lnTo>
                  <a:pt x="32" y="2"/>
                </a:lnTo>
                <a:lnTo>
                  <a:pt x="36" y="2"/>
                </a:lnTo>
                <a:lnTo>
                  <a:pt x="42" y="2"/>
                </a:lnTo>
                <a:lnTo>
                  <a:pt x="48" y="2"/>
                </a:lnTo>
                <a:lnTo>
                  <a:pt x="54" y="2"/>
                </a:lnTo>
                <a:lnTo>
                  <a:pt x="60" y="2"/>
                </a:lnTo>
                <a:lnTo>
                  <a:pt x="54" y="14"/>
                </a:lnTo>
                <a:lnTo>
                  <a:pt x="54" y="20"/>
                </a:lnTo>
                <a:lnTo>
                  <a:pt x="58" y="26"/>
                </a:lnTo>
                <a:lnTo>
                  <a:pt x="64" y="30"/>
                </a:lnTo>
                <a:lnTo>
                  <a:pt x="56" y="52"/>
                </a:lnTo>
                <a:lnTo>
                  <a:pt x="56" y="60"/>
                </a:lnTo>
                <a:lnTo>
                  <a:pt x="50" y="58"/>
                </a:lnTo>
                <a:lnTo>
                  <a:pt x="42" y="56"/>
                </a:lnTo>
                <a:lnTo>
                  <a:pt x="36" y="54"/>
                </a:lnTo>
                <a:lnTo>
                  <a:pt x="32" y="54"/>
                </a:lnTo>
                <a:lnTo>
                  <a:pt x="32" y="60"/>
                </a:lnTo>
                <a:lnTo>
                  <a:pt x="30" y="64"/>
                </a:lnTo>
                <a:lnTo>
                  <a:pt x="28" y="64"/>
                </a:lnTo>
                <a:lnTo>
                  <a:pt x="22" y="64"/>
                </a:lnTo>
                <a:lnTo>
                  <a:pt x="18" y="60"/>
                </a:lnTo>
                <a:lnTo>
                  <a:pt x="12" y="46"/>
                </a:lnTo>
                <a:lnTo>
                  <a:pt x="0" y="32"/>
                </a:lnTo>
                <a:lnTo>
                  <a:pt x="2" y="22"/>
                </a:lnTo>
                <a:lnTo>
                  <a:pt x="8" y="14"/>
                </a:lnTo>
                <a:lnTo>
                  <a:pt x="12" y="8"/>
                </a:lnTo>
                <a:lnTo>
                  <a:pt x="1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8" name="Freeform 80">
            <a:extLst>
              <a:ext uri="{FF2B5EF4-FFF2-40B4-BE49-F238E27FC236}">
                <a16:creationId xmlns:a16="http://schemas.microsoft.com/office/drawing/2014/main" id="{A0769C81-5AB0-4136-BBBF-7BCF830047CB}"/>
              </a:ext>
            </a:extLst>
          </p:cNvPr>
          <p:cNvSpPr>
            <a:spLocks/>
          </p:cNvSpPr>
          <p:nvPr/>
        </p:nvSpPr>
        <p:spPr bwMode="gray">
          <a:xfrm>
            <a:off x="3216983" y="4844091"/>
            <a:ext cx="390396" cy="578791"/>
          </a:xfrm>
          <a:custGeom>
            <a:avLst/>
            <a:gdLst>
              <a:gd name="T0" fmla="*/ 6 w 198"/>
              <a:gd name="T1" fmla="*/ 60 h 292"/>
              <a:gd name="T2" fmla="*/ 16 w 198"/>
              <a:gd name="T3" fmla="*/ 54 h 292"/>
              <a:gd name="T4" fmla="*/ 24 w 198"/>
              <a:gd name="T5" fmla="*/ 68 h 292"/>
              <a:gd name="T6" fmla="*/ 44 w 198"/>
              <a:gd name="T7" fmla="*/ 70 h 292"/>
              <a:gd name="T8" fmla="*/ 54 w 198"/>
              <a:gd name="T9" fmla="*/ 52 h 292"/>
              <a:gd name="T10" fmla="*/ 72 w 198"/>
              <a:gd name="T11" fmla="*/ 40 h 292"/>
              <a:gd name="T12" fmla="*/ 84 w 198"/>
              <a:gd name="T13" fmla="*/ 34 h 292"/>
              <a:gd name="T14" fmla="*/ 94 w 198"/>
              <a:gd name="T15" fmla="*/ 18 h 292"/>
              <a:gd name="T16" fmla="*/ 104 w 198"/>
              <a:gd name="T17" fmla="*/ 2 h 292"/>
              <a:gd name="T18" fmla="*/ 114 w 198"/>
              <a:gd name="T19" fmla="*/ 14 h 292"/>
              <a:gd name="T20" fmla="*/ 126 w 198"/>
              <a:gd name="T21" fmla="*/ 26 h 292"/>
              <a:gd name="T22" fmla="*/ 172 w 198"/>
              <a:gd name="T23" fmla="*/ 36 h 292"/>
              <a:gd name="T24" fmla="*/ 176 w 198"/>
              <a:gd name="T25" fmla="*/ 48 h 292"/>
              <a:gd name="T26" fmla="*/ 172 w 198"/>
              <a:gd name="T27" fmla="*/ 64 h 292"/>
              <a:gd name="T28" fmla="*/ 172 w 198"/>
              <a:gd name="T29" fmla="*/ 68 h 292"/>
              <a:gd name="T30" fmla="*/ 142 w 198"/>
              <a:gd name="T31" fmla="*/ 76 h 292"/>
              <a:gd name="T32" fmla="*/ 130 w 198"/>
              <a:gd name="T33" fmla="*/ 98 h 292"/>
              <a:gd name="T34" fmla="*/ 116 w 198"/>
              <a:gd name="T35" fmla="*/ 116 h 292"/>
              <a:gd name="T36" fmla="*/ 124 w 198"/>
              <a:gd name="T37" fmla="*/ 138 h 292"/>
              <a:gd name="T38" fmla="*/ 144 w 198"/>
              <a:gd name="T39" fmla="*/ 158 h 292"/>
              <a:gd name="T40" fmla="*/ 162 w 198"/>
              <a:gd name="T41" fmla="*/ 156 h 292"/>
              <a:gd name="T42" fmla="*/ 172 w 198"/>
              <a:gd name="T43" fmla="*/ 154 h 292"/>
              <a:gd name="T44" fmla="*/ 170 w 198"/>
              <a:gd name="T45" fmla="*/ 172 h 292"/>
              <a:gd name="T46" fmla="*/ 188 w 198"/>
              <a:gd name="T47" fmla="*/ 174 h 292"/>
              <a:gd name="T48" fmla="*/ 198 w 198"/>
              <a:gd name="T49" fmla="*/ 208 h 292"/>
              <a:gd name="T50" fmla="*/ 196 w 198"/>
              <a:gd name="T51" fmla="*/ 228 h 292"/>
              <a:gd name="T52" fmla="*/ 190 w 198"/>
              <a:gd name="T53" fmla="*/ 240 h 292"/>
              <a:gd name="T54" fmla="*/ 192 w 198"/>
              <a:gd name="T55" fmla="*/ 256 h 292"/>
              <a:gd name="T56" fmla="*/ 194 w 198"/>
              <a:gd name="T57" fmla="*/ 268 h 292"/>
              <a:gd name="T58" fmla="*/ 184 w 198"/>
              <a:gd name="T59" fmla="*/ 282 h 292"/>
              <a:gd name="T60" fmla="*/ 174 w 198"/>
              <a:gd name="T61" fmla="*/ 292 h 292"/>
              <a:gd name="T62" fmla="*/ 140 w 198"/>
              <a:gd name="T63" fmla="*/ 268 h 292"/>
              <a:gd name="T64" fmla="*/ 100 w 198"/>
              <a:gd name="T65" fmla="*/ 248 h 292"/>
              <a:gd name="T66" fmla="*/ 76 w 198"/>
              <a:gd name="T67" fmla="*/ 222 h 292"/>
              <a:gd name="T68" fmla="*/ 72 w 198"/>
              <a:gd name="T69" fmla="*/ 198 h 292"/>
              <a:gd name="T70" fmla="*/ 56 w 198"/>
              <a:gd name="T71" fmla="*/ 172 h 292"/>
              <a:gd name="T72" fmla="*/ 36 w 198"/>
              <a:gd name="T73" fmla="*/ 132 h 292"/>
              <a:gd name="T74" fmla="*/ 16 w 198"/>
              <a:gd name="T75" fmla="*/ 102 h 292"/>
              <a:gd name="T76" fmla="*/ 6 w 198"/>
              <a:gd name="T77" fmla="*/ 84 h 292"/>
              <a:gd name="T78" fmla="*/ 2 w 198"/>
              <a:gd name="T79" fmla="*/ 6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8" h="292">
                <a:moveTo>
                  <a:pt x="2" y="68"/>
                </a:moveTo>
                <a:lnTo>
                  <a:pt x="6" y="60"/>
                </a:lnTo>
                <a:lnTo>
                  <a:pt x="10" y="54"/>
                </a:lnTo>
                <a:lnTo>
                  <a:pt x="16" y="54"/>
                </a:lnTo>
                <a:lnTo>
                  <a:pt x="16" y="66"/>
                </a:lnTo>
                <a:lnTo>
                  <a:pt x="24" y="68"/>
                </a:lnTo>
                <a:lnTo>
                  <a:pt x="34" y="78"/>
                </a:lnTo>
                <a:lnTo>
                  <a:pt x="44" y="70"/>
                </a:lnTo>
                <a:lnTo>
                  <a:pt x="48" y="60"/>
                </a:lnTo>
                <a:lnTo>
                  <a:pt x="54" y="52"/>
                </a:lnTo>
                <a:lnTo>
                  <a:pt x="60" y="46"/>
                </a:lnTo>
                <a:lnTo>
                  <a:pt x="72" y="40"/>
                </a:lnTo>
                <a:lnTo>
                  <a:pt x="80" y="36"/>
                </a:lnTo>
                <a:lnTo>
                  <a:pt x="84" y="34"/>
                </a:lnTo>
                <a:lnTo>
                  <a:pt x="90" y="26"/>
                </a:lnTo>
                <a:lnTo>
                  <a:pt x="94" y="18"/>
                </a:lnTo>
                <a:lnTo>
                  <a:pt x="96" y="0"/>
                </a:lnTo>
                <a:lnTo>
                  <a:pt x="104" y="2"/>
                </a:lnTo>
                <a:lnTo>
                  <a:pt x="110" y="10"/>
                </a:lnTo>
                <a:lnTo>
                  <a:pt x="114" y="14"/>
                </a:lnTo>
                <a:lnTo>
                  <a:pt x="120" y="20"/>
                </a:lnTo>
                <a:lnTo>
                  <a:pt x="126" y="26"/>
                </a:lnTo>
                <a:lnTo>
                  <a:pt x="130" y="34"/>
                </a:lnTo>
                <a:lnTo>
                  <a:pt x="172" y="36"/>
                </a:lnTo>
                <a:lnTo>
                  <a:pt x="174" y="42"/>
                </a:lnTo>
                <a:lnTo>
                  <a:pt x="176" y="48"/>
                </a:lnTo>
                <a:lnTo>
                  <a:pt x="172" y="54"/>
                </a:lnTo>
                <a:lnTo>
                  <a:pt x="172" y="64"/>
                </a:lnTo>
                <a:lnTo>
                  <a:pt x="178" y="68"/>
                </a:lnTo>
                <a:lnTo>
                  <a:pt x="172" y="68"/>
                </a:lnTo>
                <a:lnTo>
                  <a:pt x="156" y="70"/>
                </a:lnTo>
                <a:lnTo>
                  <a:pt x="142" y="76"/>
                </a:lnTo>
                <a:lnTo>
                  <a:pt x="132" y="88"/>
                </a:lnTo>
                <a:lnTo>
                  <a:pt x="130" y="98"/>
                </a:lnTo>
                <a:lnTo>
                  <a:pt x="124" y="104"/>
                </a:lnTo>
                <a:lnTo>
                  <a:pt x="116" y="116"/>
                </a:lnTo>
                <a:lnTo>
                  <a:pt x="120" y="126"/>
                </a:lnTo>
                <a:lnTo>
                  <a:pt x="124" y="138"/>
                </a:lnTo>
                <a:lnTo>
                  <a:pt x="134" y="148"/>
                </a:lnTo>
                <a:lnTo>
                  <a:pt x="144" y="158"/>
                </a:lnTo>
                <a:lnTo>
                  <a:pt x="152" y="160"/>
                </a:lnTo>
                <a:lnTo>
                  <a:pt x="162" y="156"/>
                </a:lnTo>
                <a:lnTo>
                  <a:pt x="170" y="148"/>
                </a:lnTo>
                <a:lnTo>
                  <a:pt x="172" y="154"/>
                </a:lnTo>
                <a:lnTo>
                  <a:pt x="168" y="166"/>
                </a:lnTo>
                <a:lnTo>
                  <a:pt x="170" y="172"/>
                </a:lnTo>
                <a:lnTo>
                  <a:pt x="176" y="172"/>
                </a:lnTo>
                <a:lnTo>
                  <a:pt x="188" y="174"/>
                </a:lnTo>
                <a:lnTo>
                  <a:pt x="198" y="200"/>
                </a:lnTo>
                <a:lnTo>
                  <a:pt x="198" y="208"/>
                </a:lnTo>
                <a:lnTo>
                  <a:pt x="196" y="222"/>
                </a:lnTo>
                <a:lnTo>
                  <a:pt x="196" y="228"/>
                </a:lnTo>
                <a:lnTo>
                  <a:pt x="194" y="230"/>
                </a:lnTo>
                <a:lnTo>
                  <a:pt x="190" y="240"/>
                </a:lnTo>
                <a:lnTo>
                  <a:pt x="188" y="250"/>
                </a:lnTo>
                <a:lnTo>
                  <a:pt x="192" y="256"/>
                </a:lnTo>
                <a:lnTo>
                  <a:pt x="198" y="262"/>
                </a:lnTo>
                <a:lnTo>
                  <a:pt x="194" y="268"/>
                </a:lnTo>
                <a:lnTo>
                  <a:pt x="186" y="276"/>
                </a:lnTo>
                <a:lnTo>
                  <a:pt x="184" y="282"/>
                </a:lnTo>
                <a:lnTo>
                  <a:pt x="180" y="290"/>
                </a:lnTo>
                <a:lnTo>
                  <a:pt x="174" y="292"/>
                </a:lnTo>
                <a:lnTo>
                  <a:pt x="158" y="278"/>
                </a:lnTo>
                <a:lnTo>
                  <a:pt x="140" y="268"/>
                </a:lnTo>
                <a:lnTo>
                  <a:pt x="118" y="258"/>
                </a:lnTo>
                <a:lnTo>
                  <a:pt x="100" y="248"/>
                </a:lnTo>
                <a:lnTo>
                  <a:pt x="90" y="236"/>
                </a:lnTo>
                <a:lnTo>
                  <a:pt x="76" y="222"/>
                </a:lnTo>
                <a:lnTo>
                  <a:pt x="82" y="214"/>
                </a:lnTo>
                <a:lnTo>
                  <a:pt x="72" y="198"/>
                </a:lnTo>
                <a:lnTo>
                  <a:pt x="64" y="186"/>
                </a:lnTo>
                <a:lnTo>
                  <a:pt x="56" y="172"/>
                </a:lnTo>
                <a:lnTo>
                  <a:pt x="48" y="152"/>
                </a:lnTo>
                <a:lnTo>
                  <a:pt x="36" y="132"/>
                </a:lnTo>
                <a:lnTo>
                  <a:pt x="26" y="112"/>
                </a:lnTo>
                <a:lnTo>
                  <a:pt x="16" y="102"/>
                </a:lnTo>
                <a:lnTo>
                  <a:pt x="4" y="96"/>
                </a:lnTo>
                <a:lnTo>
                  <a:pt x="6" y="84"/>
                </a:lnTo>
                <a:lnTo>
                  <a:pt x="0" y="78"/>
                </a:lnTo>
                <a:lnTo>
                  <a:pt x="2" y="6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89" name="Freeform 81">
            <a:extLst>
              <a:ext uri="{FF2B5EF4-FFF2-40B4-BE49-F238E27FC236}">
                <a16:creationId xmlns:a16="http://schemas.microsoft.com/office/drawing/2014/main" id="{3CF5A303-F27C-4ABB-9B90-7FD8D00324B7}"/>
              </a:ext>
            </a:extLst>
          </p:cNvPr>
          <p:cNvSpPr>
            <a:spLocks/>
          </p:cNvSpPr>
          <p:nvPr/>
        </p:nvSpPr>
        <p:spPr bwMode="gray">
          <a:xfrm>
            <a:off x="3587662" y="5153307"/>
            <a:ext cx="370679" cy="424181"/>
          </a:xfrm>
          <a:custGeom>
            <a:avLst/>
            <a:gdLst>
              <a:gd name="T0" fmla="*/ 54 w 188"/>
              <a:gd name="T1" fmla="*/ 0 h 214"/>
              <a:gd name="T2" fmla="*/ 68 w 188"/>
              <a:gd name="T3" fmla="*/ 28 h 214"/>
              <a:gd name="T4" fmla="*/ 100 w 188"/>
              <a:gd name="T5" fmla="*/ 44 h 214"/>
              <a:gd name="T6" fmla="*/ 122 w 188"/>
              <a:gd name="T7" fmla="*/ 56 h 214"/>
              <a:gd name="T8" fmla="*/ 146 w 188"/>
              <a:gd name="T9" fmla="*/ 74 h 214"/>
              <a:gd name="T10" fmla="*/ 146 w 188"/>
              <a:gd name="T11" fmla="*/ 90 h 214"/>
              <a:gd name="T12" fmla="*/ 160 w 188"/>
              <a:gd name="T13" fmla="*/ 102 h 214"/>
              <a:gd name="T14" fmla="*/ 174 w 188"/>
              <a:gd name="T15" fmla="*/ 110 h 214"/>
              <a:gd name="T16" fmla="*/ 186 w 188"/>
              <a:gd name="T17" fmla="*/ 126 h 214"/>
              <a:gd name="T18" fmla="*/ 188 w 188"/>
              <a:gd name="T19" fmla="*/ 142 h 214"/>
              <a:gd name="T20" fmla="*/ 184 w 188"/>
              <a:gd name="T21" fmla="*/ 162 h 214"/>
              <a:gd name="T22" fmla="*/ 174 w 188"/>
              <a:gd name="T23" fmla="*/ 160 h 214"/>
              <a:gd name="T24" fmla="*/ 152 w 188"/>
              <a:gd name="T25" fmla="*/ 152 h 214"/>
              <a:gd name="T26" fmla="*/ 126 w 188"/>
              <a:gd name="T27" fmla="*/ 158 h 214"/>
              <a:gd name="T28" fmla="*/ 114 w 188"/>
              <a:gd name="T29" fmla="*/ 174 h 214"/>
              <a:gd name="T30" fmla="*/ 112 w 188"/>
              <a:gd name="T31" fmla="*/ 194 h 214"/>
              <a:gd name="T32" fmla="*/ 90 w 188"/>
              <a:gd name="T33" fmla="*/ 198 h 214"/>
              <a:gd name="T34" fmla="*/ 74 w 188"/>
              <a:gd name="T35" fmla="*/ 200 h 214"/>
              <a:gd name="T36" fmla="*/ 52 w 188"/>
              <a:gd name="T37" fmla="*/ 196 h 214"/>
              <a:gd name="T38" fmla="*/ 40 w 188"/>
              <a:gd name="T39" fmla="*/ 210 h 214"/>
              <a:gd name="T40" fmla="*/ 32 w 188"/>
              <a:gd name="T41" fmla="*/ 214 h 214"/>
              <a:gd name="T42" fmla="*/ 28 w 188"/>
              <a:gd name="T43" fmla="*/ 214 h 214"/>
              <a:gd name="T44" fmla="*/ 22 w 188"/>
              <a:gd name="T45" fmla="*/ 186 h 214"/>
              <a:gd name="T46" fmla="*/ 14 w 188"/>
              <a:gd name="T47" fmla="*/ 156 h 214"/>
              <a:gd name="T48" fmla="*/ 2 w 188"/>
              <a:gd name="T49" fmla="*/ 126 h 214"/>
              <a:gd name="T50" fmla="*/ 6 w 188"/>
              <a:gd name="T51" fmla="*/ 112 h 214"/>
              <a:gd name="T52" fmla="*/ 4 w 188"/>
              <a:gd name="T53" fmla="*/ 100 h 214"/>
              <a:gd name="T54" fmla="*/ 2 w 188"/>
              <a:gd name="T55" fmla="*/ 84 h 214"/>
              <a:gd name="T56" fmla="*/ 8 w 188"/>
              <a:gd name="T57" fmla="*/ 72 h 214"/>
              <a:gd name="T58" fmla="*/ 10 w 188"/>
              <a:gd name="T59" fmla="*/ 44 h 214"/>
              <a:gd name="T60" fmla="*/ 10 w 188"/>
              <a:gd name="T61" fmla="*/ 18 h 214"/>
              <a:gd name="T62" fmla="*/ 34 w 188"/>
              <a:gd name="T63" fmla="*/ 1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214">
                <a:moveTo>
                  <a:pt x="42" y="4"/>
                </a:moveTo>
                <a:lnTo>
                  <a:pt x="54" y="0"/>
                </a:lnTo>
                <a:lnTo>
                  <a:pt x="66" y="0"/>
                </a:lnTo>
                <a:lnTo>
                  <a:pt x="68" y="28"/>
                </a:lnTo>
                <a:lnTo>
                  <a:pt x="80" y="40"/>
                </a:lnTo>
                <a:lnTo>
                  <a:pt x="100" y="44"/>
                </a:lnTo>
                <a:lnTo>
                  <a:pt x="104" y="50"/>
                </a:lnTo>
                <a:lnTo>
                  <a:pt x="122" y="56"/>
                </a:lnTo>
                <a:lnTo>
                  <a:pt x="142" y="62"/>
                </a:lnTo>
                <a:lnTo>
                  <a:pt x="146" y="74"/>
                </a:lnTo>
                <a:lnTo>
                  <a:pt x="148" y="82"/>
                </a:lnTo>
                <a:lnTo>
                  <a:pt x="146" y="90"/>
                </a:lnTo>
                <a:lnTo>
                  <a:pt x="148" y="102"/>
                </a:lnTo>
                <a:lnTo>
                  <a:pt x="160" y="102"/>
                </a:lnTo>
                <a:lnTo>
                  <a:pt x="176" y="102"/>
                </a:lnTo>
                <a:lnTo>
                  <a:pt x="174" y="110"/>
                </a:lnTo>
                <a:lnTo>
                  <a:pt x="176" y="122"/>
                </a:lnTo>
                <a:lnTo>
                  <a:pt x="186" y="126"/>
                </a:lnTo>
                <a:lnTo>
                  <a:pt x="188" y="136"/>
                </a:lnTo>
                <a:lnTo>
                  <a:pt x="188" y="142"/>
                </a:lnTo>
                <a:lnTo>
                  <a:pt x="180" y="156"/>
                </a:lnTo>
                <a:lnTo>
                  <a:pt x="184" y="162"/>
                </a:lnTo>
                <a:lnTo>
                  <a:pt x="180" y="166"/>
                </a:lnTo>
                <a:lnTo>
                  <a:pt x="174" y="160"/>
                </a:lnTo>
                <a:lnTo>
                  <a:pt x="164" y="154"/>
                </a:lnTo>
                <a:lnTo>
                  <a:pt x="152" y="152"/>
                </a:lnTo>
                <a:lnTo>
                  <a:pt x="136" y="154"/>
                </a:lnTo>
                <a:lnTo>
                  <a:pt x="126" y="158"/>
                </a:lnTo>
                <a:lnTo>
                  <a:pt x="120" y="160"/>
                </a:lnTo>
                <a:lnTo>
                  <a:pt x="114" y="174"/>
                </a:lnTo>
                <a:lnTo>
                  <a:pt x="114" y="184"/>
                </a:lnTo>
                <a:lnTo>
                  <a:pt x="112" y="194"/>
                </a:lnTo>
                <a:lnTo>
                  <a:pt x="108" y="198"/>
                </a:lnTo>
                <a:lnTo>
                  <a:pt x="90" y="198"/>
                </a:lnTo>
                <a:lnTo>
                  <a:pt x="84" y="212"/>
                </a:lnTo>
                <a:lnTo>
                  <a:pt x="74" y="200"/>
                </a:lnTo>
                <a:lnTo>
                  <a:pt x="60" y="202"/>
                </a:lnTo>
                <a:lnTo>
                  <a:pt x="52" y="196"/>
                </a:lnTo>
                <a:lnTo>
                  <a:pt x="44" y="202"/>
                </a:lnTo>
                <a:lnTo>
                  <a:pt x="40" y="210"/>
                </a:lnTo>
                <a:lnTo>
                  <a:pt x="38" y="214"/>
                </a:lnTo>
                <a:lnTo>
                  <a:pt x="32" y="214"/>
                </a:lnTo>
                <a:lnTo>
                  <a:pt x="30" y="214"/>
                </a:lnTo>
                <a:lnTo>
                  <a:pt x="28" y="214"/>
                </a:lnTo>
                <a:lnTo>
                  <a:pt x="26" y="200"/>
                </a:lnTo>
                <a:lnTo>
                  <a:pt x="22" y="186"/>
                </a:lnTo>
                <a:lnTo>
                  <a:pt x="14" y="174"/>
                </a:lnTo>
                <a:lnTo>
                  <a:pt x="14" y="156"/>
                </a:lnTo>
                <a:lnTo>
                  <a:pt x="8" y="144"/>
                </a:lnTo>
                <a:lnTo>
                  <a:pt x="2" y="126"/>
                </a:lnTo>
                <a:lnTo>
                  <a:pt x="0" y="118"/>
                </a:lnTo>
                <a:lnTo>
                  <a:pt x="6" y="112"/>
                </a:lnTo>
                <a:lnTo>
                  <a:pt x="10" y="106"/>
                </a:lnTo>
                <a:lnTo>
                  <a:pt x="4" y="100"/>
                </a:lnTo>
                <a:lnTo>
                  <a:pt x="0" y="94"/>
                </a:lnTo>
                <a:lnTo>
                  <a:pt x="2" y="84"/>
                </a:lnTo>
                <a:lnTo>
                  <a:pt x="6" y="74"/>
                </a:lnTo>
                <a:lnTo>
                  <a:pt x="8" y="72"/>
                </a:lnTo>
                <a:lnTo>
                  <a:pt x="8" y="66"/>
                </a:lnTo>
                <a:lnTo>
                  <a:pt x="10" y="44"/>
                </a:lnTo>
                <a:lnTo>
                  <a:pt x="0" y="18"/>
                </a:lnTo>
                <a:lnTo>
                  <a:pt x="10" y="18"/>
                </a:lnTo>
                <a:lnTo>
                  <a:pt x="20" y="16"/>
                </a:lnTo>
                <a:lnTo>
                  <a:pt x="34" y="10"/>
                </a:lnTo>
                <a:lnTo>
                  <a:pt x="42"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0" name="Freeform 82">
            <a:extLst>
              <a:ext uri="{FF2B5EF4-FFF2-40B4-BE49-F238E27FC236}">
                <a16:creationId xmlns:a16="http://schemas.microsoft.com/office/drawing/2014/main" id="{264214CA-69A8-45AF-88D8-F196959928A5}"/>
              </a:ext>
            </a:extLst>
          </p:cNvPr>
          <p:cNvSpPr>
            <a:spLocks/>
          </p:cNvSpPr>
          <p:nvPr/>
        </p:nvSpPr>
        <p:spPr bwMode="gray">
          <a:xfrm>
            <a:off x="3800606" y="5454595"/>
            <a:ext cx="264207" cy="277502"/>
          </a:xfrm>
          <a:custGeom>
            <a:avLst/>
            <a:gdLst>
              <a:gd name="T0" fmla="*/ 108 w 134"/>
              <a:gd name="T1" fmla="*/ 136 h 140"/>
              <a:gd name="T2" fmla="*/ 94 w 134"/>
              <a:gd name="T3" fmla="*/ 140 h 140"/>
              <a:gd name="T4" fmla="*/ 72 w 134"/>
              <a:gd name="T5" fmla="*/ 140 h 140"/>
              <a:gd name="T6" fmla="*/ 66 w 134"/>
              <a:gd name="T7" fmla="*/ 132 h 140"/>
              <a:gd name="T8" fmla="*/ 72 w 134"/>
              <a:gd name="T9" fmla="*/ 118 h 140"/>
              <a:gd name="T10" fmla="*/ 80 w 134"/>
              <a:gd name="T11" fmla="*/ 106 h 140"/>
              <a:gd name="T12" fmla="*/ 74 w 134"/>
              <a:gd name="T13" fmla="*/ 98 h 140"/>
              <a:gd name="T14" fmla="*/ 54 w 134"/>
              <a:gd name="T15" fmla="*/ 90 h 140"/>
              <a:gd name="T16" fmla="*/ 38 w 134"/>
              <a:gd name="T17" fmla="*/ 78 h 140"/>
              <a:gd name="T18" fmla="*/ 30 w 134"/>
              <a:gd name="T19" fmla="*/ 78 h 140"/>
              <a:gd name="T20" fmla="*/ 20 w 134"/>
              <a:gd name="T21" fmla="*/ 72 h 140"/>
              <a:gd name="T22" fmla="*/ 8 w 134"/>
              <a:gd name="T23" fmla="*/ 60 h 140"/>
              <a:gd name="T24" fmla="*/ 2 w 134"/>
              <a:gd name="T25" fmla="*/ 52 h 140"/>
              <a:gd name="T26" fmla="*/ 0 w 134"/>
              <a:gd name="T27" fmla="*/ 46 h 140"/>
              <a:gd name="T28" fmla="*/ 4 w 134"/>
              <a:gd name="T29" fmla="*/ 42 h 140"/>
              <a:gd name="T30" fmla="*/ 6 w 134"/>
              <a:gd name="T31" fmla="*/ 32 h 140"/>
              <a:gd name="T32" fmla="*/ 6 w 134"/>
              <a:gd name="T33" fmla="*/ 22 h 140"/>
              <a:gd name="T34" fmla="*/ 12 w 134"/>
              <a:gd name="T35" fmla="*/ 8 h 140"/>
              <a:gd name="T36" fmla="*/ 28 w 134"/>
              <a:gd name="T37" fmla="*/ 2 h 140"/>
              <a:gd name="T38" fmla="*/ 44 w 134"/>
              <a:gd name="T39" fmla="*/ 0 h 140"/>
              <a:gd name="T40" fmla="*/ 56 w 134"/>
              <a:gd name="T41" fmla="*/ 2 h 140"/>
              <a:gd name="T42" fmla="*/ 66 w 134"/>
              <a:gd name="T43" fmla="*/ 8 h 140"/>
              <a:gd name="T44" fmla="*/ 72 w 134"/>
              <a:gd name="T45" fmla="*/ 14 h 140"/>
              <a:gd name="T46" fmla="*/ 76 w 134"/>
              <a:gd name="T47" fmla="*/ 22 h 140"/>
              <a:gd name="T48" fmla="*/ 76 w 134"/>
              <a:gd name="T49" fmla="*/ 34 h 140"/>
              <a:gd name="T50" fmla="*/ 76 w 134"/>
              <a:gd name="T51" fmla="*/ 50 h 140"/>
              <a:gd name="T52" fmla="*/ 86 w 134"/>
              <a:gd name="T53" fmla="*/ 50 h 140"/>
              <a:gd name="T54" fmla="*/ 94 w 134"/>
              <a:gd name="T55" fmla="*/ 48 h 140"/>
              <a:gd name="T56" fmla="*/ 104 w 134"/>
              <a:gd name="T57" fmla="*/ 50 h 140"/>
              <a:gd name="T58" fmla="*/ 110 w 134"/>
              <a:gd name="T59" fmla="*/ 54 h 140"/>
              <a:gd name="T60" fmla="*/ 108 w 134"/>
              <a:gd name="T61" fmla="*/ 64 h 140"/>
              <a:gd name="T62" fmla="*/ 112 w 134"/>
              <a:gd name="T63" fmla="*/ 74 h 140"/>
              <a:gd name="T64" fmla="*/ 120 w 134"/>
              <a:gd name="T65" fmla="*/ 82 h 140"/>
              <a:gd name="T66" fmla="*/ 128 w 134"/>
              <a:gd name="T67" fmla="*/ 80 h 140"/>
              <a:gd name="T68" fmla="*/ 134 w 134"/>
              <a:gd name="T69" fmla="*/ 82 h 140"/>
              <a:gd name="T70" fmla="*/ 132 w 134"/>
              <a:gd name="T71" fmla="*/ 90 h 140"/>
              <a:gd name="T72" fmla="*/ 128 w 134"/>
              <a:gd name="T73" fmla="*/ 100 h 140"/>
              <a:gd name="T74" fmla="*/ 128 w 134"/>
              <a:gd name="T75" fmla="*/ 114 h 140"/>
              <a:gd name="T76" fmla="*/ 126 w 134"/>
              <a:gd name="T77" fmla="*/ 120 h 140"/>
              <a:gd name="T78" fmla="*/ 122 w 134"/>
              <a:gd name="T79" fmla="*/ 128 h 140"/>
              <a:gd name="T80" fmla="*/ 112 w 134"/>
              <a:gd name="T81" fmla="*/ 134 h 140"/>
              <a:gd name="T82" fmla="*/ 108 w 134"/>
              <a:gd name="T8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140">
                <a:moveTo>
                  <a:pt x="108" y="136"/>
                </a:moveTo>
                <a:lnTo>
                  <a:pt x="94" y="140"/>
                </a:lnTo>
                <a:lnTo>
                  <a:pt x="72" y="140"/>
                </a:lnTo>
                <a:lnTo>
                  <a:pt x="66" y="132"/>
                </a:lnTo>
                <a:lnTo>
                  <a:pt x="72" y="118"/>
                </a:lnTo>
                <a:lnTo>
                  <a:pt x="80" y="106"/>
                </a:lnTo>
                <a:lnTo>
                  <a:pt x="74" y="98"/>
                </a:lnTo>
                <a:lnTo>
                  <a:pt x="54" y="90"/>
                </a:lnTo>
                <a:lnTo>
                  <a:pt x="38" y="78"/>
                </a:lnTo>
                <a:lnTo>
                  <a:pt x="30" y="78"/>
                </a:lnTo>
                <a:lnTo>
                  <a:pt x="20" y="72"/>
                </a:lnTo>
                <a:lnTo>
                  <a:pt x="8" y="60"/>
                </a:lnTo>
                <a:lnTo>
                  <a:pt x="2" y="52"/>
                </a:lnTo>
                <a:lnTo>
                  <a:pt x="0" y="46"/>
                </a:lnTo>
                <a:lnTo>
                  <a:pt x="4" y="42"/>
                </a:lnTo>
                <a:lnTo>
                  <a:pt x="6" y="32"/>
                </a:lnTo>
                <a:lnTo>
                  <a:pt x="6" y="22"/>
                </a:lnTo>
                <a:lnTo>
                  <a:pt x="12" y="8"/>
                </a:lnTo>
                <a:lnTo>
                  <a:pt x="28" y="2"/>
                </a:lnTo>
                <a:lnTo>
                  <a:pt x="44" y="0"/>
                </a:lnTo>
                <a:lnTo>
                  <a:pt x="56" y="2"/>
                </a:lnTo>
                <a:lnTo>
                  <a:pt x="66" y="8"/>
                </a:lnTo>
                <a:lnTo>
                  <a:pt x="72" y="14"/>
                </a:lnTo>
                <a:lnTo>
                  <a:pt x="76" y="22"/>
                </a:lnTo>
                <a:lnTo>
                  <a:pt x="76" y="34"/>
                </a:lnTo>
                <a:lnTo>
                  <a:pt x="76" y="50"/>
                </a:lnTo>
                <a:lnTo>
                  <a:pt x="86" y="50"/>
                </a:lnTo>
                <a:lnTo>
                  <a:pt x="94" y="48"/>
                </a:lnTo>
                <a:lnTo>
                  <a:pt x="104" y="50"/>
                </a:lnTo>
                <a:lnTo>
                  <a:pt x="110" y="54"/>
                </a:lnTo>
                <a:lnTo>
                  <a:pt x="108" y="64"/>
                </a:lnTo>
                <a:lnTo>
                  <a:pt x="112" y="74"/>
                </a:lnTo>
                <a:lnTo>
                  <a:pt x="120" y="82"/>
                </a:lnTo>
                <a:lnTo>
                  <a:pt x="128" y="80"/>
                </a:lnTo>
                <a:lnTo>
                  <a:pt x="134" y="82"/>
                </a:lnTo>
                <a:lnTo>
                  <a:pt x="132" y="90"/>
                </a:lnTo>
                <a:lnTo>
                  <a:pt x="128" y="100"/>
                </a:lnTo>
                <a:lnTo>
                  <a:pt x="128" y="114"/>
                </a:lnTo>
                <a:lnTo>
                  <a:pt x="126" y="120"/>
                </a:lnTo>
                <a:lnTo>
                  <a:pt x="122" y="128"/>
                </a:lnTo>
                <a:lnTo>
                  <a:pt x="112" y="134"/>
                </a:lnTo>
                <a:lnTo>
                  <a:pt x="108" y="13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1" name="Freeform 83">
            <a:extLst>
              <a:ext uri="{FF2B5EF4-FFF2-40B4-BE49-F238E27FC236}">
                <a16:creationId xmlns:a16="http://schemas.microsoft.com/office/drawing/2014/main" id="{599BC40F-3A28-4E2F-A174-FBD5DC7BB48B}"/>
              </a:ext>
            </a:extLst>
          </p:cNvPr>
          <p:cNvSpPr>
            <a:spLocks/>
          </p:cNvSpPr>
          <p:nvPr/>
        </p:nvSpPr>
        <p:spPr bwMode="gray">
          <a:xfrm>
            <a:off x="3934682" y="5811385"/>
            <a:ext cx="165623" cy="178393"/>
          </a:xfrm>
          <a:custGeom>
            <a:avLst/>
            <a:gdLst>
              <a:gd name="T0" fmla="*/ 20 w 84"/>
              <a:gd name="T1" fmla="*/ 0 h 90"/>
              <a:gd name="T2" fmla="*/ 30 w 84"/>
              <a:gd name="T3" fmla="*/ 8 h 90"/>
              <a:gd name="T4" fmla="*/ 38 w 84"/>
              <a:gd name="T5" fmla="*/ 18 h 90"/>
              <a:gd name="T6" fmla="*/ 46 w 84"/>
              <a:gd name="T7" fmla="*/ 20 h 90"/>
              <a:gd name="T8" fmla="*/ 60 w 84"/>
              <a:gd name="T9" fmla="*/ 28 h 90"/>
              <a:gd name="T10" fmla="*/ 72 w 84"/>
              <a:gd name="T11" fmla="*/ 38 h 90"/>
              <a:gd name="T12" fmla="*/ 78 w 84"/>
              <a:gd name="T13" fmla="*/ 44 h 90"/>
              <a:gd name="T14" fmla="*/ 82 w 84"/>
              <a:gd name="T15" fmla="*/ 50 h 90"/>
              <a:gd name="T16" fmla="*/ 80 w 84"/>
              <a:gd name="T17" fmla="*/ 56 h 90"/>
              <a:gd name="T18" fmla="*/ 80 w 84"/>
              <a:gd name="T19" fmla="*/ 62 h 90"/>
              <a:gd name="T20" fmla="*/ 84 w 84"/>
              <a:gd name="T21" fmla="*/ 66 h 90"/>
              <a:gd name="T22" fmla="*/ 80 w 84"/>
              <a:gd name="T23" fmla="*/ 70 h 90"/>
              <a:gd name="T24" fmla="*/ 72 w 84"/>
              <a:gd name="T25" fmla="*/ 80 h 90"/>
              <a:gd name="T26" fmla="*/ 66 w 84"/>
              <a:gd name="T27" fmla="*/ 86 h 90"/>
              <a:gd name="T28" fmla="*/ 62 w 84"/>
              <a:gd name="T29" fmla="*/ 88 h 90"/>
              <a:gd name="T30" fmla="*/ 60 w 84"/>
              <a:gd name="T31" fmla="*/ 90 h 90"/>
              <a:gd name="T32" fmla="*/ 42 w 84"/>
              <a:gd name="T33" fmla="*/ 88 h 90"/>
              <a:gd name="T34" fmla="*/ 28 w 84"/>
              <a:gd name="T35" fmla="*/ 86 h 90"/>
              <a:gd name="T36" fmla="*/ 18 w 84"/>
              <a:gd name="T37" fmla="*/ 82 h 90"/>
              <a:gd name="T38" fmla="*/ 6 w 84"/>
              <a:gd name="T39" fmla="*/ 80 h 90"/>
              <a:gd name="T40" fmla="*/ 0 w 84"/>
              <a:gd name="T41" fmla="*/ 76 h 90"/>
              <a:gd name="T42" fmla="*/ 0 w 84"/>
              <a:gd name="T43" fmla="*/ 60 h 90"/>
              <a:gd name="T44" fmla="*/ 4 w 84"/>
              <a:gd name="T45" fmla="*/ 40 h 90"/>
              <a:gd name="T46" fmla="*/ 6 w 84"/>
              <a:gd name="T47" fmla="*/ 24 h 90"/>
              <a:gd name="T48" fmla="*/ 10 w 84"/>
              <a:gd name="T49" fmla="*/ 8 h 90"/>
              <a:gd name="T50" fmla="*/ 12 w 84"/>
              <a:gd name="T51" fmla="*/ 2 h 90"/>
              <a:gd name="T52" fmla="*/ 20 w 84"/>
              <a:gd name="T5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90">
                <a:moveTo>
                  <a:pt x="20" y="0"/>
                </a:moveTo>
                <a:lnTo>
                  <a:pt x="30" y="8"/>
                </a:lnTo>
                <a:lnTo>
                  <a:pt x="38" y="18"/>
                </a:lnTo>
                <a:lnTo>
                  <a:pt x="46" y="20"/>
                </a:lnTo>
                <a:lnTo>
                  <a:pt x="60" y="28"/>
                </a:lnTo>
                <a:lnTo>
                  <a:pt x="72" y="38"/>
                </a:lnTo>
                <a:lnTo>
                  <a:pt x="78" y="44"/>
                </a:lnTo>
                <a:lnTo>
                  <a:pt x="82" y="50"/>
                </a:lnTo>
                <a:lnTo>
                  <a:pt x="80" y="56"/>
                </a:lnTo>
                <a:lnTo>
                  <a:pt x="80" y="62"/>
                </a:lnTo>
                <a:lnTo>
                  <a:pt x="84" y="66"/>
                </a:lnTo>
                <a:lnTo>
                  <a:pt x="80" y="70"/>
                </a:lnTo>
                <a:lnTo>
                  <a:pt x="72" y="80"/>
                </a:lnTo>
                <a:lnTo>
                  <a:pt x="66" y="86"/>
                </a:lnTo>
                <a:lnTo>
                  <a:pt x="62" y="88"/>
                </a:lnTo>
                <a:lnTo>
                  <a:pt x="60" y="90"/>
                </a:lnTo>
                <a:lnTo>
                  <a:pt x="42" y="88"/>
                </a:lnTo>
                <a:lnTo>
                  <a:pt x="28" y="86"/>
                </a:lnTo>
                <a:lnTo>
                  <a:pt x="18" y="82"/>
                </a:lnTo>
                <a:lnTo>
                  <a:pt x="6" y="80"/>
                </a:lnTo>
                <a:lnTo>
                  <a:pt x="0" y="76"/>
                </a:lnTo>
                <a:lnTo>
                  <a:pt x="0" y="60"/>
                </a:lnTo>
                <a:lnTo>
                  <a:pt x="4" y="40"/>
                </a:lnTo>
                <a:lnTo>
                  <a:pt x="6" y="24"/>
                </a:lnTo>
                <a:lnTo>
                  <a:pt x="10" y="8"/>
                </a:lnTo>
                <a:lnTo>
                  <a:pt x="12" y="2"/>
                </a:lnTo>
                <a:lnTo>
                  <a:pt x="2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2" name="Freeform 84">
            <a:extLst>
              <a:ext uri="{FF2B5EF4-FFF2-40B4-BE49-F238E27FC236}">
                <a16:creationId xmlns:a16="http://schemas.microsoft.com/office/drawing/2014/main" id="{57C9AF96-B61B-4DD1-84D4-A149F3AFB936}"/>
              </a:ext>
            </a:extLst>
          </p:cNvPr>
          <p:cNvSpPr>
            <a:spLocks/>
          </p:cNvSpPr>
          <p:nvPr/>
        </p:nvSpPr>
        <p:spPr bwMode="gray">
          <a:xfrm>
            <a:off x="3461473" y="5541811"/>
            <a:ext cx="623056" cy="1113971"/>
          </a:xfrm>
          <a:custGeom>
            <a:avLst/>
            <a:gdLst>
              <a:gd name="T0" fmla="*/ 108 w 316"/>
              <a:gd name="T1" fmla="*/ 6 h 562"/>
              <a:gd name="T2" fmla="*/ 138 w 316"/>
              <a:gd name="T3" fmla="*/ 4 h 562"/>
              <a:gd name="T4" fmla="*/ 172 w 316"/>
              <a:gd name="T5" fmla="*/ 2 h 562"/>
              <a:gd name="T6" fmla="*/ 190 w 316"/>
              <a:gd name="T7" fmla="*/ 26 h 562"/>
              <a:gd name="T8" fmla="*/ 210 w 316"/>
              <a:gd name="T9" fmla="*/ 34 h 562"/>
              <a:gd name="T10" fmla="*/ 236 w 316"/>
              <a:gd name="T11" fmla="*/ 50 h 562"/>
              <a:gd name="T12" fmla="*/ 246 w 316"/>
              <a:gd name="T13" fmla="*/ 72 h 562"/>
              <a:gd name="T14" fmla="*/ 266 w 316"/>
              <a:gd name="T15" fmla="*/ 96 h 562"/>
              <a:gd name="T16" fmla="*/ 294 w 316"/>
              <a:gd name="T17" fmla="*/ 84 h 562"/>
              <a:gd name="T18" fmla="*/ 310 w 316"/>
              <a:gd name="T19" fmla="*/ 62 h 562"/>
              <a:gd name="T20" fmla="*/ 312 w 316"/>
              <a:gd name="T21" fmla="*/ 88 h 562"/>
              <a:gd name="T22" fmla="*/ 292 w 316"/>
              <a:gd name="T23" fmla="*/ 104 h 562"/>
              <a:gd name="T24" fmla="*/ 268 w 316"/>
              <a:gd name="T25" fmla="*/ 128 h 562"/>
              <a:gd name="T26" fmla="*/ 252 w 316"/>
              <a:gd name="T27" fmla="*/ 138 h 562"/>
              <a:gd name="T28" fmla="*/ 240 w 316"/>
              <a:gd name="T29" fmla="*/ 192 h 562"/>
              <a:gd name="T30" fmla="*/ 234 w 316"/>
              <a:gd name="T31" fmla="*/ 222 h 562"/>
              <a:gd name="T32" fmla="*/ 258 w 316"/>
              <a:gd name="T33" fmla="*/ 236 h 562"/>
              <a:gd name="T34" fmla="*/ 266 w 316"/>
              <a:gd name="T35" fmla="*/ 254 h 562"/>
              <a:gd name="T36" fmla="*/ 240 w 316"/>
              <a:gd name="T37" fmla="*/ 294 h 562"/>
              <a:gd name="T38" fmla="*/ 190 w 316"/>
              <a:gd name="T39" fmla="*/ 300 h 562"/>
              <a:gd name="T40" fmla="*/ 180 w 316"/>
              <a:gd name="T41" fmla="*/ 314 h 562"/>
              <a:gd name="T42" fmla="*/ 162 w 316"/>
              <a:gd name="T43" fmla="*/ 342 h 562"/>
              <a:gd name="T44" fmla="*/ 136 w 316"/>
              <a:gd name="T45" fmla="*/ 332 h 562"/>
              <a:gd name="T46" fmla="*/ 136 w 316"/>
              <a:gd name="T47" fmla="*/ 362 h 562"/>
              <a:gd name="T48" fmla="*/ 150 w 316"/>
              <a:gd name="T49" fmla="*/ 362 h 562"/>
              <a:gd name="T50" fmla="*/ 158 w 316"/>
              <a:gd name="T51" fmla="*/ 370 h 562"/>
              <a:gd name="T52" fmla="*/ 146 w 316"/>
              <a:gd name="T53" fmla="*/ 368 h 562"/>
              <a:gd name="T54" fmla="*/ 140 w 316"/>
              <a:gd name="T55" fmla="*/ 376 h 562"/>
              <a:gd name="T56" fmla="*/ 132 w 316"/>
              <a:gd name="T57" fmla="*/ 396 h 562"/>
              <a:gd name="T58" fmla="*/ 118 w 316"/>
              <a:gd name="T59" fmla="*/ 414 h 562"/>
              <a:gd name="T60" fmla="*/ 96 w 316"/>
              <a:gd name="T61" fmla="*/ 444 h 562"/>
              <a:gd name="T62" fmla="*/ 112 w 316"/>
              <a:gd name="T63" fmla="*/ 456 h 562"/>
              <a:gd name="T64" fmla="*/ 118 w 316"/>
              <a:gd name="T65" fmla="*/ 474 h 562"/>
              <a:gd name="T66" fmla="*/ 90 w 316"/>
              <a:gd name="T67" fmla="*/ 510 h 562"/>
              <a:gd name="T68" fmla="*/ 70 w 316"/>
              <a:gd name="T69" fmla="*/ 524 h 562"/>
              <a:gd name="T70" fmla="*/ 72 w 316"/>
              <a:gd name="T71" fmla="*/ 552 h 562"/>
              <a:gd name="T72" fmla="*/ 60 w 316"/>
              <a:gd name="T73" fmla="*/ 558 h 562"/>
              <a:gd name="T74" fmla="*/ 18 w 316"/>
              <a:gd name="T75" fmla="*/ 544 h 562"/>
              <a:gd name="T76" fmla="*/ 2 w 316"/>
              <a:gd name="T77" fmla="*/ 520 h 562"/>
              <a:gd name="T78" fmla="*/ 10 w 316"/>
              <a:gd name="T79" fmla="*/ 492 h 562"/>
              <a:gd name="T80" fmla="*/ 28 w 316"/>
              <a:gd name="T81" fmla="*/ 450 h 562"/>
              <a:gd name="T82" fmla="*/ 26 w 316"/>
              <a:gd name="T83" fmla="*/ 400 h 562"/>
              <a:gd name="T84" fmla="*/ 24 w 316"/>
              <a:gd name="T85" fmla="*/ 360 h 562"/>
              <a:gd name="T86" fmla="*/ 36 w 316"/>
              <a:gd name="T87" fmla="*/ 302 h 562"/>
              <a:gd name="T88" fmla="*/ 40 w 316"/>
              <a:gd name="T89" fmla="*/ 278 h 562"/>
              <a:gd name="T90" fmla="*/ 48 w 316"/>
              <a:gd name="T91" fmla="*/ 244 h 562"/>
              <a:gd name="T92" fmla="*/ 56 w 316"/>
              <a:gd name="T93" fmla="*/ 196 h 562"/>
              <a:gd name="T94" fmla="*/ 48 w 316"/>
              <a:gd name="T95" fmla="*/ 156 h 562"/>
              <a:gd name="T96" fmla="*/ 64 w 316"/>
              <a:gd name="T97" fmla="*/ 106 h 562"/>
              <a:gd name="T98" fmla="*/ 76 w 316"/>
              <a:gd name="T99" fmla="*/ 52 h 562"/>
              <a:gd name="T100" fmla="*/ 100 w 316"/>
              <a:gd name="T101" fmla="*/ 3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562">
                <a:moveTo>
                  <a:pt x="102" y="18"/>
                </a:moveTo>
                <a:lnTo>
                  <a:pt x="104" y="10"/>
                </a:lnTo>
                <a:lnTo>
                  <a:pt x="108" y="6"/>
                </a:lnTo>
                <a:lnTo>
                  <a:pt x="116" y="0"/>
                </a:lnTo>
                <a:lnTo>
                  <a:pt x="124" y="6"/>
                </a:lnTo>
                <a:lnTo>
                  <a:pt x="138" y="4"/>
                </a:lnTo>
                <a:lnTo>
                  <a:pt x="148" y="16"/>
                </a:lnTo>
                <a:lnTo>
                  <a:pt x="154" y="2"/>
                </a:lnTo>
                <a:lnTo>
                  <a:pt x="172" y="2"/>
                </a:lnTo>
                <a:lnTo>
                  <a:pt x="174" y="8"/>
                </a:lnTo>
                <a:lnTo>
                  <a:pt x="180" y="16"/>
                </a:lnTo>
                <a:lnTo>
                  <a:pt x="190" y="26"/>
                </a:lnTo>
                <a:lnTo>
                  <a:pt x="192" y="28"/>
                </a:lnTo>
                <a:lnTo>
                  <a:pt x="202" y="34"/>
                </a:lnTo>
                <a:lnTo>
                  <a:pt x="210" y="34"/>
                </a:lnTo>
                <a:lnTo>
                  <a:pt x="220" y="40"/>
                </a:lnTo>
                <a:lnTo>
                  <a:pt x="226" y="46"/>
                </a:lnTo>
                <a:lnTo>
                  <a:pt x="236" y="50"/>
                </a:lnTo>
                <a:lnTo>
                  <a:pt x="246" y="54"/>
                </a:lnTo>
                <a:lnTo>
                  <a:pt x="252" y="62"/>
                </a:lnTo>
                <a:lnTo>
                  <a:pt x="246" y="72"/>
                </a:lnTo>
                <a:lnTo>
                  <a:pt x="238" y="88"/>
                </a:lnTo>
                <a:lnTo>
                  <a:pt x="244" y="96"/>
                </a:lnTo>
                <a:lnTo>
                  <a:pt x="266" y="96"/>
                </a:lnTo>
                <a:lnTo>
                  <a:pt x="280" y="92"/>
                </a:lnTo>
                <a:lnTo>
                  <a:pt x="288" y="86"/>
                </a:lnTo>
                <a:lnTo>
                  <a:pt x="294" y="84"/>
                </a:lnTo>
                <a:lnTo>
                  <a:pt x="300" y="70"/>
                </a:lnTo>
                <a:lnTo>
                  <a:pt x="300" y="60"/>
                </a:lnTo>
                <a:lnTo>
                  <a:pt x="310" y="62"/>
                </a:lnTo>
                <a:lnTo>
                  <a:pt x="314" y="66"/>
                </a:lnTo>
                <a:lnTo>
                  <a:pt x="316" y="76"/>
                </a:lnTo>
                <a:lnTo>
                  <a:pt x="312" y="88"/>
                </a:lnTo>
                <a:lnTo>
                  <a:pt x="308" y="94"/>
                </a:lnTo>
                <a:lnTo>
                  <a:pt x="300" y="98"/>
                </a:lnTo>
                <a:lnTo>
                  <a:pt x="292" y="104"/>
                </a:lnTo>
                <a:lnTo>
                  <a:pt x="282" y="112"/>
                </a:lnTo>
                <a:lnTo>
                  <a:pt x="274" y="118"/>
                </a:lnTo>
                <a:lnTo>
                  <a:pt x="268" y="128"/>
                </a:lnTo>
                <a:lnTo>
                  <a:pt x="262" y="132"/>
                </a:lnTo>
                <a:lnTo>
                  <a:pt x="260" y="136"/>
                </a:lnTo>
                <a:lnTo>
                  <a:pt x="252" y="138"/>
                </a:lnTo>
                <a:lnTo>
                  <a:pt x="246" y="160"/>
                </a:lnTo>
                <a:lnTo>
                  <a:pt x="244" y="174"/>
                </a:lnTo>
                <a:lnTo>
                  <a:pt x="240" y="192"/>
                </a:lnTo>
                <a:lnTo>
                  <a:pt x="240" y="212"/>
                </a:lnTo>
                <a:lnTo>
                  <a:pt x="236" y="216"/>
                </a:lnTo>
                <a:lnTo>
                  <a:pt x="234" y="222"/>
                </a:lnTo>
                <a:lnTo>
                  <a:pt x="244" y="224"/>
                </a:lnTo>
                <a:lnTo>
                  <a:pt x="254" y="228"/>
                </a:lnTo>
                <a:lnTo>
                  <a:pt x="258" y="236"/>
                </a:lnTo>
                <a:lnTo>
                  <a:pt x="256" y="244"/>
                </a:lnTo>
                <a:lnTo>
                  <a:pt x="258" y="248"/>
                </a:lnTo>
                <a:lnTo>
                  <a:pt x="266" y="254"/>
                </a:lnTo>
                <a:lnTo>
                  <a:pt x="266" y="268"/>
                </a:lnTo>
                <a:lnTo>
                  <a:pt x="254" y="284"/>
                </a:lnTo>
                <a:lnTo>
                  <a:pt x="240" y="294"/>
                </a:lnTo>
                <a:lnTo>
                  <a:pt x="220" y="296"/>
                </a:lnTo>
                <a:lnTo>
                  <a:pt x="206" y="298"/>
                </a:lnTo>
                <a:lnTo>
                  <a:pt x="190" y="300"/>
                </a:lnTo>
                <a:lnTo>
                  <a:pt x="180" y="298"/>
                </a:lnTo>
                <a:lnTo>
                  <a:pt x="178" y="304"/>
                </a:lnTo>
                <a:lnTo>
                  <a:pt x="180" y="314"/>
                </a:lnTo>
                <a:lnTo>
                  <a:pt x="178" y="330"/>
                </a:lnTo>
                <a:lnTo>
                  <a:pt x="170" y="338"/>
                </a:lnTo>
                <a:lnTo>
                  <a:pt x="162" y="342"/>
                </a:lnTo>
                <a:lnTo>
                  <a:pt x="148" y="336"/>
                </a:lnTo>
                <a:lnTo>
                  <a:pt x="142" y="334"/>
                </a:lnTo>
                <a:lnTo>
                  <a:pt x="136" y="332"/>
                </a:lnTo>
                <a:lnTo>
                  <a:pt x="134" y="338"/>
                </a:lnTo>
                <a:lnTo>
                  <a:pt x="136" y="354"/>
                </a:lnTo>
                <a:lnTo>
                  <a:pt x="136" y="362"/>
                </a:lnTo>
                <a:lnTo>
                  <a:pt x="142" y="364"/>
                </a:lnTo>
                <a:lnTo>
                  <a:pt x="150" y="364"/>
                </a:lnTo>
                <a:lnTo>
                  <a:pt x="150" y="362"/>
                </a:lnTo>
                <a:lnTo>
                  <a:pt x="154" y="360"/>
                </a:lnTo>
                <a:lnTo>
                  <a:pt x="158" y="364"/>
                </a:lnTo>
                <a:lnTo>
                  <a:pt x="158" y="370"/>
                </a:lnTo>
                <a:lnTo>
                  <a:pt x="152" y="374"/>
                </a:lnTo>
                <a:lnTo>
                  <a:pt x="148" y="372"/>
                </a:lnTo>
                <a:lnTo>
                  <a:pt x="146" y="368"/>
                </a:lnTo>
                <a:lnTo>
                  <a:pt x="142" y="368"/>
                </a:lnTo>
                <a:lnTo>
                  <a:pt x="138" y="370"/>
                </a:lnTo>
                <a:lnTo>
                  <a:pt x="140" y="376"/>
                </a:lnTo>
                <a:lnTo>
                  <a:pt x="136" y="382"/>
                </a:lnTo>
                <a:lnTo>
                  <a:pt x="130" y="384"/>
                </a:lnTo>
                <a:lnTo>
                  <a:pt x="132" y="396"/>
                </a:lnTo>
                <a:lnTo>
                  <a:pt x="126" y="408"/>
                </a:lnTo>
                <a:lnTo>
                  <a:pt x="124" y="410"/>
                </a:lnTo>
                <a:lnTo>
                  <a:pt x="118" y="414"/>
                </a:lnTo>
                <a:lnTo>
                  <a:pt x="106" y="420"/>
                </a:lnTo>
                <a:lnTo>
                  <a:pt x="94" y="432"/>
                </a:lnTo>
                <a:lnTo>
                  <a:pt x="96" y="444"/>
                </a:lnTo>
                <a:lnTo>
                  <a:pt x="106" y="454"/>
                </a:lnTo>
                <a:lnTo>
                  <a:pt x="106" y="456"/>
                </a:lnTo>
                <a:lnTo>
                  <a:pt x="112" y="456"/>
                </a:lnTo>
                <a:lnTo>
                  <a:pt x="122" y="458"/>
                </a:lnTo>
                <a:lnTo>
                  <a:pt x="122" y="466"/>
                </a:lnTo>
                <a:lnTo>
                  <a:pt x="118" y="474"/>
                </a:lnTo>
                <a:lnTo>
                  <a:pt x="104" y="486"/>
                </a:lnTo>
                <a:lnTo>
                  <a:pt x="94" y="496"/>
                </a:lnTo>
                <a:lnTo>
                  <a:pt x="90" y="510"/>
                </a:lnTo>
                <a:lnTo>
                  <a:pt x="88" y="516"/>
                </a:lnTo>
                <a:lnTo>
                  <a:pt x="76" y="518"/>
                </a:lnTo>
                <a:lnTo>
                  <a:pt x="70" y="524"/>
                </a:lnTo>
                <a:lnTo>
                  <a:pt x="66" y="538"/>
                </a:lnTo>
                <a:lnTo>
                  <a:pt x="68" y="546"/>
                </a:lnTo>
                <a:lnTo>
                  <a:pt x="72" y="552"/>
                </a:lnTo>
                <a:lnTo>
                  <a:pt x="78" y="560"/>
                </a:lnTo>
                <a:lnTo>
                  <a:pt x="76" y="562"/>
                </a:lnTo>
                <a:lnTo>
                  <a:pt x="60" y="558"/>
                </a:lnTo>
                <a:lnTo>
                  <a:pt x="34" y="558"/>
                </a:lnTo>
                <a:lnTo>
                  <a:pt x="24" y="556"/>
                </a:lnTo>
                <a:lnTo>
                  <a:pt x="18" y="544"/>
                </a:lnTo>
                <a:lnTo>
                  <a:pt x="18" y="528"/>
                </a:lnTo>
                <a:lnTo>
                  <a:pt x="6" y="526"/>
                </a:lnTo>
                <a:lnTo>
                  <a:pt x="2" y="520"/>
                </a:lnTo>
                <a:lnTo>
                  <a:pt x="0" y="510"/>
                </a:lnTo>
                <a:lnTo>
                  <a:pt x="2" y="500"/>
                </a:lnTo>
                <a:lnTo>
                  <a:pt x="10" y="492"/>
                </a:lnTo>
                <a:lnTo>
                  <a:pt x="18" y="480"/>
                </a:lnTo>
                <a:lnTo>
                  <a:pt x="20" y="462"/>
                </a:lnTo>
                <a:lnTo>
                  <a:pt x="28" y="450"/>
                </a:lnTo>
                <a:lnTo>
                  <a:pt x="28" y="424"/>
                </a:lnTo>
                <a:lnTo>
                  <a:pt x="30" y="412"/>
                </a:lnTo>
                <a:lnTo>
                  <a:pt x="26" y="400"/>
                </a:lnTo>
                <a:lnTo>
                  <a:pt x="26" y="380"/>
                </a:lnTo>
                <a:lnTo>
                  <a:pt x="22" y="376"/>
                </a:lnTo>
                <a:lnTo>
                  <a:pt x="24" y="360"/>
                </a:lnTo>
                <a:lnTo>
                  <a:pt x="26" y="348"/>
                </a:lnTo>
                <a:lnTo>
                  <a:pt x="28" y="318"/>
                </a:lnTo>
                <a:lnTo>
                  <a:pt x="36" y="302"/>
                </a:lnTo>
                <a:lnTo>
                  <a:pt x="38" y="296"/>
                </a:lnTo>
                <a:lnTo>
                  <a:pt x="40" y="292"/>
                </a:lnTo>
                <a:lnTo>
                  <a:pt x="40" y="278"/>
                </a:lnTo>
                <a:lnTo>
                  <a:pt x="38" y="254"/>
                </a:lnTo>
                <a:lnTo>
                  <a:pt x="44" y="248"/>
                </a:lnTo>
                <a:lnTo>
                  <a:pt x="48" y="244"/>
                </a:lnTo>
                <a:lnTo>
                  <a:pt x="50" y="224"/>
                </a:lnTo>
                <a:lnTo>
                  <a:pt x="54" y="216"/>
                </a:lnTo>
                <a:lnTo>
                  <a:pt x="56" y="196"/>
                </a:lnTo>
                <a:lnTo>
                  <a:pt x="52" y="180"/>
                </a:lnTo>
                <a:lnTo>
                  <a:pt x="48" y="172"/>
                </a:lnTo>
                <a:lnTo>
                  <a:pt x="48" y="156"/>
                </a:lnTo>
                <a:lnTo>
                  <a:pt x="52" y="148"/>
                </a:lnTo>
                <a:lnTo>
                  <a:pt x="56" y="120"/>
                </a:lnTo>
                <a:lnTo>
                  <a:pt x="64" y="106"/>
                </a:lnTo>
                <a:lnTo>
                  <a:pt x="74" y="92"/>
                </a:lnTo>
                <a:lnTo>
                  <a:pt x="80" y="82"/>
                </a:lnTo>
                <a:lnTo>
                  <a:pt x="76" y="52"/>
                </a:lnTo>
                <a:lnTo>
                  <a:pt x="82" y="46"/>
                </a:lnTo>
                <a:lnTo>
                  <a:pt x="90" y="42"/>
                </a:lnTo>
                <a:lnTo>
                  <a:pt x="100" y="30"/>
                </a:lnTo>
                <a:lnTo>
                  <a:pt x="102" y="1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3" name="Freeform 85">
            <a:extLst>
              <a:ext uri="{FF2B5EF4-FFF2-40B4-BE49-F238E27FC236}">
                <a16:creationId xmlns:a16="http://schemas.microsoft.com/office/drawing/2014/main" id="{798528A9-F46A-441C-B499-CF6E6D97DEAC}"/>
              </a:ext>
            </a:extLst>
          </p:cNvPr>
          <p:cNvSpPr>
            <a:spLocks/>
          </p:cNvSpPr>
          <p:nvPr/>
        </p:nvSpPr>
        <p:spPr bwMode="gray">
          <a:xfrm>
            <a:off x="3394435" y="5387202"/>
            <a:ext cx="268151" cy="1332010"/>
          </a:xfrm>
          <a:custGeom>
            <a:avLst/>
            <a:gdLst>
              <a:gd name="T0" fmla="*/ 96 w 136"/>
              <a:gd name="T1" fmla="*/ 2 h 672"/>
              <a:gd name="T2" fmla="*/ 112 w 136"/>
              <a:gd name="T3" fmla="*/ 38 h 672"/>
              <a:gd name="T4" fmla="*/ 124 w 136"/>
              <a:gd name="T5" fmla="*/ 82 h 672"/>
              <a:gd name="T6" fmla="*/ 134 w 136"/>
              <a:gd name="T7" fmla="*/ 108 h 672"/>
              <a:gd name="T8" fmla="*/ 110 w 136"/>
              <a:gd name="T9" fmla="*/ 130 h 672"/>
              <a:gd name="T10" fmla="*/ 90 w 136"/>
              <a:gd name="T11" fmla="*/ 198 h 672"/>
              <a:gd name="T12" fmla="*/ 82 w 136"/>
              <a:gd name="T13" fmla="*/ 250 h 672"/>
              <a:gd name="T14" fmla="*/ 84 w 136"/>
              <a:gd name="T15" fmla="*/ 302 h 672"/>
              <a:gd name="T16" fmla="*/ 74 w 136"/>
              <a:gd name="T17" fmla="*/ 354 h 672"/>
              <a:gd name="T18" fmla="*/ 60 w 136"/>
              <a:gd name="T19" fmla="*/ 426 h 672"/>
              <a:gd name="T20" fmla="*/ 60 w 136"/>
              <a:gd name="T21" fmla="*/ 458 h 672"/>
              <a:gd name="T22" fmla="*/ 62 w 136"/>
              <a:gd name="T23" fmla="*/ 502 h 672"/>
              <a:gd name="T24" fmla="*/ 52 w 136"/>
              <a:gd name="T25" fmla="*/ 558 h 672"/>
              <a:gd name="T26" fmla="*/ 34 w 136"/>
              <a:gd name="T27" fmla="*/ 588 h 672"/>
              <a:gd name="T28" fmla="*/ 52 w 136"/>
              <a:gd name="T29" fmla="*/ 606 h 672"/>
              <a:gd name="T30" fmla="*/ 68 w 136"/>
              <a:gd name="T31" fmla="*/ 636 h 672"/>
              <a:gd name="T32" fmla="*/ 88 w 136"/>
              <a:gd name="T33" fmla="*/ 648 h 672"/>
              <a:gd name="T34" fmla="*/ 74 w 136"/>
              <a:gd name="T35" fmla="*/ 666 h 672"/>
              <a:gd name="T36" fmla="*/ 58 w 136"/>
              <a:gd name="T37" fmla="*/ 668 h 672"/>
              <a:gd name="T38" fmla="*/ 70 w 136"/>
              <a:gd name="T39" fmla="*/ 652 h 672"/>
              <a:gd name="T40" fmla="*/ 52 w 136"/>
              <a:gd name="T41" fmla="*/ 662 h 672"/>
              <a:gd name="T42" fmla="*/ 46 w 136"/>
              <a:gd name="T43" fmla="*/ 648 h 672"/>
              <a:gd name="T44" fmla="*/ 38 w 136"/>
              <a:gd name="T45" fmla="*/ 646 h 672"/>
              <a:gd name="T46" fmla="*/ 42 w 136"/>
              <a:gd name="T47" fmla="*/ 632 h 672"/>
              <a:gd name="T48" fmla="*/ 26 w 136"/>
              <a:gd name="T49" fmla="*/ 630 h 672"/>
              <a:gd name="T50" fmla="*/ 20 w 136"/>
              <a:gd name="T51" fmla="*/ 606 h 672"/>
              <a:gd name="T52" fmla="*/ 16 w 136"/>
              <a:gd name="T53" fmla="*/ 590 h 672"/>
              <a:gd name="T54" fmla="*/ 8 w 136"/>
              <a:gd name="T55" fmla="*/ 558 h 672"/>
              <a:gd name="T56" fmla="*/ 18 w 136"/>
              <a:gd name="T57" fmla="*/ 568 h 672"/>
              <a:gd name="T58" fmla="*/ 28 w 136"/>
              <a:gd name="T59" fmla="*/ 556 h 672"/>
              <a:gd name="T60" fmla="*/ 28 w 136"/>
              <a:gd name="T61" fmla="*/ 548 h 672"/>
              <a:gd name="T62" fmla="*/ 18 w 136"/>
              <a:gd name="T63" fmla="*/ 536 h 672"/>
              <a:gd name="T64" fmla="*/ 16 w 136"/>
              <a:gd name="T65" fmla="*/ 530 h 672"/>
              <a:gd name="T66" fmla="*/ 10 w 136"/>
              <a:gd name="T67" fmla="*/ 514 h 672"/>
              <a:gd name="T68" fmla="*/ 24 w 136"/>
              <a:gd name="T69" fmla="*/ 506 h 672"/>
              <a:gd name="T70" fmla="*/ 42 w 136"/>
              <a:gd name="T71" fmla="*/ 494 h 672"/>
              <a:gd name="T72" fmla="*/ 44 w 136"/>
              <a:gd name="T73" fmla="*/ 462 h 672"/>
              <a:gd name="T74" fmla="*/ 46 w 136"/>
              <a:gd name="T75" fmla="*/ 440 h 672"/>
              <a:gd name="T76" fmla="*/ 36 w 136"/>
              <a:gd name="T77" fmla="*/ 428 h 672"/>
              <a:gd name="T78" fmla="*/ 32 w 136"/>
              <a:gd name="T79" fmla="*/ 456 h 672"/>
              <a:gd name="T80" fmla="*/ 22 w 136"/>
              <a:gd name="T81" fmla="*/ 450 h 672"/>
              <a:gd name="T82" fmla="*/ 28 w 136"/>
              <a:gd name="T83" fmla="*/ 426 h 672"/>
              <a:gd name="T84" fmla="*/ 32 w 136"/>
              <a:gd name="T85" fmla="*/ 394 h 672"/>
              <a:gd name="T86" fmla="*/ 34 w 136"/>
              <a:gd name="T87" fmla="*/ 366 h 672"/>
              <a:gd name="T88" fmla="*/ 38 w 136"/>
              <a:gd name="T89" fmla="*/ 346 h 672"/>
              <a:gd name="T90" fmla="*/ 52 w 136"/>
              <a:gd name="T91" fmla="*/ 308 h 672"/>
              <a:gd name="T92" fmla="*/ 64 w 136"/>
              <a:gd name="T93" fmla="*/ 270 h 672"/>
              <a:gd name="T94" fmla="*/ 70 w 136"/>
              <a:gd name="T95" fmla="*/ 214 h 672"/>
              <a:gd name="T96" fmla="*/ 70 w 136"/>
              <a:gd name="T97" fmla="*/ 194 h 672"/>
              <a:gd name="T98" fmla="*/ 82 w 136"/>
              <a:gd name="T99" fmla="*/ 98 h 672"/>
              <a:gd name="T100" fmla="*/ 84 w 136"/>
              <a:gd name="T101" fmla="*/ 1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672">
                <a:moveTo>
                  <a:pt x="84" y="18"/>
                </a:moveTo>
                <a:lnTo>
                  <a:pt x="90" y="16"/>
                </a:lnTo>
                <a:lnTo>
                  <a:pt x="96" y="2"/>
                </a:lnTo>
                <a:lnTo>
                  <a:pt x="98" y="0"/>
                </a:lnTo>
                <a:lnTo>
                  <a:pt x="102" y="12"/>
                </a:lnTo>
                <a:lnTo>
                  <a:pt x="112" y="38"/>
                </a:lnTo>
                <a:lnTo>
                  <a:pt x="112" y="56"/>
                </a:lnTo>
                <a:lnTo>
                  <a:pt x="120" y="68"/>
                </a:lnTo>
                <a:lnTo>
                  <a:pt x="124" y="82"/>
                </a:lnTo>
                <a:lnTo>
                  <a:pt x="126" y="96"/>
                </a:lnTo>
                <a:lnTo>
                  <a:pt x="136" y="96"/>
                </a:lnTo>
                <a:lnTo>
                  <a:pt x="134" y="108"/>
                </a:lnTo>
                <a:lnTo>
                  <a:pt x="124" y="120"/>
                </a:lnTo>
                <a:lnTo>
                  <a:pt x="116" y="124"/>
                </a:lnTo>
                <a:lnTo>
                  <a:pt x="110" y="130"/>
                </a:lnTo>
                <a:lnTo>
                  <a:pt x="114" y="160"/>
                </a:lnTo>
                <a:lnTo>
                  <a:pt x="96" y="186"/>
                </a:lnTo>
                <a:lnTo>
                  <a:pt x="90" y="198"/>
                </a:lnTo>
                <a:lnTo>
                  <a:pt x="86" y="222"/>
                </a:lnTo>
                <a:lnTo>
                  <a:pt x="82" y="234"/>
                </a:lnTo>
                <a:lnTo>
                  <a:pt x="82" y="250"/>
                </a:lnTo>
                <a:lnTo>
                  <a:pt x="90" y="274"/>
                </a:lnTo>
                <a:lnTo>
                  <a:pt x="88" y="292"/>
                </a:lnTo>
                <a:lnTo>
                  <a:pt x="84" y="302"/>
                </a:lnTo>
                <a:lnTo>
                  <a:pt x="82" y="322"/>
                </a:lnTo>
                <a:lnTo>
                  <a:pt x="72" y="332"/>
                </a:lnTo>
                <a:lnTo>
                  <a:pt x="74" y="354"/>
                </a:lnTo>
                <a:lnTo>
                  <a:pt x="74" y="370"/>
                </a:lnTo>
                <a:lnTo>
                  <a:pt x="62" y="396"/>
                </a:lnTo>
                <a:lnTo>
                  <a:pt x="60" y="426"/>
                </a:lnTo>
                <a:lnTo>
                  <a:pt x="58" y="438"/>
                </a:lnTo>
                <a:lnTo>
                  <a:pt x="56" y="454"/>
                </a:lnTo>
                <a:lnTo>
                  <a:pt x="60" y="458"/>
                </a:lnTo>
                <a:lnTo>
                  <a:pt x="60" y="478"/>
                </a:lnTo>
                <a:lnTo>
                  <a:pt x="64" y="490"/>
                </a:lnTo>
                <a:lnTo>
                  <a:pt x="62" y="502"/>
                </a:lnTo>
                <a:lnTo>
                  <a:pt x="62" y="528"/>
                </a:lnTo>
                <a:lnTo>
                  <a:pt x="54" y="540"/>
                </a:lnTo>
                <a:lnTo>
                  <a:pt x="52" y="558"/>
                </a:lnTo>
                <a:lnTo>
                  <a:pt x="44" y="570"/>
                </a:lnTo>
                <a:lnTo>
                  <a:pt x="36" y="578"/>
                </a:lnTo>
                <a:lnTo>
                  <a:pt x="34" y="588"/>
                </a:lnTo>
                <a:lnTo>
                  <a:pt x="36" y="596"/>
                </a:lnTo>
                <a:lnTo>
                  <a:pt x="40" y="604"/>
                </a:lnTo>
                <a:lnTo>
                  <a:pt x="52" y="606"/>
                </a:lnTo>
                <a:lnTo>
                  <a:pt x="52" y="622"/>
                </a:lnTo>
                <a:lnTo>
                  <a:pt x="58" y="634"/>
                </a:lnTo>
                <a:lnTo>
                  <a:pt x="68" y="636"/>
                </a:lnTo>
                <a:lnTo>
                  <a:pt x="94" y="636"/>
                </a:lnTo>
                <a:lnTo>
                  <a:pt x="96" y="644"/>
                </a:lnTo>
                <a:lnTo>
                  <a:pt x="88" y="648"/>
                </a:lnTo>
                <a:lnTo>
                  <a:pt x="80" y="650"/>
                </a:lnTo>
                <a:lnTo>
                  <a:pt x="74" y="656"/>
                </a:lnTo>
                <a:lnTo>
                  <a:pt x="74" y="666"/>
                </a:lnTo>
                <a:lnTo>
                  <a:pt x="72" y="672"/>
                </a:lnTo>
                <a:lnTo>
                  <a:pt x="64" y="672"/>
                </a:lnTo>
                <a:lnTo>
                  <a:pt x="58" y="668"/>
                </a:lnTo>
                <a:lnTo>
                  <a:pt x="60" y="664"/>
                </a:lnTo>
                <a:lnTo>
                  <a:pt x="66" y="660"/>
                </a:lnTo>
                <a:lnTo>
                  <a:pt x="70" y="652"/>
                </a:lnTo>
                <a:lnTo>
                  <a:pt x="64" y="648"/>
                </a:lnTo>
                <a:lnTo>
                  <a:pt x="56" y="654"/>
                </a:lnTo>
                <a:lnTo>
                  <a:pt x="52" y="662"/>
                </a:lnTo>
                <a:lnTo>
                  <a:pt x="44" y="660"/>
                </a:lnTo>
                <a:lnTo>
                  <a:pt x="38" y="654"/>
                </a:lnTo>
                <a:lnTo>
                  <a:pt x="46" y="648"/>
                </a:lnTo>
                <a:lnTo>
                  <a:pt x="48" y="644"/>
                </a:lnTo>
                <a:lnTo>
                  <a:pt x="46" y="640"/>
                </a:lnTo>
                <a:lnTo>
                  <a:pt x="38" y="646"/>
                </a:lnTo>
                <a:lnTo>
                  <a:pt x="28" y="646"/>
                </a:lnTo>
                <a:lnTo>
                  <a:pt x="30" y="638"/>
                </a:lnTo>
                <a:lnTo>
                  <a:pt x="42" y="632"/>
                </a:lnTo>
                <a:lnTo>
                  <a:pt x="42" y="628"/>
                </a:lnTo>
                <a:lnTo>
                  <a:pt x="34" y="630"/>
                </a:lnTo>
                <a:lnTo>
                  <a:pt x="26" y="630"/>
                </a:lnTo>
                <a:lnTo>
                  <a:pt x="28" y="622"/>
                </a:lnTo>
                <a:lnTo>
                  <a:pt x="22" y="618"/>
                </a:lnTo>
                <a:lnTo>
                  <a:pt x="20" y="606"/>
                </a:lnTo>
                <a:lnTo>
                  <a:pt x="20" y="602"/>
                </a:lnTo>
                <a:lnTo>
                  <a:pt x="20" y="594"/>
                </a:lnTo>
                <a:lnTo>
                  <a:pt x="16" y="590"/>
                </a:lnTo>
                <a:lnTo>
                  <a:pt x="10" y="582"/>
                </a:lnTo>
                <a:lnTo>
                  <a:pt x="6" y="574"/>
                </a:lnTo>
                <a:lnTo>
                  <a:pt x="8" y="558"/>
                </a:lnTo>
                <a:lnTo>
                  <a:pt x="14" y="558"/>
                </a:lnTo>
                <a:lnTo>
                  <a:pt x="16" y="560"/>
                </a:lnTo>
                <a:lnTo>
                  <a:pt x="18" y="568"/>
                </a:lnTo>
                <a:lnTo>
                  <a:pt x="24" y="566"/>
                </a:lnTo>
                <a:lnTo>
                  <a:pt x="24" y="556"/>
                </a:lnTo>
                <a:lnTo>
                  <a:pt x="28" y="556"/>
                </a:lnTo>
                <a:lnTo>
                  <a:pt x="32" y="554"/>
                </a:lnTo>
                <a:lnTo>
                  <a:pt x="32" y="546"/>
                </a:lnTo>
                <a:lnTo>
                  <a:pt x="28" y="548"/>
                </a:lnTo>
                <a:lnTo>
                  <a:pt x="20" y="550"/>
                </a:lnTo>
                <a:lnTo>
                  <a:pt x="18" y="544"/>
                </a:lnTo>
                <a:lnTo>
                  <a:pt x="18" y="536"/>
                </a:lnTo>
                <a:lnTo>
                  <a:pt x="24" y="534"/>
                </a:lnTo>
                <a:lnTo>
                  <a:pt x="24" y="530"/>
                </a:lnTo>
                <a:lnTo>
                  <a:pt x="16" y="530"/>
                </a:lnTo>
                <a:lnTo>
                  <a:pt x="0" y="530"/>
                </a:lnTo>
                <a:lnTo>
                  <a:pt x="6" y="522"/>
                </a:lnTo>
                <a:lnTo>
                  <a:pt x="10" y="514"/>
                </a:lnTo>
                <a:lnTo>
                  <a:pt x="16" y="506"/>
                </a:lnTo>
                <a:lnTo>
                  <a:pt x="22" y="502"/>
                </a:lnTo>
                <a:lnTo>
                  <a:pt x="24" y="506"/>
                </a:lnTo>
                <a:lnTo>
                  <a:pt x="28" y="518"/>
                </a:lnTo>
                <a:lnTo>
                  <a:pt x="36" y="508"/>
                </a:lnTo>
                <a:lnTo>
                  <a:pt x="42" y="494"/>
                </a:lnTo>
                <a:lnTo>
                  <a:pt x="40" y="484"/>
                </a:lnTo>
                <a:lnTo>
                  <a:pt x="38" y="472"/>
                </a:lnTo>
                <a:lnTo>
                  <a:pt x="44" y="462"/>
                </a:lnTo>
                <a:lnTo>
                  <a:pt x="42" y="452"/>
                </a:lnTo>
                <a:lnTo>
                  <a:pt x="44" y="446"/>
                </a:lnTo>
                <a:lnTo>
                  <a:pt x="46" y="440"/>
                </a:lnTo>
                <a:lnTo>
                  <a:pt x="46" y="428"/>
                </a:lnTo>
                <a:lnTo>
                  <a:pt x="40" y="426"/>
                </a:lnTo>
                <a:lnTo>
                  <a:pt x="36" y="428"/>
                </a:lnTo>
                <a:lnTo>
                  <a:pt x="34" y="438"/>
                </a:lnTo>
                <a:lnTo>
                  <a:pt x="32" y="444"/>
                </a:lnTo>
                <a:lnTo>
                  <a:pt x="32" y="456"/>
                </a:lnTo>
                <a:lnTo>
                  <a:pt x="28" y="462"/>
                </a:lnTo>
                <a:lnTo>
                  <a:pt x="22" y="458"/>
                </a:lnTo>
                <a:lnTo>
                  <a:pt x="22" y="450"/>
                </a:lnTo>
                <a:lnTo>
                  <a:pt x="22" y="438"/>
                </a:lnTo>
                <a:lnTo>
                  <a:pt x="26" y="430"/>
                </a:lnTo>
                <a:lnTo>
                  <a:pt x="28" y="426"/>
                </a:lnTo>
                <a:lnTo>
                  <a:pt x="28" y="416"/>
                </a:lnTo>
                <a:lnTo>
                  <a:pt x="30" y="402"/>
                </a:lnTo>
                <a:lnTo>
                  <a:pt x="32" y="394"/>
                </a:lnTo>
                <a:lnTo>
                  <a:pt x="40" y="386"/>
                </a:lnTo>
                <a:lnTo>
                  <a:pt x="36" y="376"/>
                </a:lnTo>
                <a:lnTo>
                  <a:pt x="34" y="366"/>
                </a:lnTo>
                <a:lnTo>
                  <a:pt x="34" y="358"/>
                </a:lnTo>
                <a:lnTo>
                  <a:pt x="32" y="346"/>
                </a:lnTo>
                <a:lnTo>
                  <a:pt x="38" y="346"/>
                </a:lnTo>
                <a:lnTo>
                  <a:pt x="42" y="332"/>
                </a:lnTo>
                <a:lnTo>
                  <a:pt x="48" y="320"/>
                </a:lnTo>
                <a:lnTo>
                  <a:pt x="52" y="308"/>
                </a:lnTo>
                <a:lnTo>
                  <a:pt x="58" y="292"/>
                </a:lnTo>
                <a:lnTo>
                  <a:pt x="60" y="278"/>
                </a:lnTo>
                <a:lnTo>
                  <a:pt x="64" y="270"/>
                </a:lnTo>
                <a:lnTo>
                  <a:pt x="62" y="232"/>
                </a:lnTo>
                <a:lnTo>
                  <a:pt x="62" y="220"/>
                </a:lnTo>
                <a:lnTo>
                  <a:pt x="70" y="214"/>
                </a:lnTo>
                <a:lnTo>
                  <a:pt x="70" y="206"/>
                </a:lnTo>
                <a:lnTo>
                  <a:pt x="66" y="200"/>
                </a:lnTo>
                <a:lnTo>
                  <a:pt x="70" y="194"/>
                </a:lnTo>
                <a:lnTo>
                  <a:pt x="74" y="174"/>
                </a:lnTo>
                <a:lnTo>
                  <a:pt x="80" y="144"/>
                </a:lnTo>
                <a:lnTo>
                  <a:pt x="82" y="98"/>
                </a:lnTo>
                <a:lnTo>
                  <a:pt x="88" y="52"/>
                </a:lnTo>
                <a:lnTo>
                  <a:pt x="86" y="28"/>
                </a:lnTo>
                <a:lnTo>
                  <a:pt x="84" y="1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4" name="Freeform 86">
            <a:extLst>
              <a:ext uri="{FF2B5EF4-FFF2-40B4-BE49-F238E27FC236}">
                <a16:creationId xmlns:a16="http://schemas.microsoft.com/office/drawing/2014/main" id="{9B3C3187-5D4E-4A3B-B065-345B86962D63}"/>
              </a:ext>
            </a:extLst>
          </p:cNvPr>
          <p:cNvSpPr>
            <a:spLocks/>
          </p:cNvSpPr>
          <p:nvPr/>
        </p:nvSpPr>
        <p:spPr bwMode="gray">
          <a:xfrm>
            <a:off x="3615265" y="6683532"/>
            <a:ext cx="110415" cy="91180"/>
          </a:xfrm>
          <a:custGeom>
            <a:avLst/>
            <a:gdLst>
              <a:gd name="T0" fmla="*/ 0 w 56"/>
              <a:gd name="T1" fmla="*/ 0 h 46"/>
              <a:gd name="T2" fmla="*/ 0 w 56"/>
              <a:gd name="T3" fmla="*/ 42 h 46"/>
              <a:gd name="T4" fmla="*/ 12 w 56"/>
              <a:gd name="T5" fmla="*/ 42 h 46"/>
              <a:gd name="T6" fmla="*/ 22 w 56"/>
              <a:gd name="T7" fmla="*/ 42 h 46"/>
              <a:gd name="T8" fmla="*/ 36 w 56"/>
              <a:gd name="T9" fmla="*/ 46 h 46"/>
              <a:gd name="T10" fmla="*/ 50 w 56"/>
              <a:gd name="T11" fmla="*/ 44 h 46"/>
              <a:gd name="T12" fmla="*/ 56 w 56"/>
              <a:gd name="T13" fmla="*/ 42 h 46"/>
              <a:gd name="T14" fmla="*/ 48 w 56"/>
              <a:gd name="T15" fmla="*/ 40 h 46"/>
              <a:gd name="T16" fmla="*/ 32 w 56"/>
              <a:gd name="T17" fmla="*/ 36 h 46"/>
              <a:gd name="T18" fmla="*/ 20 w 56"/>
              <a:gd name="T19" fmla="*/ 28 h 46"/>
              <a:gd name="T20" fmla="*/ 8 w 56"/>
              <a:gd name="T21" fmla="*/ 16 h 46"/>
              <a:gd name="T22" fmla="*/ 6 w 56"/>
              <a:gd name="T23" fmla="*/ 8 h 46"/>
              <a:gd name="T24" fmla="*/ 4 w 56"/>
              <a:gd name="T25" fmla="*/ 2 h 46"/>
              <a:gd name="T26" fmla="*/ 0 w 56"/>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6">
                <a:moveTo>
                  <a:pt x="0" y="0"/>
                </a:moveTo>
                <a:lnTo>
                  <a:pt x="0" y="42"/>
                </a:lnTo>
                <a:lnTo>
                  <a:pt x="12" y="42"/>
                </a:lnTo>
                <a:lnTo>
                  <a:pt x="22" y="42"/>
                </a:lnTo>
                <a:lnTo>
                  <a:pt x="36" y="46"/>
                </a:lnTo>
                <a:lnTo>
                  <a:pt x="50" y="44"/>
                </a:lnTo>
                <a:lnTo>
                  <a:pt x="56" y="42"/>
                </a:lnTo>
                <a:lnTo>
                  <a:pt x="48" y="40"/>
                </a:lnTo>
                <a:lnTo>
                  <a:pt x="32" y="36"/>
                </a:lnTo>
                <a:lnTo>
                  <a:pt x="20" y="28"/>
                </a:lnTo>
                <a:lnTo>
                  <a:pt x="8" y="16"/>
                </a:lnTo>
                <a:lnTo>
                  <a:pt x="6" y="8"/>
                </a:lnTo>
                <a:lnTo>
                  <a:pt x="4" y="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5" name="Freeform 87">
            <a:extLst>
              <a:ext uri="{FF2B5EF4-FFF2-40B4-BE49-F238E27FC236}">
                <a16:creationId xmlns:a16="http://schemas.microsoft.com/office/drawing/2014/main" id="{E1DD91E8-2BE6-4B51-9C2A-359F512CC9CC}"/>
              </a:ext>
            </a:extLst>
          </p:cNvPr>
          <p:cNvSpPr>
            <a:spLocks/>
          </p:cNvSpPr>
          <p:nvPr/>
        </p:nvSpPr>
        <p:spPr bwMode="gray">
          <a:xfrm>
            <a:off x="3532454" y="6671640"/>
            <a:ext cx="134076" cy="126858"/>
          </a:xfrm>
          <a:custGeom>
            <a:avLst/>
            <a:gdLst>
              <a:gd name="T0" fmla="*/ 2 w 68"/>
              <a:gd name="T1" fmla="*/ 46 h 64"/>
              <a:gd name="T2" fmla="*/ 0 w 68"/>
              <a:gd name="T3" fmla="*/ 40 h 64"/>
              <a:gd name="T4" fmla="*/ 6 w 68"/>
              <a:gd name="T5" fmla="*/ 38 h 64"/>
              <a:gd name="T6" fmla="*/ 10 w 68"/>
              <a:gd name="T7" fmla="*/ 38 h 64"/>
              <a:gd name="T8" fmla="*/ 20 w 68"/>
              <a:gd name="T9" fmla="*/ 38 h 64"/>
              <a:gd name="T10" fmla="*/ 26 w 68"/>
              <a:gd name="T11" fmla="*/ 40 h 64"/>
              <a:gd name="T12" fmla="*/ 30 w 68"/>
              <a:gd name="T13" fmla="*/ 38 h 64"/>
              <a:gd name="T14" fmla="*/ 22 w 68"/>
              <a:gd name="T15" fmla="*/ 32 h 64"/>
              <a:gd name="T16" fmla="*/ 16 w 68"/>
              <a:gd name="T17" fmla="*/ 28 h 64"/>
              <a:gd name="T18" fmla="*/ 18 w 68"/>
              <a:gd name="T19" fmla="*/ 22 h 64"/>
              <a:gd name="T20" fmla="*/ 22 w 68"/>
              <a:gd name="T21" fmla="*/ 22 h 64"/>
              <a:gd name="T22" fmla="*/ 28 w 68"/>
              <a:gd name="T23" fmla="*/ 20 h 64"/>
              <a:gd name="T24" fmla="*/ 26 w 68"/>
              <a:gd name="T25" fmla="*/ 14 h 64"/>
              <a:gd name="T26" fmla="*/ 20 w 68"/>
              <a:gd name="T27" fmla="*/ 16 h 64"/>
              <a:gd name="T28" fmla="*/ 14 w 68"/>
              <a:gd name="T29" fmla="*/ 18 h 64"/>
              <a:gd name="T30" fmla="*/ 12 w 68"/>
              <a:gd name="T31" fmla="*/ 12 h 64"/>
              <a:gd name="T32" fmla="*/ 14 w 68"/>
              <a:gd name="T33" fmla="*/ 8 h 64"/>
              <a:gd name="T34" fmla="*/ 20 w 68"/>
              <a:gd name="T35" fmla="*/ 6 h 64"/>
              <a:gd name="T36" fmla="*/ 24 w 68"/>
              <a:gd name="T37" fmla="*/ 2 h 64"/>
              <a:gd name="T38" fmla="*/ 32 w 68"/>
              <a:gd name="T39" fmla="*/ 0 h 64"/>
              <a:gd name="T40" fmla="*/ 38 w 68"/>
              <a:gd name="T41" fmla="*/ 0 h 64"/>
              <a:gd name="T42" fmla="*/ 42 w 68"/>
              <a:gd name="T43" fmla="*/ 6 h 64"/>
              <a:gd name="T44" fmla="*/ 42 w 68"/>
              <a:gd name="T45" fmla="*/ 48 h 64"/>
              <a:gd name="T46" fmla="*/ 64 w 68"/>
              <a:gd name="T47" fmla="*/ 48 h 64"/>
              <a:gd name="T48" fmla="*/ 68 w 68"/>
              <a:gd name="T49" fmla="*/ 52 h 64"/>
              <a:gd name="T50" fmla="*/ 68 w 68"/>
              <a:gd name="T51" fmla="*/ 56 h 64"/>
              <a:gd name="T52" fmla="*/ 60 w 68"/>
              <a:gd name="T53" fmla="*/ 58 h 64"/>
              <a:gd name="T54" fmla="*/ 52 w 68"/>
              <a:gd name="T55" fmla="*/ 58 h 64"/>
              <a:gd name="T56" fmla="*/ 44 w 68"/>
              <a:gd name="T57" fmla="*/ 60 h 64"/>
              <a:gd name="T58" fmla="*/ 42 w 68"/>
              <a:gd name="T59" fmla="*/ 64 h 64"/>
              <a:gd name="T60" fmla="*/ 34 w 68"/>
              <a:gd name="T61" fmla="*/ 62 h 64"/>
              <a:gd name="T62" fmla="*/ 24 w 68"/>
              <a:gd name="T63" fmla="*/ 60 h 64"/>
              <a:gd name="T64" fmla="*/ 20 w 68"/>
              <a:gd name="T65" fmla="*/ 56 h 64"/>
              <a:gd name="T66" fmla="*/ 20 w 68"/>
              <a:gd name="T67" fmla="*/ 50 h 64"/>
              <a:gd name="T68" fmla="*/ 16 w 68"/>
              <a:gd name="T69" fmla="*/ 50 h 64"/>
              <a:gd name="T70" fmla="*/ 12 w 68"/>
              <a:gd name="T71" fmla="*/ 50 h 64"/>
              <a:gd name="T72" fmla="*/ 12 w 68"/>
              <a:gd name="T73" fmla="*/ 56 h 64"/>
              <a:gd name="T74" fmla="*/ 2 w 68"/>
              <a:gd name="T75" fmla="*/ 52 h 64"/>
              <a:gd name="T76" fmla="*/ 2 w 68"/>
              <a:gd name="T7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4">
                <a:moveTo>
                  <a:pt x="2" y="46"/>
                </a:moveTo>
                <a:lnTo>
                  <a:pt x="0" y="40"/>
                </a:lnTo>
                <a:lnTo>
                  <a:pt x="6" y="38"/>
                </a:lnTo>
                <a:lnTo>
                  <a:pt x="10" y="38"/>
                </a:lnTo>
                <a:lnTo>
                  <a:pt x="20" y="38"/>
                </a:lnTo>
                <a:lnTo>
                  <a:pt x="26" y="40"/>
                </a:lnTo>
                <a:lnTo>
                  <a:pt x="30" y="38"/>
                </a:lnTo>
                <a:lnTo>
                  <a:pt x="22" y="32"/>
                </a:lnTo>
                <a:lnTo>
                  <a:pt x="16" y="28"/>
                </a:lnTo>
                <a:lnTo>
                  <a:pt x="18" y="22"/>
                </a:lnTo>
                <a:lnTo>
                  <a:pt x="22" y="22"/>
                </a:lnTo>
                <a:lnTo>
                  <a:pt x="28" y="20"/>
                </a:lnTo>
                <a:lnTo>
                  <a:pt x="26" y="14"/>
                </a:lnTo>
                <a:lnTo>
                  <a:pt x="20" y="16"/>
                </a:lnTo>
                <a:lnTo>
                  <a:pt x="14" y="18"/>
                </a:lnTo>
                <a:lnTo>
                  <a:pt x="12" y="12"/>
                </a:lnTo>
                <a:lnTo>
                  <a:pt x="14" y="8"/>
                </a:lnTo>
                <a:lnTo>
                  <a:pt x="20" y="6"/>
                </a:lnTo>
                <a:lnTo>
                  <a:pt x="24" y="2"/>
                </a:lnTo>
                <a:lnTo>
                  <a:pt x="32" y="0"/>
                </a:lnTo>
                <a:lnTo>
                  <a:pt x="38" y="0"/>
                </a:lnTo>
                <a:lnTo>
                  <a:pt x="42" y="6"/>
                </a:lnTo>
                <a:lnTo>
                  <a:pt x="42" y="48"/>
                </a:lnTo>
                <a:lnTo>
                  <a:pt x="64" y="48"/>
                </a:lnTo>
                <a:lnTo>
                  <a:pt x="68" y="52"/>
                </a:lnTo>
                <a:lnTo>
                  <a:pt x="68" y="56"/>
                </a:lnTo>
                <a:lnTo>
                  <a:pt x="60" y="58"/>
                </a:lnTo>
                <a:lnTo>
                  <a:pt x="52" y="58"/>
                </a:lnTo>
                <a:lnTo>
                  <a:pt x="44" y="60"/>
                </a:lnTo>
                <a:lnTo>
                  <a:pt x="42" y="64"/>
                </a:lnTo>
                <a:lnTo>
                  <a:pt x="34" y="62"/>
                </a:lnTo>
                <a:lnTo>
                  <a:pt x="24" y="60"/>
                </a:lnTo>
                <a:lnTo>
                  <a:pt x="20" y="56"/>
                </a:lnTo>
                <a:lnTo>
                  <a:pt x="20" y="50"/>
                </a:lnTo>
                <a:lnTo>
                  <a:pt x="16" y="50"/>
                </a:lnTo>
                <a:lnTo>
                  <a:pt x="12" y="50"/>
                </a:lnTo>
                <a:lnTo>
                  <a:pt x="12" y="56"/>
                </a:lnTo>
                <a:lnTo>
                  <a:pt x="2" y="52"/>
                </a:lnTo>
                <a:lnTo>
                  <a:pt x="2" y="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6" name="Freeform 88">
            <a:extLst>
              <a:ext uri="{FF2B5EF4-FFF2-40B4-BE49-F238E27FC236}">
                <a16:creationId xmlns:a16="http://schemas.microsoft.com/office/drawing/2014/main" id="{82A0C04F-F1AB-4904-98FC-2D268D67F7AA}"/>
              </a:ext>
            </a:extLst>
          </p:cNvPr>
          <p:cNvSpPr>
            <a:spLocks/>
          </p:cNvSpPr>
          <p:nvPr/>
        </p:nvSpPr>
        <p:spPr bwMode="gray">
          <a:xfrm>
            <a:off x="3863700" y="6616140"/>
            <a:ext cx="35490" cy="35678"/>
          </a:xfrm>
          <a:custGeom>
            <a:avLst/>
            <a:gdLst>
              <a:gd name="T0" fmla="*/ 6 w 18"/>
              <a:gd name="T1" fmla="*/ 4 h 18"/>
              <a:gd name="T2" fmla="*/ 12 w 18"/>
              <a:gd name="T3" fmla="*/ 0 h 18"/>
              <a:gd name="T4" fmla="*/ 18 w 18"/>
              <a:gd name="T5" fmla="*/ 2 h 18"/>
              <a:gd name="T6" fmla="*/ 18 w 18"/>
              <a:gd name="T7" fmla="*/ 6 h 18"/>
              <a:gd name="T8" fmla="*/ 14 w 18"/>
              <a:gd name="T9" fmla="*/ 10 h 18"/>
              <a:gd name="T10" fmla="*/ 8 w 18"/>
              <a:gd name="T11" fmla="*/ 16 h 18"/>
              <a:gd name="T12" fmla="*/ 4 w 18"/>
              <a:gd name="T13" fmla="*/ 18 h 18"/>
              <a:gd name="T14" fmla="*/ 0 w 18"/>
              <a:gd name="T15" fmla="*/ 16 h 18"/>
              <a:gd name="T16" fmla="*/ 0 w 18"/>
              <a:gd name="T17" fmla="*/ 12 h 18"/>
              <a:gd name="T18" fmla="*/ 4 w 18"/>
              <a:gd name="T19" fmla="*/ 8 h 18"/>
              <a:gd name="T20" fmla="*/ 6 w 18"/>
              <a:gd name="T2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8">
                <a:moveTo>
                  <a:pt x="6" y="4"/>
                </a:moveTo>
                <a:lnTo>
                  <a:pt x="12" y="0"/>
                </a:lnTo>
                <a:lnTo>
                  <a:pt x="18" y="2"/>
                </a:lnTo>
                <a:lnTo>
                  <a:pt x="18" y="6"/>
                </a:lnTo>
                <a:lnTo>
                  <a:pt x="14" y="10"/>
                </a:lnTo>
                <a:lnTo>
                  <a:pt x="8" y="16"/>
                </a:lnTo>
                <a:lnTo>
                  <a:pt x="4" y="18"/>
                </a:lnTo>
                <a:lnTo>
                  <a:pt x="0" y="16"/>
                </a:lnTo>
                <a:lnTo>
                  <a:pt x="0" y="12"/>
                </a:lnTo>
                <a:lnTo>
                  <a:pt x="4" y="8"/>
                </a:lnTo>
                <a:lnTo>
                  <a:pt x="6"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7" name="Freeform 89">
            <a:extLst>
              <a:ext uri="{FF2B5EF4-FFF2-40B4-BE49-F238E27FC236}">
                <a16:creationId xmlns:a16="http://schemas.microsoft.com/office/drawing/2014/main" id="{8ECD711D-2C9B-4661-BE7F-BEDAF72469E2}"/>
              </a:ext>
            </a:extLst>
          </p:cNvPr>
          <p:cNvSpPr>
            <a:spLocks/>
          </p:cNvSpPr>
          <p:nvPr/>
        </p:nvSpPr>
        <p:spPr bwMode="gray">
          <a:xfrm>
            <a:off x="3895247" y="6620105"/>
            <a:ext cx="55208" cy="39644"/>
          </a:xfrm>
          <a:custGeom>
            <a:avLst/>
            <a:gdLst>
              <a:gd name="T0" fmla="*/ 6 w 28"/>
              <a:gd name="T1" fmla="*/ 8 h 20"/>
              <a:gd name="T2" fmla="*/ 10 w 28"/>
              <a:gd name="T3" fmla="*/ 0 h 20"/>
              <a:gd name="T4" fmla="*/ 16 w 28"/>
              <a:gd name="T5" fmla="*/ 0 h 20"/>
              <a:gd name="T6" fmla="*/ 22 w 28"/>
              <a:gd name="T7" fmla="*/ 0 h 20"/>
              <a:gd name="T8" fmla="*/ 28 w 28"/>
              <a:gd name="T9" fmla="*/ 2 h 20"/>
              <a:gd name="T10" fmla="*/ 28 w 28"/>
              <a:gd name="T11" fmla="*/ 6 h 20"/>
              <a:gd name="T12" fmla="*/ 22 w 28"/>
              <a:gd name="T13" fmla="*/ 8 h 20"/>
              <a:gd name="T14" fmla="*/ 18 w 28"/>
              <a:gd name="T15" fmla="*/ 10 h 20"/>
              <a:gd name="T16" fmla="*/ 16 w 28"/>
              <a:gd name="T17" fmla="*/ 10 h 20"/>
              <a:gd name="T18" fmla="*/ 12 w 28"/>
              <a:gd name="T19" fmla="*/ 14 h 20"/>
              <a:gd name="T20" fmla="*/ 8 w 28"/>
              <a:gd name="T21" fmla="*/ 16 h 20"/>
              <a:gd name="T22" fmla="*/ 6 w 28"/>
              <a:gd name="T23" fmla="*/ 20 h 20"/>
              <a:gd name="T24" fmla="*/ 0 w 28"/>
              <a:gd name="T25" fmla="*/ 18 h 20"/>
              <a:gd name="T26" fmla="*/ 0 w 28"/>
              <a:gd name="T27" fmla="*/ 12 h 20"/>
              <a:gd name="T28" fmla="*/ 2 w 28"/>
              <a:gd name="T29" fmla="*/ 10 h 20"/>
              <a:gd name="T30" fmla="*/ 6 w 28"/>
              <a:gd name="T31"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0">
                <a:moveTo>
                  <a:pt x="6" y="8"/>
                </a:moveTo>
                <a:lnTo>
                  <a:pt x="10" y="0"/>
                </a:lnTo>
                <a:lnTo>
                  <a:pt x="16" y="0"/>
                </a:lnTo>
                <a:lnTo>
                  <a:pt x="22" y="0"/>
                </a:lnTo>
                <a:lnTo>
                  <a:pt x="28" y="2"/>
                </a:lnTo>
                <a:lnTo>
                  <a:pt x="28" y="6"/>
                </a:lnTo>
                <a:lnTo>
                  <a:pt x="22" y="8"/>
                </a:lnTo>
                <a:lnTo>
                  <a:pt x="18" y="10"/>
                </a:lnTo>
                <a:lnTo>
                  <a:pt x="16" y="10"/>
                </a:lnTo>
                <a:lnTo>
                  <a:pt x="12" y="14"/>
                </a:lnTo>
                <a:lnTo>
                  <a:pt x="8" y="16"/>
                </a:lnTo>
                <a:lnTo>
                  <a:pt x="6" y="20"/>
                </a:lnTo>
                <a:lnTo>
                  <a:pt x="0" y="18"/>
                </a:lnTo>
                <a:lnTo>
                  <a:pt x="0" y="12"/>
                </a:lnTo>
                <a:lnTo>
                  <a:pt x="2" y="10"/>
                </a:lnTo>
                <a:lnTo>
                  <a:pt x="6" y="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898" name="Freeform 90">
            <a:extLst>
              <a:ext uri="{FF2B5EF4-FFF2-40B4-BE49-F238E27FC236}">
                <a16:creationId xmlns:a16="http://schemas.microsoft.com/office/drawing/2014/main" id="{BF9B2A95-6C35-42C1-ADA9-A04CCCB2087B}"/>
              </a:ext>
            </a:extLst>
          </p:cNvPr>
          <p:cNvSpPr>
            <a:spLocks/>
          </p:cNvSpPr>
          <p:nvPr/>
        </p:nvSpPr>
        <p:spPr bwMode="gray">
          <a:xfrm>
            <a:off x="3445699" y="4677591"/>
            <a:ext cx="1222455" cy="1264615"/>
          </a:xfrm>
          <a:custGeom>
            <a:avLst/>
            <a:gdLst>
              <a:gd name="T0" fmla="*/ 366 w 620"/>
              <a:gd name="T1" fmla="*/ 36 h 638"/>
              <a:gd name="T2" fmla="*/ 378 w 620"/>
              <a:gd name="T3" fmla="*/ 70 h 638"/>
              <a:gd name="T4" fmla="*/ 362 w 620"/>
              <a:gd name="T5" fmla="*/ 100 h 638"/>
              <a:gd name="T6" fmla="*/ 388 w 620"/>
              <a:gd name="T7" fmla="*/ 78 h 638"/>
              <a:gd name="T8" fmla="*/ 402 w 620"/>
              <a:gd name="T9" fmla="*/ 98 h 638"/>
              <a:gd name="T10" fmla="*/ 404 w 620"/>
              <a:gd name="T11" fmla="*/ 108 h 638"/>
              <a:gd name="T12" fmla="*/ 420 w 620"/>
              <a:gd name="T13" fmla="*/ 92 h 638"/>
              <a:gd name="T14" fmla="*/ 472 w 620"/>
              <a:gd name="T15" fmla="*/ 114 h 638"/>
              <a:gd name="T16" fmla="*/ 476 w 620"/>
              <a:gd name="T17" fmla="*/ 126 h 638"/>
              <a:gd name="T18" fmla="*/ 516 w 620"/>
              <a:gd name="T19" fmla="*/ 130 h 638"/>
              <a:gd name="T20" fmla="*/ 572 w 620"/>
              <a:gd name="T21" fmla="*/ 152 h 638"/>
              <a:gd name="T22" fmla="*/ 614 w 620"/>
              <a:gd name="T23" fmla="*/ 174 h 638"/>
              <a:gd name="T24" fmla="*/ 600 w 620"/>
              <a:gd name="T25" fmla="*/ 246 h 638"/>
              <a:gd name="T26" fmla="*/ 570 w 620"/>
              <a:gd name="T27" fmla="*/ 286 h 638"/>
              <a:gd name="T28" fmla="*/ 556 w 620"/>
              <a:gd name="T29" fmla="*/ 322 h 638"/>
              <a:gd name="T30" fmla="*/ 544 w 620"/>
              <a:gd name="T31" fmla="*/ 392 h 638"/>
              <a:gd name="T32" fmla="*/ 512 w 620"/>
              <a:gd name="T33" fmla="*/ 446 h 638"/>
              <a:gd name="T34" fmla="*/ 454 w 620"/>
              <a:gd name="T35" fmla="*/ 468 h 638"/>
              <a:gd name="T36" fmla="*/ 408 w 620"/>
              <a:gd name="T37" fmla="*/ 494 h 638"/>
              <a:gd name="T38" fmla="*/ 398 w 620"/>
              <a:gd name="T39" fmla="*/ 550 h 638"/>
              <a:gd name="T40" fmla="*/ 374 w 620"/>
              <a:gd name="T41" fmla="*/ 588 h 638"/>
              <a:gd name="T42" fmla="*/ 352 w 620"/>
              <a:gd name="T43" fmla="*/ 606 h 638"/>
              <a:gd name="T44" fmla="*/ 370 w 620"/>
              <a:gd name="T45" fmla="*/ 584 h 638"/>
              <a:gd name="T46" fmla="*/ 352 w 620"/>
              <a:gd name="T47" fmla="*/ 596 h 638"/>
              <a:gd name="T48" fmla="*/ 342 w 620"/>
              <a:gd name="T49" fmla="*/ 622 h 638"/>
              <a:gd name="T50" fmla="*/ 330 w 620"/>
              <a:gd name="T51" fmla="*/ 622 h 638"/>
              <a:gd name="T52" fmla="*/ 286 w 620"/>
              <a:gd name="T53" fmla="*/ 590 h 638"/>
              <a:gd name="T54" fmla="*/ 300 w 620"/>
              <a:gd name="T55" fmla="*/ 540 h 638"/>
              <a:gd name="T56" fmla="*/ 322 w 620"/>
              <a:gd name="T57" fmla="*/ 502 h 638"/>
              <a:gd name="T58" fmla="*/ 314 w 620"/>
              <a:gd name="T59" fmla="*/ 474 h 638"/>
              <a:gd name="T60" fmla="*/ 290 w 620"/>
              <a:gd name="T61" fmla="*/ 446 h 638"/>
              <a:gd name="T62" fmla="*/ 256 w 620"/>
              <a:gd name="T63" fmla="*/ 414 h 638"/>
              <a:gd name="T64" fmla="*/ 260 w 620"/>
              <a:gd name="T65" fmla="*/ 376 h 638"/>
              <a:gd name="T66" fmla="*/ 220 w 620"/>
              <a:gd name="T67" fmla="*/ 342 h 638"/>
              <a:gd name="T68" fmla="*/ 214 w 620"/>
              <a:gd name="T69" fmla="*/ 302 h 638"/>
              <a:gd name="T70" fmla="*/ 162 w 620"/>
              <a:gd name="T71" fmla="*/ 282 h 638"/>
              <a:gd name="T72" fmla="*/ 116 w 620"/>
              <a:gd name="T73" fmla="*/ 244 h 638"/>
              <a:gd name="T74" fmla="*/ 60 w 620"/>
              <a:gd name="T75" fmla="*/ 256 h 638"/>
              <a:gd name="T76" fmla="*/ 48 w 620"/>
              <a:gd name="T77" fmla="*/ 238 h 638"/>
              <a:gd name="T78" fmla="*/ 8 w 620"/>
              <a:gd name="T79" fmla="*/ 222 h 638"/>
              <a:gd name="T80" fmla="*/ 26 w 620"/>
              <a:gd name="T81" fmla="*/ 160 h 638"/>
              <a:gd name="T82" fmla="*/ 70 w 620"/>
              <a:gd name="T83" fmla="*/ 120 h 638"/>
              <a:gd name="T84" fmla="*/ 66 w 620"/>
              <a:gd name="T85" fmla="*/ 72 h 638"/>
              <a:gd name="T86" fmla="*/ 92 w 620"/>
              <a:gd name="T87" fmla="*/ 56 h 638"/>
              <a:gd name="T88" fmla="*/ 130 w 620"/>
              <a:gd name="T89" fmla="*/ 72 h 638"/>
              <a:gd name="T90" fmla="*/ 168 w 620"/>
              <a:gd name="T91" fmla="*/ 44 h 638"/>
              <a:gd name="T92" fmla="*/ 154 w 620"/>
              <a:gd name="T93" fmla="*/ 18 h 638"/>
              <a:gd name="T94" fmla="*/ 194 w 620"/>
              <a:gd name="T95" fmla="*/ 18 h 638"/>
              <a:gd name="T96" fmla="*/ 228 w 620"/>
              <a:gd name="T97" fmla="*/ 22 h 638"/>
              <a:gd name="T98" fmla="*/ 244 w 620"/>
              <a:gd name="T99" fmla="*/ 64 h 638"/>
              <a:gd name="T100" fmla="*/ 276 w 620"/>
              <a:gd name="T101" fmla="*/ 54 h 638"/>
              <a:gd name="T102" fmla="*/ 290 w 620"/>
              <a:gd name="T103" fmla="*/ 44 h 638"/>
              <a:gd name="T104" fmla="*/ 332 w 620"/>
              <a:gd name="T105" fmla="*/ 4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0" h="638">
                <a:moveTo>
                  <a:pt x="356" y="18"/>
                </a:moveTo>
                <a:lnTo>
                  <a:pt x="362" y="20"/>
                </a:lnTo>
                <a:lnTo>
                  <a:pt x="366" y="24"/>
                </a:lnTo>
                <a:lnTo>
                  <a:pt x="364" y="28"/>
                </a:lnTo>
                <a:lnTo>
                  <a:pt x="366" y="36"/>
                </a:lnTo>
                <a:lnTo>
                  <a:pt x="368" y="44"/>
                </a:lnTo>
                <a:lnTo>
                  <a:pt x="376" y="54"/>
                </a:lnTo>
                <a:lnTo>
                  <a:pt x="382" y="60"/>
                </a:lnTo>
                <a:lnTo>
                  <a:pt x="382" y="68"/>
                </a:lnTo>
                <a:lnTo>
                  <a:pt x="378" y="70"/>
                </a:lnTo>
                <a:lnTo>
                  <a:pt x="370" y="76"/>
                </a:lnTo>
                <a:lnTo>
                  <a:pt x="362" y="84"/>
                </a:lnTo>
                <a:lnTo>
                  <a:pt x="360" y="88"/>
                </a:lnTo>
                <a:lnTo>
                  <a:pt x="360" y="96"/>
                </a:lnTo>
                <a:lnTo>
                  <a:pt x="362" y="100"/>
                </a:lnTo>
                <a:lnTo>
                  <a:pt x="368" y="98"/>
                </a:lnTo>
                <a:lnTo>
                  <a:pt x="372" y="92"/>
                </a:lnTo>
                <a:lnTo>
                  <a:pt x="372" y="82"/>
                </a:lnTo>
                <a:lnTo>
                  <a:pt x="380" y="78"/>
                </a:lnTo>
                <a:lnTo>
                  <a:pt x="388" y="78"/>
                </a:lnTo>
                <a:lnTo>
                  <a:pt x="392" y="82"/>
                </a:lnTo>
                <a:lnTo>
                  <a:pt x="400" y="84"/>
                </a:lnTo>
                <a:lnTo>
                  <a:pt x="404" y="88"/>
                </a:lnTo>
                <a:lnTo>
                  <a:pt x="404" y="92"/>
                </a:lnTo>
                <a:lnTo>
                  <a:pt x="402" y="98"/>
                </a:lnTo>
                <a:lnTo>
                  <a:pt x="398" y="102"/>
                </a:lnTo>
                <a:lnTo>
                  <a:pt x="392" y="108"/>
                </a:lnTo>
                <a:lnTo>
                  <a:pt x="392" y="116"/>
                </a:lnTo>
                <a:lnTo>
                  <a:pt x="396" y="116"/>
                </a:lnTo>
                <a:lnTo>
                  <a:pt x="404" y="108"/>
                </a:lnTo>
                <a:lnTo>
                  <a:pt x="406" y="108"/>
                </a:lnTo>
                <a:lnTo>
                  <a:pt x="408" y="104"/>
                </a:lnTo>
                <a:lnTo>
                  <a:pt x="410" y="98"/>
                </a:lnTo>
                <a:lnTo>
                  <a:pt x="414" y="94"/>
                </a:lnTo>
                <a:lnTo>
                  <a:pt x="420" y="92"/>
                </a:lnTo>
                <a:lnTo>
                  <a:pt x="426" y="94"/>
                </a:lnTo>
                <a:lnTo>
                  <a:pt x="440" y="98"/>
                </a:lnTo>
                <a:lnTo>
                  <a:pt x="448" y="104"/>
                </a:lnTo>
                <a:lnTo>
                  <a:pt x="462" y="110"/>
                </a:lnTo>
                <a:lnTo>
                  <a:pt x="472" y="114"/>
                </a:lnTo>
                <a:lnTo>
                  <a:pt x="472" y="120"/>
                </a:lnTo>
                <a:lnTo>
                  <a:pt x="468" y="126"/>
                </a:lnTo>
                <a:lnTo>
                  <a:pt x="466" y="134"/>
                </a:lnTo>
                <a:lnTo>
                  <a:pt x="468" y="134"/>
                </a:lnTo>
                <a:lnTo>
                  <a:pt x="476" y="126"/>
                </a:lnTo>
                <a:lnTo>
                  <a:pt x="482" y="124"/>
                </a:lnTo>
                <a:lnTo>
                  <a:pt x="488" y="122"/>
                </a:lnTo>
                <a:lnTo>
                  <a:pt x="496" y="124"/>
                </a:lnTo>
                <a:lnTo>
                  <a:pt x="506" y="128"/>
                </a:lnTo>
                <a:lnTo>
                  <a:pt x="516" y="130"/>
                </a:lnTo>
                <a:lnTo>
                  <a:pt x="528" y="130"/>
                </a:lnTo>
                <a:lnTo>
                  <a:pt x="538" y="132"/>
                </a:lnTo>
                <a:lnTo>
                  <a:pt x="548" y="134"/>
                </a:lnTo>
                <a:lnTo>
                  <a:pt x="560" y="142"/>
                </a:lnTo>
                <a:lnTo>
                  <a:pt x="572" y="152"/>
                </a:lnTo>
                <a:lnTo>
                  <a:pt x="582" y="160"/>
                </a:lnTo>
                <a:lnTo>
                  <a:pt x="592" y="166"/>
                </a:lnTo>
                <a:lnTo>
                  <a:pt x="602" y="164"/>
                </a:lnTo>
                <a:lnTo>
                  <a:pt x="610" y="164"/>
                </a:lnTo>
                <a:lnTo>
                  <a:pt x="614" y="174"/>
                </a:lnTo>
                <a:lnTo>
                  <a:pt x="620" y="190"/>
                </a:lnTo>
                <a:lnTo>
                  <a:pt x="620" y="206"/>
                </a:lnTo>
                <a:lnTo>
                  <a:pt x="618" y="224"/>
                </a:lnTo>
                <a:lnTo>
                  <a:pt x="608" y="236"/>
                </a:lnTo>
                <a:lnTo>
                  <a:pt x="600" y="246"/>
                </a:lnTo>
                <a:lnTo>
                  <a:pt x="580" y="264"/>
                </a:lnTo>
                <a:lnTo>
                  <a:pt x="580" y="272"/>
                </a:lnTo>
                <a:lnTo>
                  <a:pt x="578" y="278"/>
                </a:lnTo>
                <a:lnTo>
                  <a:pt x="574" y="282"/>
                </a:lnTo>
                <a:lnTo>
                  <a:pt x="570" y="286"/>
                </a:lnTo>
                <a:lnTo>
                  <a:pt x="562" y="290"/>
                </a:lnTo>
                <a:lnTo>
                  <a:pt x="556" y="294"/>
                </a:lnTo>
                <a:lnTo>
                  <a:pt x="554" y="302"/>
                </a:lnTo>
                <a:lnTo>
                  <a:pt x="554" y="310"/>
                </a:lnTo>
                <a:lnTo>
                  <a:pt x="556" y="322"/>
                </a:lnTo>
                <a:lnTo>
                  <a:pt x="556" y="338"/>
                </a:lnTo>
                <a:lnTo>
                  <a:pt x="554" y="350"/>
                </a:lnTo>
                <a:lnTo>
                  <a:pt x="552" y="366"/>
                </a:lnTo>
                <a:lnTo>
                  <a:pt x="548" y="376"/>
                </a:lnTo>
                <a:lnTo>
                  <a:pt x="544" y="392"/>
                </a:lnTo>
                <a:lnTo>
                  <a:pt x="536" y="408"/>
                </a:lnTo>
                <a:lnTo>
                  <a:pt x="528" y="420"/>
                </a:lnTo>
                <a:lnTo>
                  <a:pt x="524" y="434"/>
                </a:lnTo>
                <a:lnTo>
                  <a:pt x="518" y="440"/>
                </a:lnTo>
                <a:lnTo>
                  <a:pt x="512" y="446"/>
                </a:lnTo>
                <a:lnTo>
                  <a:pt x="508" y="452"/>
                </a:lnTo>
                <a:lnTo>
                  <a:pt x="494" y="456"/>
                </a:lnTo>
                <a:lnTo>
                  <a:pt x="482" y="456"/>
                </a:lnTo>
                <a:lnTo>
                  <a:pt x="464" y="458"/>
                </a:lnTo>
                <a:lnTo>
                  <a:pt x="454" y="468"/>
                </a:lnTo>
                <a:lnTo>
                  <a:pt x="446" y="472"/>
                </a:lnTo>
                <a:lnTo>
                  <a:pt x="438" y="472"/>
                </a:lnTo>
                <a:lnTo>
                  <a:pt x="430" y="480"/>
                </a:lnTo>
                <a:lnTo>
                  <a:pt x="418" y="484"/>
                </a:lnTo>
                <a:lnTo>
                  <a:pt x="408" y="494"/>
                </a:lnTo>
                <a:lnTo>
                  <a:pt x="404" y="502"/>
                </a:lnTo>
                <a:lnTo>
                  <a:pt x="402" y="516"/>
                </a:lnTo>
                <a:lnTo>
                  <a:pt x="402" y="526"/>
                </a:lnTo>
                <a:lnTo>
                  <a:pt x="404" y="542"/>
                </a:lnTo>
                <a:lnTo>
                  <a:pt x="398" y="550"/>
                </a:lnTo>
                <a:lnTo>
                  <a:pt x="390" y="560"/>
                </a:lnTo>
                <a:lnTo>
                  <a:pt x="384" y="566"/>
                </a:lnTo>
                <a:lnTo>
                  <a:pt x="380" y="574"/>
                </a:lnTo>
                <a:lnTo>
                  <a:pt x="376" y="584"/>
                </a:lnTo>
                <a:lnTo>
                  <a:pt x="374" y="588"/>
                </a:lnTo>
                <a:lnTo>
                  <a:pt x="370" y="592"/>
                </a:lnTo>
                <a:lnTo>
                  <a:pt x="366" y="600"/>
                </a:lnTo>
                <a:lnTo>
                  <a:pt x="360" y="604"/>
                </a:lnTo>
                <a:lnTo>
                  <a:pt x="352" y="610"/>
                </a:lnTo>
                <a:lnTo>
                  <a:pt x="352" y="606"/>
                </a:lnTo>
                <a:lnTo>
                  <a:pt x="352" y="604"/>
                </a:lnTo>
                <a:lnTo>
                  <a:pt x="356" y="600"/>
                </a:lnTo>
                <a:lnTo>
                  <a:pt x="360" y="596"/>
                </a:lnTo>
                <a:lnTo>
                  <a:pt x="366" y="590"/>
                </a:lnTo>
                <a:lnTo>
                  <a:pt x="370" y="584"/>
                </a:lnTo>
                <a:lnTo>
                  <a:pt x="368" y="580"/>
                </a:lnTo>
                <a:lnTo>
                  <a:pt x="364" y="582"/>
                </a:lnTo>
                <a:lnTo>
                  <a:pt x="360" y="586"/>
                </a:lnTo>
                <a:lnTo>
                  <a:pt x="356" y="592"/>
                </a:lnTo>
                <a:lnTo>
                  <a:pt x="352" y="596"/>
                </a:lnTo>
                <a:lnTo>
                  <a:pt x="348" y="600"/>
                </a:lnTo>
                <a:lnTo>
                  <a:pt x="348" y="606"/>
                </a:lnTo>
                <a:lnTo>
                  <a:pt x="346" y="612"/>
                </a:lnTo>
                <a:lnTo>
                  <a:pt x="344" y="618"/>
                </a:lnTo>
                <a:lnTo>
                  <a:pt x="342" y="622"/>
                </a:lnTo>
                <a:lnTo>
                  <a:pt x="336" y="630"/>
                </a:lnTo>
                <a:lnTo>
                  <a:pt x="332" y="638"/>
                </a:lnTo>
                <a:lnTo>
                  <a:pt x="328" y="634"/>
                </a:lnTo>
                <a:lnTo>
                  <a:pt x="328" y="628"/>
                </a:lnTo>
                <a:lnTo>
                  <a:pt x="330" y="622"/>
                </a:lnTo>
                <a:lnTo>
                  <a:pt x="326" y="614"/>
                </a:lnTo>
                <a:lnTo>
                  <a:pt x="320" y="610"/>
                </a:lnTo>
                <a:lnTo>
                  <a:pt x="308" y="600"/>
                </a:lnTo>
                <a:lnTo>
                  <a:pt x="294" y="592"/>
                </a:lnTo>
                <a:lnTo>
                  <a:pt x="286" y="590"/>
                </a:lnTo>
                <a:lnTo>
                  <a:pt x="278" y="580"/>
                </a:lnTo>
                <a:lnTo>
                  <a:pt x="268" y="572"/>
                </a:lnTo>
                <a:lnTo>
                  <a:pt x="270" y="568"/>
                </a:lnTo>
                <a:lnTo>
                  <a:pt x="276" y="564"/>
                </a:lnTo>
                <a:lnTo>
                  <a:pt x="300" y="540"/>
                </a:lnTo>
                <a:lnTo>
                  <a:pt x="308" y="534"/>
                </a:lnTo>
                <a:lnTo>
                  <a:pt x="316" y="530"/>
                </a:lnTo>
                <a:lnTo>
                  <a:pt x="320" y="524"/>
                </a:lnTo>
                <a:lnTo>
                  <a:pt x="324" y="512"/>
                </a:lnTo>
                <a:lnTo>
                  <a:pt x="322" y="502"/>
                </a:lnTo>
                <a:lnTo>
                  <a:pt x="318" y="498"/>
                </a:lnTo>
                <a:lnTo>
                  <a:pt x="308" y="496"/>
                </a:lnTo>
                <a:lnTo>
                  <a:pt x="308" y="490"/>
                </a:lnTo>
                <a:lnTo>
                  <a:pt x="312" y="482"/>
                </a:lnTo>
                <a:lnTo>
                  <a:pt x="314" y="474"/>
                </a:lnTo>
                <a:lnTo>
                  <a:pt x="308" y="472"/>
                </a:lnTo>
                <a:lnTo>
                  <a:pt x="300" y="474"/>
                </a:lnTo>
                <a:lnTo>
                  <a:pt x="292" y="466"/>
                </a:lnTo>
                <a:lnTo>
                  <a:pt x="288" y="456"/>
                </a:lnTo>
                <a:lnTo>
                  <a:pt x="290" y="446"/>
                </a:lnTo>
                <a:lnTo>
                  <a:pt x="284" y="442"/>
                </a:lnTo>
                <a:lnTo>
                  <a:pt x="274" y="440"/>
                </a:lnTo>
                <a:lnTo>
                  <a:pt x="266" y="442"/>
                </a:lnTo>
                <a:lnTo>
                  <a:pt x="256" y="442"/>
                </a:lnTo>
                <a:lnTo>
                  <a:pt x="256" y="414"/>
                </a:lnTo>
                <a:lnTo>
                  <a:pt x="252" y="406"/>
                </a:lnTo>
                <a:lnTo>
                  <a:pt x="256" y="402"/>
                </a:lnTo>
                <a:lnTo>
                  <a:pt x="252" y="396"/>
                </a:lnTo>
                <a:lnTo>
                  <a:pt x="260" y="382"/>
                </a:lnTo>
                <a:lnTo>
                  <a:pt x="260" y="376"/>
                </a:lnTo>
                <a:lnTo>
                  <a:pt x="258" y="366"/>
                </a:lnTo>
                <a:lnTo>
                  <a:pt x="248" y="362"/>
                </a:lnTo>
                <a:lnTo>
                  <a:pt x="246" y="350"/>
                </a:lnTo>
                <a:lnTo>
                  <a:pt x="248" y="342"/>
                </a:lnTo>
                <a:lnTo>
                  <a:pt x="220" y="342"/>
                </a:lnTo>
                <a:lnTo>
                  <a:pt x="218" y="330"/>
                </a:lnTo>
                <a:lnTo>
                  <a:pt x="218" y="326"/>
                </a:lnTo>
                <a:lnTo>
                  <a:pt x="220" y="322"/>
                </a:lnTo>
                <a:lnTo>
                  <a:pt x="218" y="314"/>
                </a:lnTo>
                <a:lnTo>
                  <a:pt x="214" y="302"/>
                </a:lnTo>
                <a:lnTo>
                  <a:pt x="196" y="298"/>
                </a:lnTo>
                <a:lnTo>
                  <a:pt x="184" y="292"/>
                </a:lnTo>
                <a:lnTo>
                  <a:pt x="176" y="290"/>
                </a:lnTo>
                <a:lnTo>
                  <a:pt x="172" y="284"/>
                </a:lnTo>
                <a:lnTo>
                  <a:pt x="162" y="282"/>
                </a:lnTo>
                <a:lnTo>
                  <a:pt x="152" y="280"/>
                </a:lnTo>
                <a:lnTo>
                  <a:pt x="140" y="268"/>
                </a:lnTo>
                <a:lnTo>
                  <a:pt x="138" y="240"/>
                </a:lnTo>
                <a:lnTo>
                  <a:pt x="126" y="240"/>
                </a:lnTo>
                <a:lnTo>
                  <a:pt x="116" y="244"/>
                </a:lnTo>
                <a:lnTo>
                  <a:pt x="114" y="244"/>
                </a:lnTo>
                <a:lnTo>
                  <a:pt x="106" y="250"/>
                </a:lnTo>
                <a:lnTo>
                  <a:pt x="92" y="256"/>
                </a:lnTo>
                <a:lnTo>
                  <a:pt x="72" y="258"/>
                </a:lnTo>
                <a:lnTo>
                  <a:pt x="60" y="256"/>
                </a:lnTo>
                <a:lnTo>
                  <a:pt x="54" y="256"/>
                </a:lnTo>
                <a:lnTo>
                  <a:pt x="52" y="250"/>
                </a:lnTo>
                <a:lnTo>
                  <a:pt x="56" y="238"/>
                </a:lnTo>
                <a:lnTo>
                  <a:pt x="54" y="232"/>
                </a:lnTo>
                <a:lnTo>
                  <a:pt x="48" y="238"/>
                </a:lnTo>
                <a:lnTo>
                  <a:pt x="38" y="242"/>
                </a:lnTo>
                <a:lnTo>
                  <a:pt x="36" y="244"/>
                </a:lnTo>
                <a:lnTo>
                  <a:pt x="28" y="242"/>
                </a:lnTo>
                <a:lnTo>
                  <a:pt x="18" y="232"/>
                </a:lnTo>
                <a:lnTo>
                  <a:pt x="8" y="222"/>
                </a:lnTo>
                <a:lnTo>
                  <a:pt x="0" y="200"/>
                </a:lnTo>
                <a:lnTo>
                  <a:pt x="8" y="188"/>
                </a:lnTo>
                <a:lnTo>
                  <a:pt x="14" y="182"/>
                </a:lnTo>
                <a:lnTo>
                  <a:pt x="16" y="172"/>
                </a:lnTo>
                <a:lnTo>
                  <a:pt x="26" y="160"/>
                </a:lnTo>
                <a:lnTo>
                  <a:pt x="40" y="154"/>
                </a:lnTo>
                <a:lnTo>
                  <a:pt x="62" y="152"/>
                </a:lnTo>
                <a:lnTo>
                  <a:pt x="68" y="138"/>
                </a:lnTo>
                <a:lnTo>
                  <a:pt x="68" y="126"/>
                </a:lnTo>
                <a:lnTo>
                  <a:pt x="70" y="120"/>
                </a:lnTo>
                <a:lnTo>
                  <a:pt x="72" y="106"/>
                </a:lnTo>
                <a:lnTo>
                  <a:pt x="70" y="94"/>
                </a:lnTo>
                <a:lnTo>
                  <a:pt x="64" y="86"/>
                </a:lnTo>
                <a:lnTo>
                  <a:pt x="64" y="74"/>
                </a:lnTo>
                <a:lnTo>
                  <a:pt x="66" y="72"/>
                </a:lnTo>
                <a:lnTo>
                  <a:pt x="76" y="74"/>
                </a:lnTo>
                <a:lnTo>
                  <a:pt x="76" y="68"/>
                </a:lnTo>
                <a:lnTo>
                  <a:pt x="64" y="64"/>
                </a:lnTo>
                <a:lnTo>
                  <a:pt x="64" y="58"/>
                </a:lnTo>
                <a:lnTo>
                  <a:pt x="92" y="56"/>
                </a:lnTo>
                <a:lnTo>
                  <a:pt x="102" y="54"/>
                </a:lnTo>
                <a:lnTo>
                  <a:pt x="108" y="56"/>
                </a:lnTo>
                <a:lnTo>
                  <a:pt x="112" y="62"/>
                </a:lnTo>
                <a:lnTo>
                  <a:pt x="120" y="70"/>
                </a:lnTo>
                <a:lnTo>
                  <a:pt x="130" y="72"/>
                </a:lnTo>
                <a:lnTo>
                  <a:pt x="144" y="68"/>
                </a:lnTo>
                <a:lnTo>
                  <a:pt x="150" y="62"/>
                </a:lnTo>
                <a:lnTo>
                  <a:pt x="156" y="56"/>
                </a:lnTo>
                <a:lnTo>
                  <a:pt x="168" y="52"/>
                </a:lnTo>
                <a:lnTo>
                  <a:pt x="168" y="44"/>
                </a:lnTo>
                <a:lnTo>
                  <a:pt x="162" y="44"/>
                </a:lnTo>
                <a:lnTo>
                  <a:pt x="156" y="36"/>
                </a:lnTo>
                <a:lnTo>
                  <a:pt x="154" y="26"/>
                </a:lnTo>
                <a:lnTo>
                  <a:pt x="148" y="20"/>
                </a:lnTo>
                <a:lnTo>
                  <a:pt x="154" y="18"/>
                </a:lnTo>
                <a:lnTo>
                  <a:pt x="162" y="22"/>
                </a:lnTo>
                <a:lnTo>
                  <a:pt x="174" y="22"/>
                </a:lnTo>
                <a:lnTo>
                  <a:pt x="178" y="24"/>
                </a:lnTo>
                <a:lnTo>
                  <a:pt x="184" y="20"/>
                </a:lnTo>
                <a:lnTo>
                  <a:pt x="194" y="18"/>
                </a:lnTo>
                <a:lnTo>
                  <a:pt x="206" y="14"/>
                </a:lnTo>
                <a:lnTo>
                  <a:pt x="210" y="4"/>
                </a:lnTo>
                <a:lnTo>
                  <a:pt x="208" y="0"/>
                </a:lnTo>
                <a:lnTo>
                  <a:pt x="220" y="0"/>
                </a:lnTo>
                <a:lnTo>
                  <a:pt x="228" y="22"/>
                </a:lnTo>
                <a:lnTo>
                  <a:pt x="222" y="28"/>
                </a:lnTo>
                <a:lnTo>
                  <a:pt x="222" y="48"/>
                </a:lnTo>
                <a:lnTo>
                  <a:pt x="228" y="56"/>
                </a:lnTo>
                <a:lnTo>
                  <a:pt x="236" y="64"/>
                </a:lnTo>
                <a:lnTo>
                  <a:pt x="244" y="64"/>
                </a:lnTo>
                <a:lnTo>
                  <a:pt x="254" y="62"/>
                </a:lnTo>
                <a:lnTo>
                  <a:pt x="260" y="58"/>
                </a:lnTo>
                <a:lnTo>
                  <a:pt x="268" y="54"/>
                </a:lnTo>
                <a:lnTo>
                  <a:pt x="272" y="50"/>
                </a:lnTo>
                <a:lnTo>
                  <a:pt x="276" y="54"/>
                </a:lnTo>
                <a:lnTo>
                  <a:pt x="282" y="54"/>
                </a:lnTo>
                <a:lnTo>
                  <a:pt x="284" y="54"/>
                </a:lnTo>
                <a:lnTo>
                  <a:pt x="286" y="48"/>
                </a:lnTo>
                <a:lnTo>
                  <a:pt x="286" y="44"/>
                </a:lnTo>
                <a:lnTo>
                  <a:pt x="290" y="44"/>
                </a:lnTo>
                <a:lnTo>
                  <a:pt x="300" y="46"/>
                </a:lnTo>
                <a:lnTo>
                  <a:pt x="310" y="50"/>
                </a:lnTo>
                <a:lnTo>
                  <a:pt x="316" y="50"/>
                </a:lnTo>
                <a:lnTo>
                  <a:pt x="322" y="46"/>
                </a:lnTo>
                <a:lnTo>
                  <a:pt x="332" y="48"/>
                </a:lnTo>
                <a:lnTo>
                  <a:pt x="338" y="52"/>
                </a:lnTo>
                <a:lnTo>
                  <a:pt x="350" y="24"/>
                </a:lnTo>
                <a:lnTo>
                  <a:pt x="356" y="18"/>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899" name="Freeform 91">
            <a:extLst>
              <a:ext uri="{FF2B5EF4-FFF2-40B4-BE49-F238E27FC236}">
                <a16:creationId xmlns:a16="http://schemas.microsoft.com/office/drawing/2014/main" id="{346B3A75-0AD9-4410-9739-503E5FCFD21A}"/>
              </a:ext>
            </a:extLst>
          </p:cNvPr>
          <p:cNvSpPr>
            <a:spLocks/>
          </p:cNvSpPr>
          <p:nvPr/>
        </p:nvSpPr>
        <p:spPr bwMode="gray">
          <a:xfrm>
            <a:off x="6103550" y="1541817"/>
            <a:ext cx="329274" cy="237858"/>
          </a:xfrm>
          <a:custGeom>
            <a:avLst/>
            <a:gdLst>
              <a:gd name="T0" fmla="*/ 55 w 167"/>
              <a:gd name="T1" fmla="*/ 84 h 120"/>
              <a:gd name="T2" fmla="*/ 71 w 167"/>
              <a:gd name="T3" fmla="*/ 80 h 120"/>
              <a:gd name="T4" fmla="*/ 43 w 167"/>
              <a:gd name="T5" fmla="*/ 78 h 120"/>
              <a:gd name="T6" fmla="*/ 55 w 167"/>
              <a:gd name="T7" fmla="*/ 64 h 120"/>
              <a:gd name="T8" fmla="*/ 85 w 167"/>
              <a:gd name="T9" fmla="*/ 60 h 120"/>
              <a:gd name="T10" fmla="*/ 89 w 167"/>
              <a:gd name="T11" fmla="*/ 48 h 120"/>
              <a:gd name="T12" fmla="*/ 71 w 167"/>
              <a:gd name="T13" fmla="*/ 52 h 120"/>
              <a:gd name="T14" fmla="*/ 65 w 167"/>
              <a:gd name="T15" fmla="*/ 42 h 120"/>
              <a:gd name="T16" fmla="*/ 55 w 167"/>
              <a:gd name="T17" fmla="*/ 48 h 120"/>
              <a:gd name="T18" fmla="*/ 37 w 167"/>
              <a:gd name="T19" fmla="*/ 64 h 120"/>
              <a:gd name="T20" fmla="*/ 11 w 167"/>
              <a:gd name="T21" fmla="*/ 46 h 120"/>
              <a:gd name="T22" fmla="*/ 19 w 167"/>
              <a:gd name="T23" fmla="*/ 28 h 120"/>
              <a:gd name="T24" fmla="*/ 11 w 167"/>
              <a:gd name="T25" fmla="*/ 24 h 120"/>
              <a:gd name="T26" fmla="*/ 0 w 167"/>
              <a:gd name="T27" fmla="*/ 20 h 120"/>
              <a:gd name="T28" fmla="*/ 19 w 167"/>
              <a:gd name="T29" fmla="*/ 8 h 120"/>
              <a:gd name="T30" fmla="*/ 47 w 167"/>
              <a:gd name="T31" fmla="*/ 10 h 120"/>
              <a:gd name="T32" fmla="*/ 55 w 167"/>
              <a:gd name="T33" fmla="*/ 12 h 120"/>
              <a:gd name="T34" fmla="*/ 73 w 167"/>
              <a:gd name="T35" fmla="*/ 14 h 120"/>
              <a:gd name="T36" fmla="*/ 77 w 167"/>
              <a:gd name="T37" fmla="*/ 28 h 120"/>
              <a:gd name="T38" fmla="*/ 89 w 167"/>
              <a:gd name="T39" fmla="*/ 38 h 120"/>
              <a:gd name="T40" fmla="*/ 83 w 167"/>
              <a:gd name="T41" fmla="*/ 12 h 120"/>
              <a:gd name="T42" fmla="*/ 85 w 167"/>
              <a:gd name="T43" fmla="*/ 0 h 120"/>
              <a:gd name="T44" fmla="*/ 107 w 167"/>
              <a:gd name="T45" fmla="*/ 8 h 120"/>
              <a:gd name="T46" fmla="*/ 111 w 167"/>
              <a:gd name="T47" fmla="*/ 22 h 120"/>
              <a:gd name="T48" fmla="*/ 127 w 167"/>
              <a:gd name="T49" fmla="*/ 22 h 120"/>
              <a:gd name="T50" fmla="*/ 151 w 167"/>
              <a:gd name="T51" fmla="*/ 36 h 120"/>
              <a:gd name="T52" fmla="*/ 159 w 167"/>
              <a:gd name="T53" fmla="*/ 48 h 120"/>
              <a:gd name="T54" fmla="*/ 123 w 167"/>
              <a:gd name="T55" fmla="*/ 60 h 120"/>
              <a:gd name="T56" fmla="*/ 117 w 167"/>
              <a:gd name="T57" fmla="*/ 84 h 120"/>
              <a:gd name="T58" fmla="*/ 101 w 167"/>
              <a:gd name="T59" fmla="*/ 102 h 120"/>
              <a:gd name="T60" fmla="*/ 81 w 167"/>
              <a:gd name="T61" fmla="*/ 114 h 120"/>
              <a:gd name="T62" fmla="*/ 67 w 167"/>
              <a:gd name="T63" fmla="*/ 104 h 120"/>
              <a:gd name="T64" fmla="*/ 45 w 167"/>
              <a:gd name="T65"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0">
                <a:moveTo>
                  <a:pt x="45" y="92"/>
                </a:moveTo>
                <a:lnTo>
                  <a:pt x="55" y="84"/>
                </a:lnTo>
                <a:lnTo>
                  <a:pt x="83" y="88"/>
                </a:lnTo>
                <a:lnTo>
                  <a:pt x="71" y="80"/>
                </a:lnTo>
                <a:lnTo>
                  <a:pt x="59" y="76"/>
                </a:lnTo>
                <a:lnTo>
                  <a:pt x="43" y="78"/>
                </a:lnTo>
                <a:lnTo>
                  <a:pt x="43" y="68"/>
                </a:lnTo>
                <a:lnTo>
                  <a:pt x="55" y="64"/>
                </a:lnTo>
                <a:lnTo>
                  <a:pt x="69" y="60"/>
                </a:lnTo>
                <a:lnTo>
                  <a:pt x="85" y="60"/>
                </a:lnTo>
                <a:lnTo>
                  <a:pt x="97" y="56"/>
                </a:lnTo>
                <a:lnTo>
                  <a:pt x="89" y="48"/>
                </a:lnTo>
                <a:lnTo>
                  <a:pt x="83" y="52"/>
                </a:lnTo>
                <a:lnTo>
                  <a:pt x="71" y="52"/>
                </a:lnTo>
                <a:lnTo>
                  <a:pt x="71" y="44"/>
                </a:lnTo>
                <a:lnTo>
                  <a:pt x="65" y="42"/>
                </a:lnTo>
                <a:lnTo>
                  <a:pt x="61" y="48"/>
                </a:lnTo>
                <a:lnTo>
                  <a:pt x="55" y="48"/>
                </a:lnTo>
                <a:lnTo>
                  <a:pt x="51" y="56"/>
                </a:lnTo>
                <a:lnTo>
                  <a:pt x="37" y="64"/>
                </a:lnTo>
                <a:lnTo>
                  <a:pt x="27" y="58"/>
                </a:lnTo>
                <a:lnTo>
                  <a:pt x="11" y="46"/>
                </a:lnTo>
                <a:lnTo>
                  <a:pt x="7" y="36"/>
                </a:lnTo>
                <a:lnTo>
                  <a:pt x="19" y="28"/>
                </a:lnTo>
                <a:lnTo>
                  <a:pt x="19" y="24"/>
                </a:lnTo>
                <a:lnTo>
                  <a:pt x="11" y="24"/>
                </a:lnTo>
                <a:lnTo>
                  <a:pt x="2" y="30"/>
                </a:lnTo>
                <a:lnTo>
                  <a:pt x="0" y="20"/>
                </a:lnTo>
                <a:lnTo>
                  <a:pt x="4" y="12"/>
                </a:lnTo>
                <a:lnTo>
                  <a:pt x="19" y="8"/>
                </a:lnTo>
                <a:lnTo>
                  <a:pt x="33" y="8"/>
                </a:lnTo>
                <a:lnTo>
                  <a:pt x="47" y="10"/>
                </a:lnTo>
                <a:lnTo>
                  <a:pt x="51" y="26"/>
                </a:lnTo>
                <a:lnTo>
                  <a:pt x="55" y="12"/>
                </a:lnTo>
                <a:lnTo>
                  <a:pt x="63" y="10"/>
                </a:lnTo>
                <a:lnTo>
                  <a:pt x="73" y="14"/>
                </a:lnTo>
                <a:lnTo>
                  <a:pt x="75" y="22"/>
                </a:lnTo>
                <a:lnTo>
                  <a:pt x="77" y="28"/>
                </a:lnTo>
                <a:lnTo>
                  <a:pt x="83" y="36"/>
                </a:lnTo>
                <a:lnTo>
                  <a:pt x="89" y="38"/>
                </a:lnTo>
                <a:lnTo>
                  <a:pt x="87" y="24"/>
                </a:lnTo>
                <a:lnTo>
                  <a:pt x="83" y="12"/>
                </a:lnTo>
                <a:lnTo>
                  <a:pt x="81" y="4"/>
                </a:lnTo>
                <a:lnTo>
                  <a:pt x="85" y="0"/>
                </a:lnTo>
                <a:lnTo>
                  <a:pt x="95" y="4"/>
                </a:lnTo>
                <a:lnTo>
                  <a:pt x="107" y="8"/>
                </a:lnTo>
                <a:lnTo>
                  <a:pt x="103" y="20"/>
                </a:lnTo>
                <a:lnTo>
                  <a:pt x="111" y="22"/>
                </a:lnTo>
                <a:lnTo>
                  <a:pt x="115" y="16"/>
                </a:lnTo>
                <a:lnTo>
                  <a:pt x="127" y="22"/>
                </a:lnTo>
                <a:lnTo>
                  <a:pt x="127" y="30"/>
                </a:lnTo>
                <a:lnTo>
                  <a:pt x="151" y="36"/>
                </a:lnTo>
                <a:lnTo>
                  <a:pt x="167" y="44"/>
                </a:lnTo>
                <a:lnTo>
                  <a:pt x="159" y="48"/>
                </a:lnTo>
                <a:lnTo>
                  <a:pt x="137" y="52"/>
                </a:lnTo>
                <a:lnTo>
                  <a:pt x="123" y="60"/>
                </a:lnTo>
                <a:lnTo>
                  <a:pt x="119" y="68"/>
                </a:lnTo>
                <a:lnTo>
                  <a:pt x="117" y="84"/>
                </a:lnTo>
                <a:lnTo>
                  <a:pt x="107" y="88"/>
                </a:lnTo>
                <a:lnTo>
                  <a:pt x="101" y="102"/>
                </a:lnTo>
                <a:lnTo>
                  <a:pt x="93" y="120"/>
                </a:lnTo>
                <a:lnTo>
                  <a:pt x="81" y="114"/>
                </a:lnTo>
                <a:lnTo>
                  <a:pt x="81" y="102"/>
                </a:lnTo>
                <a:lnTo>
                  <a:pt x="67" y="104"/>
                </a:lnTo>
                <a:lnTo>
                  <a:pt x="59" y="98"/>
                </a:lnTo>
                <a:lnTo>
                  <a:pt x="45" y="9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0" name="Freeform 92">
            <a:extLst>
              <a:ext uri="{FF2B5EF4-FFF2-40B4-BE49-F238E27FC236}">
                <a16:creationId xmlns:a16="http://schemas.microsoft.com/office/drawing/2014/main" id="{A3A714C4-5741-402A-8B0F-3EFCBE758A57}"/>
              </a:ext>
            </a:extLst>
          </p:cNvPr>
          <p:cNvSpPr>
            <a:spLocks/>
          </p:cNvSpPr>
          <p:nvPr/>
        </p:nvSpPr>
        <p:spPr bwMode="gray">
          <a:xfrm>
            <a:off x="6334239" y="1506138"/>
            <a:ext cx="283924" cy="99107"/>
          </a:xfrm>
          <a:custGeom>
            <a:avLst/>
            <a:gdLst>
              <a:gd name="T0" fmla="*/ 62 w 144"/>
              <a:gd name="T1" fmla="*/ 38 h 50"/>
              <a:gd name="T2" fmla="*/ 52 w 144"/>
              <a:gd name="T3" fmla="*/ 38 h 50"/>
              <a:gd name="T4" fmla="*/ 34 w 144"/>
              <a:gd name="T5" fmla="*/ 38 h 50"/>
              <a:gd name="T6" fmla="*/ 36 w 144"/>
              <a:gd name="T7" fmla="*/ 30 h 50"/>
              <a:gd name="T8" fmla="*/ 54 w 144"/>
              <a:gd name="T9" fmla="*/ 28 h 50"/>
              <a:gd name="T10" fmla="*/ 60 w 144"/>
              <a:gd name="T11" fmla="*/ 24 h 50"/>
              <a:gd name="T12" fmla="*/ 50 w 144"/>
              <a:gd name="T13" fmla="*/ 22 h 50"/>
              <a:gd name="T14" fmla="*/ 34 w 144"/>
              <a:gd name="T15" fmla="*/ 22 h 50"/>
              <a:gd name="T16" fmla="*/ 18 w 144"/>
              <a:gd name="T17" fmla="*/ 26 h 50"/>
              <a:gd name="T18" fmla="*/ 2 w 144"/>
              <a:gd name="T19" fmla="*/ 24 h 50"/>
              <a:gd name="T20" fmla="*/ 0 w 144"/>
              <a:gd name="T21" fmla="*/ 18 h 50"/>
              <a:gd name="T22" fmla="*/ 10 w 144"/>
              <a:gd name="T23" fmla="*/ 14 h 50"/>
              <a:gd name="T24" fmla="*/ 22 w 144"/>
              <a:gd name="T25" fmla="*/ 6 h 50"/>
              <a:gd name="T26" fmla="*/ 30 w 144"/>
              <a:gd name="T27" fmla="*/ 6 h 50"/>
              <a:gd name="T28" fmla="*/ 46 w 144"/>
              <a:gd name="T29" fmla="*/ 10 h 50"/>
              <a:gd name="T30" fmla="*/ 56 w 144"/>
              <a:gd name="T31" fmla="*/ 10 h 50"/>
              <a:gd name="T32" fmla="*/ 66 w 144"/>
              <a:gd name="T33" fmla="*/ 12 h 50"/>
              <a:gd name="T34" fmla="*/ 74 w 144"/>
              <a:gd name="T35" fmla="*/ 0 h 50"/>
              <a:gd name="T36" fmla="*/ 82 w 144"/>
              <a:gd name="T37" fmla="*/ 14 h 50"/>
              <a:gd name="T38" fmla="*/ 96 w 144"/>
              <a:gd name="T39" fmla="*/ 8 h 50"/>
              <a:gd name="T40" fmla="*/ 114 w 144"/>
              <a:gd name="T41" fmla="*/ 10 h 50"/>
              <a:gd name="T42" fmla="*/ 132 w 144"/>
              <a:gd name="T43" fmla="*/ 14 h 50"/>
              <a:gd name="T44" fmla="*/ 144 w 144"/>
              <a:gd name="T45" fmla="*/ 16 h 50"/>
              <a:gd name="T46" fmla="*/ 138 w 144"/>
              <a:gd name="T47" fmla="*/ 22 h 50"/>
              <a:gd name="T48" fmla="*/ 122 w 144"/>
              <a:gd name="T49" fmla="*/ 30 h 50"/>
              <a:gd name="T50" fmla="*/ 114 w 144"/>
              <a:gd name="T51" fmla="*/ 38 h 50"/>
              <a:gd name="T52" fmla="*/ 100 w 144"/>
              <a:gd name="T53" fmla="*/ 38 h 50"/>
              <a:gd name="T54" fmla="*/ 92 w 144"/>
              <a:gd name="T55" fmla="*/ 50 h 50"/>
              <a:gd name="T56" fmla="*/ 74 w 144"/>
              <a:gd name="T57" fmla="*/ 46 h 50"/>
              <a:gd name="T58" fmla="*/ 68 w 144"/>
              <a:gd name="T59" fmla="*/ 38 h 50"/>
              <a:gd name="T60" fmla="*/ 62 w 144"/>
              <a:gd name="T61"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50">
                <a:moveTo>
                  <a:pt x="62" y="38"/>
                </a:moveTo>
                <a:lnTo>
                  <a:pt x="52" y="38"/>
                </a:lnTo>
                <a:lnTo>
                  <a:pt x="34" y="38"/>
                </a:lnTo>
                <a:lnTo>
                  <a:pt x="36" y="30"/>
                </a:lnTo>
                <a:lnTo>
                  <a:pt x="54" y="28"/>
                </a:lnTo>
                <a:lnTo>
                  <a:pt x="60" y="24"/>
                </a:lnTo>
                <a:lnTo>
                  <a:pt x="50" y="22"/>
                </a:lnTo>
                <a:lnTo>
                  <a:pt x="34" y="22"/>
                </a:lnTo>
                <a:lnTo>
                  <a:pt x="18" y="26"/>
                </a:lnTo>
                <a:lnTo>
                  <a:pt x="2" y="24"/>
                </a:lnTo>
                <a:lnTo>
                  <a:pt x="0" y="18"/>
                </a:lnTo>
                <a:lnTo>
                  <a:pt x="10" y="14"/>
                </a:lnTo>
                <a:lnTo>
                  <a:pt x="22" y="6"/>
                </a:lnTo>
                <a:lnTo>
                  <a:pt x="30" y="6"/>
                </a:lnTo>
                <a:lnTo>
                  <a:pt x="46" y="10"/>
                </a:lnTo>
                <a:lnTo>
                  <a:pt x="56" y="10"/>
                </a:lnTo>
                <a:lnTo>
                  <a:pt x="66" y="12"/>
                </a:lnTo>
                <a:lnTo>
                  <a:pt x="74" y="0"/>
                </a:lnTo>
                <a:lnTo>
                  <a:pt x="82" y="14"/>
                </a:lnTo>
                <a:lnTo>
                  <a:pt x="96" y="8"/>
                </a:lnTo>
                <a:lnTo>
                  <a:pt x="114" y="10"/>
                </a:lnTo>
                <a:lnTo>
                  <a:pt x="132" y="14"/>
                </a:lnTo>
                <a:lnTo>
                  <a:pt x="144" y="16"/>
                </a:lnTo>
                <a:lnTo>
                  <a:pt x="138" y="22"/>
                </a:lnTo>
                <a:lnTo>
                  <a:pt x="122" y="30"/>
                </a:lnTo>
                <a:lnTo>
                  <a:pt x="114" y="38"/>
                </a:lnTo>
                <a:lnTo>
                  <a:pt x="100" y="38"/>
                </a:lnTo>
                <a:lnTo>
                  <a:pt x="92" y="50"/>
                </a:lnTo>
                <a:lnTo>
                  <a:pt x="74" y="46"/>
                </a:lnTo>
                <a:lnTo>
                  <a:pt x="68" y="38"/>
                </a:lnTo>
                <a:lnTo>
                  <a:pt x="62" y="3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1" name="Freeform 93">
            <a:extLst>
              <a:ext uri="{FF2B5EF4-FFF2-40B4-BE49-F238E27FC236}">
                <a16:creationId xmlns:a16="http://schemas.microsoft.com/office/drawing/2014/main" id="{1E91237B-8344-4547-8075-1BB3D0C2B3E6}"/>
              </a:ext>
            </a:extLst>
          </p:cNvPr>
          <p:cNvSpPr>
            <a:spLocks/>
          </p:cNvSpPr>
          <p:nvPr/>
        </p:nvSpPr>
        <p:spPr bwMode="gray">
          <a:xfrm>
            <a:off x="6413107" y="1668675"/>
            <a:ext cx="114358" cy="63430"/>
          </a:xfrm>
          <a:custGeom>
            <a:avLst/>
            <a:gdLst>
              <a:gd name="T0" fmla="*/ 10 w 58"/>
              <a:gd name="T1" fmla="*/ 8 h 32"/>
              <a:gd name="T2" fmla="*/ 14 w 58"/>
              <a:gd name="T3" fmla="*/ 4 h 32"/>
              <a:gd name="T4" fmla="*/ 30 w 58"/>
              <a:gd name="T5" fmla="*/ 0 h 32"/>
              <a:gd name="T6" fmla="*/ 38 w 58"/>
              <a:gd name="T7" fmla="*/ 0 h 32"/>
              <a:gd name="T8" fmla="*/ 42 w 58"/>
              <a:gd name="T9" fmla="*/ 8 h 32"/>
              <a:gd name="T10" fmla="*/ 48 w 58"/>
              <a:gd name="T11" fmla="*/ 12 h 32"/>
              <a:gd name="T12" fmla="*/ 58 w 58"/>
              <a:gd name="T13" fmla="*/ 12 h 32"/>
              <a:gd name="T14" fmla="*/ 52 w 58"/>
              <a:gd name="T15" fmla="*/ 20 h 32"/>
              <a:gd name="T16" fmla="*/ 38 w 58"/>
              <a:gd name="T17" fmla="*/ 28 h 32"/>
              <a:gd name="T18" fmla="*/ 26 w 58"/>
              <a:gd name="T19" fmla="*/ 32 h 32"/>
              <a:gd name="T20" fmla="*/ 26 w 58"/>
              <a:gd name="T21" fmla="*/ 20 h 32"/>
              <a:gd name="T22" fmla="*/ 18 w 58"/>
              <a:gd name="T23" fmla="*/ 20 h 32"/>
              <a:gd name="T24" fmla="*/ 10 w 58"/>
              <a:gd name="T25" fmla="*/ 22 h 32"/>
              <a:gd name="T26" fmla="*/ 4 w 58"/>
              <a:gd name="T27" fmla="*/ 28 h 32"/>
              <a:gd name="T28" fmla="*/ 0 w 58"/>
              <a:gd name="T29" fmla="*/ 20 h 32"/>
              <a:gd name="T30" fmla="*/ 6 w 58"/>
              <a:gd name="T31" fmla="*/ 14 h 32"/>
              <a:gd name="T32" fmla="*/ 10 w 58"/>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32">
                <a:moveTo>
                  <a:pt x="10" y="8"/>
                </a:moveTo>
                <a:lnTo>
                  <a:pt x="14" y="4"/>
                </a:lnTo>
                <a:lnTo>
                  <a:pt x="30" y="0"/>
                </a:lnTo>
                <a:lnTo>
                  <a:pt x="38" y="0"/>
                </a:lnTo>
                <a:lnTo>
                  <a:pt x="42" y="8"/>
                </a:lnTo>
                <a:lnTo>
                  <a:pt x="48" y="12"/>
                </a:lnTo>
                <a:lnTo>
                  <a:pt x="58" y="12"/>
                </a:lnTo>
                <a:lnTo>
                  <a:pt x="52" y="20"/>
                </a:lnTo>
                <a:lnTo>
                  <a:pt x="38" y="28"/>
                </a:lnTo>
                <a:lnTo>
                  <a:pt x="26" y="32"/>
                </a:lnTo>
                <a:lnTo>
                  <a:pt x="26" y="20"/>
                </a:lnTo>
                <a:lnTo>
                  <a:pt x="18" y="20"/>
                </a:lnTo>
                <a:lnTo>
                  <a:pt x="10" y="22"/>
                </a:lnTo>
                <a:lnTo>
                  <a:pt x="4" y="28"/>
                </a:lnTo>
                <a:lnTo>
                  <a:pt x="0" y="20"/>
                </a:lnTo>
                <a:lnTo>
                  <a:pt x="6" y="14"/>
                </a:lnTo>
                <a:lnTo>
                  <a:pt x="10" y="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2" name="Freeform 94">
            <a:extLst>
              <a:ext uri="{FF2B5EF4-FFF2-40B4-BE49-F238E27FC236}">
                <a16:creationId xmlns:a16="http://schemas.microsoft.com/office/drawing/2014/main" id="{09D68118-F13E-42C0-AEF7-10006793AEB2}"/>
              </a:ext>
            </a:extLst>
          </p:cNvPr>
          <p:cNvSpPr>
            <a:spLocks/>
          </p:cNvSpPr>
          <p:nvPr/>
        </p:nvSpPr>
        <p:spPr bwMode="gray">
          <a:xfrm>
            <a:off x="7126861" y="3464510"/>
            <a:ext cx="102529" cy="87216"/>
          </a:xfrm>
          <a:custGeom>
            <a:avLst/>
            <a:gdLst>
              <a:gd name="T0" fmla="*/ 0 w 52"/>
              <a:gd name="T1" fmla="*/ 6 h 44"/>
              <a:gd name="T2" fmla="*/ 6 w 52"/>
              <a:gd name="T3" fmla="*/ 4 h 44"/>
              <a:gd name="T4" fmla="*/ 16 w 52"/>
              <a:gd name="T5" fmla="*/ 0 h 44"/>
              <a:gd name="T6" fmla="*/ 24 w 52"/>
              <a:gd name="T7" fmla="*/ 0 h 44"/>
              <a:gd name="T8" fmla="*/ 28 w 52"/>
              <a:gd name="T9" fmla="*/ 4 h 44"/>
              <a:gd name="T10" fmla="*/ 30 w 52"/>
              <a:gd name="T11" fmla="*/ 10 h 44"/>
              <a:gd name="T12" fmla="*/ 32 w 52"/>
              <a:gd name="T13" fmla="*/ 18 h 44"/>
              <a:gd name="T14" fmla="*/ 36 w 52"/>
              <a:gd name="T15" fmla="*/ 24 h 44"/>
              <a:gd name="T16" fmla="*/ 40 w 52"/>
              <a:gd name="T17" fmla="*/ 28 h 44"/>
              <a:gd name="T18" fmla="*/ 46 w 52"/>
              <a:gd name="T19" fmla="*/ 30 h 44"/>
              <a:gd name="T20" fmla="*/ 50 w 52"/>
              <a:gd name="T21" fmla="*/ 34 h 44"/>
              <a:gd name="T22" fmla="*/ 52 w 52"/>
              <a:gd name="T23" fmla="*/ 38 h 44"/>
              <a:gd name="T24" fmla="*/ 50 w 52"/>
              <a:gd name="T25" fmla="*/ 44 h 44"/>
              <a:gd name="T26" fmla="*/ 42 w 52"/>
              <a:gd name="T27" fmla="*/ 42 h 44"/>
              <a:gd name="T28" fmla="*/ 40 w 52"/>
              <a:gd name="T29" fmla="*/ 34 h 44"/>
              <a:gd name="T30" fmla="*/ 34 w 52"/>
              <a:gd name="T31" fmla="*/ 32 h 44"/>
              <a:gd name="T32" fmla="*/ 28 w 52"/>
              <a:gd name="T33" fmla="*/ 28 h 44"/>
              <a:gd name="T34" fmla="*/ 20 w 52"/>
              <a:gd name="T35" fmla="*/ 28 h 44"/>
              <a:gd name="T36" fmla="*/ 18 w 52"/>
              <a:gd name="T37" fmla="*/ 32 h 44"/>
              <a:gd name="T38" fmla="*/ 12 w 52"/>
              <a:gd name="T39" fmla="*/ 28 h 44"/>
              <a:gd name="T40" fmla="*/ 0 w 52"/>
              <a:gd name="T41" fmla="*/ 28 h 44"/>
              <a:gd name="T42" fmla="*/ 0 w 52"/>
              <a:gd name="T43" fmla="*/ 16 h 44"/>
              <a:gd name="T44" fmla="*/ 0 w 52"/>
              <a:gd name="T4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44">
                <a:moveTo>
                  <a:pt x="0" y="6"/>
                </a:moveTo>
                <a:lnTo>
                  <a:pt x="6" y="4"/>
                </a:lnTo>
                <a:lnTo>
                  <a:pt x="16" y="0"/>
                </a:lnTo>
                <a:lnTo>
                  <a:pt x="24" y="0"/>
                </a:lnTo>
                <a:lnTo>
                  <a:pt x="28" y="4"/>
                </a:lnTo>
                <a:lnTo>
                  <a:pt x="30" y="10"/>
                </a:lnTo>
                <a:lnTo>
                  <a:pt x="32" y="18"/>
                </a:lnTo>
                <a:lnTo>
                  <a:pt x="36" y="24"/>
                </a:lnTo>
                <a:lnTo>
                  <a:pt x="40" y="28"/>
                </a:lnTo>
                <a:lnTo>
                  <a:pt x="46" y="30"/>
                </a:lnTo>
                <a:lnTo>
                  <a:pt x="50" y="34"/>
                </a:lnTo>
                <a:lnTo>
                  <a:pt x="52" y="38"/>
                </a:lnTo>
                <a:lnTo>
                  <a:pt x="50" y="44"/>
                </a:lnTo>
                <a:lnTo>
                  <a:pt x="42" y="42"/>
                </a:lnTo>
                <a:lnTo>
                  <a:pt x="40" y="34"/>
                </a:lnTo>
                <a:lnTo>
                  <a:pt x="34" y="32"/>
                </a:lnTo>
                <a:lnTo>
                  <a:pt x="28" y="28"/>
                </a:lnTo>
                <a:lnTo>
                  <a:pt x="20" y="28"/>
                </a:lnTo>
                <a:lnTo>
                  <a:pt x="18" y="32"/>
                </a:lnTo>
                <a:lnTo>
                  <a:pt x="12" y="28"/>
                </a:lnTo>
                <a:lnTo>
                  <a:pt x="0" y="28"/>
                </a:lnTo>
                <a:lnTo>
                  <a:pt x="0" y="16"/>
                </a:lnTo>
                <a:lnTo>
                  <a:pt x="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3" name="Freeform 95">
            <a:extLst>
              <a:ext uri="{FF2B5EF4-FFF2-40B4-BE49-F238E27FC236}">
                <a16:creationId xmlns:a16="http://schemas.microsoft.com/office/drawing/2014/main" id="{0434F2B0-178E-4CA9-8834-4FBC968BF747}"/>
              </a:ext>
            </a:extLst>
          </p:cNvPr>
          <p:cNvSpPr>
            <a:spLocks/>
          </p:cNvSpPr>
          <p:nvPr/>
        </p:nvSpPr>
        <p:spPr bwMode="gray">
          <a:xfrm>
            <a:off x="7174183" y="3440724"/>
            <a:ext cx="165623" cy="130822"/>
          </a:xfrm>
          <a:custGeom>
            <a:avLst/>
            <a:gdLst>
              <a:gd name="T0" fmla="*/ 20 w 84"/>
              <a:gd name="T1" fmla="*/ 0 h 66"/>
              <a:gd name="T2" fmla="*/ 26 w 84"/>
              <a:gd name="T3" fmla="*/ 2 h 66"/>
              <a:gd name="T4" fmla="*/ 32 w 84"/>
              <a:gd name="T5" fmla="*/ 8 h 66"/>
              <a:gd name="T6" fmla="*/ 42 w 84"/>
              <a:gd name="T7" fmla="*/ 14 h 66"/>
              <a:gd name="T8" fmla="*/ 46 w 84"/>
              <a:gd name="T9" fmla="*/ 12 h 66"/>
              <a:gd name="T10" fmla="*/ 52 w 84"/>
              <a:gd name="T11" fmla="*/ 6 h 66"/>
              <a:gd name="T12" fmla="*/ 56 w 84"/>
              <a:gd name="T13" fmla="*/ 2 h 66"/>
              <a:gd name="T14" fmla="*/ 60 w 84"/>
              <a:gd name="T15" fmla="*/ 8 h 66"/>
              <a:gd name="T16" fmla="*/ 66 w 84"/>
              <a:gd name="T17" fmla="*/ 20 h 66"/>
              <a:gd name="T18" fmla="*/ 70 w 84"/>
              <a:gd name="T19" fmla="*/ 24 h 66"/>
              <a:gd name="T20" fmla="*/ 80 w 84"/>
              <a:gd name="T21" fmla="*/ 28 h 66"/>
              <a:gd name="T22" fmla="*/ 84 w 84"/>
              <a:gd name="T23" fmla="*/ 30 h 66"/>
              <a:gd name="T24" fmla="*/ 84 w 84"/>
              <a:gd name="T25" fmla="*/ 36 h 66"/>
              <a:gd name="T26" fmla="*/ 72 w 84"/>
              <a:gd name="T27" fmla="*/ 36 h 66"/>
              <a:gd name="T28" fmla="*/ 68 w 84"/>
              <a:gd name="T29" fmla="*/ 38 h 66"/>
              <a:gd name="T30" fmla="*/ 66 w 84"/>
              <a:gd name="T31" fmla="*/ 44 h 66"/>
              <a:gd name="T32" fmla="*/ 68 w 84"/>
              <a:gd name="T33" fmla="*/ 48 h 66"/>
              <a:gd name="T34" fmla="*/ 68 w 84"/>
              <a:gd name="T35" fmla="*/ 50 h 66"/>
              <a:gd name="T36" fmla="*/ 68 w 84"/>
              <a:gd name="T37" fmla="*/ 52 h 66"/>
              <a:gd name="T38" fmla="*/ 68 w 84"/>
              <a:gd name="T39" fmla="*/ 54 h 66"/>
              <a:gd name="T40" fmla="*/ 60 w 84"/>
              <a:gd name="T41" fmla="*/ 54 h 66"/>
              <a:gd name="T42" fmla="*/ 60 w 84"/>
              <a:gd name="T43" fmla="*/ 58 h 66"/>
              <a:gd name="T44" fmla="*/ 60 w 84"/>
              <a:gd name="T45" fmla="*/ 62 h 66"/>
              <a:gd name="T46" fmla="*/ 60 w 84"/>
              <a:gd name="T47" fmla="*/ 66 h 66"/>
              <a:gd name="T48" fmla="*/ 52 w 84"/>
              <a:gd name="T49" fmla="*/ 66 h 66"/>
              <a:gd name="T50" fmla="*/ 46 w 84"/>
              <a:gd name="T51" fmla="*/ 62 h 66"/>
              <a:gd name="T52" fmla="*/ 52 w 84"/>
              <a:gd name="T53" fmla="*/ 58 h 66"/>
              <a:gd name="T54" fmla="*/ 48 w 84"/>
              <a:gd name="T55" fmla="*/ 52 h 66"/>
              <a:gd name="T56" fmla="*/ 48 w 84"/>
              <a:gd name="T57" fmla="*/ 44 h 66"/>
              <a:gd name="T58" fmla="*/ 44 w 84"/>
              <a:gd name="T59" fmla="*/ 42 h 66"/>
              <a:gd name="T60" fmla="*/ 42 w 84"/>
              <a:gd name="T61" fmla="*/ 44 h 66"/>
              <a:gd name="T62" fmla="*/ 38 w 84"/>
              <a:gd name="T63" fmla="*/ 48 h 66"/>
              <a:gd name="T64" fmla="*/ 32 w 84"/>
              <a:gd name="T65" fmla="*/ 52 h 66"/>
              <a:gd name="T66" fmla="*/ 26 w 84"/>
              <a:gd name="T67" fmla="*/ 56 h 66"/>
              <a:gd name="T68" fmla="*/ 28 w 84"/>
              <a:gd name="T69" fmla="*/ 50 h 66"/>
              <a:gd name="T70" fmla="*/ 26 w 84"/>
              <a:gd name="T71" fmla="*/ 46 h 66"/>
              <a:gd name="T72" fmla="*/ 12 w 84"/>
              <a:gd name="T73" fmla="*/ 36 h 66"/>
              <a:gd name="T74" fmla="*/ 6 w 84"/>
              <a:gd name="T75" fmla="*/ 20 h 66"/>
              <a:gd name="T76" fmla="*/ 4 w 84"/>
              <a:gd name="T77" fmla="*/ 16 h 66"/>
              <a:gd name="T78" fmla="*/ 0 w 84"/>
              <a:gd name="T79" fmla="*/ 12 h 66"/>
              <a:gd name="T80" fmla="*/ 6 w 84"/>
              <a:gd name="T81" fmla="*/ 8 h 66"/>
              <a:gd name="T82" fmla="*/ 12 w 84"/>
              <a:gd name="T83" fmla="*/ 12 h 66"/>
              <a:gd name="T84" fmla="*/ 18 w 84"/>
              <a:gd name="T85" fmla="*/ 18 h 66"/>
              <a:gd name="T86" fmla="*/ 24 w 84"/>
              <a:gd name="T87" fmla="*/ 18 h 66"/>
              <a:gd name="T88" fmla="*/ 26 w 84"/>
              <a:gd name="T89" fmla="*/ 14 h 66"/>
              <a:gd name="T90" fmla="*/ 22 w 84"/>
              <a:gd name="T91" fmla="*/ 8 h 66"/>
              <a:gd name="T92" fmla="*/ 16 w 84"/>
              <a:gd name="T93" fmla="*/ 2 h 66"/>
              <a:gd name="T94" fmla="*/ 20 w 84"/>
              <a:gd name="T9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 h="66">
                <a:moveTo>
                  <a:pt x="20" y="0"/>
                </a:moveTo>
                <a:lnTo>
                  <a:pt x="26" y="2"/>
                </a:lnTo>
                <a:lnTo>
                  <a:pt x="32" y="8"/>
                </a:lnTo>
                <a:lnTo>
                  <a:pt x="42" y="14"/>
                </a:lnTo>
                <a:lnTo>
                  <a:pt x="46" y="12"/>
                </a:lnTo>
                <a:lnTo>
                  <a:pt x="52" y="6"/>
                </a:lnTo>
                <a:lnTo>
                  <a:pt x="56" y="2"/>
                </a:lnTo>
                <a:lnTo>
                  <a:pt x="60" y="8"/>
                </a:lnTo>
                <a:lnTo>
                  <a:pt x="66" y="20"/>
                </a:lnTo>
                <a:lnTo>
                  <a:pt x="70" y="24"/>
                </a:lnTo>
                <a:lnTo>
                  <a:pt x="80" y="28"/>
                </a:lnTo>
                <a:lnTo>
                  <a:pt x="84" y="30"/>
                </a:lnTo>
                <a:lnTo>
                  <a:pt x="84" y="36"/>
                </a:lnTo>
                <a:lnTo>
                  <a:pt x="72" y="36"/>
                </a:lnTo>
                <a:lnTo>
                  <a:pt x="68" y="38"/>
                </a:lnTo>
                <a:lnTo>
                  <a:pt x="66" y="44"/>
                </a:lnTo>
                <a:lnTo>
                  <a:pt x="68" y="48"/>
                </a:lnTo>
                <a:lnTo>
                  <a:pt x="68" y="50"/>
                </a:lnTo>
                <a:lnTo>
                  <a:pt x="68" y="52"/>
                </a:lnTo>
                <a:lnTo>
                  <a:pt x="68" y="54"/>
                </a:lnTo>
                <a:lnTo>
                  <a:pt x="60" y="54"/>
                </a:lnTo>
                <a:lnTo>
                  <a:pt x="60" y="58"/>
                </a:lnTo>
                <a:lnTo>
                  <a:pt x="60" y="62"/>
                </a:lnTo>
                <a:lnTo>
                  <a:pt x="60" y="66"/>
                </a:lnTo>
                <a:lnTo>
                  <a:pt x="52" y="66"/>
                </a:lnTo>
                <a:lnTo>
                  <a:pt x="46" y="62"/>
                </a:lnTo>
                <a:lnTo>
                  <a:pt x="52" y="58"/>
                </a:lnTo>
                <a:lnTo>
                  <a:pt x="48" y="52"/>
                </a:lnTo>
                <a:lnTo>
                  <a:pt x="48" y="44"/>
                </a:lnTo>
                <a:lnTo>
                  <a:pt x="44" y="42"/>
                </a:lnTo>
                <a:lnTo>
                  <a:pt x="42" y="44"/>
                </a:lnTo>
                <a:lnTo>
                  <a:pt x="38" y="48"/>
                </a:lnTo>
                <a:lnTo>
                  <a:pt x="32" y="52"/>
                </a:lnTo>
                <a:lnTo>
                  <a:pt x="26" y="56"/>
                </a:lnTo>
                <a:lnTo>
                  <a:pt x="28" y="50"/>
                </a:lnTo>
                <a:lnTo>
                  <a:pt x="26" y="46"/>
                </a:lnTo>
                <a:lnTo>
                  <a:pt x="12" y="36"/>
                </a:lnTo>
                <a:lnTo>
                  <a:pt x="6" y="20"/>
                </a:lnTo>
                <a:lnTo>
                  <a:pt x="4" y="16"/>
                </a:lnTo>
                <a:lnTo>
                  <a:pt x="0" y="12"/>
                </a:lnTo>
                <a:lnTo>
                  <a:pt x="6" y="8"/>
                </a:lnTo>
                <a:lnTo>
                  <a:pt x="12" y="12"/>
                </a:lnTo>
                <a:lnTo>
                  <a:pt x="18" y="18"/>
                </a:lnTo>
                <a:lnTo>
                  <a:pt x="24" y="18"/>
                </a:lnTo>
                <a:lnTo>
                  <a:pt x="26" y="14"/>
                </a:lnTo>
                <a:lnTo>
                  <a:pt x="22" y="8"/>
                </a:lnTo>
                <a:lnTo>
                  <a:pt x="16" y="2"/>
                </a:lnTo>
                <a:lnTo>
                  <a:pt x="2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4" name="Freeform 96">
            <a:extLst>
              <a:ext uri="{FF2B5EF4-FFF2-40B4-BE49-F238E27FC236}">
                <a16:creationId xmlns:a16="http://schemas.microsoft.com/office/drawing/2014/main" id="{F6F9B9F0-D8CF-4BB4-AA6F-CBCBE30CB5CE}"/>
              </a:ext>
            </a:extLst>
          </p:cNvPr>
          <p:cNvSpPr>
            <a:spLocks/>
          </p:cNvSpPr>
          <p:nvPr/>
        </p:nvSpPr>
        <p:spPr bwMode="gray">
          <a:xfrm>
            <a:off x="7012504" y="3377295"/>
            <a:ext cx="212944" cy="99107"/>
          </a:xfrm>
          <a:custGeom>
            <a:avLst/>
            <a:gdLst>
              <a:gd name="T0" fmla="*/ 0 w 108"/>
              <a:gd name="T1" fmla="*/ 2 h 50"/>
              <a:gd name="T2" fmla="*/ 12 w 108"/>
              <a:gd name="T3" fmla="*/ 0 h 50"/>
              <a:gd name="T4" fmla="*/ 18 w 108"/>
              <a:gd name="T5" fmla="*/ 4 h 50"/>
              <a:gd name="T6" fmla="*/ 24 w 108"/>
              <a:gd name="T7" fmla="*/ 8 h 50"/>
              <a:gd name="T8" fmla="*/ 34 w 108"/>
              <a:gd name="T9" fmla="*/ 6 h 50"/>
              <a:gd name="T10" fmla="*/ 42 w 108"/>
              <a:gd name="T11" fmla="*/ 6 h 50"/>
              <a:gd name="T12" fmla="*/ 52 w 108"/>
              <a:gd name="T13" fmla="*/ 12 h 50"/>
              <a:gd name="T14" fmla="*/ 56 w 108"/>
              <a:gd name="T15" fmla="*/ 14 h 50"/>
              <a:gd name="T16" fmla="*/ 66 w 108"/>
              <a:gd name="T17" fmla="*/ 18 h 50"/>
              <a:gd name="T18" fmla="*/ 72 w 108"/>
              <a:gd name="T19" fmla="*/ 18 h 50"/>
              <a:gd name="T20" fmla="*/ 82 w 108"/>
              <a:gd name="T21" fmla="*/ 16 h 50"/>
              <a:gd name="T22" fmla="*/ 92 w 108"/>
              <a:gd name="T23" fmla="*/ 22 h 50"/>
              <a:gd name="T24" fmla="*/ 94 w 108"/>
              <a:gd name="T25" fmla="*/ 24 h 50"/>
              <a:gd name="T26" fmla="*/ 102 w 108"/>
              <a:gd name="T27" fmla="*/ 32 h 50"/>
              <a:gd name="T28" fmla="*/ 98 w 108"/>
              <a:gd name="T29" fmla="*/ 34 h 50"/>
              <a:gd name="T30" fmla="*/ 104 w 108"/>
              <a:gd name="T31" fmla="*/ 40 h 50"/>
              <a:gd name="T32" fmla="*/ 108 w 108"/>
              <a:gd name="T33" fmla="*/ 46 h 50"/>
              <a:gd name="T34" fmla="*/ 106 w 108"/>
              <a:gd name="T35" fmla="*/ 50 h 50"/>
              <a:gd name="T36" fmla="*/ 100 w 108"/>
              <a:gd name="T37" fmla="*/ 50 h 50"/>
              <a:gd name="T38" fmla="*/ 88 w 108"/>
              <a:gd name="T39" fmla="*/ 40 h 50"/>
              <a:gd name="T40" fmla="*/ 82 w 108"/>
              <a:gd name="T41" fmla="*/ 44 h 50"/>
              <a:gd name="T42" fmla="*/ 74 w 108"/>
              <a:gd name="T43" fmla="*/ 44 h 50"/>
              <a:gd name="T44" fmla="*/ 66 w 108"/>
              <a:gd name="T45" fmla="*/ 46 h 50"/>
              <a:gd name="T46" fmla="*/ 58 w 108"/>
              <a:gd name="T47" fmla="*/ 50 h 50"/>
              <a:gd name="T48" fmla="*/ 52 w 108"/>
              <a:gd name="T49" fmla="*/ 46 h 50"/>
              <a:gd name="T50" fmla="*/ 46 w 108"/>
              <a:gd name="T51" fmla="*/ 40 h 50"/>
              <a:gd name="T52" fmla="*/ 38 w 108"/>
              <a:gd name="T53" fmla="*/ 38 h 50"/>
              <a:gd name="T54" fmla="*/ 36 w 108"/>
              <a:gd name="T55" fmla="*/ 44 h 50"/>
              <a:gd name="T56" fmla="*/ 26 w 108"/>
              <a:gd name="T57" fmla="*/ 40 h 50"/>
              <a:gd name="T58" fmla="*/ 30 w 108"/>
              <a:gd name="T59" fmla="*/ 32 h 50"/>
              <a:gd name="T60" fmla="*/ 26 w 108"/>
              <a:gd name="T61" fmla="*/ 22 h 50"/>
              <a:gd name="T62" fmla="*/ 20 w 108"/>
              <a:gd name="T63" fmla="*/ 14 h 50"/>
              <a:gd name="T64" fmla="*/ 12 w 108"/>
              <a:gd name="T65" fmla="*/ 10 h 50"/>
              <a:gd name="T66" fmla="*/ 6 w 108"/>
              <a:gd name="T67" fmla="*/ 6 h 50"/>
              <a:gd name="T68" fmla="*/ 0 w 108"/>
              <a:gd name="T6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50">
                <a:moveTo>
                  <a:pt x="0" y="2"/>
                </a:moveTo>
                <a:lnTo>
                  <a:pt x="12" y="0"/>
                </a:lnTo>
                <a:lnTo>
                  <a:pt x="18" y="4"/>
                </a:lnTo>
                <a:lnTo>
                  <a:pt x="24" y="8"/>
                </a:lnTo>
                <a:lnTo>
                  <a:pt x="34" y="6"/>
                </a:lnTo>
                <a:lnTo>
                  <a:pt x="42" y="6"/>
                </a:lnTo>
                <a:lnTo>
                  <a:pt x="52" y="12"/>
                </a:lnTo>
                <a:lnTo>
                  <a:pt x="56" y="14"/>
                </a:lnTo>
                <a:lnTo>
                  <a:pt x="66" y="18"/>
                </a:lnTo>
                <a:lnTo>
                  <a:pt x="72" y="18"/>
                </a:lnTo>
                <a:lnTo>
                  <a:pt x="82" y="16"/>
                </a:lnTo>
                <a:lnTo>
                  <a:pt x="92" y="22"/>
                </a:lnTo>
                <a:lnTo>
                  <a:pt x="94" y="24"/>
                </a:lnTo>
                <a:lnTo>
                  <a:pt x="102" y="32"/>
                </a:lnTo>
                <a:lnTo>
                  <a:pt x="98" y="34"/>
                </a:lnTo>
                <a:lnTo>
                  <a:pt x="104" y="40"/>
                </a:lnTo>
                <a:lnTo>
                  <a:pt x="108" y="46"/>
                </a:lnTo>
                <a:lnTo>
                  <a:pt x="106" y="50"/>
                </a:lnTo>
                <a:lnTo>
                  <a:pt x="100" y="50"/>
                </a:lnTo>
                <a:lnTo>
                  <a:pt x="88" y="40"/>
                </a:lnTo>
                <a:lnTo>
                  <a:pt x="82" y="44"/>
                </a:lnTo>
                <a:lnTo>
                  <a:pt x="74" y="44"/>
                </a:lnTo>
                <a:lnTo>
                  <a:pt x="66" y="46"/>
                </a:lnTo>
                <a:lnTo>
                  <a:pt x="58" y="50"/>
                </a:lnTo>
                <a:lnTo>
                  <a:pt x="52" y="46"/>
                </a:lnTo>
                <a:lnTo>
                  <a:pt x="46" y="40"/>
                </a:lnTo>
                <a:lnTo>
                  <a:pt x="38" y="38"/>
                </a:lnTo>
                <a:lnTo>
                  <a:pt x="36" y="44"/>
                </a:lnTo>
                <a:lnTo>
                  <a:pt x="26" y="40"/>
                </a:lnTo>
                <a:lnTo>
                  <a:pt x="30" y="32"/>
                </a:lnTo>
                <a:lnTo>
                  <a:pt x="26" y="22"/>
                </a:lnTo>
                <a:lnTo>
                  <a:pt x="20" y="14"/>
                </a:lnTo>
                <a:lnTo>
                  <a:pt x="12" y="10"/>
                </a:lnTo>
                <a:lnTo>
                  <a:pt x="6" y="6"/>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5" name="Freeform 97">
            <a:extLst>
              <a:ext uri="{FF2B5EF4-FFF2-40B4-BE49-F238E27FC236}">
                <a16:creationId xmlns:a16="http://schemas.microsoft.com/office/drawing/2014/main" id="{3A2D7E63-A876-4EFD-B456-FDA0812C6930}"/>
              </a:ext>
            </a:extLst>
          </p:cNvPr>
          <p:cNvSpPr>
            <a:spLocks/>
          </p:cNvSpPr>
          <p:nvPr/>
        </p:nvSpPr>
        <p:spPr bwMode="gray">
          <a:xfrm>
            <a:off x="7410787" y="3412973"/>
            <a:ext cx="437717" cy="273537"/>
          </a:xfrm>
          <a:custGeom>
            <a:avLst/>
            <a:gdLst>
              <a:gd name="T0" fmla="*/ 20 w 222"/>
              <a:gd name="T1" fmla="*/ 104 h 138"/>
              <a:gd name="T2" fmla="*/ 18 w 222"/>
              <a:gd name="T3" fmla="*/ 80 h 138"/>
              <a:gd name="T4" fmla="*/ 24 w 222"/>
              <a:gd name="T5" fmla="*/ 72 h 138"/>
              <a:gd name="T6" fmla="*/ 12 w 222"/>
              <a:gd name="T7" fmla="*/ 56 h 138"/>
              <a:gd name="T8" fmla="*/ 8 w 222"/>
              <a:gd name="T9" fmla="*/ 50 h 138"/>
              <a:gd name="T10" fmla="*/ 0 w 222"/>
              <a:gd name="T11" fmla="*/ 52 h 138"/>
              <a:gd name="T12" fmla="*/ 0 w 222"/>
              <a:gd name="T13" fmla="*/ 44 h 138"/>
              <a:gd name="T14" fmla="*/ 6 w 222"/>
              <a:gd name="T15" fmla="*/ 36 h 138"/>
              <a:gd name="T16" fmla="*/ 12 w 222"/>
              <a:gd name="T17" fmla="*/ 40 h 138"/>
              <a:gd name="T18" fmla="*/ 28 w 222"/>
              <a:gd name="T19" fmla="*/ 40 h 138"/>
              <a:gd name="T20" fmla="*/ 34 w 222"/>
              <a:gd name="T21" fmla="*/ 32 h 138"/>
              <a:gd name="T22" fmla="*/ 26 w 222"/>
              <a:gd name="T23" fmla="*/ 24 h 138"/>
              <a:gd name="T24" fmla="*/ 20 w 222"/>
              <a:gd name="T25" fmla="*/ 16 h 138"/>
              <a:gd name="T26" fmla="*/ 14 w 222"/>
              <a:gd name="T27" fmla="*/ 10 h 138"/>
              <a:gd name="T28" fmla="*/ 4 w 222"/>
              <a:gd name="T29" fmla="*/ 14 h 138"/>
              <a:gd name="T30" fmla="*/ 2 w 222"/>
              <a:gd name="T31" fmla="*/ 28 h 138"/>
              <a:gd name="T32" fmla="*/ 0 w 222"/>
              <a:gd name="T33" fmla="*/ 22 h 138"/>
              <a:gd name="T34" fmla="*/ 0 w 222"/>
              <a:gd name="T35" fmla="*/ 12 h 138"/>
              <a:gd name="T36" fmla="*/ 10 w 222"/>
              <a:gd name="T37" fmla="*/ 6 h 138"/>
              <a:gd name="T38" fmla="*/ 24 w 222"/>
              <a:gd name="T39" fmla="*/ 4 h 138"/>
              <a:gd name="T40" fmla="*/ 36 w 222"/>
              <a:gd name="T41" fmla="*/ 12 h 138"/>
              <a:gd name="T42" fmla="*/ 44 w 222"/>
              <a:gd name="T43" fmla="*/ 26 h 138"/>
              <a:gd name="T44" fmla="*/ 54 w 222"/>
              <a:gd name="T45" fmla="*/ 28 h 138"/>
              <a:gd name="T46" fmla="*/ 68 w 222"/>
              <a:gd name="T47" fmla="*/ 26 h 138"/>
              <a:gd name="T48" fmla="*/ 68 w 222"/>
              <a:gd name="T49" fmla="*/ 14 h 138"/>
              <a:gd name="T50" fmla="*/ 96 w 222"/>
              <a:gd name="T51" fmla="*/ 0 h 138"/>
              <a:gd name="T52" fmla="*/ 102 w 222"/>
              <a:gd name="T53" fmla="*/ 6 h 138"/>
              <a:gd name="T54" fmla="*/ 116 w 222"/>
              <a:gd name="T55" fmla="*/ 8 h 138"/>
              <a:gd name="T56" fmla="*/ 118 w 222"/>
              <a:gd name="T57" fmla="*/ 12 h 138"/>
              <a:gd name="T58" fmla="*/ 118 w 222"/>
              <a:gd name="T59" fmla="*/ 28 h 138"/>
              <a:gd name="T60" fmla="*/ 144 w 222"/>
              <a:gd name="T61" fmla="*/ 28 h 138"/>
              <a:gd name="T62" fmla="*/ 158 w 222"/>
              <a:gd name="T63" fmla="*/ 54 h 138"/>
              <a:gd name="T64" fmla="*/ 178 w 222"/>
              <a:gd name="T65" fmla="*/ 66 h 138"/>
              <a:gd name="T66" fmla="*/ 200 w 222"/>
              <a:gd name="T67" fmla="*/ 82 h 138"/>
              <a:gd name="T68" fmla="*/ 212 w 222"/>
              <a:gd name="T69" fmla="*/ 84 h 138"/>
              <a:gd name="T70" fmla="*/ 222 w 222"/>
              <a:gd name="T71" fmla="*/ 90 h 138"/>
              <a:gd name="T72" fmla="*/ 222 w 222"/>
              <a:gd name="T73" fmla="*/ 98 h 138"/>
              <a:gd name="T74" fmla="*/ 210 w 222"/>
              <a:gd name="T75" fmla="*/ 98 h 138"/>
              <a:gd name="T76" fmla="*/ 194 w 222"/>
              <a:gd name="T77" fmla="*/ 104 h 138"/>
              <a:gd name="T78" fmla="*/ 182 w 222"/>
              <a:gd name="T79" fmla="*/ 122 h 138"/>
              <a:gd name="T80" fmla="*/ 170 w 222"/>
              <a:gd name="T81" fmla="*/ 126 h 138"/>
              <a:gd name="T82" fmla="*/ 160 w 222"/>
              <a:gd name="T83" fmla="*/ 138 h 138"/>
              <a:gd name="T84" fmla="*/ 150 w 222"/>
              <a:gd name="T85" fmla="*/ 134 h 138"/>
              <a:gd name="T86" fmla="*/ 138 w 222"/>
              <a:gd name="T87" fmla="*/ 134 h 138"/>
              <a:gd name="T88" fmla="*/ 136 w 222"/>
              <a:gd name="T89" fmla="*/ 112 h 138"/>
              <a:gd name="T90" fmla="*/ 126 w 222"/>
              <a:gd name="T91" fmla="*/ 110 h 138"/>
              <a:gd name="T92" fmla="*/ 68 w 222"/>
              <a:gd name="T93" fmla="*/ 84 h 138"/>
              <a:gd name="T94" fmla="*/ 42 w 222"/>
              <a:gd name="T95" fmla="*/ 88 h 138"/>
              <a:gd name="T96" fmla="*/ 20 w 222"/>
              <a:gd name="T97" fmla="*/ 10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138">
                <a:moveTo>
                  <a:pt x="20" y="104"/>
                </a:moveTo>
                <a:lnTo>
                  <a:pt x="18" y="80"/>
                </a:lnTo>
                <a:lnTo>
                  <a:pt x="24" y="72"/>
                </a:lnTo>
                <a:lnTo>
                  <a:pt x="12" y="56"/>
                </a:lnTo>
                <a:lnTo>
                  <a:pt x="8" y="50"/>
                </a:lnTo>
                <a:lnTo>
                  <a:pt x="0" y="52"/>
                </a:lnTo>
                <a:lnTo>
                  <a:pt x="0" y="44"/>
                </a:lnTo>
                <a:lnTo>
                  <a:pt x="6" y="36"/>
                </a:lnTo>
                <a:lnTo>
                  <a:pt x="12" y="40"/>
                </a:lnTo>
                <a:lnTo>
                  <a:pt x="28" y="40"/>
                </a:lnTo>
                <a:lnTo>
                  <a:pt x="34" y="32"/>
                </a:lnTo>
                <a:lnTo>
                  <a:pt x="26" y="24"/>
                </a:lnTo>
                <a:lnTo>
                  <a:pt x="20" y="16"/>
                </a:lnTo>
                <a:lnTo>
                  <a:pt x="14" y="10"/>
                </a:lnTo>
                <a:lnTo>
                  <a:pt x="4" y="14"/>
                </a:lnTo>
                <a:lnTo>
                  <a:pt x="2" y="28"/>
                </a:lnTo>
                <a:lnTo>
                  <a:pt x="0" y="22"/>
                </a:lnTo>
                <a:lnTo>
                  <a:pt x="0" y="12"/>
                </a:lnTo>
                <a:lnTo>
                  <a:pt x="10" y="6"/>
                </a:lnTo>
                <a:lnTo>
                  <a:pt x="24" y="4"/>
                </a:lnTo>
                <a:lnTo>
                  <a:pt x="36" y="12"/>
                </a:lnTo>
                <a:lnTo>
                  <a:pt x="44" y="26"/>
                </a:lnTo>
                <a:lnTo>
                  <a:pt x="54" y="28"/>
                </a:lnTo>
                <a:lnTo>
                  <a:pt x="68" y="26"/>
                </a:lnTo>
                <a:lnTo>
                  <a:pt x="68" y="14"/>
                </a:lnTo>
                <a:lnTo>
                  <a:pt x="96" y="0"/>
                </a:lnTo>
                <a:lnTo>
                  <a:pt x="102" y="6"/>
                </a:lnTo>
                <a:lnTo>
                  <a:pt x="116" y="8"/>
                </a:lnTo>
                <a:lnTo>
                  <a:pt x="118" y="12"/>
                </a:lnTo>
                <a:lnTo>
                  <a:pt x="118" y="28"/>
                </a:lnTo>
                <a:lnTo>
                  <a:pt x="144" y="28"/>
                </a:lnTo>
                <a:lnTo>
                  <a:pt x="158" y="54"/>
                </a:lnTo>
                <a:lnTo>
                  <a:pt x="178" y="66"/>
                </a:lnTo>
                <a:lnTo>
                  <a:pt x="200" y="82"/>
                </a:lnTo>
                <a:lnTo>
                  <a:pt x="212" y="84"/>
                </a:lnTo>
                <a:lnTo>
                  <a:pt x="222" y="90"/>
                </a:lnTo>
                <a:lnTo>
                  <a:pt x="222" y="98"/>
                </a:lnTo>
                <a:lnTo>
                  <a:pt x="210" y="98"/>
                </a:lnTo>
                <a:lnTo>
                  <a:pt x="194" y="104"/>
                </a:lnTo>
                <a:lnTo>
                  <a:pt x="182" y="122"/>
                </a:lnTo>
                <a:lnTo>
                  <a:pt x="170" y="126"/>
                </a:lnTo>
                <a:lnTo>
                  <a:pt x="160" y="138"/>
                </a:lnTo>
                <a:lnTo>
                  <a:pt x="150" y="134"/>
                </a:lnTo>
                <a:lnTo>
                  <a:pt x="138" y="134"/>
                </a:lnTo>
                <a:lnTo>
                  <a:pt x="136" y="112"/>
                </a:lnTo>
                <a:lnTo>
                  <a:pt x="126" y="110"/>
                </a:lnTo>
                <a:lnTo>
                  <a:pt x="68" y="84"/>
                </a:lnTo>
                <a:lnTo>
                  <a:pt x="42" y="88"/>
                </a:lnTo>
                <a:lnTo>
                  <a:pt x="20" y="10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6" name="Freeform 98">
            <a:extLst>
              <a:ext uri="{FF2B5EF4-FFF2-40B4-BE49-F238E27FC236}">
                <a16:creationId xmlns:a16="http://schemas.microsoft.com/office/drawing/2014/main" id="{B0CE2371-3DCE-46B0-997E-EFA828271EFB}"/>
              </a:ext>
            </a:extLst>
          </p:cNvPr>
          <p:cNvSpPr>
            <a:spLocks/>
          </p:cNvSpPr>
          <p:nvPr/>
        </p:nvSpPr>
        <p:spPr bwMode="gray">
          <a:xfrm>
            <a:off x="7872165" y="3480367"/>
            <a:ext cx="232661" cy="150644"/>
          </a:xfrm>
          <a:custGeom>
            <a:avLst/>
            <a:gdLst>
              <a:gd name="T0" fmla="*/ 24 w 118"/>
              <a:gd name="T1" fmla="*/ 14 h 76"/>
              <a:gd name="T2" fmla="*/ 32 w 118"/>
              <a:gd name="T3" fmla="*/ 10 h 76"/>
              <a:gd name="T4" fmla="*/ 36 w 118"/>
              <a:gd name="T5" fmla="*/ 2 h 76"/>
              <a:gd name="T6" fmla="*/ 48 w 118"/>
              <a:gd name="T7" fmla="*/ 0 h 76"/>
              <a:gd name="T8" fmla="*/ 54 w 118"/>
              <a:gd name="T9" fmla="*/ 2 h 76"/>
              <a:gd name="T10" fmla="*/ 52 w 118"/>
              <a:gd name="T11" fmla="*/ 8 h 76"/>
              <a:gd name="T12" fmla="*/ 50 w 118"/>
              <a:gd name="T13" fmla="*/ 14 h 76"/>
              <a:gd name="T14" fmla="*/ 52 w 118"/>
              <a:gd name="T15" fmla="*/ 20 h 76"/>
              <a:gd name="T16" fmla="*/ 54 w 118"/>
              <a:gd name="T17" fmla="*/ 28 h 76"/>
              <a:gd name="T18" fmla="*/ 66 w 118"/>
              <a:gd name="T19" fmla="*/ 28 h 76"/>
              <a:gd name="T20" fmla="*/ 80 w 118"/>
              <a:gd name="T21" fmla="*/ 30 h 76"/>
              <a:gd name="T22" fmla="*/ 100 w 118"/>
              <a:gd name="T23" fmla="*/ 30 h 76"/>
              <a:gd name="T24" fmla="*/ 98 w 118"/>
              <a:gd name="T25" fmla="*/ 36 h 76"/>
              <a:gd name="T26" fmla="*/ 100 w 118"/>
              <a:gd name="T27" fmla="*/ 44 h 76"/>
              <a:gd name="T28" fmla="*/ 106 w 118"/>
              <a:gd name="T29" fmla="*/ 46 h 76"/>
              <a:gd name="T30" fmla="*/ 118 w 118"/>
              <a:gd name="T31" fmla="*/ 44 h 76"/>
              <a:gd name="T32" fmla="*/ 118 w 118"/>
              <a:gd name="T33" fmla="*/ 64 h 76"/>
              <a:gd name="T34" fmla="*/ 90 w 118"/>
              <a:gd name="T35" fmla="*/ 64 h 76"/>
              <a:gd name="T36" fmla="*/ 80 w 118"/>
              <a:gd name="T37" fmla="*/ 70 h 76"/>
              <a:gd name="T38" fmla="*/ 64 w 118"/>
              <a:gd name="T39" fmla="*/ 76 h 76"/>
              <a:gd name="T40" fmla="*/ 64 w 118"/>
              <a:gd name="T41" fmla="*/ 70 h 76"/>
              <a:gd name="T42" fmla="*/ 66 w 118"/>
              <a:gd name="T43" fmla="*/ 62 h 76"/>
              <a:gd name="T44" fmla="*/ 64 w 118"/>
              <a:gd name="T45" fmla="*/ 50 h 76"/>
              <a:gd name="T46" fmla="*/ 56 w 118"/>
              <a:gd name="T47" fmla="*/ 44 h 76"/>
              <a:gd name="T48" fmla="*/ 46 w 118"/>
              <a:gd name="T49" fmla="*/ 60 h 76"/>
              <a:gd name="T50" fmla="*/ 38 w 118"/>
              <a:gd name="T51" fmla="*/ 62 h 76"/>
              <a:gd name="T52" fmla="*/ 18 w 118"/>
              <a:gd name="T53" fmla="*/ 74 h 76"/>
              <a:gd name="T54" fmla="*/ 8 w 118"/>
              <a:gd name="T55" fmla="*/ 70 h 76"/>
              <a:gd name="T56" fmla="*/ 8 w 118"/>
              <a:gd name="T57" fmla="*/ 62 h 76"/>
              <a:gd name="T58" fmla="*/ 16 w 118"/>
              <a:gd name="T59" fmla="*/ 52 h 76"/>
              <a:gd name="T60" fmla="*/ 10 w 118"/>
              <a:gd name="T61" fmla="*/ 50 h 76"/>
              <a:gd name="T62" fmla="*/ 12 w 118"/>
              <a:gd name="T63" fmla="*/ 36 h 76"/>
              <a:gd name="T64" fmla="*/ 0 w 118"/>
              <a:gd name="T65" fmla="*/ 36 h 76"/>
              <a:gd name="T66" fmla="*/ 0 w 118"/>
              <a:gd name="T67" fmla="*/ 26 h 76"/>
              <a:gd name="T68" fmla="*/ 20 w 118"/>
              <a:gd name="T69" fmla="*/ 26 h 76"/>
              <a:gd name="T70" fmla="*/ 18 w 118"/>
              <a:gd name="T71" fmla="*/ 12 h 76"/>
              <a:gd name="T72" fmla="*/ 24 w 118"/>
              <a:gd name="T73" fmla="*/ 1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76">
                <a:moveTo>
                  <a:pt x="24" y="14"/>
                </a:moveTo>
                <a:lnTo>
                  <a:pt x="32" y="10"/>
                </a:lnTo>
                <a:lnTo>
                  <a:pt x="36" y="2"/>
                </a:lnTo>
                <a:lnTo>
                  <a:pt x="48" y="0"/>
                </a:lnTo>
                <a:lnTo>
                  <a:pt x="54" y="2"/>
                </a:lnTo>
                <a:lnTo>
                  <a:pt x="52" y="8"/>
                </a:lnTo>
                <a:lnTo>
                  <a:pt x="50" y="14"/>
                </a:lnTo>
                <a:lnTo>
                  <a:pt x="52" y="20"/>
                </a:lnTo>
                <a:lnTo>
                  <a:pt x="54" y="28"/>
                </a:lnTo>
                <a:lnTo>
                  <a:pt x="66" y="28"/>
                </a:lnTo>
                <a:lnTo>
                  <a:pt x="80" y="30"/>
                </a:lnTo>
                <a:lnTo>
                  <a:pt x="100" y="30"/>
                </a:lnTo>
                <a:lnTo>
                  <a:pt x="98" y="36"/>
                </a:lnTo>
                <a:lnTo>
                  <a:pt x="100" y="44"/>
                </a:lnTo>
                <a:lnTo>
                  <a:pt x="106" y="46"/>
                </a:lnTo>
                <a:lnTo>
                  <a:pt x="118" y="44"/>
                </a:lnTo>
                <a:lnTo>
                  <a:pt x="118" y="64"/>
                </a:lnTo>
                <a:lnTo>
                  <a:pt x="90" y="64"/>
                </a:lnTo>
                <a:lnTo>
                  <a:pt x="80" y="70"/>
                </a:lnTo>
                <a:lnTo>
                  <a:pt x="64" y="76"/>
                </a:lnTo>
                <a:lnTo>
                  <a:pt x="64" y="70"/>
                </a:lnTo>
                <a:lnTo>
                  <a:pt x="66" y="62"/>
                </a:lnTo>
                <a:lnTo>
                  <a:pt x="64" y="50"/>
                </a:lnTo>
                <a:lnTo>
                  <a:pt x="56" y="44"/>
                </a:lnTo>
                <a:lnTo>
                  <a:pt x="46" y="60"/>
                </a:lnTo>
                <a:lnTo>
                  <a:pt x="38" y="62"/>
                </a:lnTo>
                <a:lnTo>
                  <a:pt x="18" y="74"/>
                </a:lnTo>
                <a:lnTo>
                  <a:pt x="8" y="70"/>
                </a:lnTo>
                <a:lnTo>
                  <a:pt x="8" y="62"/>
                </a:lnTo>
                <a:lnTo>
                  <a:pt x="16" y="52"/>
                </a:lnTo>
                <a:lnTo>
                  <a:pt x="10" y="50"/>
                </a:lnTo>
                <a:lnTo>
                  <a:pt x="12" y="36"/>
                </a:lnTo>
                <a:lnTo>
                  <a:pt x="0" y="36"/>
                </a:lnTo>
                <a:lnTo>
                  <a:pt x="0" y="26"/>
                </a:lnTo>
                <a:lnTo>
                  <a:pt x="20" y="26"/>
                </a:lnTo>
                <a:lnTo>
                  <a:pt x="18" y="12"/>
                </a:lnTo>
                <a:lnTo>
                  <a:pt x="24" y="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7" name="Freeform 99">
            <a:extLst>
              <a:ext uri="{FF2B5EF4-FFF2-40B4-BE49-F238E27FC236}">
                <a16:creationId xmlns:a16="http://schemas.microsoft.com/office/drawing/2014/main" id="{23070099-E881-430F-966D-C4B12F6D03F8}"/>
              </a:ext>
            </a:extLst>
          </p:cNvPr>
          <p:cNvSpPr>
            <a:spLocks/>
          </p:cNvSpPr>
          <p:nvPr/>
        </p:nvSpPr>
        <p:spPr bwMode="gray">
          <a:xfrm>
            <a:off x="7517260" y="3305938"/>
            <a:ext cx="524472" cy="313181"/>
          </a:xfrm>
          <a:custGeom>
            <a:avLst/>
            <a:gdLst>
              <a:gd name="T0" fmla="*/ 0 w 266"/>
              <a:gd name="T1" fmla="*/ 82 h 158"/>
              <a:gd name="T2" fmla="*/ 0 w 266"/>
              <a:gd name="T3" fmla="*/ 8 h 158"/>
              <a:gd name="T4" fmla="*/ 18 w 266"/>
              <a:gd name="T5" fmla="*/ 4 h 158"/>
              <a:gd name="T6" fmla="*/ 46 w 266"/>
              <a:gd name="T7" fmla="*/ 0 h 158"/>
              <a:gd name="T8" fmla="*/ 54 w 266"/>
              <a:gd name="T9" fmla="*/ 6 h 158"/>
              <a:gd name="T10" fmla="*/ 70 w 266"/>
              <a:gd name="T11" fmla="*/ 16 h 158"/>
              <a:gd name="T12" fmla="*/ 80 w 266"/>
              <a:gd name="T13" fmla="*/ 20 h 158"/>
              <a:gd name="T14" fmla="*/ 94 w 266"/>
              <a:gd name="T15" fmla="*/ 38 h 158"/>
              <a:gd name="T16" fmla="*/ 132 w 266"/>
              <a:gd name="T17" fmla="*/ 36 h 158"/>
              <a:gd name="T18" fmla="*/ 140 w 266"/>
              <a:gd name="T19" fmla="*/ 34 h 158"/>
              <a:gd name="T20" fmla="*/ 158 w 266"/>
              <a:gd name="T21" fmla="*/ 52 h 158"/>
              <a:gd name="T22" fmla="*/ 158 w 266"/>
              <a:gd name="T23" fmla="*/ 60 h 158"/>
              <a:gd name="T24" fmla="*/ 168 w 266"/>
              <a:gd name="T25" fmla="*/ 68 h 158"/>
              <a:gd name="T26" fmla="*/ 170 w 266"/>
              <a:gd name="T27" fmla="*/ 84 h 158"/>
              <a:gd name="T28" fmla="*/ 188 w 266"/>
              <a:gd name="T29" fmla="*/ 82 h 158"/>
              <a:gd name="T30" fmla="*/ 192 w 266"/>
              <a:gd name="T31" fmla="*/ 84 h 158"/>
              <a:gd name="T32" fmla="*/ 192 w 266"/>
              <a:gd name="T33" fmla="*/ 94 h 158"/>
              <a:gd name="T34" fmla="*/ 200 w 266"/>
              <a:gd name="T35" fmla="*/ 94 h 158"/>
              <a:gd name="T36" fmla="*/ 202 w 266"/>
              <a:gd name="T37" fmla="*/ 84 h 158"/>
              <a:gd name="T38" fmla="*/ 214 w 266"/>
              <a:gd name="T39" fmla="*/ 74 h 158"/>
              <a:gd name="T40" fmla="*/ 234 w 266"/>
              <a:gd name="T41" fmla="*/ 62 h 158"/>
              <a:gd name="T42" fmla="*/ 230 w 266"/>
              <a:gd name="T43" fmla="*/ 72 h 158"/>
              <a:gd name="T44" fmla="*/ 228 w 266"/>
              <a:gd name="T45" fmla="*/ 76 h 158"/>
              <a:gd name="T46" fmla="*/ 236 w 266"/>
              <a:gd name="T47" fmla="*/ 80 h 158"/>
              <a:gd name="T48" fmla="*/ 248 w 266"/>
              <a:gd name="T49" fmla="*/ 76 h 158"/>
              <a:gd name="T50" fmla="*/ 258 w 266"/>
              <a:gd name="T51" fmla="*/ 82 h 158"/>
              <a:gd name="T52" fmla="*/ 266 w 266"/>
              <a:gd name="T53" fmla="*/ 90 h 158"/>
              <a:gd name="T54" fmla="*/ 258 w 266"/>
              <a:gd name="T55" fmla="*/ 98 h 158"/>
              <a:gd name="T56" fmla="*/ 248 w 266"/>
              <a:gd name="T57" fmla="*/ 102 h 158"/>
              <a:gd name="T58" fmla="*/ 236 w 266"/>
              <a:gd name="T59" fmla="*/ 102 h 158"/>
              <a:gd name="T60" fmla="*/ 232 w 266"/>
              <a:gd name="T61" fmla="*/ 98 h 158"/>
              <a:gd name="T62" fmla="*/ 234 w 266"/>
              <a:gd name="T63" fmla="*/ 90 h 158"/>
              <a:gd name="T64" fmla="*/ 228 w 266"/>
              <a:gd name="T65" fmla="*/ 88 h 158"/>
              <a:gd name="T66" fmla="*/ 216 w 266"/>
              <a:gd name="T67" fmla="*/ 90 h 158"/>
              <a:gd name="T68" fmla="*/ 212 w 266"/>
              <a:gd name="T69" fmla="*/ 98 h 158"/>
              <a:gd name="T70" fmla="*/ 204 w 266"/>
              <a:gd name="T71" fmla="*/ 102 h 158"/>
              <a:gd name="T72" fmla="*/ 198 w 266"/>
              <a:gd name="T73" fmla="*/ 100 h 158"/>
              <a:gd name="T74" fmla="*/ 200 w 266"/>
              <a:gd name="T75" fmla="*/ 114 h 158"/>
              <a:gd name="T76" fmla="*/ 180 w 266"/>
              <a:gd name="T77" fmla="*/ 114 h 158"/>
              <a:gd name="T78" fmla="*/ 180 w 266"/>
              <a:gd name="T79" fmla="*/ 124 h 158"/>
              <a:gd name="T80" fmla="*/ 192 w 266"/>
              <a:gd name="T81" fmla="*/ 124 h 158"/>
              <a:gd name="T82" fmla="*/ 190 w 266"/>
              <a:gd name="T83" fmla="*/ 138 h 158"/>
              <a:gd name="T84" fmla="*/ 196 w 266"/>
              <a:gd name="T85" fmla="*/ 140 h 158"/>
              <a:gd name="T86" fmla="*/ 188 w 266"/>
              <a:gd name="T87" fmla="*/ 150 h 158"/>
              <a:gd name="T88" fmla="*/ 188 w 266"/>
              <a:gd name="T89" fmla="*/ 158 h 158"/>
              <a:gd name="T90" fmla="*/ 168 w 266"/>
              <a:gd name="T91" fmla="*/ 152 h 158"/>
              <a:gd name="T92" fmla="*/ 168 w 266"/>
              <a:gd name="T93" fmla="*/ 144 h 158"/>
              <a:gd name="T94" fmla="*/ 158 w 266"/>
              <a:gd name="T95" fmla="*/ 138 h 158"/>
              <a:gd name="T96" fmla="*/ 146 w 266"/>
              <a:gd name="T97" fmla="*/ 136 h 158"/>
              <a:gd name="T98" fmla="*/ 104 w 266"/>
              <a:gd name="T99" fmla="*/ 108 h 158"/>
              <a:gd name="T100" fmla="*/ 90 w 266"/>
              <a:gd name="T101" fmla="*/ 82 h 158"/>
              <a:gd name="T102" fmla="*/ 64 w 266"/>
              <a:gd name="T103" fmla="*/ 82 h 158"/>
              <a:gd name="T104" fmla="*/ 64 w 266"/>
              <a:gd name="T105" fmla="*/ 66 h 158"/>
              <a:gd name="T106" fmla="*/ 62 w 266"/>
              <a:gd name="T107" fmla="*/ 62 h 158"/>
              <a:gd name="T108" fmla="*/ 48 w 266"/>
              <a:gd name="T109" fmla="*/ 60 h 158"/>
              <a:gd name="T110" fmla="*/ 42 w 266"/>
              <a:gd name="T111" fmla="*/ 54 h 158"/>
              <a:gd name="T112" fmla="*/ 14 w 266"/>
              <a:gd name="T113" fmla="*/ 68 h 158"/>
              <a:gd name="T114" fmla="*/ 14 w 266"/>
              <a:gd name="T115" fmla="*/ 80 h 158"/>
              <a:gd name="T116" fmla="*/ 0 w 266"/>
              <a:gd name="T117" fmla="*/ 8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158">
                <a:moveTo>
                  <a:pt x="0" y="82"/>
                </a:moveTo>
                <a:lnTo>
                  <a:pt x="0" y="8"/>
                </a:lnTo>
                <a:lnTo>
                  <a:pt x="18" y="4"/>
                </a:lnTo>
                <a:lnTo>
                  <a:pt x="46" y="0"/>
                </a:lnTo>
                <a:lnTo>
                  <a:pt x="54" y="6"/>
                </a:lnTo>
                <a:lnTo>
                  <a:pt x="70" y="16"/>
                </a:lnTo>
                <a:lnTo>
                  <a:pt x="80" y="20"/>
                </a:lnTo>
                <a:lnTo>
                  <a:pt x="94" y="38"/>
                </a:lnTo>
                <a:lnTo>
                  <a:pt x="132" y="36"/>
                </a:lnTo>
                <a:lnTo>
                  <a:pt x="140" y="34"/>
                </a:lnTo>
                <a:lnTo>
                  <a:pt x="158" y="52"/>
                </a:lnTo>
                <a:lnTo>
                  <a:pt x="158" y="60"/>
                </a:lnTo>
                <a:lnTo>
                  <a:pt x="168" y="68"/>
                </a:lnTo>
                <a:lnTo>
                  <a:pt x="170" y="84"/>
                </a:lnTo>
                <a:lnTo>
                  <a:pt x="188" y="82"/>
                </a:lnTo>
                <a:lnTo>
                  <a:pt x="192" y="84"/>
                </a:lnTo>
                <a:lnTo>
                  <a:pt x="192" y="94"/>
                </a:lnTo>
                <a:lnTo>
                  <a:pt x="200" y="94"/>
                </a:lnTo>
                <a:lnTo>
                  <a:pt x="202" y="84"/>
                </a:lnTo>
                <a:lnTo>
                  <a:pt x="214" y="74"/>
                </a:lnTo>
                <a:lnTo>
                  <a:pt x="234" y="62"/>
                </a:lnTo>
                <a:lnTo>
                  <a:pt x="230" y="72"/>
                </a:lnTo>
                <a:lnTo>
                  <a:pt x="228" y="76"/>
                </a:lnTo>
                <a:lnTo>
                  <a:pt x="236" y="80"/>
                </a:lnTo>
                <a:lnTo>
                  <a:pt x="248" y="76"/>
                </a:lnTo>
                <a:lnTo>
                  <a:pt x="258" y="82"/>
                </a:lnTo>
                <a:lnTo>
                  <a:pt x="266" y="90"/>
                </a:lnTo>
                <a:lnTo>
                  <a:pt x="258" y="98"/>
                </a:lnTo>
                <a:lnTo>
                  <a:pt x="248" y="102"/>
                </a:lnTo>
                <a:lnTo>
                  <a:pt x="236" y="102"/>
                </a:lnTo>
                <a:lnTo>
                  <a:pt x="232" y="98"/>
                </a:lnTo>
                <a:lnTo>
                  <a:pt x="234" y="90"/>
                </a:lnTo>
                <a:lnTo>
                  <a:pt x="228" y="88"/>
                </a:lnTo>
                <a:lnTo>
                  <a:pt x="216" y="90"/>
                </a:lnTo>
                <a:lnTo>
                  <a:pt x="212" y="98"/>
                </a:lnTo>
                <a:lnTo>
                  <a:pt x="204" y="102"/>
                </a:lnTo>
                <a:lnTo>
                  <a:pt x="198" y="100"/>
                </a:lnTo>
                <a:lnTo>
                  <a:pt x="200" y="114"/>
                </a:lnTo>
                <a:lnTo>
                  <a:pt x="180" y="114"/>
                </a:lnTo>
                <a:lnTo>
                  <a:pt x="180" y="124"/>
                </a:lnTo>
                <a:lnTo>
                  <a:pt x="192" y="124"/>
                </a:lnTo>
                <a:lnTo>
                  <a:pt x="190" y="138"/>
                </a:lnTo>
                <a:lnTo>
                  <a:pt x="196" y="140"/>
                </a:lnTo>
                <a:lnTo>
                  <a:pt x="188" y="150"/>
                </a:lnTo>
                <a:lnTo>
                  <a:pt x="188" y="158"/>
                </a:lnTo>
                <a:lnTo>
                  <a:pt x="168" y="152"/>
                </a:lnTo>
                <a:lnTo>
                  <a:pt x="168" y="144"/>
                </a:lnTo>
                <a:lnTo>
                  <a:pt x="158" y="138"/>
                </a:lnTo>
                <a:lnTo>
                  <a:pt x="146" y="136"/>
                </a:lnTo>
                <a:lnTo>
                  <a:pt x="104" y="108"/>
                </a:lnTo>
                <a:lnTo>
                  <a:pt x="90" y="82"/>
                </a:lnTo>
                <a:lnTo>
                  <a:pt x="64" y="82"/>
                </a:lnTo>
                <a:lnTo>
                  <a:pt x="64" y="66"/>
                </a:lnTo>
                <a:lnTo>
                  <a:pt x="62" y="62"/>
                </a:lnTo>
                <a:lnTo>
                  <a:pt x="48" y="60"/>
                </a:lnTo>
                <a:lnTo>
                  <a:pt x="42" y="54"/>
                </a:lnTo>
                <a:lnTo>
                  <a:pt x="14" y="68"/>
                </a:lnTo>
                <a:lnTo>
                  <a:pt x="14" y="80"/>
                </a:lnTo>
                <a:lnTo>
                  <a:pt x="0" y="8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8" name="Freeform 100">
            <a:extLst>
              <a:ext uri="{FF2B5EF4-FFF2-40B4-BE49-F238E27FC236}">
                <a16:creationId xmlns:a16="http://schemas.microsoft.com/office/drawing/2014/main" id="{19387E4A-57F2-44E4-B0E6-6F292F95AEE9}"/>
              </a:ext>
            </a:extLst>
          </p:cNvPr>
          <p:cNvSpPr>
            <a:spLocks/>
          </p:cNvSpPr>
          <p:nvPr/>
        </p:nvSpPr>
        <p:spPr bwMode="gray">
          <a:xfrm>
            <a:off x="7966807" y="3389187"/>
            <a:ext cx="311529" cy="150644"/>
          </a:xfrm>
          <a:custGeom>
            <a:avLst/>
            <a:gdLst>
              <a:gd name="T0" fmla="*/ 6 w 158"/>
              <a:gd name="T1" fmla="*/ 20 h 76"/>
              <a:gd name="T2" fmla="*/ 16 w 158"/>
              <a:gd name="T3" fmla="*/ 8 h 76"/>
              <a:gd name="T4" fmla="*/ 28 w 158"/>
              <a:gd name="T5" fmla="*/ 8 h 76"/>
              <a:gd name="T6" fmla="*/ 32 w 158"/>
              <a:gd name="T7" fmla="*/ 12 h 76"/>
              <a:gd name="T8" fmla="*/ 50 w 158"/>
              <a:gd name="T9" fmla="*/ 10 h 76"/>
              <a:gd name="T10" fmla="*/ 52 w 158"/>
              <a:gd name="T11" fmla="*/ 4 h 76"/>
              <a:gd name="T12" fmla="*/ 60 w 158"/>
              <a:gd name="T13" fmla="*/ 0 h 76"/>
              <a:gd name="T14" fmla="*/ 72 w 158"/>
              <a:gd name="T15" fmla="*/ 2 h 76"/>
              <a:gd name="T16" fmla="*/ 74 w 158"/>
              <a:gd name="T17" fmla="*/ 10 h 76"/>
              <a:gd name="T18" fmla="*/ 134 w 158"/>
              <a:gd name="T19" fmla="*/ 8 h 76"/>
              <a:gd name="T20" fmla="*/ 140 w 158"/>
              <a:gd name="T21" fmla="*/ 14 h 76"/>
              <a:gd name="T22" fmla="*/ 148 w 158"/>
              <a:gd name="T23" fmla="*/ 16 h 76"/>
              <a:gd name="T24" fmla="*/ 158 w 158"/>
              <a:gd name="T25" fmla="*/ 20 h 76"/>
              <a:gd name="T26" fmla="*/ 152 w 158"/>
              <a:gd name="T27" fmla="*/ 24 h 76"/>
              <a:gd name="T28" fmla="*/ 138 w 158"/>
              <a:gd name="T29" fmla="*/ 32 h 76"/>
              <a:gd name="T30" fmla="*/ 126 w 158"/>
              <a:gd name="T31" fmla="*/ 36 h 76"/>
              <a:gd name="T32" fmla="*/ 122 w 158"/>
              <a:gd name="T33" fmla="*/ 44 h 76"/>
              <a:gd name="T34" fmla="*/ 102 w 158"/>
              <a:gd name="T35" fmla="*/ 44 h 76"/>
              <a:gd name="T36" fmla="*/ 98 w 158"/>
              <a:gd name="T37" fmla="*/ 54 h 76"/>
              <a:gd name="T38" fmla="*/ 82 w 158"/>
              <a:gd name="T39" fmla="*/ 58 h 76"/>
              <a:gd name="T40" fmla="*/ 82 w 158"/>
              <a:gd name="T41" fmla="*/ 52 h 76"/>
              <a:gd name="T42" fmla="*/ 68 w 158"/>
              <a:gd name="T43" fmla="*/ 52 h 76"/>
              <a:gd name="T44" fmla="*/ 66 w 158"/>
              <a:gd name="T45" fmla="*/ 58 h 76"/>
              <a:gd name="T46" fmla="*/ 58 w 158"/>
              <a:gd name="T47" fmla="*/ 62 h 76"/>
              <a:gd name="T48" fmla="*/ 54 w 158"/>
              <a:gd name="T49" fmla="*/ 66 h 76"/>
              <a:gd name="T50" fmla="*/ 52 w 158"/>
              <a:gd name="T51" fmla="*/ 76 h 76"/>
              <a:gd name="T52" fmla="*/ 32 w 158"/>
              <a:gd name="T53" fmla="*/ 76 h 76"/>
              <a:gd name="T54" fmla="*/ 18 w 158"/>
              <a:gd name="T55" fmla="*/ 74 h 76"/>
              <a:gd name="T56" fmla="*/ 6 w 158"/>
              <a:gd name="T57" fmla="*/ 74 h 76"/>
              <a:gd name="T58" fmla="*/ 4 w 158"/>
              <a:gd name="T59" fmla="*/ 66 h 76"/>
              <a:gd name="T60" fmla="*/ 2 w 158"/>
              <a:gd name="T61" fmla="*/ 60 h 76"/>
              <a:gd name="T62" fmla="*/ 4 w 158"/>
              <a:gd name="T63" fmla="*/ 56 h 76"/>
              <a:gd name="T64" fmla="*/ 8 w 158"/>
              <a:gd name="T65" fmla="*/ 60 h 76"/>
              <a:gd name="T66" fmla="*/ 20 w 158"/>
              <a:gd name="T67" fmla="*/ 60 h 76"/>
              <a:gd name="T68" fmla="*/ 30 w 158"/>
              <a:gd name="T69" fmla="*/ 56 h 76"/>
              <a:gd name="T70" fmla="*/ 38 w 158"/>
              <a:gd name="T71" fmla="*/ 48 h 76"/>
              <a:gd name="T72" fmla="*/ 30 w 158"/>
              <a:gd name="T73" fmla="*/ 40 h 76"/>
              <a:gd name="T74" fmla="*/ 20 w 158"/>
              <a:gd name="T75" fmla="*/ 34 h 76"/>
              <a:gd name="T76" fmla="*/ 8 w 158"/>
              <a:gd name="T77" fmla="*/ 38 h 76"/>
              <a:gd name="T78" fmla="*/ 0 w 158"/>
              <a:gd name="T79" fmla="*/ 34 h 76"/>
              <a:gd name="T80" fmla="*/ 2 w 158"/>
              <a:gd name="T81" fmla="*/ 30 h 76"/>
              <a:gd name="T82" fmla="*/ 6 w 158"/>
              <a:gd name="T83" fmla="*/ 2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76">
                <a:moveTo>
                  <a:pt x="6" y="20"/>
                </a:moveTo>
                <a:lnTo>
                  <a:pt x="16" y="8"/>
                </a:lnTo>
                <a:lnTo>
                  <a:pt x="28" y="8"/>
                </a:lnTo>
                <a:lnTo>
                  <a:pt x="32" y="12"/>
                </a:lnTo>
                <a:lnTo>
                  <a:pt x="50" y="10"/>
                </a:lnTo>
                <a:lnTo>
                  <a:pt x="52" y="4"/>
                </a:lnTo>
                <a:lnTo>
                  <a:pt x="60" y="0"/>
                </a:lnTo>
                <a:lnTo>
                  <a:pt x="72" y="2"/>
                </a:lnTo>
                <a:lnTo>
                  <a:pt x="74" y="10"/>
                </a:lnTo>
                <a:lnTo>
                  <a:pt x="134" y="8"/>
                </a:lnTo>
                <a:lnTo>
                  <a:pt x="140" y="14"/>
                </a:lnTo>
                <a:lnTo>
                  <a:pt x="148" y="16"/>
                </a:lnTo>
                <a:lnTo>
                  <a:pt x="158" y="20"/>
                </a:lnTo>
                <a:lnTo>
                  <a:pt x="152" y="24"/>
                </a:lnTo>
                <a:lnTo>
                  <a:pt x="138" y="32"/>
                </a:lnTo>
                <a:lnTo>
                  <a:pt x="126" y="36"/>
                </a:lnTo>
                <a:lnTo>
                  <a:pt x="122" y="44"/>
                </a:lnTo>
                <a:lnTo>
                  <a:pt x="102" y="44"/>
                </a:lnTo>
                <a:lnTo>
                  <a:pt x="98" y="54"/>
                </a:lnTo>
                <a:lnTo>
                  <a:pt x="82" y="58"/>
                </a:lnTo>
                <a:lnTo>
                  <a:pt x="82" y="52"/>
                </a:lnTo>
                <a:lnTo>
                  <a:pt x="68" y="52"/>
                </a:lnTo>
                <a:lnTo>
                  <a:pt x="66" y="58"/>
                </a:lnTo>
                <a:lnTo>
                  <a:pt x="58" y="62"/>
                </a:lnTo>
                <a:lnTo>
                  <a:pt x="54" y="66"/>
                </a:lnTo>
                <a:lnTo>
                  <a:pt x="52" y="76"/>
                </a:lnTo>
                <a:lnTo>
                  <a:pt x="32" y="76"/>
                </a:lnTo>
                <a:lnTo>
                  <a:pt x="18" y="74"/>
                </a:lnTo>
                <a:lnTo>
                  <a:pt x="6" y="74"/>
                </a:lnTo>
                <a:lnTo>
                  <a:pt x="4" y="66"/>
                </a:lnTo>
                <a:lnTo>
                  <a:pt x="2" y="60"/>
                </a:lnTo>
                <a:lnTo>
                  <a:pt x="4" y="56"/>
                </a:lnTo>
                <a:lnTo>
                  <a:pt x="8" y="60"/>
                </a:lnTo>
                <a:lnTo>
                  <a:pt x="20" y="60"/>
                </a:lnTo>
                <a:lnTo>
                  <a:pt x="30" y="56"/>
                </a:lnTo>
                <a:lnTo>
                  <a:pt x="38" y="48"/>
                </a:lnTo>
                <a:lnTo>
                  <a:pt x="30" y="40"/>
                </a:lnTo>
                <a:lnTo>
                  <a:pt x="20" y="34"/>
                </a:lnTo>
                <a:lnTo>
                  <a:pt x="8" y="38"/>
                </a:lnTo>
                <a:lnTo>
                  <a:pt x="0" y="34"/>
                </a:lnTo>
                <a:lnTo>
                  <a:pt x="2" y="30"/>
                </a:lnTo>
                <a:lnTo>
                  <a:pt x="6" y="2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09" name="Freeform 101">
            <a:extLst>
              <a:ext uri="{FF2B5EF4-FFF2-40B4-BE49-F238E27FC236}">
                <a16:creationId xmlns:a16="http://schemas.microsoft.com/office/drawing/2014/main" id="{E3A38454-E615-4FE2-A5D5-5D52119C1854}"/>
              </a:ext>
            </a:extLst>
          </p:cNvPr>
          <p:cNvSpPr>
            <a:spLocks/>
          </p:cNvSpPr>
          <p:nvPr/>
        </p:nvSpPr>
        <p:spPr bwMode="gray">
          <a:xfrm>
            <a:off x="7221505" y="2921399"/>
            <a:ext cx="1261888" cy="570862"/>
          </a:xfrm>
          <a:custGeom>
            <a:avLst/>
            <a:gdLst>
              <a:gd name="T0" fmla="*/ 94 w 640"/>
              <a:gd name="T1" fmla="*/ 260 h 298"/>
              <a:gd name="T2" fmla="*/ 66 w 640"/>
              <a:gd name="T3" fmla="*/ 234 h 298"/>
              <a:gd name="T4" fmla="*/ 64 w 640"/>
              <a:gd name="T5" fmla="*/ 220 h 298"/>
              <a:gd name="T6" fmla="*/ 76 w 640"/>
              <a:gd name="T7" fmla="*/ 210 h 298"/>
              <a:gd name="T8" fmla="*/ 94 w 640"/>
              <a:gd name="T9" fmla="*/ 208 h 298"/>
              <a:gd name="T10" fmla="*/ 108 w 640"/>
              <a:gd name="T11" fmla="*/ 196 h 298"/>
              <a:gd name="T12" fmla="*/ 82 w 640"/>
              <a:gd name="T13" fmla="*/ 176 h 298"/>
              <a:gd name="T14" fmla="*/ 40 w 640"/>
              <a:gd name="T15" fmla="*/ 188 h 298"/>
              <a:gd name="T16" fmla="*/ 24 w 640"/>
              <a:gd name="T17" fmla="*/ 158 h 298"/>
              <a:gd name="T18" fmla="*/ 0 w 640"/>
              <a:gd name="T19" fmla="*/ 140 h 298"/>
              <a:gd name="T20" fmla="*/ 18 w 640"/>
              <a:gd name="T21" fmla="*/ 102 h 298"/>
              <a:gd name="T22" fmla="*/ 34 w 640"/>
              <a:gd name="T23" fmla="*/ 114 h 298"/>
              <a:gd name="T24" fmla="*/ 60 w 640"/>
              <a:gd name="T25" fmla="*/ 84 h 298"/>
              <a:gd name="T26" fmla="*/ 112 w 640"/>
              <a:gd name="T27" fmla="*/ 84 h 298"/>
              <a:gd name="T28" fmla="*/ 150 w 640"/>
              <a:gd name="T29" fmla="*/ 100 h 298"/>
              <a:gd name="T30" fmla="*/ 190 w 640"/>
              <a:gd name="T31" fmla="*/ 90 h 298"/>
              <a:gd name="T32" fmla="*/ 226 w 640"/>
              <a:gd name="T33" fmla="*/ 98 h 298"/>
              <a:gd name="T34" fmla="*/ 228 w 640"/>
              <a:gd name="T35" fmla="*/ 80 h 298"/>
              <a:gd name="T36" fmla="*/ 220 w 640"/>
              <a:gd name="T37" fmla="*/ 68 h 298"/>
              <a:gd name="T38" fmla="*/ 228 w 640"/>
              <a:gd name="T39" fmla="*/ 52 h 298"/>
              <a:gd name="T40" fmla="*/ 236 w 640"/>
              <a:gd name="T41" fmla="*/ 40 h 298"/>
              <a:gd name="T42" fmla="*/ 254 w 640"/>
              <a:gd name="T43" fmla="*/ 28 h 298"/>
              <a:gd name="T44" fmla="*/ 316 w 640"/>
              <a:gd name="T45" fmla="*/ 10 h 298"/>
              <a:gd name="T46" fmla="*/ 364 w 640"/>
              <a:gd name="T47" fmla="*/ 0 h 298"/>
              <a:gd name="T48" fmla="*/ 388 w 640"/>
              <a:gd name="T49" fmla="*/ 16 h 298"/>
              <a:gd name="T50" fmla="*/ 418 w 640"/>
              <a:gd name="T51" fmla="*/ 28 h 298"/>
              <a:gd name="T52" fmla="*/ 456 w 640"/>
              <a:gd name="T53" fmla="*/ 28 h 298"/>
              <a:gd name="T54" fmla="*/ 480 w 640"/>
              <a:gd name="T55" fmla="*/ 32 h 298"/>
              <a:gd name="T56" fmla="*/ 510 w 640"/>
              <a:gd name="T57" fmla="*/ 60 h 298"/>
              <a:gd name="T58" fmla="*/ 528 w 640"/>
              <a:gd name="T59" fmla="*/ 92 h 298"/>
              <a:gd name="T60" fmla="*/ 540 w 640"/>
              <a:gd name="T61" fmla="*/ 84 h 298"/>
              <a:gd name="T62" fmla="*/ 562 w 640"/>
              <a:gd name="T63" fmla="*/ 96 h 298"/>
              <a:gd name="T64" fmla="*/ 590 w 640"/>
              <a:gd name="T65" fmla="*/ 92 h 298"/>
              <a:gd name="T66" fmla="*/ 614 w 640"/>
              <a:gd name="T67" fmla="*/ 116 h 298"/>
              <a:gd name="T68" fmla="*/ 640 w 640"/>
              <a:gd name="T69" fmla="*/ 132 h 298"/>
              <a:gd name="T70" fmla="*/ 626 w 640"/>
              <a:gd name="T71" fmla="*/ 142 h 298"/>
              <a:gd name="T72" fmla="*/ 622 w 640"/>
              <a:gd name="T73" fmla="*/ 170 h 298"/>
              <a:gd name="T74" fmla="*/ 596 w 640"/>
              <a:gd name="T75" fmla="*/ 172 h 298"/>
              <a:gd name="T76" fmla="*/ 570 w 640"/>
              <a:gd name="T77" fmla="*/ 194 h 298"/>
              <a:gd name="T78" fmla="*/ 548 w 640"/>
              <a:gd name="T79" fmla="*/ 208 h 298"/>
              <a:gd name="T80" fmla="*/ 538 w 640"/>
              <a:gd name="T81" fmla="*/ 232 h 298"/>
              <a:gd name="T82" fmla="*/ 536 w 640"/>
              <a:gd name="T83" fmla="*/ 256 h 298"/>
              <a:gd name="T84" fmla="*/ 526 w 640"/>
              <a:gd name="T85" fmla="*/ 262 h 298"/>
              <a:gd name="T86" fmla="*/ 512 w 640"/>
              <a:gd name="T87" fmla="*/ 254 h 298"/>
              <a:gd name="T88" fmla="*/ 450 w 640"/>
              <a:gd name="T89" fmla="*/ 248 h 298"/>
              <a:gd name="T90" fmla="*/ 430 w 640"/>
              <a:gd name="T91" fmla="*/ 250 h 298"/>
              <a:gd name="T92" fmla="*/ 410 w 640"/>
              <a:gd name="T93" fmla="*/ 258 h 298"/>
              <a:gd name="T94" fmla="*/ 394 w 640"/>
              <a:gd name="T95" fmla="*/ 254 h 298"/>
              <a:gd name="T96" fmla="*/ 376 w 640"/>
              <a:gd name="T97" fmla="*/ 270 h 298"/>
              <a:gd name="T98" fmla="*/ 350 w 640"/>
              <a:gd name="T99" fmla="*/ 298 h 298"/>
              <a:gd name="T100" fmla="*/ 342 w 640"/>
              <a:gd name="T101" fmla="*/ 288 h 298"/>
              <a:gd name="T102" fmla="*/ 320 w 640"/>
              <a:gd name="T103" fmla="*/ 288 h 298"/>
              <a:gd name="T104" fmla="*/ 308 w 640"/>
              <a:gd name="T105" fmla="*/ 264 h 298"/>
              <a:gd name="T106" fmla="*/ 290 w 640"/>
              <a:gd name="T107" fmla="*/ 238 h 298"/>
              <a:gd name="T108" fmla="*/ 244 w 640"/>
              <a:gd name="T109" fmla="*/ 242 h 298"/>
              <a:gd name="T110" fmla="*/ 204 w 640"/>
              <a:gd name="T111" fmla="*/ 210 h 298"/>
              <a:gd name="T112" fmla="*/ 168 w 640"/>
              <a:gd name="T113" fmla="*/ 208 h 298"/>
              <a:gd name="T114" fmla="*/ 150 w 640"/>
              <a:gd name="T115" fmla="*/ 286 h 298"/>
              <a:gd name="T116" fmla="*/ 132 w 640"/>
              <a:gd name="T117" fmla="*/ 270 h 298"/>
              <a:gd name="T118" fmla="*/ 114 w 640"/>
              <a:gd name="T119" fmla="*/ 26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0" h="298">
                <a:moveTo>
                  <a:pt x="108" y="262"/>
                </a:moveTo>
                <a:lnTo>
                  <a:pt x="94" y="260"/>
                </a:lnTo>
                <a:lnTo>
                  <a:pt x="78" y="248"/>
                </a:lnTo>
                <a:lnTo>
                  <a:pt x="66" y="234"/>
                </a:lnTo>
                <a:lnTo>
                  <a:pt x="58" y="224"/>
                </a:lnTo>
                <a:lnTo>
                  <a:pt x="64" y="220"/>
                </a:lnTo>
                <a:lnTo>
                  <a:pt x="78" y="222"/>
                </a:lnTo>
                <a:lnTo>
                  <a:pt x="76" y="210"/>
                </a:lnTo>
                <a:lnTo>
                  <a:pt x="82" y="206"/>
                </a:lnTo>
                <a:lnTo>
                  <a:pt x="94" y="208"/>
                </a:lnTo>
                <a:lnTo>
                  <a:pt x="104" y="210"/>
                </a:lnTo>
                <a:lnTo>
                  <a:pt x="108" y="196"/>
                </a:lnTo>
                <a:lnTo>
                  <a:pt x="100" y="176"/>
                </a:lnTo>
                <a:lnTo>
                  <a:pt x="82" y="176"/>
                </a:lnTo>
                <a:lnTo>
                  <a:pt x="64" y="178"/>
                </a:lnTo>
                <a:lnTo>
                  <a:pt x="40" y="188"/>
                </a:lnTo>
                <a:lnTo>
                  <a:pt x="36" y="174"/>
                </a:lnTo>
                <a:lnTo>
                  <a:pt x="24" y="158"/>
                </a:lnTo>
                <a:lnTo>
                  <a:pt x="10" y="154"/>
                </a:lnTo>
                <a:lnTo>
                  <a:pt x="0" y="140"/>
                </a:lnTo>
                <a:lnTo>
                  <a:pt x="6" y="116"/>
                </a:lnTo>
                <a:lnTo>
                  <a:pt x="18" y="102"/>
                </a:lnTo>
                <a:lnTo>
                  <a:pt x="26" y="118"/>
                </a:lnTo>
                <a:lnTo>
                  <a:pt x="34" y="114"/>
                </a:lnTo>
                <a:lnTo>
                  <a:pt x="36" y="102"/>
                </a:lnTo>
                <a:lnTo>
                  <a:pt x="60" y="84"/>
                </a:lnTo>
                <a:lnTo>
                  <a:pt x="76" y="78"/>
                </a:lnTo>
                <a:lnTo>
                  <a:pt x="112" y="84"/>
                </a:lnTo>
                <a:lnTo>
                  <a:pt x="136" y="98"/>
                </a:lnTo>
                <a:lnTo>
                  <a:pt x="150" y="100"/>
                </a:lnTo>
                <a:lnTo>
                  <a:pt x="172" y="90"/>
                </a:lnTo>
                <a:lnTo>
                  <a:pt x="190" y="90"/>
                </a:lnTo>
                <a:lnTo>
                  <a:pt x="200" y="100"/>
                </a:lnTo>
                <a:lnTo>
                  <a:pt x="226" y="98"/>
                </a:lnTo>
                <a:lnTo>
                  <a:pt x="238" y="88"/>
                </a:lnTo>
                <a:lnTo>
                  <a:pt x="228" y="80"/>
                </a:lnTo>
                <a:lnTo>
                  <a:pt x="214" y="76"/>
                </a:lnTo>
                <a:lnTo>
                  <a:pt x="220" y="68"/>
                </a:lnTo>
                <a:lnTo>
                  <a:pt x="226" y="62"/>
                </a:lnTo>
                <a:lnTo>
                  <a:pt x="228" y="52"/>
                </a:lnTo>
                <a:lnTo>
                  <a:pt x="240" y="48"/>
                </a:lnTo>
                <a:lnTo>
                  <a:pt x="236" y="40"/>
                </a:lnTo>
                <a:lnTo>
                  <a:pt x="232" y="30"/>
                </a:lnTo>
                <a:lnTo>
                  <a:pt x="254" y="28"/>
                </a:lnTo>
                <a:lnTo>
                  <a:pt x="280" y="20"/>
                </a:lnTo>
                <a:lnTo>
                  <a:pt x="316" y="10"/>
                </a:lnTo>
                <a:lnTo>
                  <a:pt x="346" y="4"/>
                </a:lnTo>
                <a:lnTo>
                  <a:pt x="364" y="0"/>
                </a:lnTo>
                <a:lnTo>
                  <a:pt x="384" y="2"/>
                </a:lnTo>
                <a:lnTo>
                  <a:pt x="388" y="16"/>
                </a:lnTo>
                <a:lnTo>
                  <a:pt x="398" y="22"/>
                </a:lnTo>
                <a:lnTo>
                  <a:pt x="418" y="28"/>
                </a:lnTo>
                <a:lnTo>
                  <a:pt x="438" y="38"/>
                </a:lnTo>
                <a:lnTo>
                  <a:pt x="456" y="28"/>
                </a:lnTo>
                <a:lnTo>
                  <a:pt x="478" y="22"/>
                </a:lnTo>
                <a:lnTo>
                  <a:pt x="480" y="32"/>
                </a:lnTo>
                <a:lnTo>
                  <a:pt x="498" y="44"/>
                </a:lnTo>
                <a:lnTo>
                  <a:pt x="510" y="60"/>
                </a:lnTo>
                <a:lnTo>
                  <a:pt x="524" y="84"/>
                </a:lnTo>
                <a:lnTo>
                  <a:pt x="528" y="92"/>
                </a:lnTo>
                <a:lnTo>
                  <a:pt x="536" y="92"/>
                </a:lnTo>
                <a:lnTo>
                  <a:pt x="540" y="84"/>
                </a:lnTo>
                <a:lnTo>
                  <a:pt x="550" y="90"/>
                </a:lnTo>
                <a:lnTo>
                  <a:pt x="562" y="96"/>
                </a:lnTo>
                <a:lnTo>
                  <a:pt x="572" y="94"/>
                </a:lnTo>
                <a:lnTo>
                  <a:pt x="590" y="92"/>
                </a:lnTo>
                <a:lnTo>
                  <a:pt x="600" y="106"/>
                </a:lnTo>
                <a:lnTo>
                  <a:pt x="614" y="116"/>
                </a:lnTo>
                <a:lnTo>
                  <a:pt x="636" y="118"/>
                </a:lnTo>
                <a:lnTo>
                  <a:pt x="640" y="132"/>
                </a:lnTo>
                <a:lnTo>
                  <a:pt x="638" y="142"/>
                </a:lnTo>
                <a:lnTo>
                  <a:pt x="626" y="142"/>
                </a:lnTo>
                <a:lnTo>
                  <a:pt x="622" y="156"/>
                </a:lnTo>
                <a:lnTo>
                  <a:pt x="622" y="170"/>
                </a:lnTo>
                <a:lnTo>
                  <a:pt x="612" y="172"/>
                </a:lnTo>
                <a:lnTo>
                  <a:pt x="596" y="172"/>
                </a:lnTo>
                <a:lnTo>
                  <a:pt x="580" y="170"/>
                </a:lnTo>
                <a:lnTo>
                  <a:pt x="570" y="194"/>
                </a:lnTo>
                <a:lnTo>
                  <a:pt x="566" y="208"/>
                </a:lnTo>
                <a:lnTo>
                  <a:pt x="548" y="208"/>
                </a:lnTo>
                <a:lnTo>
                  <a:pt x="536" y="214"/>
                </a:lnTo>
                <a:lnTo>
                  <a:pt x="538" y="232"/>
                </a:lnTo>
                <a:lnTo>
                  <a:pt x="544" y="248"/>
                </a:lnTo>
                <a:lnTo>
                  <a:pt x="536" y="256"/>
                </a:lnTo>
                <a:lnTo>
                  <a:pt x="536" y="266"/>
                </a:lnTo>
                <a:lnTo>
                  <a:pt x="526" y="262"/>
                </a:lnTo>
                <a:lnTo>
                  <a:pt x="518" y="260"/>
                </a:lnTo>
                <a:lnTo>
                  <a:pt x="512" y="254"/>
                </a:lnTo>
                <a:lnTo>
                  <a:pt x="452" y="256"/>
                </a:lnTo>
                <a:lnTo>
                  <a:pt x="450" y="248"/>
                </a:lnTo>
                <a:lnTo>
                  <a:pt x="438" y="246"/>
                </a:lnTo>
                <a:lnTo>
                  <a:pt x="430" y="250"/>
                </a:lnTo>
                <a:lnTo>
                  <a:pt x="428" y="256"/>
                </a:lnTo>
                <a:lnTo>
                  <a:pt x="410" y="258"/>
                </a:lnTo>
                <a:lnTo>
                  <a:pt x="406" y="254"/>
                </a:lnTo>
                <a:lnTo>
                  <a:pt x="394" y="254"/>
                </a:lnTo>
                <a:lnTo>
                  <a:pt x="384" y="266"/>
                </a:lnTo>
                <a:lnTo>
                  <a:pt x="376" y="270"/>
                </a:lnTo>
                <a:lnTo>
                  <a:pt x="352" y="288"/>
                </a:lnTo>
                <a:lnTo>
                  <a:pt x="350" y="298"/>
                </a:lnTo>
                <a:lnTo>
                  <a:pt x="342" y="298"/>
                </a:lnTo>
                <a:lnTo>
                  <a:pt x="342" y="288"/>
                </a:lnTo>
                <a:lnTo>
                  <a:pt x="338" y="286"/>
                </a:lnTo>
                <a:lnTo>
                  <a:pt x="320" y="288"/>
                </a:lnTo>
                <a:lnTo>
                  <a:pt x="318" y="272"/>
                </a:lnTo>
                <a:lnTo>
                  <a:pt x="308" y="264"/>
                </a:lnTo>
                <a:lnTo>
                  <a:pt x="308" y="256"/>
                </a:lnTo>
                <a:lnTo>
                  <a:pt x="290" y="238"/>
                </a:lnTo>
                <a:lnTo>
                  <a:pt x="282" y="240"/>
                </a:lnTo>
                <a:lnTo>
                  <a:pt x="244" y="242"/>
                </a:lnTo>
                <a:lnTo>
                  <a:pt x="230" y="224"/>
                </a:lnTo>
                <a:lnTo>
                  <a:pt x="204" y="210"/>
                </a:lnTo>
                <a:lnTo>
                  <a:pt x="196" y="204"/>
                </a:lnTo>
                <a:lnTo>
                  <a:pt x="168" y="208"/>
                </a:lnTo>
                <a:lnTo>
                  <a:pt x="150" y="212"/>
                </a:lnTo>
                <a:lnTo>
                  <a:pt x="150" y="286"/>
                </a:lnTo>
                <a:lnTo>
                  <a:pt x="140" y="284"/>
                </a:lnTo>
                <a:lnTo>
                  <a:pt x="132" y="270"/>
                </a:lnTo>
                <a:lnTo>
                  <a:pt x="120" y="262"/>
                </a:lnTo>
                <a:lnTo>
                  <a:pt x="114" y="264"/>
                </a:lnTo>
                <a:lnTo>
                  <a:pt x="108" y="26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0" name="Freeform 102">
            <a:extLst>
              <a:ext uri="{FF2B5EF4-FFF2-40B4-BE49-F238E27FC236}">
                <a16:creationId xmlns:a16="http://schemas.microsoft.com/office/drawing/2014/main" id="{990B8087-EA27-4506-80D5-B9E62C362DC5}"/>
              </a:ext>
            </a:extLst>
          </p:cNvPr>
          <p:cNvSpPr>
            <a:spLocks/>
          </p:cNvSpPr>
          <p:nvPr/>
        </p:nvSpPr>
        <p:spPr bwMode="gray">
          <a:xfrm>
            <a:off x="6622205" y="1720209"/>
            <a:ext cx="5086986" cy="1764120"/>
          </a:xfrm>
          <a:custGeom>
            <a:avLst/>
            <a:gdLst>
              <a:gd name="T0" fmla="*/ 336 w 2580"/>
              <a:gd name="T1" fmla="*/ 878 h 890"/>
              <a:gd name="T2" fmla="*/ 254 w 2580"/>
              <a:gd name="T3" fmla="*/ 858 h 890"/>
              <a:gd name="T4" fmla="*/ 174 w 2580"/>
              <a:gd name="T5" fmla="*/ 796 h 890"/>
              <a:gd name="T6" fmla="*/ 164 w 2580"/>
              <a:gd name="T7" fmla="*/ 716 h 890"/>
              <a:gd name="T8" fmla="*/ 72 w 2580"/>
              <a:gd name="T9" fmla="*/ 674 h 890"/>
              <a:gd name="T10" fmla="*/ 14 w 2580"/>
              <a:gd name="T11" fmla="*/ 584 h 890"/>
              <a:gd name="T12" fmla="*/ 22 w 2580"/>
              <a:gd name="T13" fmla="*/ 486 h 890"/>
              <a:gd name="T14" fmla="*/ 34 w 2580"/>
              <a:gd name="T15" fmla="*/ 336 h 890"/>
              <a:gd name="T16" fmla="*/ 80 w 2580"/>
              <a:gd name="T17" fmla="*/ 244 h 890"/>
              <a:gd name="T18" fmla="*/ 172 w 2580"/>
              <a:gd name="T19" fmla="*/ 348 h 890"/>
              <a:gd name="T20" fmla="*/ 122 w 2580"/>
              <a:gd name="T21" fmla="*/ 386 h 890"/>
              <a:gd name="T22" fmla="*/ 180 w 2580"/>
              <a:gd name="T23" fmla="*/ 380 h 890"/>
              <a:gd name="T24" fmla="*/ 262 w 2580"/>
              <a:gd name="T25" fmla="*/ 310 h 890"/>
              <a:gd name="T26" fmla="*/ 318 w 2580"/>
              <a:gd name="T27" fmla="*/ 326 h 890"/>
              <a:gd name="T28" fmla="*/ 476 w 2580"/>
              <a:gd name="T29" fmla="*/ 278 h 890"/>
              <a:gd name="T30" fmla="*/ 498 w 2580"/>
              <a:gd name="T31" fmla="*/ 226 h 890"/>
              <a:gd name="T32" fmla="*/ 626 w 2580"/>
              <a:gd name="T33" fmla="*/ 246 h 890"/>
              <a:gd name="T34" fmla="*/ 716 w 2580"/>
              <a:gd name="T35" fmla="*/ 182 h 890"/>
              <a:gd name="T36" fmla="*/ 666 w 2580"/>
              <a:gd name="T37" fmla="*/ 324 h 890"/>
              <a:gd name="T38" fmla="*/ 778 w 2580"/>
              <a:gd name="T39" fmla="*/ 270 h 890"/>
              <a:gd name="T40" fmla="*/ 734 w 2580"/>
              <a:gd name="T41" fmla="*/ 204 h 890"/>
              <a:gd name="T42" fmla="*/ 780 w 2580"/>
              <a:gd name="T43" fmla="*/ 204 h 890"/>
              <a:gd name="T44" fmla="*/ 798 w 2580"/>
              <a:gd name="T45" fmla="*/ 162 h 890"/>
              <a:gd name="T46" fmla="*/ 946 w 2580"/>
              <a:gd name="T47" fmla="*/ 120 h 890"/>
              <a:gd name="T48" fmla="*/ 1230 w 2580"/>
              <a:gd name="T49" fmla="*/ 2 h 890"/>
              <a:gd name="T50" fmla="*/ 1326 w 2580"/>
              <a:gd name="T51" fmla="*/ 102 h 890"/>
              <a:gd name="T52" fmla="*/ 1336 w 2580"/>
              <a:gd name="T53" fmla="*/ 122 h 890"/>
              <a:gd name="T54" fmla="*/ 1564 w 2580"/>
              <a:gd name="T55" fmla="*/ 138 h 890"/>
              <a:gd name="T56" fmla="*/ 1720 w 2580"/>
              <a:gd name="T57" fmla="*/ 190 h 890"/>
              <a:gd name="T58" fmla="*/ 1926 w 2580"/>
              <a:gd name="T59" fmla="*/ 172 h 890"/>
              <a:gd name="T60" fmla="*/ 2108 w 2580"/>
              <a:gd name="T61" fmla="*/ 246 h 890"/>
              <a:gd name="T62" fmla="*/ 2274 w 2580"/>
              <a:gd name="T63" fmla="*/ 272 h 890"/>
              <a:gd name="T64" fmla="*/ 2442 w 2580"/>
              <a:gd name="T65" fmla="*/ 276 h 890"/>
              <a:gd name="T66" fmla="*/ 2568 w 2580"/>
              <a:gd name="T67" fmla="*/ 332 h 890"/>
              <a:gd name="T68" fmla="*/ 2446 w 2580"/>
              <a:gd name="T69" fmla="*/ 360 h 890"/>
              <a:gd name="T70" fmla="*/ 2368 w 2580"/>
              <a:gd name="T71" fmla="*/ 380 h 890"/>
              <a:gd name="T72" fmla="*/ 2306 w 2580"/>
              <a:gd name="T73" fmla="*/ 464 h 890"/>
              <a:gd name="T74" fmla="*/ 2136 w 2580"/>
              <a:gd name="T75" fmla="*/ 534 h 890"/>
              <a:gd name="T76" fmla="*/ 2104 w 2580"/>
              <a:gd name="T77" fmla="*/ 634 h 890"/>
              <a:gd name="T78" fmla="*/ 2034 w 2580"/>
              <a:gd name="T79" fmla="*/ 582 h 890"/>
              <a:gd name="T80" fmla="*/ 2166 w 2580"/>
              <a:gd name="T81" fmla="*/ 430 h 890"/>
              <a:gd name="T82" fmla="*/ 2058 w 2580"/>
              <a:gd name="T83" fmla="*/ 456 h 890"/>
              <a:gd name="T84" fmla="*/ 1966 w 2580"/>
              <a:gd name="T85" fmla="*/ 504 h 890"/>
              <a:gd name="T86" fmla="*/ 1734 w 2580"/>
              <a:gd name="T87" fmla="*/ 620 h 890"/>
              <a:gd name="T88" fmla="*/ 1794 w 2580"/>
              <a:gd name="T89" fmla="*/ 728 h 890"/>
              <a:gd name="T90" fmla="*/ 1660 w 2580"/>
              <a:gd name="T91" fmla="*/ 810 h 890"/>
              <a:gd name="T92" fmla="*/ 1666 w 2580"/>
              <a:gd name="T93" fmla="*/ 764 h 890"/>
              <a:gd name="T94" fmla="*/ 1472 w 2580"/>
              <a:gd name="T95" fmla="*/ 652 h 890"/>
              <a:gd name="T96" fmla="*/ 1418 w 2580"/>
              <a:gd name="T97" fmla="*/ 718 h 890"/>
              <a:gd name="T98" fmla="*/ 1276 w 2580"/>
              <a:gd name="T99" fmla="*/ 718 h 890"/>
              <a:gd name="T100" fmla="*/ 1132 w 2580"/>
              <a:gd name="T101" fmla="*/ 674 h 890"/>
              <a:gd name="T102" fmla="*/ 1024 w 2580"/>
              <a:gd name="T103" fmla="*/ 700 h 890"/>
              <a:gd name="T104" fmla="*/ 894 w 2580"/>
              <a:gd name="T105" fmla="*/ 696 h 890"/>
              <a:gd name="T106" fmla="*/ 760 w 2580"/>
              <a:gd name="T107" fmla="*/ 632 h 890"/>
              <a:gd name="T108" fmla="*/ 536 w 2580"/>
              <a:gd name="T109" fmla="*/ 634 h 890"/>
              <a:gd name="T110" fmla="*/ 530 w 2580"/>
              <a:gd name="T111" fmla="*/ 702 h 890"/>
              <a:gd name="T112" fmla="*/ 340 w 2580"/>
              <a:gd name="T113" fmla="*/ 706 h 890"/>
              <a:gd name="T114" fmla="*/ 344 w 2580"/>
              <a:gd name="T115" fmla="*/ 792 h 89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63 w 10000"/>
              <a:gd name="connsiteY68" fmla="*/ 4292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290 w 10000"/>
              <a:gd name="connsiteY68" fmla="*/ 4195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45 w 10000"/>
              <a:gd name="connsiteY68" fmla="*/ 4313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Lst>
            <a:rect l="l" t="t" r="r" b="b"/>
            <a:pathLst>
              <a:path w="10000" h="10000">
                <a:moveTo>
                  <a:pt x="1333" y="8899"/>
                </a:moveTo>
                <a:cubicBezTo>
                  <a:pt x="1312" y="8944"/>
                  <a:pt x="1292" y="8989"/>
                  <a:pt x="1271" y="9034"/>
                </a:cubicBezTo>
                <a:cubicBezTo>
                  <a:pt x="1258" y="9056"/>
                  <a:pt x="1246" y="9079"/>
                  <a:pt x="1233" y="9101"/>
                </a:cubicBezTo>
                <a:cubicBezTo>
                  <a:pt x="1228" y="9131"/>
                  <a:pt x="1222" y="9161"/>
                  <a:pt x="1217" y="9191"/>
                </a:cubicBezTo>
                <a:cubicBezTo>
                  <a:pt x="1207" y="9228"/>
                  <a:pt x="1196" y="9266"/>
                  <a:pt x="1186" y="9303"/>
                </a:cubicBezTo>
                <a:cubicBezTo>
                  <a:pt x="1196" y="9326"/>
                  <a:pt x="1207" y="9348"/>
                  <a:pt x="1217" y="9371"/>
                </a:cubicBezTo>
                <a:cubicBezTo>
                  <a:pt x="1225" y="9408"/>
                  <a:pt x="1232" y="9446"/>
                  <a:pt x="1240" y="9483"/>
                </a:cubicBezTo>
                <a:cubicBezTo>
                  <a:pt x="1243" y="9550"/>
                  <a:pt x="1245" y="9618"/>
                  <a:pt x="1248" y="9685"/>
                </a:cubicBezTo>
                <a:lnTo>
                  <a:pt x="1302" y="9865"/>
                </a:lnTo>
                <a:cubicBezTo>
                  <a:pt x="1289" y="9903"/>
                  <a:pt x="1277" y="9940"/>
                  <a:pt x="1264" y="9978"/>
                </a:cubicBezTo>
                <a:cubicBezTo>
                  <a:pt x="1259" y="9985"/>
                  <a:pt x="1253" y="9993"/>
                  <a:pt x="1248" y="10000"/>
                </a:cubicBezTo>
                <a:cubicBezTo>
                  <a:pt x="1227" y="9955"/>
                  <a:pt x="1207" y="9910"/>
                  <a:pt x="1186" y="9865"/>
                </a:cubicBezTo>
                <a:cubicBezTo>
                  <a:pt x="1178" y="9858"/>
                  <a:pt x="1171" y="9850"/>
                  <a:pt x="1163" y="9843"/>
                </a:cubicBezTo>
                <a:cubicBezTo>
                  <a:pt x="1150" y="9805"/>
                  <a:pt x="1137" y="9768"/>
                  <a:pt x="1124" y="9730"/>
                </a:cubicBezTo>
                <a:cubicBezTo>
                  <a:pt x="1111" y="9708"/>
                  <a:pt x="1098" y="9685"/>
                  <a:pt x="1085" y="9663"/>
                </a:cubicBezTo>
                <a:cubicBezTo>
                  <a:pt x="1072" y="9670"/>
                  <a:pt x="1060" y="9678"/>
                  <a:pt x="1047" y="9685"/>
                </a:cubicBezTo>
                <a:lnTo>
                  <a:pt x="1023" y="9685"/>
                </a:lnTo>
                <a:lnTo>
                  <a:pt x="984" y="9640"/>
                </a:lnTo>
                <a:cubicBezTo>
                  <a:pt x="966" y="9610"/>
                  <a:pt x="948" y="9581"/>
                  <a:pt x="930" y="9551"/>
                </a:cubicBezTo>
                <a:lnTo>
                  <a:pt x="899" y="9551"/>
                </a:lnTo>
                <a:cubicBezTo>
                  <a:pt x="886" y="9558"/>
                  <a:pt x="873" y="9566"/>
                  <a:pt x="860" y="9573"/>
                </a:cubicBezTo>
                <a:cubicBezTo>
                  <a:pt x="845" y="9543"/>
                  <a:pt x="829" y="9513"/>
                  <a:pt x="814" y="9483"/>
                </a:cubicBezTo>
                <a:cubicBezTo>
                  <a:pt x="798" y="9491"/>
                  <a:pt x="783" y="9498"/>
                  <a:pt x="767" y="9506"/>
                </a:cubicBezTo>
                <a:cubicBezTo>
                  <a:pt x="734" y="9438"/>
                  <a:pt x="700" y="9371"/>
                  <a:pt x="667" y="9303"/>
                </a:cubicBezTo>
                <a:lnTo>
                  <a:pt x="612" y="9236"/>
                </a:lnTo>
                <a:cubicBezTo>
                  <a:pt x="617" y="9184"/>
                  <a:pt x="623" y="9131"/>
                  <a:pt x="628" y="9079"/>
                </a:cubicBezTo>
                <a:cubicBezTo>
                  <a:pt x="643" y="9034"/>
                  <a:pt x="659" y="8989"/>
                  <a:pt x="674" y="8944"/>
                </a:cubicBezTo>
                <a:cubicBezTo>
                  <a:pt x="672" y="8906"/>
                  <a:pt x="669" y="8869"/>
                  <a:pt x="667" y="8831"/>
                </a:cubicBezTo>
                <a:cubicBezTo>
                  <a:pt x="688" y="8794"/>
                  <a:pt x="708" y="8756"/>
                  <a:pt x="729" y="8719"/>
                </a:cubicBezTo>
                <a:lnTo>
                  <a:pt x="659" y="8697"/>
                </a:lnTo>
                <a:cubicBezTo>
                  <a:pt x="662" y="8667"/>
                  <a:pt x="664" y="8637"/>
                  <a:pt x="667" y="8607"/>
                </a:cubicBezTo>
                <a:cubicBezTo>
                  <a:pt x="680" y="8592"/>
                  <a:pt x="692" y="8577"/>
                  <a:pt x="705" y="8562"/>
                </a:cubicBezTo>
                <a:cubicBezTo>
                  <a:pt x="726" y="8547"/>
                  <a:pt x="746" y="8532"/>
                  <a:pt x="767" y="8517"/>
                </a:cubicBezTo>
                <a:cubicBezTo>
                  <a:pt x="770" y="8397"/>
                  <a:pt x="772" y="8277"/>
                  <a:pt x="775" y="8157"/>
                </a:cubicBezTo>
                <a:cubicBezTo>
                  <a:pt x="754" y="8120"/>
                  <a:pt x="734" y="8082"/>
                  <a:pt x="713" y="8045"/>
                </a:cubicBezTo>
                <a:lnTo>
                  <a:pt x="636" y="8045"/>
                </a:lnTo>
                <a:cubicBezTo>
                  <a:pt x="633" y="8023"/>
                  <a:pt x="631" y="8000"/>
                  <a:pt x="628" y="7978"/>
                </a:cubicBezTo>
                <a:lnTo>
                  <a:pt x="504" y="7955"/>
                </a:lnTo>
                <a:cubicBezTo>
                  <a:pt x="499" y="7903"/>
                  <a:pt x="493" y="7850"/>
                  <a:pt x="488" y="7798"/>
                </a:cubicBezTo>
                <a:lnTo>
                  <a:pt x="419" y="7753"/>
                </a:lnTo>
                <a:cubicBezTo>
                  <a:pt x="421" y="7708"/>
                  <a:pt x="424" y="7663"/>
                  <a:pt x="426" y="7618"/>
                </a:cubicBezTo>
                <a:cubicBezTo>
                  <a:pt x="421" y="7581"/>
                  <a:pt x="416" y="7543"/>
                  <a:pt x="411" y="7506"/>
                </a:cubicBezTo>
                <a:lnTo>
                  <a:pt x="318" y="7506"/>
                </a:lnTo>
                <a:cubicBezTo>
                  <a:pt x="313" y="7521"/>
                  <a:pt x="307" y="7536"/>
                  <a:pt x="302" y="7551"/>
                </a:cubicBezTo>
                <a:cubicBezTo>
                  <a:pt x="294" y="7558"/>
                  <a:pt x="287" y="7566"/>
                  <a:pt x="279" y="7573"/>
                </a:cubicBezTo>
                <a:cubicBezTo>
                  <a:pt x="269" y="7558"/>
                  <a:pt x="258" y="7543"/>
                  <a:pt x="248" y="7528"/>
                </a:cubicBezTo>
                <a:lnTo>
                  <a:pt x="248" y="7303"/>
                </a:lnTo>
                <a:lnTo>
                  <a:pt x="318" y="7303"/>
                </a:lnTo>
                <a:cubicBezTo>
                  <a:pt x="321" y="7296"/>
                  <a:pt x="323" y="7288"/>
                  <a:pt x="326" y="7281"/>
                </a:cubicBezTo>
                <a:cubicBezTo>
                  <a:pt x="290" y="7169"/>
                  <a:pt x="253" y="7056"/>
                  <a:pt x="217" y="6944"/>
                </a:cubicBezTo>
                <a:cubicBezTo>
                  <a:pt x="212" y="6862"/>
                  <a:pt x="207" y="6779"/>
                  <a:pt x="202" y="6697"/>
                </a:cubicBezTo>
                <a:cubicBezTo>
                  <a:pt x="176" y="6689"/>
                  <a:pt x="150" y="6682"/>
                  <a:pt x="124" y="6674"/>
                </a:cubicBezTo>
                <a:lnTo>
                  <a:pt x="124" y="6607"/>
                </a:lnTo>
                <a:lnTo>
                  <a:pt x="54" y="6562"/>
                </a:lnTo>
                <a:cubicBezTo>
                  <a:pt x="49" y="6539"/>
                  <a:pt x="44" y="6517"/>
                  <a:pt x="39" y="6494"/>
                </a:cubicBezTo>
                <a:cubicBezTo>
                  <a:pt x="34" y="6434"/>
                  <a:pt x="28" y="6375"/>
                  <a:pt x="23" y="6315"/>
                </a:cubicBezTo>
                <a:cubicBezTo>
                  <a:pt x="15" y="6270"/>
                  <a:pt x="8" y="6225"/>
                  <a:pt x="0" y="6180"/>
                </a:cubicBezTo>
                <a:cubicBezTo>
                  <a:pt x="3" y="6135"/>
                  <a:pt x="5" y="6090"/>
                  <a:pt x="8" y="6045"/>
                </a:cubicBezTo>
                <a:lnTo>
                  <a:pt x="8" y="5865"/>
                </a:lnTo>
                <a:cubicBezTo>
                  <a:pt x="16" y="5820"/>
                  <a:pt x="23" y="5775"/>
                  <a:pt x="31" y="5730"/>
                </a:cubicBezTo>
                <a:cubicBezTo>
                  <a:pt x="54" y="5678"/>
                  <a:pt x="78" y="5625"/>
                  <a:pt x="101" y="5573"/>
                </a:cubicBezTo>
                <a:cubicBezTo>
                  <a:pt x="119" y="5566"/>
                  <a:pt x="137" y="5558"/>
                  <a:pt x="155" y="5551"/>
                </a:cubicBezTo>
                <a:cubicBezTo>
                  <a:pt x="132" y="5521"/>
                  <a:pt x="108" y="5491"/>
                  <a:pt x="85" y="5461"/>
                </a:cubicBezTo>
                <a:cubicBezTo>
                  <a:pt x="72" y="5416"/>
                  <a:pt x="60" y="5371"/>
                  <a:pt x="47" y="5326"/>
                </a:cubicBezTo>
                <a:cubicBezTo>
                  <a:pt x="91" y="5209"/>
                  <a:pt x="136" y="5092"/>
                  <a:pt x="180" y="4975"/>
                </a:cubicBezTo>
                <a:cubicBezTo>
                  <a:pt x="203" y="4905"/>
                  <a:pt x="225" y="4834"/>
                  <a:pt x="248" y="4764"/>
                </a:cubicBezTo>
                <a:cubicBezTo>
                  <a:pt x="217" y="4697"/>
                  <a:pt x="186" y="4629"/>
                  <a:pt x="155" y="4562"/>
                </a:cubicBezTo>
                <a:cubicBezTo>
                  <a:pt x="168" y="4524"/>
                  <a:pt x="181" y="4487"/>
                  <a:pt x="194" y="4449"/>
                </a:cubicBezTo>
                <a:cubicBezTo>
                  <a:pt x="184" y="4397"/>
                  <a:pt x="155" y="4365"/>
                  <a:pt x="145" y="4313"/>
                </a:cubicBezTo>
                <a:cubicBezTo>
                  <a:pt x="132" y="4276"/>
                  <a:pt x="137" y="4217"/>
                  <a:pt x="124" y="4180"/>
                </a:cubicBezTo>
                <a:cubicBezTo>
                  <a:pt x="134" y="4105"/>
                  <a:pt x="145" y="4030"/>
                  <a:pt x="155" y="3955"/>
                </a:cubicBezTo>
                <a:cubicBezTo>
                  <a:pt x="147" y="3895"/>
                  <a:pt x="140" y="3835"/>
                  <a:pt x="132" y="3775"/>
                </a:cubicBezTo>
                <a:cubicBezTo>
                  <a:pt x="119" y="3708"/>
                  <a:pt x="106" y="3640"/>
                  <a:pt x="93" y="3573"/>
                </a:cubicBezTo>
                <a:cubicBezTo>
                  <a:pt x="114" y="3513"/>
                  <a:pt x="134" y="3453"/>
                  <a:pt x="155" y="3393"/>
                </a:cubicBezTo>
                <a:cubicBezTo>
                  <a:pt x="124" y="3341"/>
                  <a:pt x="93" y="3288"/>
                  <a:pt x="62" y="3236"/>
                </a:cubicBezTo>
                <a:cubicBezTo>
                  <a:pt x="67" y="3154"/>
                  <a:pt x="73" y="3071"/>
                  <a:pt x="78" y="2989"/>
                </a:cubicBezTo>
                <a:cubicBezTo>
                  <a:pt x="91" y="2951"/>
                  <a:pt x="103" y="2914"/>
                  <a:pt x="116" y="2876"/>
                </a:cubicBezTo>
                <a:cubicBezTo>
                  <a:pt x="129" y="2869"/>
                  <a:pt x="142" y="2861"/>
                  <a:pt x="155" y="2854"/>
                </a:cubicBezTo>
                <a:lnTo>
                  <a:pt x="155" y="2787"/>
                </a:lnTo>
                <a:lnTo>
                  <a:pt x="240" y="2742"/>
                </a:lnTo>
                <a:lnTo>
                  <a:pt x="310" y="2742"/>
                </a:lnTo>
                <a:cubicBezTo>
                  <a:pt x="318" y="2779"/>
                  <a:pt x="325" y="2817"/>
                  <a:pt x="333" y="2854"/>
                </a:cubicBezTo>
                <a:lnTo>
                  <a:pt x="372" y="2899"/>
                </a:lnTo>
                <a:lnTo>
                  <a:pt x="519" y="2921"/>
                </a:lnTo>
                <a:cubicBezTo>
                  <a:pt x="555" y="2974"/>
                  <a:pt x="592" y="3026"/>
                  <a:pt x="628" y="3079"/>
                </a:cubicBezTo>
                <a:lnTo>
                  <a:pt x="729" y="3258"/>
                </a:lnTo>
                <a:cubicBezTo>
                  <a:pt x="768" y="3318"/>
                  <a:pt x="806" y="3378"/>
                  <a:pt x="845" y="3438"/>
                </a:cubicBezTo>
                <a:cubicBezTo>
                  <a:pt x="848" y="3505"/>
                  <a:pt x="850" y="3573"/>
                  <a:pt x="853" y="3640"/>
                </a:cubicBezTo>
                <a:cubicBezTo>
                  <a:pt x="830" y="3700"/>
                  <a:pt x="806" y="3760"/>
                  <a:pt x="783" y="3820"/>
                </a:cubicBezTo>
                <a:lnTo>
                  <a:pt x="667" y="3910"/>
                </a:lnTo>
                <a:cubicBezTo>
                  <a:pt x="633" y="3873"/>
                  <a:pt x="600" y="3835"/>
                  <a:pt x="566" y="3798"/>
                </a:cubicBezTo>
                <a:lnTo>
                  <a:pt x="450" y="3730"/>
                </a:lnTo>
                <a:cubicBezTo>
                  <a:pt x="421" y="3700"/>
                  <a:pt x="393" y="3670"/>
                  <a:pt x="364" y="3640"/>
                </a:cubicBezTo>
                <a:cubicBezTo>
                  <a:pt x="341" y="3610"/>
                  <a:pt x="318" y="3581"/>
                  <a:pt x="295" y="3551"/>
                </a:cubicBezTo>
                <a:cubicBezTo>
                  <a:pt x="313" y="3618"/>
                  <a:pt x="331" y="3686"/>
                  <a:pt x="349" y="3753"/>
                </a:cubicBezTo>
                <a:cubicBezTo>
                  <a:pt x="370" y="3783"/>
                  <a:pt x="390" y="3813"/>
                  <a:pt x="411" y="3843"/>
                </a:cubicBezTo>
                <a:cubicBezTo>
                  <a:pt x="421" y="3865"/>
                  <a:pt x="432" y="3888"/>
                  <a:pt x="442" y="3910"/>
                </a:cubicBezTo>
                <a:cubicBezTo>
                  <a:pt x="445" y="3955"/>
                  <a:pt x="447" y="4000"/>
                  <a:pt x="450" y="4045"/>
                </a:cubicBezTo>
                <a:cubicBezTo>
                  <a:pt x="458" y="4142"/>
                  <a:pt x="465" y="4240"/>
                  <a:pt x="473" y="4337"/>
                </a:cubicBezTo>
                <a:cubicBezTo>
                  <a:pt x="486" y="4345"/>
                  <a:pt x="499" y="4352"/>
                  <a:pt x="512" y="4360"/>
                </a:cubicBezTo>
                <a:cubicBezTo>
                  <a:pt x="533" y="4412"/>
                  <a:pt x="553" y="4465"/>
                  <a:pt x="574" y="4517"/>
                </a:cubicBezTo>
                <a:lnTo>
                  <a:pt x="651" y="4517"/>
                </a:lnTo>
                <a:cubicBezTo>
                  <a:pt x="654" y="4479"/>
                  <a:pt x="656" y="4442"/>
                  <a:pt x="659" y="4404"/>
                </a:cubicBezTo>
                <a:lnTo>
                  <a:pt x="612" y="4360"/>
                </a:lnTo>
                <a:cubicBezTo>
                  <a:pt x="599" y="4315"/>
                  <a:pt x="587" y="4270"/>
                  <a:pt x="574" y="4225"/>
                </a:cubicBezTo>
                <a:cubicBezTo>
                  <a:pt x="584" y="4187"/>
                  <a:pt x="595" y="4150"/>
                  <a:pt x="605" y="4112"/>
                </a:cubicBezTo>
                <a:cubicBezTo>
                  <a:pt x="620" y="4150"/>
                  <a:pt x="636" y="4187"/>
                  <a:pt x="651" y="4225"/>
                </a:cubicBezTo>
                <a:cubicBezTo>
                  <a:pt x="667" y="4240"/>
                  <a:pt x="682" y="4255"/>
                  <a:pt x="698" y="4270"/>
                </a:cubicBezTo>
                <a:lnTo>
                  <a:pt x="798" y="4337"/>
                </a:lnTo>
                <a:lnTo>
                  <a:pt x="798" y="4225"/>
                </a:lnTo>
                <a:cubicBezTo>
                  <a:pt x="785" y="4180"/>
                  <a:pt x="773" y="4135"/>
                  <a:pt x="760" y="4090"/>
                </a:cubicBezTo>
                <a:cubicBezTo>
                  <a:pt x="775" y="4045"/>
                  <a:pt x="791" y="4000"/>
                  <a:pt x="806" y="3955"/>
                </a:cubicBezTo>
                <a:lnTo>
                  <a:pt x="876" y="3843"/>
                </a:lnTo>
                <a:lnTo>
                  <a:pt x="915" y="3753"/>
                </a:lnTo>
                <a:lnTo>
                  <a:pt x="1023" y="3843"/>
                </a:lnTo>
                <a:lnTo>
                  <a:pt x="1047" y="3573"/>
                </a:lnTo>
                <a:cubicBezTo>
                  <a:pt x="1037" y="3543"/>
                  <a:pt x="1026" y="3513"/>
                  <a:pt x="1016" y="3483"/>
                </a:cubicBezTo>
                <a:cubicBezTo>
                  <a:pt x="1021" y="3401"/>
                  <a:pt x="1026" y="3318"/>
                  <a:pt x="1031" y="3236"/>
                </a:cubicBezTo>
                <a:cubicBezTo>
                  <a:pt x="1021" y="3206"/>
                  <a:pt x="1010" y="3176"/>
                  <a:pt x="1000" y="3146"/>
                </a:cubicBezTo>
                <a:lnTo>
                  <a:pt x="1132" y="3124"/>
                </a:lnTo>
                <a:cubicBezTo>
                  <a:pt x="1147" y="3176"/>
                  <a:pt x="1163" y="3229"/>
                  <a:pt x="1178" y="3281"/>
                </a:cubicBezTo>
                <a:lnTo>
                  <a:pt x="1178" y="3371"/>
                </a:lnTo>
                <a:lnTo>
                  <a:pt x="1116" y="3371"/>
                </a:lnTo>
                <a:cubicBezTo>
                  <a:pt x="1103" y="3408"/>
                  <a:pt x="1091" y="3446"/>
                  <a:pt x="1078" y="3483"/>
                </a:cubicBezTo>
                <a:cubicBezTo>
                  <a:pt x="1099" y="3535"/>
                  <a:pt x="1119" y="3588"/>
                  <a:pt x="1140" y="3640"/>
                </a:cubicBezTo>
                <a:cubicBezTo>
                  <a:pt x="1171" y="3648"/>
                  <a:pt x="1202" y="3655"/>
                  <a:pt x="1233" y="3663"/>
                </a:cubicBezTo>
                <a:cubicBezTo>
                  <a:pt x="1246" y="3573"/>
                  <a:pt x="1258" y="3483"/>
                  <a:pt x="1271" y="3393"/>
                </a:cubicBezTo>
                <a:lnTo>
                  <a:pt x="1496" y="3146"/>
                </a:lnTo>
                <a:cubicBezTo>
                  <a:pt x="1509" y="3154"/>
                  <a:pt x="1522" y="3161"/>
                  <a:pt x="1535" y="3169"/>
                </a:cubicBezTo>
                <a:cubicBezTo>
                  <a:pt x="1550" y="3124"/>
                  <a:pt x="1566" y="3079"/>
                  <a:pt x="1581" y="3034"/>
                </a:cubicBezTo>
                <a:cubicBezTo>
                  <a:pt x="1597" y="3019"/>
                  <a:pt x="1612" y="3004"/>
                  <a:pt x="1628" y="2989"/>
                </a:cubicBezTo>
                <a:cubicBezTo>
                  <a:pt x="1623" y="3056"/>
                  <a:pt x="1617" y="3124"/>
                  <a:pt x="1612" y="3191"/>
                </a:cubicBezTo>
                <a:lnTo>
                  <a:pt x="1690" y="3191"/>
                </a:lnTo>
                <a:lnTo>
                  <a:pt x="1705" y="3101"/>
                </a:lnTo>
                <a:lnTo>
                  <a:pt x="1845" y="3124"/>
                </a:lnTo>
                <a:cubicBezTo>
                  <a:pt x="1876" y="3071"/>
                  <a:pt x="1907" y="3019"/>
                  <a:pt x="1938" y="2966"/>
                </a:cubicBezTo>
                <a:cubicBezTo>
                  <a:pt x="1943" y="3004"/>
                  <a:pt x="1948" y="3041"/>
                  <a:pt x="1953" y="3079"/>
                </a:cubicBezTo>
                <a:cubicBezTo>
                  <a:pt x="1951" y="3109"/>
                  <a:pt x="1948" y="3139"/>
                  <a:pt x="1946" y="3169"/>
                </a:cubicBezTo>
                <a:lnTo>
                  <a:pt x="1984" y="3169"/>
                </a:lnTo>
                <a:cubicBezTo>
                  <a:pt x="1989" y="3139"/>
                  <a:pt x="1995" y="3109"/>
                  <a:pt x="2000" y="3079"/>
                </a:cubicBezTo>
                <a:cubicBezTo>
                  <a:pt x="2021" y="3041"/>
                  <a:pt x="2041" y="3004"/>
                  <a:pt x="2062" y="2966"/>
                </a:cubicBezTo>
                <a:cubicBezTo>
                  <a:pt x="2047" y="2906"/>
                  <a:pt x="2031" y="2847"/>
                  <a:pt x="2016" y="2787"/>
                </a:cubicBezTo>
                <a:cubicBezTo>
                  <a:pt x="1987" y="2757"/>
                  <a:pt x="1959" y="2727"/>
                  <a:pt x="1930" y="2697"/>
                </a:cubicBezTo>
                <a:lnTo>
                  <a:pt x="1930" y="2539"/>
                </a:lnTo>
                <a:lnTo>
                  <a:pt x="1961" y="2517"/>
                </a:lnTo>
                <a:cubicBezTo>
                  <a:pt x="1987" y="2584"/>
                  <a:pt x="2013" y="2652"/>
                  <a:pt x="2039" y="2719"/>
                </a:cubicBezTo>
                <a:lnTo>
                  <a:pt x="2163" y="2742"/>
                </a:lnTo>
                <a:lnTo>
                  <a:pt x="2295" y="2876"/>
                </a:lnTo>
                <a:lnTo>
                  <a:pt x="2403" y="3011"/>
                </a:lnTo>
                <a:cubicBezTo>
                  <a:pt x="2442" y="3071"/>
                  <a:pt x="2480" y="3131"/>
                  <a:pt x="2519" y="3191"/>
                </a:cubicBezTo>
                <a:cubicBezTo>
                  <a:pt x="2529" y="3139"/>
                  <a:pt x="2540" y="3086"/>
                  <a:pt x="2550" y="3034"/>
                </a:cubicBezTo>
                <a:cubicBezTo>
                  <a:pt x="2532" y="2981"/>
                  <a:pt x="2514" y="2929"/>
                  <a:pt x="2496" y="2876"/>
                </a:cubicBezTo>
                <a:lnTo>
                  <a:pt x="2426" y="2764"/>
                </a:lnTo>
                <a:lnTo>
                  <a:pt x="2426" y="2652"/>
                </a:lnTo>
                <a:cubicBezTo>
                  <a:pt x="2436" y="2577"/>
                  <a:pt x="2447" y="2502"/>
                  <a:pt x="2457" y="2427"/>
                </a:cubicBezTo>
                <a:cubicBezTo>
                  <a:pt x="2444" y="2405"/>
                  <a:pt x="2432" y="2382"/>
                  <a:pt x="2419" y="2360"/>
                </a:cubicBezTo>
                <a:cubicBezTo>
                  <a:pt x="2421" y="2337"/>
                  <a:pt x="2424" y="2315"/>
                  <a:pt x="2426" y="2292"/>
                </a:cubicBezTo>
                <a:cubicBezTo>
                  <a:pt x="2457" y="2225"/>
                  <a:pt x="2488" y="2157"/>
                  <a:pt x="2519" y="2090"/>
                </a:cubicBezTo>
                <a:cubicBezTo>
                  <a:pt x="2540" y="1970"/>
                  <a:pt x="2560" y="1850"/>
                  <a:pt x="2581" y="1730"/>
                </a:cubicBezTo>
                <a:lnTo>
                  <a:pt x="2775" y="1775"/>
                </a:lnTo>
                <a:cubicBezTo>
                  <a:pt x="2780" y="1798"/>
                  <a:pt x="2786" y="1820"/>
                  <a:pt x="2791" y="1843"/>
                </a:cubicBezTo>
                <a:cubicBezTo>
                  <a:pt x="2786" y="1910"/>
                  <a:pt x="2780" y="1978"/>
                  <a:pt x="2775" y="2045"/>
                </a:cubicBezTo>
                <a:lnTo>
                  <a:pt x="2736" y="2225"/>
                </a:lnTo>
                <a:lnTo>
                  <a:pt x="2775" y="2315"/>
                </a:lnTo>
                <a:cubicBezTo>
                  <a:pt x="2780" y="2382"/>
                  <a:pt x="2786" y="2450"/>
                  <a:pt x="2791" y="2517"/>
                </a:cubicBezTo>
                <a:cubicBezTo>
                  <a:pt x="2786" y="2682"/>
                  <a:pt x="2780" y="2846"/>
                  <a:pt x="2775" y="3011"/>
                </a:cubicBezTo>
                <a:cubicBezTo>
                  <a:pt x="2796" y="3056"/>
                  <a:pt x="2816" y="3101"/>
                  <a:pt x="2837" y="3146"/>
                </a:cubicBezTo>
                <a:cubicBezTo>
                  <a:pt x="2827" y="3213"/>
                  <a:pt x="2816" y="3281"/>
                  <a:pt x="2806" y="3348"/>
                </a:cubicBezTo>
                <a:lnTo>
                  <a:pt x="2698" y="3618"/>
                </a:lnTo>
                <a:lnTo>
                  <a:pt x="2643" y="3685"/>
                </a:lnTo>
                <a:cubicBezTo>
                  <a:pt x="2622" y="3670"/>
                  <a:pt x="2602" y="3655"/>
                  <a:pt x="2581" y="3640"/>
                </a:cubicBezTo>
                <a:cubicBezTo>
                  <a:pt x="2571" y="3655"/>
                  <a:pt x="2560" y="3670"/>
                  <a:pt x="2550" y="3685"/>
                </a:cubicBezTo>
                <a:cubicBezTo>
                  <a:pt x="2566" y="3715"/>
                  <a:pt x="2581" y="3745"/>
                  <a:pt x="2597" y="3775"/>
                </a:cubicBezTo>
                <a:lnTo>
                  <a:pt x="2667" y="3820"/>
                </a:lnTo>
                <a:cubicBezTo>
                  <a:pt x="2690" y="3828"/>
                  <a:pt x="2713" y="3835"/>
                  <a:pt x="2736" y="3843"/>
                </a:cubicBezTo>
                <a:lnTo>
                  <a:pt x="2814" y="3663"/>
                </a:lnTo>
                <a:lnTo>
                  <a:pt x="2922" y="3348"/>
                </a:lnTo>
                <a:cubicBezTo>
                  <a:pt x="2912" y="3288"/>
                  <a:pt x="2901" y="3229"/>
                  <a:pt x="2891" y="3169"/>
                </a:cubicBezTo>
                <a:lnTo>
                  <a:pt x="2930" y="2989"/>
                </a:lnTo>
                <a:lnTo>
                  <a:pt x="3016" y="3034"/>
                </a:lnTo>
                <a:cubicBezTo>
                  <a:pt x="3029" y="3071"/>
                  <a:pt x="3041" y="3109"/>
                  <a:pt x="3054" y="3146"/>
                </a:cubicBezTo>
                <a:cubicBezTo>
                  <a:pt x="3059" y="3206"/>
                  <a:pt x="3065" y="3266"/>
                  <a:pt x="3070" y="3326"/>
                </a:cubicBezTo>
                <a:lnTo>
                  <a:pt x="3124" y="3191"/>
                </a:lnTo>
                <a:cubicBezTo>
                  <a:pt x="3114" y="3131"/>
                  <a:pt x="3103" y="3071"/>
                  <a:pt x="3093" y="3011"/>
                </a:cubicBezTo>
                <a:cubicBezTo>
                  <a:pt x="3067" y="2989"/>
                  <a:pt x="3042" y="2966"/>
                  <a:pt x="3016" y="2944"/>
                </a:cubicBezTo>
                <a:lnTo>
                  <a:pt x="2853" y="2921"/>
                </a:lnTo>
                <a:lnTo>
                  <a:pt x="2853" y="2697"/>
                </a:lnTo>
                <a:cubicBezTo>
                  <a:pt x="2863" y="2622"/>
                  <a:pt x="2874" y="2547"/>
                  <a:pt x="2884" y="2472"/>
                </a:cubicBezTo>
                <a:lnTo>
                  <a:pt x="2845" y="2292"/>
                </a:lnTo>
                <a:cubicBezTo>
                  <a:pt x="2837" y="2247"/>
                  <a:pt x="2830" y="2202"/>
                  <a:pt x="2822" y="2157"/>
                </a:cubicBezTo>
                <a:cubicBezTo>
                  <a:pt x="2837" y="2112"/>
                  <a:pt x="2853" y="2067"/>
                  <a:pt x="2868" y="2022"/>
                </a:cubicBezTo>
                <a:cubicBezTo>
                  <a:pt x="2886" y="2000"/>
                  <a:pt x="2904" y="1977"/>
                  <a:pt x="2922" y="1955"/>
                </a:cubicBezTo>
                <a:cubicBezTo>
                  <a:pt x="2925" y="1895"/>
                  <a:pt x="2927" y="1835"/>
                  <a:pt x="2930" y="1775"/>
                </a:cubicBezTo>
                <a:lnTo>
                  <a:pt x="2961" y="1775"/>
                </a:lnTo>
                <a:cubicBezTo>
                  <a:pt x="2964" y="1843"/>
                  <a:pt x="2966" y="1910"/>
                  <a:pt x="2969" y="1978"/>
                </a:cubicBezTo>
                <a:cubicBezTo>
                  <a:pt x="2961" y="2030"/>
                  <a:pt x="2954" y="2083"/>
                  <a:pt x="2946" y="2135"/>
                </a:cubicBezTo>
                <a:cubicBezTo>
                  <a:pt x="2951" y="2172"/>
                  <a:pt x="2956" y="2210"/>
                  <a:pt x="2961" y="2247"/>
                </a:cubicBezTo>
                <a:cubicBezTo>
                  <a:pt x="2982" y="2262"/>
                  <a:pt x="3002" y="2277"/>
                  <a:pt x="3023" y="2292"/>
                </a:cubicBezTo>
                <a:cubicBezTo>
                  <a:pt x="3054" y="2315"/>
                  <a:pt x="3085" y="2337"/>
                  <a:pt x="3116" y="2360"/>
                </a:cubicBezTo>
                <a:lnTo>
                  <a:pt x="3163" y="2360"/>
                </a:lnTo>
                <a:cubicBezTo>
                  <a:pt x="3145" y="2322"/>
                  <a:pt x="3127" y="2285"/>
                  <a:pt x="3109" y="2247"/>
                </a:cubicBezTo>
                <a:cubicBezTo>
                  <a:pt x="3083" y="2225"/>
                  <a:pt x="3057" y="2202"/>
                  <a:pt x="3031" y="2180"/>
                </a:cubicBezTo>
                <a:cubicBezTo>
                  <a:pt x="3021" y="2135"/>
                  <a:pt x="3010" y="2090"/>
                  <a:pt x="3000" y="2045"/>
                </a:cubicBezTo>
                <a:cubicBezTo>
                  <a:pt x="3016" y="2030"/>
                  <a:pt x="3031" y="2015"/>
                  <a:pt x="3047" y="2000"/>
                </a:cubicBezTo>
                <a:lnTo>
                  <a:pt x="3124" y="2045"/>
                </a:lnTo>
                <a:lnTo>
                  <a:pt x="3070" y="1865"/>
                </a:lnTo>
                <a:cubicBezTo>
                  <a:pt x="3078" y="1850"/>
                  <a:pt x="3085" y="1835"/>
                  <a:pt x="3093" y="1820"/>
                </a:cubicBezTo>
                <a:lnTo>
                  <a:pt x="3225" y="1933"/>
                </a:lnTo>
                <a:cubicBezTo>
                  <a:pt x="3251" y="1993"/>
                  <a:pt x="3276" y="2052"/>
                  <a:pt x="3302" y="2112"/>
                </a:cubicBezTo>
                <a:lnTo>
                  <a:pt x="3411" y="2112"/>
                </a:lnTo>
                <a:cubicBezTo>
                  <a:pt x="3393" y="2060"/>
                  <a:pt x="3375" y="2007"/>
                  <a:pt x="3357" y="1955"/>
                </a:cubicBezTo>
                <a:cubicBezTo>
                  <a:pt x="3334" y="1903"/>
                  <a:pt x="3310" y="1850"/>
                  <a:pt x="3287" y="1798"/>
                </a:cubicBezTo>
                <a:cubicBezTo>
                  <a:pt x="3279" y="1716"/>
                  <a:pt x="3272" y="1633"/>
                  <a:pt x="3264" y="1551"/>
                </a:cubicBezTo>
                <a:cubicBezTo>
                  <a:pt x="3279" y="1521"/>
                  <a:pt x="3295" y="1491"/>
                  <a:pt x="3310" y="1461"/>
                </a:cubicBezTo>
                <a:lnTo>
                  <a:pt x="3488" y="1438"/>
                </a:lnTo>
                <a:lnTo>
                  <a:pt x="3667" y="1348"/>
                </a:lnTo>
                <a:cubicBezTo>
                  <a:pt x="3651" y="1266"/>
                  <a:pt x="3636" y="1183"/>
                  <a:pt x="3620" y="1101"/>
                </a:cubicBezTo>
                <a:lnTo>
                  <a:pt x="3767" y="899"/>
                </a:lnTo>
                <a:lnTo>
                  <a:pt x="4093" y="584"/>
                </a:lnTo>
                <a:lnTo>
                  <a:pt x="4233" y="539"/>
                </a:lnTo>
                <a:lnTo>
                  <a:pt x="4364" y="584"/>
                </a:lnTo>
                <a:lnTo>
                  <a:pt x="4558" y="404"/>
                </a:lnTo>
                <a:cubicBezTo>
                  <a:pt x="4553" y="344"/>
                  <a:pt x="4548" y="285"/>
                  <a:pt x="4543" y="225"/>
                </a:cubicBezTo>
                <a:lnTo>
                  <a:pt x="4636" y="0"/>
                </a:lnTo>
                <a:lnTo>
                  <a:pt x="4767" y="22"/>
                </a:lnTo>
                <a:cubicBezTo>
                  <a:pt x="4790" y="45"/>
                  <a:pt x="4814" y="67"/>
                  <a:pt x="4837" y="90"/>
                </a:cubicBezTo>
                <a:cubicBezTo>
                  <a:pt x="4809" y="135"/>
                  <a:pt x="4780" y="180"/>
                  <a:pt x="4752" y="225"/>
                </a:cubicBezTo>
                <a:lnTo>
                  <a:pt x="4915" y="247"/>
                </a:lnTo>
                <a:cubicBezTo>
                  <a:pt x="4905" y="299"/>
                  <a:pt x="4894" y="352"/>
                  <a:pt x="4884" y="404"/>
                </a:cubicBezTo>
                <a:lnTo>
                  <a:pt x="5178" y="382"/>
                </a:lnTo>
                <a:lnTo>
                  <a:pt x="5287" y="584"/>
                </a:lnTo>
                <a:lnTo>
                  <a:pt x="5302" y="719"/>
                </a:lnTo>
                <a:cubicBezTo>
                  <a:pt x="5292" y="794"/>
                  <a:pt x="5281" y="869"/>
                  <a:pt x="5271" y="944"/>
                </a:cubicBezTo>
                <a:cubicBezTo>
                  <a:pt x="5227" y="1011"/>
                  <a:pt x="5184" y="1079"/>
                  <a:pt x="5140" y="1146"/>
                </a:cubicBezTo>
                <a:cubicBezTo>
                  <a:pt x="5093" y="1221"/>
                  <a:pt x="5047" y="1296"/>
                  <a:pt x="5000" y="1371"/>
                </a:cubicBezTo>
                <a:lnTo>
                  <a:pt x="4806" y="1685"/>
                </a:lnTo>
                <a:cubicBezTo>
                  <a:pt x="4811" y="1700"/>
                  <a:pt x="4817" y="1715"/>
                  <a:pt x="4822" y="1730"/>
                </a:cubicBezTo>
                <a:cubicBezTo>
                  <a:pt x="4850" y="1700"/>
                  <a:pt x="4879" y="1670"/>
                  <a:pt x="4907" y="1640"/>
                </a:cubicBezTo>
                <a:cubicBezTo>
                  <a:pt x="4961" y="1595"/>
                  <a:pt x="5016" y="1551"/>
                  <a:pt x="5070" y="1506"/>
                </a:cubicBezTo>
                <a:cubicBezTo>
                  <a:pt x="5067" y="1476"/>
                  <a:pt x="5065" y="1446"/>
                  <a:pt x="5062" y="1416"/>
                </a:cubicBezTo>
                <a:cubicBezTo>
                  <a:pt x="5075" y="1378"/>
                  <a:pt x="5088" y="1341"/>
                  <a:pt x="5101" y="1303"/>
                </a:cubicBezTo>
                <a:cubicBezTo>
                  <a:pt x="5122" y="1288"/>
                  <a:pt x="5142" y="1273"/>
                  <a:pt x="5163" y="1258"/>
                </a:cubicBezTo>
                <a:cubicBezTo>
                  <a:pt x="5168" y="1296"/>
                  <a:pt x="5173" y="1333"/>
                  <a:pt x="5178" y="1371"/>
                </a:cubicBezTo>
                <a:cubicBezTo>
                  <a:pt x="5194" y="1386"/>
                  <a:pt x="5209" y="1401"/>
                  <a:pt x="5225" y="1416"/>
                </a:cubicBezTo>
                <a:cubicBezTo>
                  <a:pt x="5248" y="1461"/>
                  <a:pt x="5272" y="1506"/>
                  <a:pt x="5295" y="1551"/>
                </a:cubicBezTo>
                <a:cubicBezTo>
                  <a:pt x="5308" y="1528"/>
                  <a:pt x="5320" y="1506"/>
                  <a:pt x="5333" y="1483"/>
                </a:cubicBezTo>
                <a:lnTo>
                  <a:pt x="5620" y="1506"/>
                </a:lnTo>
                <a:lnTo>
                  <a:pt x="5620" y="1618"/>
                </a:lnTo>
                <a:lnTo>
                  <a:pt x="5899" y="1708"/>
                </a:lnTo>
                <a:cubicBezTo>
                  <a:pt x="5909" y="1611"/>
                  <a:pt x="5920" y="1513"/>
                  <a:pt x="5930" y="1416"/>
                </a:cubicBezTo>
                <a:cubicBezTo>
                  <a:pt x="5948" y="1423"/>
                  <a:pt x="5966" y="1431"/>
                  <a:pt x="5984" y="1438"/>
                </a:cubicBezTo>
                <a:cubicBezTo>
                  <a:pt x="6010" y="1476"/>
                  <a:pt x="6036" y="1513"/>
                  <a:pt x="6062" y="1551"/>
                </a:cubicBezTo>
                <a:lnTo>
                  <a:pt x="6186" y="1528"/>
                </a:lnTo>
                <a:cubicBezTo>
                  <a:pt x="6209" y="1603"/>
                  <a:pt x="6233" y="1678"/>
                  <a:pt x="6256" y="1753"/>
                </a:cubicBezTo>
                <a:cubicBezTo>
                  <a:pt x="6261" y="1820"/>
                  <a:pt x="6266" y="1888"/>
                  <a:pt x="6271" y="1955"/>
                </a:cubicBezTo>
                <a:cubicBezTo>
                  <a:pt x="6256" y="1985"/>
                  <a:pt x="6240" y="2015"/>
                  <a:pt x="6225" y="2045"/>
                </a:cubicBezTo>
                <a:cubicBezTo>
                  <a:pt x="6253" y="2142"/>
                  <a:pt x="6282" y="2240"/>
                  <a:pt x="6310" y="2337"/>
                </a:cubicBezTo>
                <a:lnTo>
                  <a:pt x="6395" y="2404"/>
                </a:lnTo>
                <a:cubicBezTo>
                  <a:pt x="6421" y="2292"/>
                  <a:pt x="6447" y="2179"/>
                  <a:pt x="6473" y="2067"/>
                </a:cubicBezTo>
                <a:lnTo>
                  <a:pt x="6574" y="2225"/>
                </a:lnTo>
                <a:lnTo>
                  <a:pt x="6667" y="2135"/>
                </a:lnTo>
                <a:lnTo>
                  <a:pt x="6767" y="2247"/>
                </a:lnTo>
                <a:cubicBezTo>
                  <a:pt x="6796" y="2217"/>
                  <a:pt x="6824" y="2187"/>
                  <a:pt x="6853" y="2157"/>
                </a:cubicBezTo>
                <a:cubicBezTo>
                  <a:pt x="6874" y="2127"/>
                  <a:pt x="6894" y="2097"/>
                  <a:pt x="6915" y="2067"/>
                </a:cubicBezTo>
                <a:cubicBezTo>
                  <a:pt x="6912" y="2000"/>
                  <a:pt x="6910" y="1932"/>
                  <a:pt x="6907" y="1865"/>
                </a:cubicBezTo>
                <a:cubicBezTo>
                  <a:pt x="6935" y="1835"/>
                  <a:pt x="6964" y="1805"/>
                  <a:pt x="6992" y="1775"/>
                </a:cubicBezTo>
                <a:lnTo>
                  <a:pt x="7256" y="1820"/>
                </a:lnTo>
                <a:cubicBezTo>
                  <a:pt x="7271" y="1858"/>
                  <a:pt x="7287" y="1895"/>
                  <a:pt x="7302" y="1933"/>
                </a:cubicBezTo>
                <a:lnTo>
                  <a:pt x="7326" y="1978"/>
                </a:lnTo>
                <a:lnTo>
                  <a:pt x="7465" y="1933"/>
                </a:lnTo>
                <a:lnTo>
                  <a:pt x="7527" y="2022"/>
                </a:lnTo>
                <a:cubicBezTo>
                  <a:pt x="7517" y="2060"/>
                  <a:pt x="7506" y="2097"/>
                  <a:pt x="7496" y="2135"/>
                </a:cubicBezTo>
                <a:cubicBezTo>
                  <a:pt x="7514" y="2157"/>
                  <a:pt x="7532" y="2180"/>
                  <a:pt x="7550" y="2202"/>
                </a:cubicBezTo>
                <a:lnTo>
                  <a:pt x="7667" y="2337"/>
                </a:lnTo>
                <a:lnTo>
                  <a:pt x="7868" y="2360"/>
                </a:lnTo>
                <a:lnTo>
                  <a:pt x="8078" y="2382"/>
                </a:lnTo>
                <a:cubicBezTo>
                  <a:pt x="8106" y="2427"/>
                  <a:pt x="8135" y="2472"/>
                  <a:pt x="8163" y="2517"/>
                </a:cubicBezTo>
                <a:cubicBezTo>
                  <a:pt x="8160" y="2569"/>
                  <a:pt x="8158" y="2622"/>
                  <a:pt x="8155" y="2674"/>
                </a:cubicBezTo>
                <a:cubicBezTo>
                  <a:pt x="8160" y="2704"/>
                  <a:pt x="8166" y="2734"/>
                  <a:pt x="8171" y="2764"/>
                </a:cubicBezTo>
                <a:cubicBezTo>
                  <a:pt x="8194" y="2786"/>
                  <a:pt x="8217" y="2809"/>
                  <a:pt x="8240" y="2831"/>
                </a:cubicBezTo>
                <a:lnTo>
                  <a:pt x="8295" y="2764"/>
                </a:lnTo>
                <a:lnTo>
                  <a:pt x="8550" y="2809"/>
                </a:lnTo>
                <a:lnTo>
                  <a:pt x="8581" y="2809"/>
                </a:lnTo>
                <a:cubicBezTo>
                  <a:pt x="8602" y="2779"/>
                  <a:pt x="8622" y="2749"/>
                  <a:pt x="8643" y="2719"/>
                </a:cubicBezTo>
                <a:cubicBezTo>
                  <a:pt x="8651" y="2727"/>
                  <a:pt x="8659" y="2734"/>
                  <a:pt x="8667" y="2742"/>
                </a:cubicBezTo>
                <a:lnTo>
                  <a:pt x="8667" y="2876"/>
                </a:lnTo>
                <a:cubicBezTo>
                  <a:pt x="8690" y="2929"/>
                  <a:pt x="8713" y="2981"/>
                  <a:pt x="8736" y="3034"/>
                </a:cubicBezTo>
                <a:cubicBezTo>
                  <a:pt x="8762" y="3041"/>
                  <a:pt x="8788" y="3049"/>
                  <a:pt x="8814" y="3056"/>
                </a:cubicBezTo>
                <a:cubicBezTo>
                  <a:pt x="8822" y="3026"/>
                  <a:pt x="8829" y="2996"/>
                  <a:pt x="8837" y="2966"/>
                </a:cubicBezTo>
                <a:cubicBezTo>
                  <a:pt x="8829" y="2921"/>
                  <a:pt x="8822" y="2876"/>
                  <a:pt x="8814" y="2831"/>
                </a:cubicBezTo>
                <a:cubicBezTo>
                  <a:pt x="8811" y="2764"/>
                  <a:pt x="8809" y="2696"/>
                  <a:pt x="8806" y="2629"/>
                </a:cubicBezTo>
                <a:cubicBezTo>
                  <a:pt x="8822" y="2622"/>
                  <a:pt x="8837" y="2614"/>
                  <a:pt x="8853" y="2607"/>
                </a:cubicBezTo>
                <a:lnTo>
                  <a:pt x="8922" y="2697"/>
                </a:lnTo>
                <a:lnTo>
                  <a:pt x="9047" y="2697"/>
                </a:lnTo>
                <a:lnTo>
                  <a:pt x="9194" y="2764"/>
                </a:lnTo>
                <a:lnTo>
                  <a:pt x="9364" y="2944"/>
                </a:lnTo>
                <a:cubicBezTo>
                  <a:pt x="9398" y="2996"/>
                  <a:pt x="9431" y="3049"/>
                  <a:pt x="9465" y="3101"/>
                </a:cubicBezTo>
                <a:lnTo>
                  <a:pt x="9643" y="3326"/>
                </a:lnTo>
                <a:cubicBezTo>
                  <a:pt x="9653" y="3371"/>
                  <a:pt x="9664" y="3416"/>
                  <a:pt x="9674" y="3461"/>
                </a:cubicBezTo>
                <a:lnTo>
                  <a:pt x="9698" y="3596"/>
                </a:lnTo>
                <a:cubicBezTo>
                  <a:pt x="9711" y="3656"/>
                  <a:pt x="9723" y="3715"/>
                  <a:pt x="9736" y="3775"/>
                </a:cubicBezTo>
                <a:cubicBezTo>
                  <a:pt x="9746" y="3760"/>
                  <a:pt x="9757" y="3745"/>
                  <a:pt x="9767" y="3730"/>
                </a:cubicBezTo>
                <a:cubicBezTo>
                  <a:pt x="9759" y="3663"/>
                  <a:pt x="9752" y="3595"/>
                  <a:pt x="9744" y="3528"/>
                </a:cubicBezTo>
                <a:lnTo>
                  <a:pt x="9806" y="3551"/>
                </a:lnTo>
                <a:lnTo>
                  <a:pt x="9884" y="3596"/>
                </a:lnTo>
                <a:cubicBezTo>
                  <a:pt x="9907" y="3641"/>
                  <a:pt x="9930" y="3685"/>
                  <a:pt x="9953" y="3730"/>
                </a:cubicBezTo>
                <a:cubicBezTo>
                  <a:pt x="9969" y="3775"/>
                  <a:pt x="9984" y="3820"/>
                  <a:pt x="10000" y="3865"/>
                </a:cubicBezTo>
                <a:cubicBezTo>
                  <a:pt x="9984" y="3910"/>
                  <a:pt x="9969" y="3955"/>
                  <a:pt x="9953" y="4000"/>
                </a:cubicBezTo>
                <a:lnTo>
                  <a:pt x="9853" y="4067"/>
                </a:lnTo>
                <a:cubicBezTo>
                  <a:pt x="9848" y="4120"/>
                  <a:pt x="9842" y="4172"/>
                  <a:pt x="9837" y="4225"/>
                </a:cubicBezTo>
                <a:cubicBezTo>
                  <a:pt x="9827" y="4292"/>
                  <a:pt x="9816" y="4360"/>
                  <a:pt x="9806" y="4427"/>
                </a:cubicBezTo>
                <a:lnTo>
                  <a:pt x="9698" y="4270"/>
                </a:lnTo>
                <a:lnTo>
                  <a:pt x="9636" y="4202"/>
                </a:lnTo>
                <a:cubicBezTo>
                  <a:pt x="9638" y="4142"/>
                  <a:pt x="9641" y="4082"/>
                  <a:pt x="9643" y="4022"/>
                </a:cubicBezTo>
                <a:lnTo>
                  <a:pt x="9481" y="4045"/>
                </a:lnTo>
                <a:lnTo>
                  <a:pt x="9457" y="3820"/>
                </a:lnTo>
                <a:cubicBezTo>
                  <a:pt x="9439" y="3828"/>
                  <a:pt x="9421" y="3835"/>
                  <a:pt x="9403" y="3843"/>
                </a:cubicBezTo>
                <a:cubicBezTo>
                  <a:pt x="9400" y="3895"/>
                  <a:pt x="9398" y="3948"/>
                  <a:pt x="9395" y="4000"/>
                </a:cubicBezTo>
                <a:cubicBezTo>
                  <a:pt x="9403" y="4022"/>
                  <a:pt x="9411" y="4045"/>
                  <a:pt x="9419" y="4067"/>
                </a:cubicBezTo>
                <a:cubicBezTo>
                  <a:pt x="9396" y="4127"/>
                  <a:pt x="9372" y="4187"/>
                  <a:pt x="9349" y="4247"/>
                </a:cubicBezTo>
                <a:cubicBezTo>
                  <a:pt x="9323" y="4255"/>
                  <a:pt x="9297" y="4262"/>
                  <a:pt x="9271" y="4270"/>
                </a:cubicBezTo>
                <a:cubicBezTo>
                  <a:pt x="9253" y="4262"/>
                  <a:pt x="9235" y="4255"/>
                  <a:pt x="9217" y="4247"/>
                </a:cubicBezTo>
                <a:cubicBezTo>
                  <a:pt x="9207" y="4225"/>
                  <a:pt x="9196" y="4202"/>
                  <a:pt x="9186" y="4180"/>
                </a:cubicBezTo>
                <a:cubicBezTo>
                  <a:pt x="9183" y="4210"/>
                  <a:pt x="9181" y="4240"/>
                  <a:pt x="9178" y="4270"/>
                </a:cubicBezTo>
                <a:lnTo>
                  <a:pt x="9233" y="4337"/>
                </a:lnTo>
                <a:lnTo>
                  <a:pt x="9287" y="4427"/>
                </a:lnTo>
                <a:cubicBezTo>
                  <a:pt x="9295" y="4494"/>
                  <a:pt x="9302" y="4562"/>
                  <a:pt x="9310" y="4629"/>
                </a:cubicBezTo>
                <a:cubicBezTo>
                  <a:pt x="9326" y="4696"/>
                  <a:pt x="9341" y="4764"/>
                  <a:pt x="9357" y="4831"/>
                </a:cubicBezTo>
                <a:cubicBezTo>
                  <a:pt x="9339" y="4861"/>
                  <a:pt x="9320" y="4891"/>
                  <a:pt x="9302" y="4921"/>
                </a:cubicBezTo>
                <a:lnTo>
                  <a:pt x="9202" y="4809"/>
                </a:lnTo>
                <a:cubicBezTo>
                  <a:pt x="9186" y="4846"/>
                  <a:pt x="9171" y="4884"/>
                  <a:pt x="9155" y="4921"/>
                </a:cubicBezTo>
                <a:lnTo>
                  <a:pt x="9016" y="5101"/>
                </a:lnTo>
                <a:cubicBezTo>
                  <a:pt x="8990" y="5138"/>
                  <a:pt x="8964" y="5176"/>
                  <a:pt x="8938" y="5213"/>
                </a:cubicBezTo>
                <a:cubicBezTo>
                  <a:pt x="8886" y="5333"/>
                  <a:pt x="8835" y="5453"/>
                  <a:pt x="8783" y="5573"/>
                </a:cubicBezTo>
                <a:lnTo>
                  <a:pt x="8729" y="5438"/>
                </a:lnTo>
                <a:lnTo>
                  <a:pt x="8612" y="5438"/>
                </a:lnTo>
                <a:cubicBezTo>
                  <a:pt x="8591" y="5498"/>
                  <a:pt x="8571" y="5558"/>
                  <a:pt x="8550" y="5618"/>
                </a:cubicBezTo>
                <a:lnTo>
                  <a:pt x="8535" y="5438"/>
                </a:lnTo>
                <a:lnTo>
                  <a:pt x="8496" y="5438"/>
                </a:lnTo>
                <a:lnTo>
                  <a:pt x="8481" y="5573"/>
                </a:lnTo>
                <a:lnTo>
                  <a:pt x="8372" y="5573"/>
                </a:lnTo>
                <a:cubicBezTo>
                  <a:pt x="8341" y="5715"/>
                  <a:pt x="8310" y="5858"/>
                  <a:pt x="8279" y="6000"/>
                </a:cubicBezTo>
                <a:lnTo>
                  <a:pt x="8279" y="6135"/>
                </a:lnTo>
                <a:lnTo>
                  <a:pt x="8341" y="6135"/>
                </a:lnTo>
                <a:cubicBezTo>
                  <a:pt x="8336" y="6202"/>
                  <a:pt x="8331" y="6270"/>
                  <a:pt x="8326" y="6337"/>
                </a:cubicBezTo>
                <a:cubicBezTo>
                  <a:pt x="8334" y="6397"/>
                  <a:pt x="8341" y="6457"/>
                  <a:pt x="8349" y="6517"/>
                </a:cubicBezTo>
                <a:lnTo>
                  <a:pt x="8279" y="6584"/>
                </a:lnTo>
                <a:cubicBezTo>
                  <a:pt x="8271" y="6637"/>
                  <a:pt x="8264" y="6689"/>
                  <a:pt x="8256" y="6742"/>
                </a:cubicBezTo>
                <a:cubicBezTo>
                  <a:pt x="8264" y="6809"/>
                  <a:pt x="8271" y="6877"/>
                  <a:pt x="8279" y="6944"/>
                </a:cubicBezTo>
                <a:lnTo>
                  <a:pt x="8186" y="7034"/>
                </a:lnTo>
                <a:cubicBezTo>
                  <a:pt x="8176" y="7064"/>
                  <a:pt x="8165" y="7094"/>
                  <a:pt x="8155" y="7124"/>
                </a:cubicBezTo>
                <a:lnTo>
                  <a:pt x="8155" y="7191"/>
                </a:lnTo>
                <a:cubicBezTo>
                  <a:pt x="8158" y="7206"/>
                  <a:pt x="8160" y="7221"/>
                  <a:pt x="8163" y="7236"/>
                </a:cubicBezTo>
                <a:cubicBezTo>
                  <a:pt x="8160" y="7251"/>
                  <a:pt x="8158" y="7266"/>
                  <a:pt x="8155" y="7281"/>
                </a:cubicBezTo>
                <a:lnTo>
                  <a:pt x="8062" y="7371"/>
                </a:lnTo>
                <a:lnTo>
                  <a:pt x="8062" y="7528"/>
                </a:lnTo>
                <a:cubicBezTo>
                  <a:pt x="8023" y="7640"/>
                  <a:pt x="7985" y="7753"/>
                  <a:pt x="7946" y="7865"/>
                </a:cubicBezTo>
                <a:cubicBezTo>
                  <a:pt x="7941" y="7745"/>
                  <a:pt x="7935" y="7626"/>
                  <a:pt x="7930" y="7506"/>
                </a:cubicBezTo>
                <a:cubicBezTo>
                  <a:pt x="7915" y="7319"/>
                  <a:pt x="7899" y="7131"/>
                  <a:pt x="7884" y="6944"/>
                </a:cubicBezTo>
                <a:lnTo>
                  <a:pt x="7884" y="6539"/>
                </a:lnTo>
                <a:cubicBezTo>
                  <a:pt x="7899" y="6487"/>
                  <a:pt x="7915" y="6434"/>
                  <a:pt x="7930" y="6382"/>
                </a:cubicBezTo>
                <a:cubicBezTo>
                  <a:pt x="7946" y="6300"/>
                  <a:pt x="7961" y="6217"/>
                  <a:pt x="7977" y="6135"/>
                </a:cubicBezTo>
                <a:cubicBezTo>
                  <a:pt x="7998" y="6120"/>
                  <a:pt x="8018" y="6105"/>
                  <a:pt x="8039" y="6090"/>
                </a:cubicBezTo>
                <a:cubicBezTo>
                  <a:pt x="8093" y="5940"/>
                  <a:pt x="8148" y="5790"/>
                  <a:pt x="8202" y="5640"/>
                </a:cubicBezTo>
                <a:lnTo>
                  <a:pt x="8326" y="5393"/>
                </a:lnTo>
                <a:cubicBezTo>
                  <a:pt x="8339" y="5378"/>
                  <a:pt x="8351" y="5363"/>
                  <a:pt x="8364" y="5348"/>
                </a:cubicBezTo>
                <a:cubicBezTo>
                  <a:pt x="8385" y="5213"/>
                  <a:pt x="8405" y="5079"/>
                  <a:pt x="8426" y="4944"/>
                </a:cubicBezTo>
                <a:cubicBezTo>
                  <a:pt x="8436" y="4929"/>
                  <a:pt x="8447" y="4914"/>
                  <a:pt x="8457" y="4899"/>
                </a:cubicBezTo>
                <a:lnTo>
                  <a:pt x="8395" y="4831"/>
                </a:lnTo>
                <a:lnTo>
                  <a:pt x="8372" y="4854"/>
                </a:lnTo>
                <a:cubicBezTo>
                  <a:pt x="8364" y="4876"/>
                  <a:pt x="8357" y="4899"/>
                  <a:pt x="8349" y="4921"/>
                </a:cubicBezTo>
                <a:lnTo>
                  <a:pt x="8349" y="5124"/>
                </a:lnTo>
                <a:lnTo>
                  <a:pt x="8295" y="5124"/>
                </a:lnTo>
                <a:cubicBezTo>
                  <a:pt x="8254" y="5199"/>
                  <a:pt x="8212" y="5273"/>
                  <a:pt x="8171" y="5348"/>
                </a:cubicBezTo>
                <a:cubicBezTo>
                  <a:pt x="8161" y="5318"/>
                  <a:pt x="8150" y="5288"/>
                  <a:pt x="8140" y="5258"/>
                </a:cubicBezTo>
                <a:cubicBezTo>
                  <a:pt x="8150" y="5198"/>
                  <a:pt x="8161" y="5139"/>
                  <a:pt x="8171" y="5079"/>
                </a:cubicBezTo>
                <a:lnTo>
                  <a:pt x="8132" y="5124"/>
                </a:lnTo>
                <a:lnTo>
                  <a:pt x="7977" y="5124"/>
                </a:lnTo>
                <a:lnTo>
                  <a:pt x="7829" y="5461"/>
                </a:lnTo>
                <a:cubicBezTo>
                  <a:pt x="7819" y="5521"/>
                  <a:pt x="7808" y="5580"/>
                  <a:pt x="7798" y="5640"/>
                </a:cubicBezTo>
                <a:cubicBezTo>
                  <a:pt x="7803" y="5655"/>
                  <a:pt x="7809" y="5670"/>
                  <a:pt x="7814" y="5685"/>
                </a:cubicBezTo>
                <a:cubicBezTo>
                  <a:pt x="7827" y="5723"/>
                  <a:pt x="7840" y="5760"/>
                  <a:pt x="7853" y="5798"/>
                </a:cubicBezTo>
                <a:lnTo>
                  <a:pt x="7791" y="5798"/>
                </a:lnTo>
                <a:cubicBezTo>
                  <a:pt x="7770" y="5805"/>
                  <a:pt x="7750" y="5813"/>
                  <a:pt x="7729" y="5820"/>
                </a:cubicBezTo>
                <a:lnTo>
                  <a:pt x="7612" y="5843"/>
                </a:lnTo>
                <a:cubicBezTo>
                  <a:pt x="7622" y="5813"/>
                  <a:pt x="7633" y="5783"/>
                  <a:pt x="7643" y="5753"/>
                </a:cubicBezTo>
                <a:cubicBezTo>
                  <a:pt x="7635" y="5723"/>
                  <a:pt x="7628" y="5693"/>
                  <a:pt x="7620" y="5663"/>
                </a:cubicBezTo>
                <a:cubicBezTo>
                  <a:pt x="7592" y="5655"/>
                  <a:pt x="7563" y="5648"/>
                  <a:pt x="7535" y="5640"/>
                </a:cubicBezTo>
                <a:cubicBezTo>
                  <a:pt x="7517" y="5648"/>
                  <a:pt x="7499" y="5655"/>
                  <a:pt x="7481" y="5663"/>
                </a:cubicBezTo>
                <a:lnTo>
                  <a:pt x="7457" y="5753"/>
                </a:lnTo>
                <a:lnTo>
                  <a:pt x="7341" y="5730"/>
                </a:lnTo>
                <a:cubicBezTo>
                  <a:pt x="7323" y="5738"/>
                  <a:pt x="7305" y="5745"/>
                  <a:pt x="7287" y="5753"/>
                </a:cubicBezTo>
                <a:lnTo>
                  <a:pt x="7085" y="5753"/>
                </a:lnTo>
                <a:lnTo>
                  <a:pt x="6636" y="6876"/>
                </a:lnTo>
                <a:cubicBezTo>
                  <a:pt x="6638" y="6914"/>
                  <a:pt x="6641" y="6951"/>
                  <a:pt x="6643" y="6989"/>
                </a:cubicBezTo>
                <a:cubicBezTo>
                  <a:pt x="6669" y="6981"/>
                  <a:pt x="6695" y="6974"/>
                  <a:pt x="6721" y="6966"/>
                </a:cubicBezTo>
                <a:cubicBezTo>
                  <a:pt x="6724" y="7026"/>
                  <a:pt x="6726" y="7086"/>
                  <a:pt x="6729" y="7146"/>
                </a:cubicBezTo>
                <a:cubicBezTo>
                  <a:pt x="6742" y="7101"/>
                  <a:pt x="6754" y="7056"/>
                  <a:pt x="6767" y="7011"/>
                </a:cubicBezTo>
                <a:lnTo>
                  <a:pt x="6806" y="7191"/>
                </a:lnTo>
                <a:lnTo>
                  <a:pt x="6860" y="7056"/>
                </a:lnTo>
                <a:lnTo>
                  <a:pt x="6946" y="7101"/>
                </a:lnTo>
                <a:cubicBezTo>
                  <a:pt x="6967" y="7176"/>
                  <a:pt x="6987" y="7251"/>
                  <a:pt x="7008" y="7326"/>
                </a:cubicBezTo>
                <a:cubicBezTo>
                  <a:pt x="7003" y="7408"/>
                  <a:pt x="6997" y="7491"/>
                  <a:pt x="6992" y="7573"/>
                </a:cubicBezTo>
                <a:cubicBezTo>
                  <a:pt x="6982" y="7655"/>
                  <a:pt x="6971" y="7738"/>
                  <a:pt x="6961" y="7820"/>
                </a:cubicBezTo>
                <a:cubicBezTo>
                  <a:pt x="6958" y="7940"/>
                  <a:pt x="6956" y="8060"/>
                  <a:pt x="6953" y="8180"/>
                </a:cubicBezTo>
                <a:cubicBezTo>
                  <a:pt x="6945" y="8247"/>
                  <a:pt x="6938" y="8315"/>
                  <a:pt x="6930" y="8382"/>
                </a:cubicBezTo>
                <a:cubicBezTo>
                  <a:pt x="6853" y="8659"/>
                  <a:pt x="6775" y="8936"/>
                  <a:pt x="6698" y="9213"/>
                </a:cubicBezTo>
                <a:cubicBezTo>
                  <a:pt x="6675" y="9296"/>
                  <a:pt x="6651" y="9378"/>
                  <a:pt x="6628" y="9461"/>
                </a:cubicBezTo>
                <a:cubicBezTo>
                  <a:pt x="6610" y="9498"/>
                  <a:pt x="6592" y="9536"/>
                  <a:pt x="6574" y="9573"/>
                </a:cubicBezTo>
                <a:cubicBezTo>
                  <a:pt x="6551" y="9603"/>
                  <a:pt x="6527" y="9633"/>
                  <a:pt x="6504" y="9663"/>
                </a:cubicBezTo>
                <a:lnTo>
                  <a:pt x="6450" y="9573"/>
                </a:lnTo>
                <a:lnTo>
                  <a:pt x="6380" y="9618"/>
                </a:lnTo>
                <a:lnTo>
                  <a:pt x="6380" y="9213"/>
                </a:lnTo>
                <a:cubicBezTo>
                  <a:pt x="6398" y="9176"/>
                  <a:pt x="6416" y="9138"/>
                  <a:pt x="6434" y="9101"/>
                </a:cubicBezTo>
                <a:cubicBezTo>
                  <a:pt x="6442" y="9124"/>
                  <a:pt x="6449" y="9146"/>
                  <a:pt x="6457" y="9169"/>
                </a:cubicBezTo>
                <a:cubicBezTo>
                  <a:pt x="6473" y="9161"/>
                  <a:pt x="6488" y="9154"/>
                  <a:pt x="6504" y="9146"/>
                </a:cubicBezTo>
                <a:cubicBezTo>
                  <a:pt x="6519" y="9064"/>
                  <a:pt x="6535" y="8981"/>
                  <a:pt x="6550" y="8899"/>
                </a:cubicBezTo>
                <a:cubicBezTo>
                  <a:pt x="6558" y="8817"/>
                  <a:pt x="6566" y="8734"/>
                  <a:pt x="6574" y="8652"/>
                </a:cubicBezTo>
                <a:cubicBezTo>
                  <a:pt x="6584" y="8637"/>
                  <a:pt x="6595" y="8622"/>
                  <a:pt x="6605" y="8607"/>
                </a:cubicBezTo>
                <a:cubicBezTo>
                  <a:pt x="6602" y="8554"/>
                  <a:pt x="6600" y="8502"/>
                  <a:pt x="6597" y="8449"/>
                </a:cubicBezTo>
                <a:lnTo>
                  <a:pt x="6535" y="8472"/>
                </a:lnTo>
                <a:cubicBezTo>
                  <a:pt x="6517" y="8479"/>
                  <a:pt x="6499" y="8487"/>
                  <a:pt x="6481" y="8494"/>
                </a:cubicBezTo>
                <a:lnTo>
                  <a:pt x="6457" y="8584"/>
                </a:lnTo>
                <a:lnTo>
                  <a:pt x="6372" y="8562"/>
                </a:lnTo>
                <a:lnTo>
                  <a:pt x="6357" y="8337"/>
                </a:lnTo>
                <a:lnTo>
                  <a:pt x="6240" y="8157"/>
                </a:lnTo>
                <a:lnTo>
                  <a:pt x="6178" y="8157"/>
                </a:lnTo>
                <a:cubicBezTo>
                  <a:pt x="6150" y="7962"/>
                  <a:pt x="6121" y="7768"/>
                  <a:pt x="6093" y="7573"/>
                </a:cubicBezTo>
                <a:cubicBezTo>
                  <a:pt x="6078" y="7498"/>
                  <a:pt x="6062" y="7423"/>
                  <a:pt x="6047" y="7348"/>
                </a:cubicBezTo>
                <a:lnTo>
                  <a:pt x="5930" y="7213"/>
                </a:lnTo>
                <a:lnTo>
                  <a:pt x="5760" y="7258"/>
                </a:lnTo>
                <a:cubicBezTo>
                  <a:pt x="5742" y="7281"/>
                  <a:pt x="5723" y="7303"/>
                  <a:pt x="5705" y="7326"/>
                </a:cubicBezTo>
                <a:cubicBezTo>
                  <a:pt x="5703" y="7356"/>
                  <a:pt x="5700" y="7386"/>
                  <a:pt x="5698" y="7416"/>
                </a:cubicBezTo>
                <a:cubicBezTo>
                  <a:pt x="5713" y="7423"/>
                  <a:pt x="5729" y="7431"/>
                  <a:pt x="5744" y="7438"/>
                </a:cubicBezTo>
                <a:lnTo>
                  <a:pt x="5744" y="7596"/>
                </a:lnTo>
                <a:cubicBezTo>
                  <a:pt x="5731" y="7618"/>
                  <a:pt x="5718" y="7641"/>
                  <a:pt x="5705" y="7663"/>
                </a:cubicBezTo>
                <a:cubicBezTo>
                  <a:pt x="5692" y="7730"/>
                  <a:pt x="5680" y="7798"/>
                  <a:pt x="5667" y="7865"/>
                </a:cubicBezTo>
                <a:cubicBezTo>
                  <a:pt x="5662" y="7925"/>
                  <a:pt x="5656" y="7985"/>
                  <a:pt x="5651" y="8045"/>
                </a:cubicBezTo>
                <a:cubicBezTo>
                  <a:pt x="5636" y="8052"/>
                  <a:pt x="5620" y="8060"/>
                  <a:pt x="5605" y="8067"/>
                </a:cubicBezTo>
                <a:cubicBezTo>
                  <a:pt x="5592" y="8105"/>
                  <a:pt x="5579" y="8142"/>
                  <a:pt x="5566" y="8180"/>
                </a:cubicBezTo>
                <a:cubicBezTo>
                  <a:pt x="5543" y="8142"/>
                  <a:pt x="5519" y="8105"/>
                  <a:pt x="5496" y="8067"/>
                </a:cubicBezTo>
                <a:cubicBezTo>
                  <a:pt x="5465" y="8060"/>
                  <a:pt x="5434" y="8052"/>
                  <a:pt x="5403" y="8045"/>
                </a:cubicBezTo>
                <a:cubicBezTo>
                  <a:pt x="5393" y="8023"/>
                  <a:pt x="5382" y="8000"/>
                  <a:pt x="5372" y="7978"/>
                </a:cubicBezTo>
                <a:cubicBezTo>
                  <a:pt x="5359" y="7985"/>
                  <a:pt x="5346" y="7993"/>
                  <a:pt x="5333" y="8000"/>
                </a:cubicBezTo>
                <a:cubicBezTo>
                  <a:pt x="5310" y="8052"/>
                  <a:pt x="5287" y="8105"/>
                  <a:pt x="5264" y="8157"/>
                </a:cubicBezTo>
                <a:lnTo>
                  <a:pt x="5147" y="8225"/>
                </a:lnTo>
                <a:cubicBezTo>
                  <a:pt x="5124" y="8232"/>
                  <a:pt x="5101" y="8240"/>
                  <a:pt x="5078" y="8247"/>
                </a:cubicBezTo>
                <a:cubicBezTo>
                  <a:pt x="5049" y="8240"/>
                  <a:pt x="5021" y="8232"/>
                  <a:pt x="4992" y="8225"/>
                </a:cubicBezTo>
                <a:cubicBezTo>
                  <a:pt x="4984" y="8202"/>
                  <a:pt x="4977" y="8180"/>
                  <a:pt x="4969" y="8157"/>
                </a:cubicBezTo>
                <a:cubicBezTo>
                  <a:pt x="4961" y="8127"/>
                  <a:pt x="4954" y="8097"/>
                  <a:pt x="4946" y="8067"/>
                </a:cubicBezTo>
                <a:cubicBezTo>
                  <a:pt x="4933" y="8060"/>
                  <a:pt x="4920" y="8052"/>
                  <a:pt x="4907" y="8045"/>
                </a:cubicBezTo>
                <a:cubicBezTo>
                  <a:pt x="4899" y="8023"/>
                  <a:pt x="4892" y="8000"/>
                  <a:pt x="4884" y="7978"/>
                </a:cubicBezTo>
                <a:lnTo>
                  <a:pt x="4791" y="7933"/>
                </a:lnTo>
                <a:cubicBezTo>
                  <a:pt x="4773" y="7963"/>
                  <a:pt x="4754" y="7992"/>
                  <a:pt x="4736" y="8022"/>
                </a:cubicBezTo>
                <a:cubicBezTo>
                  <a:pt x="4703" y="8007"/>
                  <a:pt x="4669" y="7993"/>
                  <a:pt x="4636" y="7978"/>
                </a:cubicBezTo>
                <a:lnTo>
                  <a:pt x="4597" y="7843"/>
                </a:lnTo>
                <a:cubicBezTo>
                  <a:pt x="4594" y="7805"/>
                  <a:pt x="4592" y="7768"/>
                  <a:pt x="4589" y="7730"/>
                </a:cubicBezTo>
                <a:lnTo>
                  <a:pt x="4496" y="7640"/>
                </a:lnTo>
                <a:lnTo>
                  <a:pt x="4388" y="7573"/>
                </a:lnTo>
                <a:cubicBezTo>
                  <a:pt x="4365" y="7640"/>
                  <a:pt x="4341" y="7708"/>
                  <a:pt x="4318" y="7775"/>
                </a:cubicBezTo>
                <a:cubicBezTo>
                  <a:pt x="4333" y="7828"/>
                  <a:pt x="4349" y="7880"/>
                  <a:pt x="4364" y="7933"/>
                </a:cubicBezTo>
                <a:cubicBezTo>
                  <a:pt x="4362" y="7963"/>
                  <a:pt x="4359" y="7992"/>
                  <a:pt x="4357" y="8022"/>
                </a:cubicBezTo>
                <a:cubicBezTo>
                  <a:pt x="4341" y="8060"/>
                  <a:pt x="4326" y="8097"/>
                  <a:pt x="4310" y="8135"/>
                </a:cubicBezTo>
                <a:cubicBezTo>
                  <a:pt x="4300" y="8112"/>
                  <a:pt x="4289" y="8090"/>
                  <a:pt x="4279" y="8067"/>
                </a:cubicBezTo>
                <a:lnTo>
                  <a:pt x="4155" y="8067"/>
                </a:lnTo>
                <a:cubicBezTo>
                  <a:pt x="4142" y="8022"/>
                  <a:pt x="4129" y="7978"/>
                  <a:pt x="4116" y="7933"/>
                </a:cubicBezTo>
                <a:lnTo>
                  <a:pt x="4039" y="7888"/>
                </a:lnTo>
                <a:cubicBezTo>
                  <a:pt x="4016" y="7880"/>
                  <a:pt x="3992" y="7873"/>
                  <a:pt x="3969" y="7865"/>
                </a:cubicBezTo>
                <a:lnTo>
                  <a:pt x="3837" y="8067"/>
                </a:lnTo>
                <a:cubicBezTo>
                  <a:pt x="3827" y="8097"/>
                  <a:pt x="3816" y="8127"/>
                  <a:pt x="3806" y="8157"/>
                </a:cubicBezTo>
                <a:cubicBezTo>
                  <a:pt x="3788" y="8165"/>
                  <a:pt x="3770" y="8172"/>
                  <a:pt x="3752" y="8180"/>
                </a:cubicBezTo>
                <a:cubicBezTo>
                  <a:pt x="3742" y="8210"/>
                  <a:pt x="3731" y="8240"/>
                  <a:pt x="3721" y="8270"/>
                </a:cubicBezTo>
                <a:lnTo>
                  <a:pt x="3659" y="8270"/>
                </a:lnTo>
                <a:cubicBezTo>
                  <a:pt x="3654" y="8217"/>
                  <a:pt x="3648" y="8165"/>
                  <a:pt x="3643" y="8112"/>
                </a:cubicBezTo>
                <a:lnTo>
                  <a:pt x="3558" y="8090"/>
                </a:lnTo>
                <a:cubicBezTo>
                  <a:pt x="3540" y="8053"/>
                  <a:pt x="3522" y="8015"/>
                  <a:pt x="3504" y="7978"/>
                </a:cubicBezTo>
                <a:cubicBezTo>
                  <a:pt x="3491" y="7925"/>
                  <a:pt x="3478" y="7873"/>
                  <a:pt x="3465" y="7820"/>
                </a:cubicBezTo>
                <a:lnTo>
                  <a:pt x="3357" y="7865"/>
                </a:lnTo>
                <a:cubicBezTo>
                  <a:pt x="3328" y="7820"/>
                  <a:pt x="3300" y="7775"/>
                  <a:pt x="3271" y="7730"/>
                </a:cubicBezTo>
                <a:lnTo>
                  <a:pt x="3256" y="7820"/>
                </a:lnTo>
                <a:lnTo>
                  <a:pt x="3225" y="7820"/>
                </a:lnTo>
                <a:cubicBezTo>
                  <a:pt x="3207" y="7730"/>
                  <a:pt x="3189" y="7641"/>
                  <a:pt x="3171" y="7551"/>
                </a:cubicBezTo>
                <a:cubicBezTo>
                  <a:pt x="3150" y="7461"/>
                  <a:pt x="3130" y="7371"/>
                  <a:pt x="3109" y="7281"/>
                </a:cubicBezTo>
                <a:cubicBezTo>
                  <a:pt x="3086" y="7236"/>
                  <a:pt x="3062" y="7191"/>
                  <a:pt x="3039" y="7146"/>
                </a:cubicBezTo>
                <a:cubicBezTo>
                  <a:pt x="3036" y="7109"/>
                  <a:pt x="3034" y="7071"/>
                  <a:pt x="3031" y="7034"/>
                </a:cubicBezTo>
                <a:lnTo>
                  <a:pt x="2946" y="7101"/>
                </a:lnTo>
                <a:lnTo>
                  <a:pt x="2876" y="7213"/>
                </a:lnTo>
                <a:cubicBezTo>
                  <a:pt x="2850" y="7176"/>
                  <a:pt x="2824" y="7138"/>
                  <a:pt x="2798" y="7101"/>
                </a:cubicBezTo>
                <a:cubicBezTo>
                  <a:pt x="2772" y="7079"/>
                  <a:pt x="2747" y="7056"/>
                  <a:pt x="2721" y="7034"/>
                </a:cubicBezTo>
                <a:cubicBezTo>
                  <a:pt x="2708" y="7011"/>
                  <a:pt x="2695" y="6989"/>
                  <a:pt x="2682" y="6966"/>
                </a:cubicBezTo>
                <a:cubicBezTo>
                  <a:pt x="2677" y="6914"/>
                  <a:pt x="2672" y="6861"/>
                  <a:pt x="2667" y="6809"/>
                </a:cubicBezTo>
                <a:cubicBezTo>
                  <a:pt x="2641" y="6802"/>
                  <a:pt x="2615" y="6794"/>
                  <a:pt x="2589" y="6787"/>
                </a:cubicBezTo>
                <a:cubicBezTo>
                  <a:pt x="2561" y="6802"/>
                  <a:pt x="2532" y="6816"/>
                  <a:pt x="2504" y="6831"/>
                </a:cubicBezTo>
                <a:lnTo>
                  <a:pt x="2163" y="7101"/>
                </a:lnTo>
                <a:cubicBezTo>
                  <a:pt x="2135" y="7109"/>
                  <a:pt x="2106" y="7116"/>
                  <a:pt x="2078" y="7124"/>
                </a:cubicBezTo>
                <a:cubicBezTo>
                  <a:pt x="2083" y="7161"/>
                  <a:pt x="2088" y="7199"/>
                  <a:pt x="2093" y="7236"/>
                </a:cubicBezTo>
                <a:cubicBezTo>
                  <a:pt x="2098" y="7266"/>
                  <a:pt x="2104" y="7296"/>
                  <a:pt x="2109" y="7326"/>
                </a:cubicBezTo>
                <a:cubicBezTo>
                  <a:pt x="2093" y="7341"/>
                  <a:pt x="2078" y="7356"/>
                  <a:pt x="2062" y="7371"/>
                </a:cubicBezTo>
                <a:cubicBezTo>
                  <a:pt x="2059" y="7408"/>
                  <a:pt x="2057" y="7446"/>
                  <a:pt x="2054" y="7483"/>
                </a:cubicBezTo>
                <a:cubicBezTo>
                  <a:pt x="2046" y="7506"/>
                  <a:pt x="2039" y="7528"/>
                  <a:pt x="2031" y="7551"/>
                </a:cubicBezTo>
                <a:cubicBezTo>
                  <a:pt x="2023" y="7581"/>
                  <a:pt x="2016" y="7610"/>
                  <a:pt x="2008" y="7640"/>
                </a:cubicBezTo>
                <a:lnTo>
                  <a:pt x="2062" y="7685"/>
                </a:lnTo>
                <a:cubicBezTo>
                  <a:pt x="2072" y="7715"/>
                  <a:pt x="2083" y="7745"/>
                  <a:pt x="2093" y="7775"/>
                </a:cubicBezTo>
                <a:cubicBezTo>
                  <a:pt x="2080" y="7813"/>
                  <a:pt x="2067" y="7850"/>
                  <a:pt x="2054" y="7888"/>
                </a:cubicBezTo>
                <a:cubicBezTo>
                  <a:pt x="2020" y="7895"/>
                  <a:pt x="1987" y="7903"/>
                  <a:pt x="1953" y="7910"/>
                </a:cubicBezTo>
                <a:cubicBezTo>
                  <a:pt x="1940" y="7873"/>
                  <a:pt x="1928" y="7835"/>
                  <a:pt x="1915" y="7798"/>
                </a:cubicBezTo>
                <a:lnTo>
                  <a:pt x="1845" y="7798"/>
                </a:lnTo>
                <a:lnTo>
                  <a:pt x="1760" y="7910"/>
                </a:lnTo>
                <a:cubicBezTo>
                  <a:pt x="1739" y="7903"/>
                  <a:pt x="1719" y="7895"/>
                  <a:pt x="1698" y="7888"/>
                </a:cubicBezTo>
                <a:lnTo>
                  <a:pt x="1612" y="7730"/>
                </a:lnTo>
                <a:lnTo>
                  <a:pt x="1473" y="7663"/>
                </a:lnTo>
                <a:cubicBezTo>
                  <a:pt x="1452" y="7685"/>
                  <a:pt x="1432" y="7708"/>
                  <a:pt x="1411" y="7730"/>
                </a:cubicBezTo>
                <a:cubicBezTo>
                  <a:pt x="1380" y="7798"/>
                  <a:pt x="1349" y="7865"/>
                  <a:pt x="1318" y="7933"/>
                </a:cubicBezTo>
                <a:cubicBezTo>
                  <a:pt x="1315" y="7978"/>
                  <a:pt x="1313" y="8022"/>
                  <a:pt x="1310" y="8067"/>
                </a:cubicBezTo>
                <a:cubicBezTo>
                  <a:pt x="1300" y="8082"/>
                  <a:pt x="1289" y="8097"/>
                  <a:pt x="1279" y="8112"/>
                </a:cubicBezTo>
                <a:cubicBezTo>
                  <a:pt x="1269" y="8052"/>
                  <a:pt x="1258" y="7993"/>
                  <a:pt x="1248" y="7933"/>
                </a:cubicBezTo>
                <a:cubicBezTo>
                  <a:pt x="1233" y="7985"/>
                  <a:pt x="1217" y="8038"/>
                  <a:pt x="1202" y="8090"/>
                </a:cubicBezTo>
                <a:lnTo>
                  <a:pt x="1178" y="8360"/>
                </a:lnTo>
                <a:cubicBezTo>
                  <a:pt x="1191" y="8412"/>
                  <a:pt x="1204" y="8465"/>
                  <a:pt x="1217" y="8517"/>
                </a:cubicBezTo>
                <a:lnTo>
                  <a:pt x="1271" y="8562"/>
                </a:lnTo>
                <a:cubicBezTo>
                  <a:pt x="1287" y="8622"/>
                  <a:pt x="1302" y="8682"/>
                  <a:pt x="1318" y="8742"/>
                </a:cubicBezTo>
                <a:cubicBezTo>
                  <a:pt x="1323" y="8794"/>
                  <a:pt x="1328" y="8847"/>
                  <a:pt x="1333" y="8899"/>
                </a:cubicBez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1" name="Freeform 103">
            <a:extLst>
              <a:ext uri="{FF2B5EF4-FFF2-40B4-BE49-F238E27FC236}">
                <a16:creationId xmlns:a16="http://schemas.microsoft.com/office/drawing/2014/main" id="{56B07742-81E1-492E-B0C0-93ACA30A1F5D}"/>
              </a:ext>
            </a:extLst>
          </p:cNvPr>
          <p:cNvSpPr>
            <a:spLocks/>
          </p:cNvSpPr>
          <p:nvPr/>
        </p:nvSpPr>
        <p:spPr bwMode="gray">
          <a:xfrm>
            <a:off x="7375296" y="1747963"/>
            <a:ext cx="544189" cy="388502"/>
          </a:xfrm>
          <a:custGeom>
            <a:avLst/>
            <a:gdLst>
              <a:gd name="T0" fmla="*/ 88 w 276"/>
              <a:gd name="T1" fmla="*/ 196 h 196"/>
              <a:gd name="T2" fmla="*/ 36 w 276"/>
              <a:gd name="T3" fmla="*/ 194 h 196"/>
              <a:gd name="T4" fmla="*/ 36 w 276"/>
              <a:gd name="T5" fmla="*/ 182 h 196"/>
              <a:gd name="T6" fmla="*/ 30 w 276"/>
              <a:gd name="T7" fmla="*/ 176 h 196"/>
              <a:gd name="T8" fmla="*/ 20 w 276"/>
              <a:gd name="T9" fmla="*/ 182 h 196"/>
              <a:gd name="T10" fmla="*/ 10 w 276"/>
              <a:gd name="T11" fmla="*/ 176 h 196"/>
              <a:gd name="T12" fmla="*/ 0 w 276"/>
              <a:gd name="T13" fmla="*/ 166 h 196"/>
              <a:gd name="T14" fmla="*/ 0 w 276"/>
              <a:gd name="T15" fmla="*/ 154 h 196"/>
              <a:gd name="T16" fmla="*/ 12 w 276"/>
              <a:gd name="T17" fmla="*/ 150 h 196"/>
              <a:gd name="T18" fmla="*/ 20 w 276"/>
              <a:gd name="T19" fmla="*/ 142 h 196"/>
              <a:gd name="T20" fmla="*/ 20 w 276"/>
              <a:gd name="T21" fmla="*/ 132 h 196"/>
              <a:gd name="T22" fmla="*/ 34 w 276"/>
              <a:gd name="T23" fmla="*/ 118 h 196"/>
              <a:gd name="T24" fmla="*/ 44 w 276"/>
              <a:gd name="T25" fmla="*/ 116 h 196"/>
              <a:gd name="T26" fmla="*/ 48 w 276"/>
              <a:gd name="T27" fmla="*/ 108 h 196"/>
              <a:gd name="T28" fmla="*/ 38 w 276"/>
              <a:gd name="T29" fmla="*/ 106 h 196"/>
              <a:gd name="T30" fmla="*/ 64 w 276"/>
              <a:gd name="T31" fmla="*/ 84 h 196"/>
              <a:gd name="T32" fmla="*/ 76 w 276"/>
              <a:gd name="T33" fmla="*/ 66 h 196"/>
              <a:gd name="T34" fmla="*/ 110 w 276"/>
              <a:gd name="T35" fmla="*/ 40 h 196"/>
              <a:gd name="T36" fmla="*/ 132 w 276"/>
              <a:gd name="T37" fmla="*/ 36 h 196"/>
              <a:gd name="T38" fmla="*/ 140 w 276"/>
              <a:gd name="T39" fmla="*/ 28 h 196"/>
              <a:gd name="T40" fmla="*/ 176 w 276"/>
              <a:gd name="T41" fmla="*/ 24 h 196"/>
              <a:gd name="T42" fmla="*/ 210 w 276"/>
              <a:gd name="T43" fmla="*/ 20 h 196"/>
              <a:gd name="T44" fmla="*/ 230 w 276"/>
              <a:gd name="T45" fmla="*/ 8 h 196"/>
              <a:gd name="T46" fmla="*/ 250 w 276"/>
              <a:gd name="T47" fmla="*/ 0 h 196"/>
              <a:gd name="T48" fmla="*/ 266 w 276"/>
              <a:gd name="T49" fmla="*/ 0 h 196"/>
              <a:gd name="T50" fmla="*/ 276 w 276"/>
              <a:gd name="T51" fmla="*/ 6 h 196"/>
              <a:gd name="T52" fmla="*/ 272 w 276"/>
              <a:gd name="T53" fmla="*/ 18 h 196"/>
              <a:gd name="T54" fmla="*/ 254 w 276"/>
              <a:gd name="T55" fmla="*/ 30 h 196"/>
              <a:gd name="T56" fmla="*/ 222 w 276"/>
              <a:gd name="T57" fmla="*/ 40 h 196"/>
              <a:gd name="T58" fmla="*/ 166 w 276"/>
              <a:gd name="T59" fmla="*/ 50 h 196"/>
              <a:gd name="T60" fmla="*/ 136 w 276"/>
              <a:gd name="T61" fmla="*/ 74 h 196"/>
              <a:gd name="T62" fmla="*/ 122 w 276"/>
              <a:gd name="T63" fmla="*/ 80 h 196"/>
              <a:gd name="T64" fmla="*/ 110 w 276"/>
              <a:gd name="T65" fmla="*/ 82 h 196"/>
              <a:gd name="T66" fmla="*/ 110 w 276"/>
              <a:gd name="T67" fmla="*/ 94 h 196"/>
              <a:gd name="T68" fmla="*/ 96 w 276"/>
              <a:gd name="T69" fmla="*/ 102 h 196"/>
              <a:gd name="T70" fmla="*/ 86 w 276"/>
              <a:gd name="T71" fmla="*/ 116 h 196"/>
              <a:gd name="T72" fmla="*/ 64 w 276"/>
              <a:gd name="T73" fmla="*/ 140 h 196"/>
              <a:gd name="T74" fmla="*/ 62 w 276"/>
              <a:gd name="T75" fmla="*/ 166 h 196"/>
              <a:gd name="T76" fmla="*/ 72 w 276"/>
              <a:gd name="T77" fmla="*/ 174 h 196"/>
              <a:gd name="T78" fmla="*/ 74 w 276"/>
              <a:gd name="T79" fmla="*/ 184 h 196"/>
              <a:gd name="T80" fmla="*/ 88 w 276"/>
              <a:gd name="T8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6" h="196">
                <a:moveTo>
                  <a:pt x="88" y="196"/>
                </a:moveTo>
                <a:lnTo>
                  <a:pt x="36" y="194"/>
                </a:lnTo>
                <a:lnTo>
                  <a:pt x="36" y="182"/>
                </a:lnTo>
                <a:lnTo>
                  <a:pt x="30" y="176"/>
                </a:lnTo>
                <a:lnTo>
                  <a:pt x="20" y="182"/>
                </a:lnTo>
                <a:lnTo>
                  <a:pt x="10" y="176"/>
                </a:lnTo>
                <a:lnTo>
                  <a:pt x="0" y="166"/>
                </a:lnTo>
                <a:lnTo>
                  <a:pt x="0" y="154"/>
                </a:lnTo>
                <a:lnTo>
                  <a:pt x="12" y="150"/>
                </a:lnTo>
                <a:lnTo>
                  <a:pt x="20" y="142"/>
                </a:lnTo>
                <a:lnTo>
                  <a:pt x="20" y="132"/>
                </a:lnTo>
                <a:lnTo>
                  <a:pt x="34" y="118"/>
                </a:lnTo>
                <a:lnTo>
                  <a:pt x="44" y="116"/>
                </a:lnTo>
                <a:lnTo>
                  <a:pt x="48" y="108"/>
                </a:lnTo>
                <a:lnTo>
                  <a:pt x="38" y="106"/>
                </a:lnTo>
                <a:lnTo>
                  <a:pt x="64" y="84"/>
                </a:lnTo>
                <a:lnTo>
                  <a:pt x="76" y="66"/>
                </a:lnTo>
                <a:lnTo>
                  <a:pt x="110" y="40"/>
                </a:lnTo>
                <a:lnTo>
                  <a:pt x="132" y="36"/>
                </a:lnTo>
                <a:lnTo>
                  <a:pt x="140" y="28"/>
                </a:lnTo>
                <a:lnTo>
                  <a:pt x="176" y="24"/>
                </a:lnTo>
                <a:lnTo>
                  <a:pt x="210" y="20"/>
                </a:lnTo>
                <a:lnTo>
                  <a:pt x="230" y="8"/>
                </a:lnTo>
                <a:lnTo>
                  <a:pt x="250" y="0"/>
                </a:lnTo>
                <a:lnTo>
                  <a:pt x="266" y="0"/>
                </a:lnTo>
                <a:lnTo>
                  <a:pt x="276" y="6"/>
                </a:lnTo>
                <a:lnTo>
                  <a:pt x="272" y="18"/>
                </a:lnTo>
                <a:lnTo>
                  <a:pt x="254" y="30"/>
                </a:lnTo>
                <a:lnTo>
                  <a:pt x="222" y="40"/>
                </a:lnTo>
                <a:lnTo>
                  <a:pt x="166" y="50"/>
                </a:lnTo>
                <a:lnTo>
                  <a:pt x="136" y="74"/>
                </a:lnTo>
                <a:lnTo>
                  <a:pt x="122" y="80"/>
                </a:lnTo>
                <a:lnTo>
                  <a:pt x="110" y="82"/>
                </a:lnTo>
                <a:lnTo>
                  <a:pt x="110" y="94"/>
                </a:lnTo>
                <a:lnTo>
                  <a:pt x="96" y="102"/>
                </a:lnTo>
                <a:lnTo>
                  <a:pt x="86" y="116"/>
                </a:lnTo>
                <a:lnTo>
                  <a:pt x="64" y="140"/>
                </a:lnTo>
                <a:lnTo>
                  <a:pt x="62" y="166"/>
                </a:lnTo>
                <a:lnTo>
                  <a:pt x="72" y="174"/>
                </a:lnTo>
                <a:lnTo>
                  <a:pt x="74" y="184"/>
                </a:lnTo>
                <a:lnTo>
                  <a:pt x="88" y="19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2" name="Freeform 104">
            <a:extLst>
              <a:ext uri="{FF2B5EF4-FFF2-40B4-BE49-F238E27FC236}">
                <a16:creationId xmlns:a16="http://schemas.microsoft.com/office/drawing/2014/main" id="{BE8346B6-8C6B-490F-9AD9-0986487C0075}"/>
              </a:ext>
            </a:extLst>
          </p:cNvPr>
          <p:cNvSpPr>
            <a:spLocks/>
          </p:cNvSpPr>
          <p:nvPr/>
        </p:nvSpPr>
        <p:spPr bwMode="gray">
          <a:xfrm>
            <a:off x="8869844" y="1585426"/>
            <a:ext cx="189283" cy="103072"/>
          </a:xfrm>
          <a:custGeom>
            <a:avLst/>
            <a:gdLst>
              <a:gd name="T0" fmla="*/ 0 w 96"/>
              <a:gd name="T1" fmla="*/ 48 h 52"/>
              <a:gd name="T2" fmla="*/ 16 w 96"/>
              <a:gd name="T3" fmla="*/ 30 h 52"/>
              <a:gd name="T4" fmla="*/ 28 w 96"/>
              <a:gd name="T5" fmla="*/ 14 h 52"/>
              <a:gd name="T6" fmla="*/ 40 w 96"/>
              <a:gd name="T7" fmla="*/ 2 h 52"/>
              <a:gd name="T8" fmla="*/ 58 w 96"/>
              <a:gd name="T9" fmla="*/ 0 h 52"/>
              <a:gd name="T10" fmla="*/ 54 w 96"/>
              <a:gd name="T11" fmla="*/ 14 h 52"/>
              <a:gd name="T12" fmla="*/ 70 w 96"/>
              <a:gd name="T13" fmla="*/ 6 h 52"/>
              <a:gd name="T14" fmla="*/ 82 w 96"/>
              <a:gd name="T15" fmla="*/ 16 h 52"/>
              <a:gd name="T16" fmla="*/ 96 w 96"/>
              <a:gd name="T17" fmla="*/ 22 h 52"/>
              <a:gd name="T18" fmla="*/ 94 w 96"/>
              <a:gd name="T19" fmla="*/ 32 h 52"/>
              <a:gd name="T20" fmla="*/ 86 w 96"/>
              <a:gd name="T21" fmla="*/ 40 h 52"/>
              <a:gd name="T22" fmla="*/ 58 w 96"/>
              <a:gd name="T23" fmla="*/ 40 h 52"/>
              <a:gd name="T24" fmla="*/ 26 w 96"/>
              <a:gd name="T25" fmla="*/ 42 h 52"/>
              <a:gd name="T26" fmla="*/ 20 w 96"/>
              <a:gd name="T27" fmla="*/ 48 h 52"/>
              <a:gd name="T28" fmla="*/ 8 w 96"/>
              <a:gd name="T29" fmla="*/ 52 h 52"/>
              <a:gd name="T30" fmla="*/ 0 w 96"/>
              <a:gd name="T31"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52">
                <a:moveTo>
                  <a:pt x="0" y="48"/>
                </a:moveTo>
                <a:lnTo>
                  <a:pt x="16" y="30"/>
                </a:lnTo>
                <a:lnTo>
                  <a:pt x="28" y="14"/>
                </a:lnTo>
                <a:lnTo>
                  <a:pt x="40" y="2"/>
                </a:lnTo>
                <a:lnTo>
                  <a:pt x="58" y="0"/>
                </a:lnTo>
                <a:lnTo>
                  <a:pt x="54" y="14"/>
                </a:lnTo>
                <a:lnTo>
                  <a:pt x="70" y="6"/>
                </a:lnTo>
                <a:lnTo>
                  <a:pt x="82" y="16"/>
                </a:lnTo>
                <a:lnTo>
                  <a:pt x="96" y="22"/>
                </a:lnTo>
                <a:lnTo>
                  <a:pt x="94" y="32"/>
                </a:lnTo>
                <a:lnTo>
                  <a:pt x="86" y="40"/>
                </a:lnTo>
                <a:lnTo>
                  <a:pt x="58" y="40"/>
                </a:lnTo>
                <a:lnTo>
                  <a:pt x="26" y="42"/>
                </a:lnTo>
                <a:lnTo>
                  <a:pt x="20" y="48"/>
                </a:lnTo>
                <a:lnTo>
                  <a:pt x="8" y="52"/>
                </a:lnTo>
                <a:lnTo>
                  <a:pt x="0" y="4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3" name="Freeform 105">
            <a:extLst>
              <a:ext uri="{FF2B5EF4-FFF2-40B4-BE49-F238E27FC236}">
                <a16:creationId xmlns:a16="http://schemas.microsoft.com/office/drawing/2014/main" id="{A2223B9B-50CE-44A8-8AFC-780400CFBBF8}"/>
              </a:ext>
            </a:extLst>
          </p:cNvPr>
          <p:cNvSpPr>
            <a:spLocks/>
          </p:cNvSpPr>
          <p:nvPr/>
        </p:nvSpPr>
        <p:spPr bwMode="gray">
          <a:xfrm>
            <a:off x="8696335" y="1529924"/>
            <a:ext cx="189283" cy="91180"/>
          </a:xfrm>
          <a:custGeom>
            <a:avLst/>
            <a:gdLst>
              <a:gd name="T0" fmla="*/ 0 w 96"/>
              <a:gd name="T1" fmla="*/ 22 h 46"/>
              <a:gd name="T2" fmla="*/ 16 w 96"/>
              <a:gd name="T3" fmla="*/ 6 h 46"/>
              <a:gd name="T4" fmla="*/ 46 w 96"/>
              <a:gd name="T5" fmla="*/ 0 h 46"/>
              <a:gd name="T6" fmla="*/ 64 w 96"/>
              <a:gd name="T7" fmla="*/ 2 h 46"/>
              <a:gd name="T8" fmla="*/ 64 w 96"/>
              <a:gd name="T9" fmla="*/ 10 h 46"/>
              <a:gd name="T10" fmla="*/ 76 w 96"/>
              <a:gd name="T11" fmla="*/ 8 h 46"/>
              <a:gd name="T12" fmla="*/ 88 w 96"/>
              <a:gd name="T13" fmla="*/ 6 h 46"/>
              <a:gd name="T14" fmla="*/ 96 w 96"/>
              <a:gd name="T15" fmla="*/ 14 h 46"/>
              <a:gd name="T16" fmla="*/ 96 w 96"/>
              <a:gd name="T17" fmla="*/ 26 h 46"/>
              <a:gd name="T18" fmla="*/ 84 w 96"/>
              <a:gd name="T19" fmla="*/ 36 h 46"/>
              <a:gd name="T20" fmla="*/ 92 w 96"/>
              <a:gd name="T21" fmla="*/ 46 h 46"/>
              <a:gd name="T22" fmla="*/ 54 w 96"/>
              <a:gd name="T23" fmla="*/ 46 h 46"/>
              <a:gd name="T24" fmla="*/ 40 w 96"/>
              <a:gd name="T25" fmla="*/ 40 h 46"/>
              <a:gd name="T26" fmla="*/ 16 w 96"/>
              <a:gd name="T27" fmla="*/ 40 h 46"/>
              <a:gd name="T28" fmla="*/ 8 w 96"/>
              <a:gd name="T29" fmla="*/ 28 h 46"/>
              <a:gd name="T30" fmla="*/ 0 w 96"/>
              <a:gd name="T31"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0" y="22"/>
                </a:moveTo>
                <a:lnTo>
                  <a:pt x="16" y="6"/>
                </a:lnTo>
                <a:lnTo>
                  <a:pt x="46" y="0"/>
                </a:lnTo>
                <a:lnTo>
                  <a:pt x="64" y="2"/>
                </a:lnTo>
                <a:lnTo>
                  <a:pt x="64" y="10"/>
                </a:lnTo>
                <a:lnTo>
                  <a:pt x="76" y="8"/>
                </a:lnTo>
                <a:lnTo>
                  <a:pt x="88" y="6"/>
                </a:lnTo>
                <a:lnTo>
                  <a:pt x="96" y="14"/>
                </a:lnTo>
                <a:lnTo>
                  <a:pt x="96" y="26"/>
                </a:lnTo>
                <a:lnTo>
                  <a:pt x="84" y="36"/>
                </a:lnTo>
                <a:lnTo>
                  <a:pt x="92" y="46"/>
                </a:lnTo>
                <a:lnTo>
                  <a:pt x="54" y="46"/>
                </a:lnTo>
                <a:lnTo>
                  <a:pt x="40" y="40"/>
                </a:lnTo>
                <a:lnTo>
                  <a:pt x="16" y="40"/>
                </a:lnTo>
                <a:lnTo>
                  <a:pt x="8" y="28"/>
                </a:lnTo>
                <a:lnTo>
                  <a:pt x="0" y="2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4" name="Freeform 106">
            <a:extLst>
              <a:ext uri="{FF2B5EF4-FFF2-40B4-BE49-F238E27FC236}">
                <a16:creationId xmlns:a16="http://schemas.microsoft.com/office/drawing/2014/main" id="{C153172E-FE3C-4EB4-A4E7-F698D581BCCA}"/>
              </a:ext>
            </a:extLst>
          </p:cNvPr>
          <p:cNvSpPr>
            <a:spLocks/>
          </p:cNvSpPr>
          <p:nvPr/>
        </p:nvSpPr>
        <p:spPr bwMode="gray">
          <a:xfrm>
            <a:off x="8649013" y="1446673"/>
            <a:ext cx="165623" cy="87216"/>
          </a:xfrm>
          <a:custGeom>
            <a:avLst/>
            <a:gdLst>
              <a:gd name="T0" fmla="*/ 0 w 84"/>
              <a:gd name="T1" fmla="*/ 34 h 44"/>
              <a:gd name="T2" fmla="*/ 22 w 84"/>
              <a:gd name="T3" fmla="*/ 44 h 44"/>
              <a:gd name="T4" fmla="*/ 36 w 84"/>
              <a:gd name="T5" fmla="*/ 42 h 44"/>
              <a:gd name="T6" fmla="*/ 56 w 84"/>
              <a:gd name="T7" fmla="*/ 38 h 44"/>
              <a:gd name="T8" fmla="*/ 74 w 84"/>
              <a:gd name="T9" fmla="*/ 36 h 44"/>
              <a:gd name="T10" fmla="*/ 76 w 84"/>
              <a:gd name="T11" fmla="*/ 28 h 44"/>
              <a:gd name="T12" fmla="*/ 84 w 84"/>
              <a:gd name="T13" fmla="*/ 22 h 44"/>
              <a:gd name="T14" fmla="*/ 72 w 84"/>
              <a:gd name="T15" fmla="*/ 14 h 44"/>
              <a:gd name="T16" fmla="*/ 60 w 84"/>
              <a:gd name="T17" fmla="*/ 2 h 44"/>
              <a:gd name="T18" fmla="*/ 44 w 84"/>
              <a:gd name="T19" fmla="*/ 0 h 44"/>
              <a:gd name="T20" fmla="*/ 40 w 84"/>
              <a:gd name="T21" fmla="*/ 10 h 44"/>
              <a:gd name="T22" fmla="*/ 16 w 84"/>
              <a:gd name="T23" fmla="*/ 12 h 44"/>
              <a:gd name="T24" fmla="*/ 12 w 84"/>
              <a:gd name="T25" fmla="*/ 18 h 44"/>
              <a:gd name="T26" fmla="*/ 10 w 84"/>
              <a:gd name="T27" fmla="*/ 28 h 44"/>
              <a:gd name="T28" fmla="*/ 0 w 84"/>
              <a:gd name="T2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44">
                <a:moveTo>
                  <a:pt x="0" y="34"/>
                </a:moveTo>
                <a:lnTo>
                  <a:pt x="22" y="44"/>
                </a:lnTo>
                <a:lnTo>
                  <a:pt x="36" y="42"/>
                </a:lnTo>
                <a:lnTo>
                  <a:pt x="56" y="38"/>
                </a:lnTo>
                <a:lnTo>
                  <a:pt x="74" y="36"/>
                </a:lnTo>
                <a:lnTo>
                  <a:pt x="76" y="28"/>
                </a:lnTo>
                <a:lnTo>
                  <a:pt x="84" y="22"/>
                </a:lnTo>
                <a:lnTo>
                  <a:pt x="72" y="14"/>
                </a:lnTo>
                <a:lnTo>
                  <a:pt x="60" y="2"/>
                </a:lnTo>
                <a:lnTo>
                  <a:pt x="44" y="0"/>
                </a:lnTo>
                <a:lnTo>
                  <a:pt x="40" y="10"/>
                </a:lnTo>
                <a:lnTo>
                  <a:pt x="16" y="12"/>
                </a:lnTo>
                <a:lnTo>
                  <a:pt x="12" y="18"/>
                </a:lnTo>
                <a:lnTo>
                  <a:pt x="10" y="28"/>
                </a:lnTo>
                <a:lnTo>
                  <a:pt x="0" y="3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5" name="Freeform 107">
            <a:extLst>
              <a:ext uri="{FF2B5EF4-FFF2-40B4-BE49-F238E27FC236}">
                <a16:creationId xmlns:a16="http://schemas.microsoft.com/office/drawing/2014/main" id="{0FFEF5BE-C749-48E1-AD69-E6622BD89A7E}"/>
              </a:ext>
            </a:extLst>
          </p:cNvPr>
          <p:cNvSpPr>
            <a:spLocks/>
          </p:cNvSpPr>
          <p:nvPr/>
        </p:nvSpPr>
        <p:spPr bwMode="gray">
          <a:xfrm>
            <a:off x="10052864" y="1807426"/>
            <a:ext cx="252377" cy="87216"/>
          </a:xfrm>
          <a:custGeom>
            <a:avLst/>
            <a:gdLst>
              <a:gd name="T0" fmla="*/ 38 w 128"/>
              <a:gd name="T1" fmla="*/ 42 h 44"/>
              <a:gd name="T2" fmla="*/ 26 w 128"/>
              <a:gd name="T3" fmla="*/ 44 h 44"/>
              <a:gd name="T4" fmla="*/ 2 w 128"/>
              <a:gd name="T5" fmla="*/ 32 h 44"/>
              <a:gd name="T6" fmla="*/ 0 w 128"/>
              <a:gd name="T7" fmla="*/ 20 h 44"/>
              <a:gd name="T8" fmla="*/ 6 w 128"/>
              <a:gd name="T9" fmla="*/ 6 h 44"/>
              <a:gd name="T10" fmla="*/ 18 w 128"/>
              <a:gd name="T11" fmla="*/ 0 h 44"/>
              <a:gd name="T12" fmla="*/ 30 w 128"/>
              <a:gd name="T13" fmla="*/ 0 h 44"/>
              <a:gd name="T14" fmla="*/ 46 w 128"/>
              <a:gd name="T15" fmla="*/ 8 h 44"/>
              <a:gd name="T16" fmla="*/ 58 w 128"/>
              <a:gd name="T17" fmla="*/ 16 h 44"/>
              <a:gd name="T18" fmla="*/ 64 w 128"/>
              <a:gd name="T19" fmla="*/ 4 h 44"/>
              <a:gd name="T20" fmla="*/ 76 w 128"/>
              <a:gd name="T21" fmla="*/ 4 h 44"/>
              <a:gd name="T22" fmla="*/ 86 w 128"/>
              <a:gd name="T23" fmla="*/ 10 h 44"/>
              <a:gd name="T24" fmla="*/ 100 w 128"/>
              <a:gd name="T25" fmla="*/ 8 h 44"/>
              <a:gd name="T26" fmla="*/ 120 w 128"/>
              <a:gd name="T27" fmla="*/ 14 h 44"/>
              <a:gd name="T28" fmla="*/ 128 w 128"/>
              <a:gd name="T29" fmla="*/ 20 h 44"/>
              <a:gd name="T30" fmla="*/ 120 w 128"/>
              <a:gd name="T31" fmla="*/ 32 h 44"/>
              <a:gd name="T32" fmla="*/ 104 w 128"/>
              <a:gd name="T33" fmla="*/ 36 h 44"/>
              <a:gd name="T34" fmla="*/ 92 w 128"/>
              <a:gd name="T35" fmla="*/ 32 h 44"/>
              <a:gd name="T36" fmla="*/ 86 w 128"/>
              <a:gd name="T37" fmla="*/ 24 h 44"/>
              <a:gd name="T38" fmla="*/ 90 w 128"/>
              <a:gd name="T39" fmla="*/ 14 h 44"/>
              <a:gd name="T40" fmla="*/ 78 w 128"/>
              <a:gd name="T41" fmla="*/ 16 h 44"/>
              <a:gd name="T42" fmla="*/ 80 w 128"/>
              <a:gd name="T43" fmla="*/ 24 h 44"/>
              <a:gd name="T44" fmla="*/ 84 w 128"/>
              <a:gd name="T45" fmla="*/ 30 h 44"/>
              <a:gd name="T46" fmla="*/ 88 w 128"/>
              <a:gd name="T47" fmla="*/ 38 h 44"/>
              <a:gd name="T48" fmla="*/ 78 w 128"/>
              <a:gd name="T49" fmla="*/ 38 h 44"/>
              <a:gd name="T50" fmla="*/ 62 w 128"/>
              <a:gd name="T51" fmla="*/ 36 h 44"/>
              <a:gd name="T52" fmla="*/ 48 w 128"/>
              <a:gd name="T53" fmla="*/ 36 h 44"/>
              <a:gd name="T54" fmla="*/ 38 w 128"/>
              <a:gd name="T55" fmla="*/ 34 h 44"/>
              <a:gd name="T56" fmla="*/ 38 w 128"/>
              <a:gd name="T5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44">
                <a:moveTo>
                  <a:pt x="38" y="42"/>
                </a:moveTo>
                <a:lnTo>
                  <a:pt x="26" y="44"/>
                </a:lnTo>
                <a:lnTo>
                  <a:pt x="2" y="32"/>
                </a:lnTo>
                <a:lnTo>
                  <a:pt x="0" y="20"/>
                </a:lnTo>
                <a:lnTo>
                  <a:pt x="6" y="6"/>
                </a:lnTo>
                <a:lnTo>
                  <a:pt x="18" y="0"/>
                </a:lnTo>
                <a:lnTo>
                  <a:pt x="30" y="0"/>
                </a:lnTo>
                <a:lnTo>
                  <a:pt x="46" y="8"/>
                </a:lnTo>
                <a:lnTo>
                  <a:pt x="58" y="16"/>
                </a:lnTo>
                <a:lnTo>
                  <a:pt x="64" y="4"/>
                </a:lnTo>
                <a:lnTo>
                  <a:pt x="76" y="4"/>
                </a:lnTo>
                <a:lnTo>
                  <a:pt x="86" y="10"/>
                </a:lnTo>
                <a:lnTo>
                  <a:pt x="100" y="8"/>
                </a:lnTo>
                <a:lnTo>
                  <a:pt x="120" y="14"/>
                </a:lnTo>
                <a:lnTo>
                  <a:pt x="128" y="20"/>
                </a:lnTo>
                <a:lnTo>
                  <a:pt x="120" y="32"/>
                </a:lnTo>
                <a:lnTo>
                  <a:pt x="104" y="36"/>
                </a:lnTo>
                <a:lnTo>
                  <a:pt x="92" y="32"/>
                </a:lnTo>
                <a:lnTo>
                  <a:pt x="86" y="24"/>
                </a:lnTo>
                <a:lnTo>
                  <a:pt x="90" y="14"/>
                </a:lnTo>
                <a:lnTo>
                  <a:pt x="78" y="16"/>
                </a:lnTo>
                <a:lnTo>
                  <a:pt x="80" y="24"/>
                </a:lnTo>
                <a:lnTo>
                  <a:pt x="84" y="30"/>
                </a:lnTo>
                <a:lnTo>
                  <a:pt x="88" y="38"/>
                </a:lnTo>
                <a:lnTo>
                  <a:pt x="78" y="38"/>
                </a:lnTo>
                <a:lnTo>
                  <a:pt x="62" y="36"/>
                </a:lnTo>
                <a:lnTo>
                  <a:pt x="48" y="36"/>
                </a:lnTo>
                <a:lnTo>
                  <a:pt x="38" y="34"/>
                </a:lnTo>
                <a:lnTo>
                  <a:pt x="38" y="4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6" name="Freeform 108">
            <a:extLst>
              <a:ext uri="{FF2B5EF4-FFF2-40B4-BE49-F238E27FC236}">
                <a16:creationId xmlns:a16="http://schemas.microsoft.com/office/drawing/2014/main" id="{1C210222-5811-4AE1-A280-98B50AE7D8F0}"/>
              </a:ext>
            </a:extLst>
          </p:cNvPr>
          <p:cNvSpPr>
            <a:spLocks/>
          </p:cNvSpPr>
          <p:nvPr/>
        </p:nvSpPr>
        <p:spPr bwMode="gray">
          <a:xfrm>
            <a:off x="10336789" y="1847071"/>
            <a:ext cx="145905" cy="47572"/>
          </a:xfrm>
          <a:custGeom>
            <a:avLst/>
            <a:gdLst>
              <a:gd name="T0" fmla="*/ 6 w 74"/>
              <a:gd name="T1" fmla="*/ 0 h 24"/>
              <a:gd name="T2" fmla="*/ 16 w 74"/>
              <a:gd name="T3" fmla="*/ 4 h 24"/>
              <a:gd name="T4" fmla="*/ 36 w 74"/>
              <a:gd name="T5" fmla="*/ 4 h 24"/>
              <a:gd name="T6" fmla="*/ 50 w 74"/>
              <a:gd name="T7" fmla="*/ 8 h 24"/>
              <a:gd name="T8" fmla="*/ 68 w 74"/>
              <a:gd name="T9" fmla="*/ 10 h 24"/>
              <a:gd name="T10" fmla="*/ 74 w 74"/>
              <a:gd name="T11" fmla="*/ 14 h 24"/>
              <a:gd name="T12" fmla="*/ 60 w 74"/>
              <a:gd name="T13" fmla="*/ 20 h 24"/>
              <a:gd name="T14" fmla="*/ 48 w 74"/>
              <a:gd name="T15" fmla="*/ 24 h 24"/>
              <a:gd name="T16" fmla="*/ 36 w 74"/>
              <a:gd name="T17" fmla="*/ 24 h 24"/>
              <a:gd name="T18" fmla="*/ 20 w 74"/>
              <a:gd name="T19" fmla="*/ 20 h 24"/>
              <a:gd name="T20" fmla="*/ 4 w 74"/>
              <a:gd name="T21" fmla="*/ 16 h 24"/>
              <a:gd name="T22" fmla="*/ 0 w 74"/>
              <a:gd name="T23" fmla="*/ 8 h 24"/>
              <a:gd name="T24" fmla="*/ 6 w 7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24">
                <a:moveTo>
                  <a:pt x="6" y="0"/>
                </a:moveTo>
                <a:lnTo>
                  <a:pt x="16" y="4"/>
                </a:lnTo>
                <a:lnTo>
                  <a:pt x="36" y="4"/>
                </a:lnTo>
                <a:lnTo>
                  <a:pt x="50" y="8"/>
                </a:lnTo>
                <a:lnTo>
                  <a:pt x="68" y="10"/>
                </a:lnTo>
                <a:lnTo>
                  <a:pt x="74" y="14"/>
                </a:lnTo>
                <a:lnTo>
                  <a:pt x="60" y="20"/>
                </a:lnTo>
                <a:lnTo>
                  <a:pt x="48" y="24"/>
                </a:lnTo>
                <a:lnTo>
                  <a:pt x="36" y="24"/>
                </a:lnTo>
                <a:lnTo>
                  <a:pt x="20" y="20"/>
                </a:lnTo>
                <a:lnTo>
                  <a:pt x="4" y="16"/>
                </a:lnTo>
                <a:lnTo>
                  <a:pt x="0" y="8"/>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7" name="Freeform 109">
            <a:extLst>
              <a:ext uri="{FF2B5EF4-FFF2-40B4-BE49-F238E27FC236}">
                <a16:creationId xmlns:a16="http://schemas.microsoft.com/office/drawing/2014/main" id="{4E0D1C02-7CEF-453D-9452-07F889A05D9D}"/>
              </a:ext>
            </a:extLst>
          </p:cNvPr>
          <p:cNvSpPr>
            <a:spLocks/>
          </p:cNvSpPr>
          <p:nvPr/>
        </p:nvSpPr>
        <p:spPr bwMode="gray">
          <a:xfrm>
            <a:off x="11354187" y="2077000"/>
            <a:ext cx="114358" cy="47572"/>
          </a:xfrm>
          <a:custGeom>
            <a:avLst/>
            <a:gdLst>
              <a:gd name="T0" fmla="*/ 0 w 58"/>
              <a:gd name="T1" fmla="*/ 16 h 24"/>
              <a:gd name="T2" fmla="*/ 2 w 58"/>
              <a:gd name="T3" fmla="*/ 24 h 24"/>
              <a:gd name="T4" fmla="*/ 10 w 58"/>
              <a:gd name="T5" fmla="*/ 24 h 24"/>
              <a:gd name="T6" fmla="*/ 24 w 58"/>
              <a:gd name="T7" fmla="*/ 24 h 24"/>
              <a:gd name="T8" fmla="*/ 46 w 58"/>
              <a:gd name="T9" fmla="*/ 20 h 24"/>
              <a:gd name="T10" fmla="*/ 58 w 58"/>
              <a:gd name="T11" fmla="*/ 18 h 24"/>
              <a:gd name="T12" fmla="*/ 58 w 58"/>
              <a:gd name="T13" fmla="*/ 8 h 24"/>
              <a:gd name="T14" fmla="*/ 48 w 58"/>
              <a:gd name="T15" fmla="*/ 4 h 24"/>
              <a:gd name="T16" fmla="*/ 36 w 58"/>
              <a:gd name="T17" fmla="*/ 0 h 24"/>
              <a:gd name="T18" fmla="*/ 22 w 58"/>
              <a:gd name="T19" fmla="*/ 2 h 24"/>
              <a:gd name="T20" fmla="*/ 14 w 58"/>
              <a:gd name="T21" fmla="*/ 8 h 24"/>
              <a:gd name="T22" fmla="*/ 0 w 58"/>
              <a:gd name="T2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4">
                <a:moveTo>
                  <a:pt x="0" y="16"/>
                </a:moveTo>
                <a:lnTo>
                  <a:pt x="2" y="24"/>
                </a:lnTo>
                <a:lnTo>
                  <a:pt x="10" y="24"/>
                </a:lnTo>
                <a:lnTo>
                  <a:pt x="24" y="24"/>
                </a:lnTo>
                <a:lnTo>
                  <a:pt x="46" y="20"/>
                </a:lnTo>
                <a:lnTo>
                  <a:pt x="58" y="18"/>
                </a:lnTo>
                <a:lnTo>
                  <a:pt x="58" y="8"/>
                </a:lnTo>
                <a:lnTo>
                  <a:pt x="48" y="4"/>
                </a:lnTo>
                <a:lnTo>
                  <a:pt x="36" y="0"/>
                </a:lnTo>
                <a:lnTo>
                  <a:pt x="22" y="2"/>
                </a:lnTo>
                <a:lnTo>
                  <a:pt x="14" y="8"/>
                </a:lnTo>
                <a:lnTo>
                  <a:pt x="0" y="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8" name="Freeform 110">
            <a:extLst>
              <a:ext uri="{FF2B5EF4-FFF2-40B4-BE49-F238E27FC236}">
                <a16:creationId xmlns:a16="http://schemas.microsoft.com/office/drawing/2014/main" id="{DD57D767-EC9F-4BB8-80B7-E61EE01ACF74}"/>
              </a:ext>
            </a:extLst>
          </p:cNvPr>
          <p:cNvSpPr>
            <a:spLocks/>
          </p:cNvSpPr>
          <p:nvPr/>
        </p:nvSpPr>
        <p:spPr bwMode="gray">
          <a:xfrm>
            <a:off x="10198770" y="2941220"/>
            <a:ext cx="82810" cy="344895"/>
          </a:xfrm>
          <a:custGeom>
            <a:avLst/>
            <a:gdLst>
              <a:gd name="T0" fmla="*/ 0 w 42"/>
              <a:gd name="T1" fmla="*/ 166 h 174"/>
              <a:gd name="T2" fmla="*/ 6 w 42"/>
              <a:gd name="T3" fmla="*/ 174 h 174"/>
              <a:gd name="T4" fmla="*/ 10 w 42"/>
              <a:gd name="T5" fmla="*/ 160 h 174"/>
              <a:gd name="T6" fmla="*/ 18 w 42"/>
              <a:gd name="T7" fmla="*/ 162 h 174"/>
              <a:gd name="T8" fmla="*/ 24 w 42"/>
              <a:gd name="T9" fmla="*/ 170 h 174"/>
              <a:gd name="T10" fmla="*/ 26 w 42"/>
              <a:gd name="T11" fmla="*/ 162 h 174"/>
              <a:gd name="T12" fmla="*/ 22 w 42"/>
              <a:gd name="T13" fmla="*/ 154 h 174"/>
              <a:gd name="T14" fmla="*/ 14 w 42"/>
              <a:gd name="T15" fmla="*/ 144 h 174"/>
              <a:gd name="T16" fmla="*/ 10 w 42"/>
              <a:gd name="T17" fmla="*/ 134 h 174"/>
              <a:gd name="T18" fmla="*/ 14 w 42"/>
              <a:gd name="T19" fmla="*/ 126 h 174"/>
              <a:gd name="T20" fmla="*/ 18 w 42"/>
              <a:gd name="T21" fmla="*/ 114 h 174"/>
              <a:gd name="T22" fmla="*/ 22 w 42"/>
              <a:gd name="T23" fmla="*/ 108 h 174"/>
              <a:gd name="T24" fmla="*/ 30 w 42"/>
              <a:gd name="T25" fmla="*/ 106 h 174"/>
              <a:gd name="T26" fmla="*/ 42 w 42"/>
              <a:gd name="T27" fmla="*/ 116 h 174"/>
              <a:gd name="T28" fmla="*/ 42 w 42"/>
              <a:gd name="T29" fmla="*/ 104 h 174"/>
              <a:gd name="T30" fmla="*/ 32 w 42"/>
              <a:gd name="T31" fmla="*/ 88 h 174"/>
              <a:gd name="T32" fmla="*/ 28 w 42"/>
              <a:gd name="T33" fmla="*/ 62 h 174"/>
              <a:gd name="T34" fmla="*/ 24 w 42"/>
              <a:gd name="T35" fmla="*/ 42 h 174"/>
              <a:gd name="T36" fmla="*/ 22 w 42"/>
              <a:gd name="T37" fmla="*/ 26 h 174"/>
              <a:gd name="T38" fmla="*/ 20 w 42"/>
              <a:gd name="T39" fmla="*/ 12 h 174"/>
              <a:gd name="T40" fmla="*/ 16 w 42"/>
              <a:gd name="T41" fmla="*/ 0 h 174"/>
              <a:gd name="T42" fmla="*/ 12 w 42"/>
              <a:gd name="T43" fmla="*/ 6 h 174"/>
              <a:gd name="T44" fmla="*/ 12 w 42"/>
              <a:gd name="T45" fmla="*/ 16 h 174"/>
              <a:gd name="T46" fmla="*/ 2 w 42"/>
              <a:gd name="T47" fmla="*/ 20 h 174"/>
              <a:gd name="T48" fmla="*/ 2 w 42"/>
              <a:gd name="T49" fmla="*/ 36 h 174"/>
              <a:gd name="T50" fmla="*/ 2 w 42"/>
              <a:gd name="T51" fmla="*/ 50 h 174"/>
              <a:gd name="T52" fmla="*/ 2 w 42"/>
              <a:gd name="T53" fmla="*/ 62 h 174"/>
              <a:gd name="T54" fmla="*/ 8 w 42"/>
              <a:gd name="T55" fmla="*/ 70 h 174"/>
              <a:gd name="T56" fmla="*/ 6 w 42"/>
              <a:gd name="T57" fmla="*/ 82 h 174"/>
              <a:gd name="T58" fmla="*/ 6 w 42"/>
              <a:gd name="T59" fmla="*/ 102 h 174"/>
              <a:gd name="T60" fmla="*/ 6 w 42"/>
              <a:gd name="T61" fmla="*/ 126 h 174"/>
              <a:gd name="T62" fmla="*/ 6 w 42"/>
              <a:gd name="T63" fmla="*/ 146 h 174"/>
              <a:gd name="T64" fmla="*/ 6 w 42"/>
              <a:gd name="T65" fmla="*/ 158 h 174"/>
              <a:gd name="T66" fmla="*/ 0 w 42"/>
              <a:gd name="T67"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174">
                <a:moveTo>
                  <a:pt x="0" y="166"/>
                </a:moveTo>
                <a:lnTo>
                  <a:pt x="6" y="174"/>
                </a:lnTo>
                <a:lnTo>
                  <a:pt x="10" y="160"/>
                </a:lnTo>
                <a:lnTo>
                  <a:pt x="18" y="162"/>
                </a:lnTo>
                <a:lnTo>
                  <a:pt x="24" y="170"/>
                </a:lnTo>
                <a:lnTo>
                  <a:pt x="26" y="162"/>
                </a:lnTo>
                <a:lnTo>
                  <a:pt x="22" y="154"/>
                </a:lnTo>
                <a:lnTo>
                  <a:pt x="14" y="144"/>
                </a:lnTo>
                <a:lnTo>
                  <a:pt x="10" y="134"/>
                </a:lnTo>
                <a:lnTo>
                  <a:pt x="14" y="126"/>
                </a:lnTo>
                <a:lnTo>
                  <a:pt x="18" y="114"/>
                </a:lnTo>
                <a:lnTo>
                  <a:pt x="22" y="108"/>
                </a:lnTo>
                <a:lnTo>
                  <a:pt x="30" y="106"/>
                </a:lnTo>
                <a:lnTo>
                  <a:pt x="42" y="116"/>
                </a:lnTo>
                <a:lnTo>
                  <a:pt x="42" y="104"/>
                </a:lnTo>
                <a:lnTo>
                  <a:pt x="32" y="88"/>
                </a:lnTo>
                <a:lnTo>
                  <a:pt x="28" y="62"/>
                </a:lnTo>
                <a:lnTo>
                  <a:pt x="24" y="42"/>
                </a:lnTo>
                <a:lnTo>
                  <a:pt x="22" y="26"/>
                </a:lnTo>
                <a:lnTo>
                  <a:pt x="20" y="12"/>
                </a:lnTo>
                <a:lnTo>
                  <a:pt x="16" y="0"/>
                </a:lnTo>
                <a:lnTo>
                  <a:pt x="12" y="6"/>
                </a:lnTo>
                <a:lnTo>
                  <a:pt x="12" y="16"/>
                </a:lnTo>
                <a:lnTo>
                  <a:pt x="2" y="20"/>
                </a:lnTo>
                <a:lnTo>
                  <a:pt x="2" y="36"/>
                </a:lnTo>
                <a:lnTo>
                  <a:pt x="2" y="50"/>
                </a:lnTo>
                <a:lnTo>
                  <a:pt x="2" y="62"/>
                </a:lnTo>
                <a:lnTo>
                  <a:pt x="8" y="70"/>
                </a:lnTo>
                <a:lnTo>
                  <a:pt x="6" y="82"/>
                </a:lnTo>
                <a:lnTo>
                  <a:pt x="6" y="102"/>
                </a:lnTo>
                <a:lnTo>
                  <a:pt x="6" y="126"/>
                </a:lnTo>
                <a:lnTo>
                  <a:pt x="6" y="146"/>
                </a:lnTo>
                <a:lnTo>
                  <a:pt x="6" y="158"/>
                </a:lnTo>
                <a:lnTo>
                  <a:pt x="0" y="16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19" name="Freeform 111">
            <a:extLst>
              <a:ext uri="{FF2B5EF4-FFF2-40B4-BE49-F238E27FC236}">
                <a16:creationId xmlns:a16="http://schemas.microsoft.com/office/drawing/2014/main" id="{3245B4F7-0224-4E0F-B2BE-BC1E0F756A1C}"/>
              </a:ext>
            </a:extLst>
          </p:cNvPr>
          <p:cNvSpPr>
            <a:spLocks/>
          </p:cNvSpPr>
          <p:nvPr/>
        </p:nvSpPr>
        <p:spPr bwMode="gray">
          <a:xfrm>
            <a:off x="7162354" y="3520011"/>
            <a:ext cx="47321" cy="39644"/>
          </a:xfrm>
          <a:custGeom>
            <a:avLst/>
            <a:gdLst>
              <a:gd name="T0" fmla="*/ 22 w 24"/>
              <a:gd name="T1" fmla="*/ 20 h 20"/>
              <a:gd name="T2" fmla="*/ 14 w 24"/>
              <a:gd name="T3" fmla="*/ 16 h 20"/>
              <a:gd name="T4" fmla="*/ 8 w 24"/>
              <a:gd name="T5" fmla="*/ 12 h 20"/>
              <a:gd name="T6" fmla="*/ 0 w 24"/>
              <a:gd name="T7" fmla="*/ 4 h 20"/>
              <a:gd name="T8" fmla="*/ 2 w 24"/>
              <a:gd name="T9" fmla="*/ 0 h 20"/>
              <a:gd name="T10" fmla="*/ 10 w 24"/>
              <a:gd name="T11" fmla="*/ 0 h 20"/>
              <a:gd name="T12" fmla="*/ 16 w 24"/>
              <a:gd name="T13" fmla="*/ 4 h 20"/>
              <a:gd name="T14" fmla="*/ 22 w 24"/>
              <a:gd name="T15" fmla="*/ 6 h 20"/>
              <a:gd name="T16" fmla="*/ 24 w 24"/>
              <a:gd name="T17" fmla="*/ 14 h 20"/>
              <a:gd name="T18" fmla="*/ 22 w 24"/>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22" y="20"/>
                </a:moveTo>
                <a:lnTo>
                  <a:pt x="14" y="16"/>
                </a:lnTo>
                <a:lnTo>
                  <a:pt x="8" y="12"/>
                </a:lnTo>
                <a:lnTo>
                  <a:pt x="0" y="4"/>
                </a:lnTo>
                <a:lnTo>
                  <a:pt x="2" y="0"/>
                </a:lnTo>
                <a:lnTo>
                  <a:pt x="10" y="0"/>
                </a:lnTo>
                <a:lnTo>
                  <a:pt x="16" y="4"/>
                </a:lnTo>
                <a:lnTo>
                  <a:pt x="22" y="6"/>
                </a:lnTo>
                <a:lnTo>
                  <a:pt x="24" y="14"/>
                </a:lnTo>
                <a:lnTo>
                  <a:pt x="22" y="2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0" name="Freeform 112">
            <a:extLst>
              <a:ext uri="{FF2B5EF4-FFF2-40B4-BE49-F238E27FC236}">
                <a16:creationId xmlns:a16="http://schemas.microsoft.com/office/drawing/2014/main" id="{12099CD8-BF4C-46FA-BAC3-A3018363E4E4}"/>
              </a:ext>
            </a:extLst>
          </p:cNvPr>
          <p:cNvSpPr>
            <a:spLocks/>
          </p:cNvSpPr>
          <p:nvPr/>
        </p:nvSpPr>
        <p:spPr bwMode="gray">
          <a:xfrm>
            <a:off x="6779844" y="3678582"/>
            <a:ext cx="59151" cy="31714"/>
          </a:xfrm>
          <a:custGeom>
            <a:avLst/>
            <a:gdLst>
              <a:gd name="T0" fmla="*/ 8 w 30"/>
              <a:gd name="T1" fmla="*/ 6 h 16"/>
              <a:gd name="T2" fmla="*/ 16 w 30"/>
              <a:gd name="T3" fmla="*/ 4 h 16"/>
              <a:gd name="T4" fmla="*/ 24 w 30"/>
              <a:gd name="T5" fmla="*/ 4 h 16"/>
              <a:gd name="T6" fmla="*/ 30 w 30"/>
              <a:gd name="T7" fmla="*/ 0 h 16"/>
              <a:gd name="T8" fmla="*/ 22 w 30"/>
              <a:gd name="T9" fmla="*/ 8 h 16"/>
              <a:gd name="T10" fmla="*/ 18 w 30"/>
              <a:gd name="T11" fmla="*/ 12 h 16"/>
              <a:gd name="T12" fmla="*/ 12 w 30"/>
              <a:gd name="T13" fmla="*/ 16 h 16"/>
              <a:gd name="T14" fmla="*/ 4 w 30"/>
              <a:gd name="T15" fmla="*/ 16 h 16"/>
              <a:gd name="T16" fmla="*/ 0 w 30"/>
              <a:gd name="T17" fmla="*/ 12 h 16"/>
              <a:gd name="T18" fmla="*/ 0 w 30"/>
              <a:gd name="T19" fmla="*/ 6 h 16"/>
              <a:gd name="T20" fmla="*/ 8 w 30"/>
              <a:gd name="T2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6">
                <a:moveTo>
                  <a:pt x="8" y="6"/>
                </a:moveTo>
                <a:lnTo>
                  <a:pt x="16" y="4"/>
                </a:lnTo>
                <a:lnTo>
                  <a:pt x="24" y="4"/>
                </a:lnTo>
                <a:lnTo>
                  <a:pt x="30" y="0"/>
                </a:lnTo>
                <a:lnTo>
                  <a:pt x="22" y="8"/>
                </a:lnTo>
                <a:lnTo>
                  <a:pt x="18" y="12"/>
                </a:lnTo>
                <a:lnTo>
                  <a:pt x="12" y="16"/>
                </a:lnTo>
                <a:lnTo>
                  <a:pt x="4" y="16"/>
                </a:lnTo>
                <a:lnTo>
                  <a:pt x="0" y="12"/>
                </a:lnTo>
                <a:lnTo>
                  <a:pt x="0" y="6"/>
                </a:lnTo>
                <a:lnTo>
                  <a:pt x="8"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1" name="Freeform 113">
            <a:extLst>
              <a:ext uri="{FF2B5EF4-FFF2-40B4-BE49-F238E27FC236}">
                <a16:creationId xmlns:a16="http://schemas.microsoft.com/office/drawing/2014/main" id="{A9F2D23A-6D80-479B-91F2-3B3B792C2D48}"/>
              </a:ext>
            </a:extLst>
          </p:cNvPr>
          <p:cNvSpPr>
            <a:spLocks/>
          </p:cNvSpPr>
          <p:nvPr/>
        </p:nvSpPr>
        <p:spPr bwMode="gray">
          <a:xfrm>
            <a:off x="6586616" y="3436759"/>
            <a:ext cx="575736" cy="222002"/>
          </a:xfrm>
          <a:custGeom>
            <a:avLst/>
            <a:gdLst>
              <a:gd name="T0" fmla="*/ 0 w 292"/>
              <a:gd name="T1" fmla="*/ 46 h 112"/>
              <a:gd name="T2" fmla="*/ 6 w 292"/>
              <a:gd name="T3" fmla="*/ 34 h 112"/>
              <a:gd name="T4" fmla="*/ 26 w 292"/>
              <a:gd name="T5" fmla="*/ 34 h 112"/>
              <a:gd name="T6" fmla="*/ 46 w 292"/>
              <a:gd name="T7" fmla="*/ 34 h 112"/>
              <a:gd name="T8" fmla="*/ 52 w 292"/>
              <a:gd name="T9" fmla="*/ 26 h 112"/>
              <a:gd name="T10" fmla="*/ 52 w 292"/>
              <a:gd name="T11" fmla="*/ 22 h 112"/>
              <a:gd name="T12" fmla="*/ 46 w 292"/>
              <a:gd name="T13" fmla="*/ 16 h 112"/>
              <a:gd name="T14" fmla="*/ 82 w 292"/>
              <a:gd name="T15" fmla="*/ 18 h 112"/>
              <a:gd name="T16" fmla="*/ 110 w 292"/>
              <a:gd name="T17" fmla="*/ 0 h 112"/>
              <a:gd name="T18" fmla="*/ 146 w 292"/>
              <a:gd name="T19" fmla="*/ 12 h 112"/>
              <a:gd name="T20" fmla="*/ 160 w 292"/>
              <a:gd name="T21" fmla="*/ 16 h 112"/>
              <a:gd name="T22" fmla="*/ 182 w 292"/>
              <a:gd name="T23" fmla="*/ 22 h 112"/>
              <a:gd name="T24" fmla="*/ 218 w 292"/>
              <a:gd name="T25" fmla="*/ 22 h 112"/>
              <a:gd name="T26" fmla="*/ 242 w 292"/>
              <a:gd name="T27" fmla="*/ 10 h 112"/>
              <a:gd name="T28" fmla="*/ 252 w 292"/>
              <a:gd name="T29" fmla="*/ 14 h 112"/>
              <a:gd name="T30" fmla="*/ 262 w 292"/>
              <a:gd name="T31" fmla="*/ 10 h 112"/>
              <a:gd name="T32" fmla="*/ 274 w 292"/>
              <a:gd name="T33" fmla="*/ 20 h 112"/>
              <a:gd name="T34" fmla="*/ 274 w 292"/>
              <a:gd name="T35" fmla="*/ 42 h 112"/>
              <a:gd name="T36" fmla="*/ 292 w 292"/>
              <a:gd name="T37" fmla="*/ 46 h 112"/>
              <a:gd name="T38" fmla="*/ 282 w 292"/>
              <a:gd name="T39" fmla="*/ 52 h 112"/>
              <a:gd name="T40" fmla="*/ 286 w 292"/>
              <a:gd name="T41" fmla="*/ 68 h 112"/>
              <a:gd name="T42" fmla="*/ 292 w 292"/>
              <a:gd name="T43" fmla="*/ 88 h 112"/>
              <a:gd name="T44" fmla="*/ 282 w 292"/>
              <a:gd name="T45" fmla="*/ 90 h 112"/>
              <a:gd name="T46" fmla="*/ 252 w 292"/>
              <a:gd name="T47" fmla="*/ 92 h 112"/>
              <a:gd name="T48" fmla="*/ 214 w 292"/>
              <a:gd name="T49" fmla="*/ 100 h 112"/>
              <a:gd name="T50" fmla="*/ 190 w 292"/>
              <a:gd name="T51" fmla="*/ 96 h 112"/>
              <a:gd name="T52" fmla="*/ 182 w 292"/>
              <a:gd name="T53" fmla="*/ 100 h 112"/>
              <a:gd name="T54" fmla="*/ 164 w 292"/>
              <a:gd name="T55" fmla="*/ 96 h 112"/>
              <a:gd name="T56" fmla="*/ 154 w 292"/>
              <a:gd name="T57" fmla="*/ 112 h 112"/>
              <a:gd name="T58" fmla="*/ 156 w 292"/>
              <a:gd name="T59" fmla="*/ 96 h 112"/>
              <a:gd name="T60" fmla="*/ 146 w 292"/>
              <a:gd name="T61" fmla="*/ 100 h 112"/>
              <a:gd name="T62" fmla="*/ 128 w 292"/>
              <a:gd name="T63" fmla="*/ 100 h 112"/>
              <a:gd name="T64" fmla="*/ 110 w 292"/>
              <a:gd name="T65" fmla="*/ 110 h 112"/>
              <a:gd name="T66" fmla="*/ 92 w 292"/>
              <a:gd name="T67" fmla="*/ 104 h 112"/>
              <a:gd name="T68" fmla="*/ 72 w 292"/>
              <a:gd name="T69" fmla="*/ 96 h 112"/>
              <a:gd name="T70" fmla="*/ 68 w 292"/>
              <a:gd name="T71" fmla="*/ 104 h 112"/>
              <a:gd name="T72" fmla="*/ 50 w 292"/>
              <a:gd name="T73" fmla="*/ 108 h 112"/>
              <a:gd name="T74" fmla="*/ 34 w 292"/>
              <a:gd name="T75" fmla="*/ 96 h 112"/>
              <a:gd name="T76" fmla="*/ 16 w 292"/>
              <a:gd name="T77" fmla="*/ 84 h 112"/>
              <a:gd name="T78" fmla="*/ 6 w 292"/>
              <a:gd name="T79" fmla="*/ 74 h 112"/>
              <a:gd name="T80" fmla="*/ 14 w 292"/>
              <a:gd name="T81" fmla="*/ 62 h 112"/>
              <a:gd name="T82" fmla="*/ 10 w 292"/>
              <a:gd name="T83"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2" h="112">
                <a:moveTo>
                  <a:pt x="10" y="48"/>
                </a:moveTo>
                <a:lnTo>
                  <a:pt x="0" y="46"/>
                </a:lnTo>
                <a:lnTo>
                  <a:pt x="0" y="42"/>
                </a:lnTo>
                <a:lnTo>
                  <a:pt x="6" y="34"/>
                </a:lnTo>
                <a:lnTo>
                  <a:pt x="12" y="32"/>
                </a:lnTo>
                <a:lnTo>
                  <a:pt x="26" y="34"/>
                </a:lnTo>
                <a:lnTo>
                  <a:pt x="38" y="34"/>
                </a:lnTo>
                <a:lnTo>
                  <a:pt x="46" y="34"/>
                </a:lnTo>
                <a:lnTo>
                  <a:pt x="46" y="28"/>
                </a:lnTo>
                <a:lnTo>
                  <a:pt x="52" y="26"/>
                </a:lnTo>
                <a:lnTo>
                  <a:pt x="58" y="26"/>
                </a:lnTo>
                <a:lnTo>
                  <a:pt x="52" y="22"/>
                </a:lnTo>
                <a:lnTo>
                  <a:pt x="46" y="22"/>
                </a:lnTo>
                <a:lnTo>
                  <a:pt x="46" y="16"/>
                </a:lnTo>
                <a:lnTo>
                  <a:pt x="68" y="18"/>
                </a:lnTo>
                <a:lnTo>
                  <a:pt x="82" y="18"/>
                </a:lnTo>
                <a:lnTo>
                  <a:pt x="90" y="10"/>
                </a:lnTo>
                <a:lnTo>
                  <a:pt x="110" y="0"/>
                </a:lnTo>
                <a:lnTo>
                  <a:pt x="140" y="0"/>
                </a:lnTo>
                <a:lnTo>
                  <a:pt x="146" y="12"/>
                </a:lnTo>
                <a:lnTo>
                  <a:pt x="154" y="10"/>
                </a:lnTo>
                <a:lnTo>
                  <a:pt x="160" y="16"/>
                </a:lnTo>
                <a:lnTo>
                  <a:pt x="168" y="18"/>
                </a:lnTo>
                <a:lnTo>
                  <a:pt x="182" y="22"/>
                </a:lnTo>
                <a:lnTo>
                  <a:pt x="200" y="22"/>
                </a:lnTo>
                <a:lnTo>
                  <a:pt x="218" y="22"/>
                </a:lnTo>
                <a:lnTo>
                  <a:pt x="234" y="18"/>
                </a:lnTo>
                <a:lnTo>
                  <a:pt x="242" y="10"/>
                </a:lnTo>
                <a:lnTo>
                  <a:pt x="248" y="12"/>
                </a:lnTo>
                <a:lnTo>
                  <a:pt x="252" y="14"/>
                </a:lnTo>
                <a:lnTo>
                  <a:pt x="254" y="8"/>
                </a:lnTo>
                <a:lnTo>
                  <a:pt x="262" y="10"/>
                </a:lnTo>
                <a:lnTo>
                  <a:pt x="268" y="16"/>
                </a:lnTo>
                <a:lnTo>
                  <a:pt x="274" y="20"/>
                </a:lnTo>
                <a:lnTo>
                  <a:pt x="274" y="30"/>
                </a:lnTo>
                <a:lnTo>
                  <a:pt x="274" y="42"/>
                </a:lnTo>
                <a:lnTo>
                  <a:pt x="286" y="42"/>
                </a:lnTo>
                <a:lnTo>
                  <a:pt x="292" y="46"/>
                </a:lnTo>
                <a:lnTo>
                  <a:pt x="284" y="48"/>
                </a:lnTo>
                <a:lnTo>
                  <a:pt x="282" y="52"/>
                </a:lnTo>
                <a:lnTo>
                  <a:pt x="284" y="60"/>
                </a:lnTo>
                <a:lnTo>
                  <a:pt x="286" y="68"/>
                </a:lnTo>
                <a:lnTo>
                  <a:pt x="288" y="78"/>
                </a:lnTo>
                <a:lnTo>
                  <a:pt x="292" y="88"/>
                </a:lnTo>
                <a:lnTo>
                  <a:pt x="290" y="92"/>
                </a:lnTo>
                <a:lnTo>
                  <a:pt x="282" y="90"/>
                </a:lnTo>
                <a:lnTo>
                  <a:pt x="262" y="86"/>
                </a:lnTo>
                <a:lnTo>
                  <a:pt x="252" y="92"/>
                </a:lnTo>
                <a:lnTo>
                  <a:pt x="226" y="92"/>
                </a:lnTo>
                <a:lnTo>
                  <a:pt x="214" y="100"/>
                </a:lnTo>
                <a:lnTo>
                  <a:pt x="196" y="102"/>
                </a:lnTo>
                <a:lnTo>
                  <a:pt x="190" y="96"/>
                </a:lnTo>
                <a:lnTo>
                  <a:pt x="184" y="96"/>
                </a:lnTo>
                <a:lnTo>
                  <a:pt x="182" y="100"/>
                </a:lnTo>
                <a:lnTo>
                  <a:pt x="170" y="100"/>
                </a:lnTo>
                <a:lnTo>
                  <a:pt x="164" y="96"/>
                </a:lnTo>
                <a:lnTo>
                  <a:pt x="162" y="104"/>
                </a:lnTo>
                <a:lnTo>
                  <a:pt x="154" y="112"/>
                </a:lnTo>
                <a:lnTo>
                  <a:pt x="152" y="104"/>
                </a:lnTo>
                <a:lnTo>
                  <a:pt x="156" y="96"/>
                </a:lnTo>
                <a:lnTo>
                  <a:pt x="150" y="96"/>
                </a:lnTo>
                <a:lnTo>
                  <a:pt x="146" y="100"/>
                </a:lnTo>
                <a:lnTo>
                  <a:pt x="132" y="98"/>
                </a:lnTo>
                <a:lnTo>
                  <a:pt x="128" y="100"/>
                </a:lnTo>
                <a:lnTo>
                  <a:pt x="120" y="108"/>
                </a:lnTo>
                <a:lnTo>
                  <a:pt x="110" y="110"/>
                </a:lnTo>
                <a:lnTo>
                  <a:pt x="100" y="110"/>
                </a:lnTo>
                <a:lnTo>
                  <a:pt x="92" y="104"/>
                </a:lnTo>
                <a:lnTo>
                  <a:pt x="80" y="100"/>
                </a:lnTo>
                <a:lnTo>
                  <a:pt x="72" y="96"/>
                </a:lnTo>
                <a:lnTo>
                  <a:pt x="66" y="98"/>
                </a:lnTo>
                <a:lnTo>
                  <a:pt x="68" y="104"/>
                </a:lnTo>
                <a:lnTo>
                  <a:pt x="66" y="108"/>
                </a:lnTo>
                <a:lnTo>
                  <a:pt x="50" y="108"/>
                </a:lnTo>
                <a:lnTo>
                  <a:pt x="40" y="100"/>
                </a:lnTo>
                <a:lnTo>
                  <a:pt x="34" y="96"/>
                </a:lnTo>
                <a:lnTo>
                  <a:pt x="20" y="92"/>
                </a:lnTo>
                <a:lnTo>
                  <a:pt x="16" y="84"/>
                </a:lnTo>
                <a:lnTo>
                  <a:pt x="16" y="78"/>
                </a:lnTo>
                <a:lnTo>
                  <a:pt x="6" y="74"/>
                </a:lnTo>
                <a:lnTo>
                  <a:pt x="10" y="68"/>
                </a:lnTo>
                <a:lnTo>
                  <a:pt x="14" y="62"/>
                </a:lnTo>
                <a:lnTo>
                  <a:pt x="12" y="54"/>
                </a:lnTo>
                <a:lnTo>
                  <a:pt x="10" y="48"/>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922" name="Freeform 114">
            <a:extLst>
              <a:ext uri="{FF2B5EF4-FFF2-40B4-BE49-F238E27FC236}">
                <a16:creationId xmlns:a16="http://schemas.microsoft.com/office/drawing/2014/main" id="{4B0DDF4E-75B0-45CA-BF6A-15A5BCBFBD7E}"/>
              </a:ext>
            </a:extLst>
          </p:cNvPr>
          <p:cNvSpPr>
            <a:spLocks/>
          </p:cNvSpPr>
          <p:nvPr/>
        </p:nvSpPr>
        <p:spPr bwMode="gray">
          <a:xfrm>
            <a:off x="6858712" y="3710297"/>
            <a:ext cx="55208" cy="55500"/>
          </a:xfrm>
          <a:custGeom>
            <a:avLst/>
            <a:gdLst>
              <a:gd name="T0" fmla="*/ 16 w 28"/>
              <a:gd name="T1" fmla="*/ 2 h 28"/>
              <a:gd name="T2" fmla="*/ 24 w 28"/>
              <a:gd name="T3" fmla="*/ 0 h 28"/>
              <a:gd name="T4" fmla="*/ 28 w 28"/>
              <a:gd name="T5" fmla="*/ 4 h 28"/>
              <a:gd name="T6" fmla="*/ 24 w 28"/>
              <a:gd name="T7" fmla="*/ 10 h 28"/>
              <a:gd name="T8" fmla="*/ 18 w 28"/>
              <a:gd name="T9" fmla="*/ 14 h 28"/>
              <a:gd name="T10" fmla="*/ 16 w 28"/>
              <a:gd name="T11" fmla="*/ 20 h 28"/>
              <a:gd name="T12" fmla="*/ 10 w 28"/>
              <a:gd name="T13" fmla="*/ 24 h 28"/>
              <a:gd name="T14" fmla="*/ 6 w 28"/>
              <a:gd name="T15" fmla="*/ 28 h 28"/>
              <a:gd name="T16" fmla="*/ 0 w 28"/>
              <a:gd name="T17" fmla="*/ 26 h 28"/>
              <a:gd name="T18" fmla="*/ 6 w 28"/>
              <a:gd name="T19" fmla="*/ 18 h 28"/>
              <a:gd name="T20" fmla="*/ 12 w 28"/>
              <a:gd name="T21" fmla="*/ 8 h 28"/>
              <a:gd name="T22" fmla="*/ 16 w 28"/>
              <a:gd name="T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6" y="2"/>
                </a:moveTo>
                <a:lnTo>
                  <a:pt x="24" y="0"/>
                </a:lnTo>
                <a:lnTo>
                  <a:pt x="28" y="4"/>
                </a:lnTo>
                <a:lnTo>
                  <a:pt x="24" y="10"/>
                </a:lnTo>
                <a:lnTo>
                  <a:pt x="18" y="14"/>
                </a:lnTo>
                <a:lnTo>
                  <a:pt x="16" y="20"/>
                </a:lnTo>
                <a:lnTo>
                  <a:pt x="10" y="24"/>
                </a:lnTo>
                <a:lnTo>
                  <a:pt x="6" y="28"/>
                </a:lnTo>
                <a:lnTo>
                  <a:pt x="0" y="26"/>
                </a:lnTo>
                <a:lnTo>
                  <a:pt x="6" y="18"/>
                </a:lnTo>
                <a:lnTo>
                  <a:pt x="12" y="8"/>
                </a:lnTo>
                <a:lnTo>
                  <a:pt x="16"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3" name="Freeform 115">
            <a:extLst>
              <a:ext uri="{FF2B5EF4-FFF2-40B4-BE49-F238E27FC236}">
                <a16:creationId xmlns:a16="http://schemas.microsoft.com/office/drawing/2014/main" id="{28F589F4-1CBF-41E9-A0A0-DF5BB5FB422C}"/>
              </a:ext>
            </a:extLst>
          </p:cNvPr>
          <p:cNvSpPr>
            <a:spLocks/>
          </p:cNvSpPr>
          <p:nvPr/>
        </p:nvSpPr>
        <p:spPr bwMode="gray">
          <a:xfrm>
            <a:off x="6870542" y="3619118"/>
            <a:ext cx="212944" cy="170466"/>
          </a:xfrm>
          <a:custGeom>
            <a:avLst/>
            <a:gdLst>
              <a:gd name="T0" fmla="*/ 10 w 108"/>
              <a:gd name="T1" fmla="*/ 48 h 86"/>
              <a:gd name="T2" fmla="*/ 8 w 108"/>
              <a:gd name="T3" fmla="*/ 32 h 86"/>
              <a:gd name="T4" fmla="*/ 8 w 108"/>
              <a:gd name="T5" fmla="*/ 24 h 86"/>
              <a:gd name="T6" fmla="*/ 10 w 108"/>
              <a:gd name="T7" fmla="*/ 20 h 86"/>
              <a:gd name="T8" fmla="*/ 18 w 108"/>
              <a:gd name="T9" fmla="*/ 12 h 86"/>
              <a:gd name="T10" fmla="*/ 20 w 108"/>
              <a:gd name="T11" fmla="*/ 4 h 86"/>
              <a:gd name="T12" fmla="*/ 26 w 108"/>
              <a:gd name="T13" fmla="*/ 8 h 86"/>
              <a:gd name="T14" fmla="*/ 38 w 108"/>
              <a:gd name="T15" fmla="*/ 8 h 86"/>
              <a:gd name="T16" fmla="*/ 40 w 108"/>
              <a:gd name="T17" fmla="*/ 4 h 86"/>
              <a:gd name="T18" fmla="*/ 46 w 108"/>
              <a:gd name="T19" fmla="*/ 4 h 86"/>
              <a:gd name="T20" fmla="*/ 52 w 108"/>
              <a:gd name="T21" fmla="*/ 10 h 86"/>
              <a:gd name="T22" fmla="*/ 70 w 108"/>
              <a:gd name="T23" fmla="*/ 8 h 86"/>
              <a:gd name="T24" fmla="*/ 82 w 108"/>
              <a:gd name="T25" fmla="*/ 0 h 86"/>
              <a:gd name="T26" fmla="*/ 108 w 108"/>
              <a:gd name="T27" fmla="*/ 0 h 86"/>
              <a:gd name="T28" fmla="*/ 108 w 108"/>
              <a:gd name="T29" fmla="*/ 4 h 86"/>
              <a:gd name="T30" fmla="*/ 94 w 108"/>
              <a:gd name="T31" fmla="*/ 14 h 86"/>
              <a:gd name="T32" fmla="*/ 90 w 108"/>
              <a:gd name="T33" fmla="*/ 46 h 86"/>
              <a:gd name="T34" fmla="*/ 54 w 108"/>
              <a:gd name="T35" fmla="*/ 68 h 86"/>
              <a:gd name="T36" fmla="*/ 28 w 108"/>
              <a:gd name="T37" fmla="*/ 84 h 86"/>
              <a:gd name="T38" fmla="*/ 20 w 108"/>
              <a:gd name="T39" fmla="*/ 86 h 86"/>
              <a:gd name="T40" fmla="*/ 12 w 108"/>
              <a:gd name="T41" fmla="*/ 82 h 86"/>
              <a:gd name="T42" fmla="*/ 6 w 108"/>
              <a:gd name="T43" fmla="*/ 80 h 86"/>
              <a:gd name="T44" fmla="*/ 2 w 108"/>
              <a:gd name="T45" fmla="*/ 78 h 86"/>
              <a:gd name="T46" fmla="*/ 0 w 108"/>
              <a:gd name="T47" fmla="*/ 74 h 86"/>
              <a:gd name="T48" fmla="*/ 10 w 108"/>
              <a:gd name="T49" fmla="*/ 66 h 86"/>
              <a:gd name="T50" fmla="*/ 12 w 108"/>
              <a:gd name="T51" fmla="*/ 60 h 86"/>
              <a:gd name="T52" fmla="*/ 18 w 108"/>
              <a:gd name="T53" fmla="*/ 56 h 86"/>
              <a:gd name="T54" fmla="*/ 22 w 108"/>
              <a:gd name="T55" fmla="*/ 50 h 86"/>
              <a:gd name="T56" fmla="*/ 18 w 108"/>
              <a:gd name="T57" fmla="*/ 46 h 86"/>
              <a:gd name="T58" fmla="*/ 10 w 108"/>
              <a:gd name="T59"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86">
                <a:moveTo>
                  <a:pt x="10" y="48"/>
                </a:moveTo>
                <a:lnTo>
                  <a:pt x="8" y="32"/>
                </a:lnTo>
                <a:lnTo>
                  <a:pt x="8" y="24"/>
                </a:lnTo>
                <a:lnTo>
                  <a:pt x="10" y="20"/>
                </a:lnTo>
                <a:lnTo>
                  <a:pt x="18" y="12"/>
                </a:lnTo>
                <a:lnTo>
                  <a:pt x="20" y="4"/>
                </a:lnTo>
                <a:lnTo>
                  <a:pt x="26" y="8"/>
                </a:lnTo>
                <a:lnTo>
                  <a:pt x="38" y="8"/>
                </a:lnTo>
                <a:lnTo>
                  <a:pt x="40" y="4"/>
                </a:lnTo>
                <a:lnTo>
                  <a:pt x="46" y="4"/>
                </a:lnTo>
                <a:lnTo>
                  <a:pt x="52" y="10"/>
                </a:lnTo>
                <a:lnTo>
                  <a:pt x="70" y="8"/>
                </a:lnTo>
                <a:lnTo>
                  <a:pt x="82" y="0"/>
                </a:lnTo>
                <a:lnTo>
                  <a:pt x="108" y="0"/>
                </a:lnTo>
                <a:lnTo>
                  <a:pt x="108" y="4"/>
                </a:lnTo>
                <a:lnTo>
                  <a:pt x="94" y="14"/>
                </a:lnTo>
                <a:lnTo>
                  <a:pt x="90" y="46"/>
                </a:lnTo>
                <a:lnTo>
                  <a:pt x="54" y="68"/>
                </a:lnTo>
                <a:lnTo>
                  <a:pt x="28" y="84"/>
                </a:lnTo>
                <a:lnTo>
                  <a:pt x="20" y="86"/>
                </a:lnTo>
                <a:lnTo>
                  <a:pt x="12" y="82"/>
                </a:lnTo>
                <a:lnTo>
                  <a:pt x="6" y="80"/>
                </a:lnTo>
                <a:lnTo>
                  <a:pt x="2" y="78"/>
                </a:lnTo>
                <a:lnTo>
                  <a:pt x="0" y="74"/>
                </a:lnTo>
                <a:lnTo>
                  <a:pt x="10" y="66"/>
                </a:lnTo>
                <a:lnTo>
                  <a:pt x="12" y="60"/>
                </a:lnTo>
                <a:lnTo>
                  <a:pt x="18" y="56"/>
                </a:lnTo>
                <a:lnTo>
                  <a:pt x="22" y="50"/>
                </a:lnTo>
                <a:lnTo>
                  <a:pt x="18" y="46"/>
                </a:lnTo>
                <a:lnTo>
                  <a:pt x="10" y="4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4" name="Freeform 116">
            <a:extLst>
              <a:ext uri="{FF2B5EF4-FFF2-40B4-BE49-F238E27FC236}">
                <a16:creationId xmlns:a16="http://schemas.microsoft.com/office/drawing/2014/main" id="{17F443A3-8D92-4BC3-905E-2CE64AEC0C89}"/>
              </a:ext>
            </a:extLst>
          </p:cNvPr>
          <p:cNvSpPr>
            <a:spLocks/>
          </p:cNvSpPr>
          <p:nvPr/>
        </p:nvSpPr>
        <p:spPr bwMode="gray">
          <a:xfrm>
            <a:off x="6831107" y="3761833"/>
            <a:ext cx="47321" cy="126858"/>
          </a:xfrm>
          <a:custGeom>
            <a:avLst/>
            <a:gdLst>
              <a:gd name="T0" fmla="*/ 16 w 24"/>
              <a:gd name="T1" fmla="*/ 14 h 64"/>
              <a:gd name="T2" fmla="*/ 22 w 24"/>
              <a:gd name="T3" fmla="*/ 14 h 64"/>
              <a:gd name="T4" fmla="*/ 24 w 24"/>
              <a:gd name="T5" fmla="*/ 8 h 64"/>
              <a:gd name="T6" fmla="*/ 22 w 24"/>
              <a:gd name="T7" fmla="*/ 6 h 64"/>
              <a:gd name="T8" fmla="*/ 20 w 24"/>
              <a:gd name="T9" fmla="*/ 2 h 64"/>
              <a:gd name="T10" fmla="*/ 14 w 24"/>
              <a:gd name="T11" fmla="*/ 0 h 64"/>
              <a:gd name="T12" fmla="*/ 14 w 24"/>
              <a:gd name="T13" fmla="*/ 6 h 64"/>
              <a:gd name="T14" fmla="*/ 12 w 24"/>
              <a:gd name="T15" fmla="*/ 14 h 64"/>
              <a:gd name="T16" fmla="*/ 10 w 24"/>
              <a:gd name="T17" fmla="*/ 20 h 64"/>
              <a:gd name="T18" fmla="*/ 6 w 24"/>
              <a:gd name="T19" fmla="*/ 26 h 64"/>
              <a:gd name="T20" fmla="*/ 4 w 24"/>
              <a:gd name="T21" fmla="*/ 30 h 64"/>
              <a:gd name="T22" fmla="*/ 0 w 24"/>
              <a:gd name="T23" fmla="*/ 36 h 64"/>
              <a:gd name="T24" fmla="*/ 2 w 24"/>
              <a:gd name="T25" fmla="*/ 40 h 64"/>
              <a:gd name="T26" fmla="*/ 6 w 24"/>
              <a:gd name="T27" fmla="*/ 48 h 64"/>
              <a:gd name="T28" fmla="*/ 10 w 24"/>
              <a:gd name="T29" fmla="*/ 58 h 64"/>
              <a:gd name="T30" fmla="*/ 12 w 24"/>
              <a:gd name="T31" fmla="*/ 64 h 64"/>
              <a:gd name="T32" fmla="*/ 18 w 24"/>
              <a:gd name="T33" fmla="*/ 52 h 64"/>
              <a:gd name="T34" fmla="*/ 20 w 24"/>
              <a:gd name="T35" fmla="*/ 42 h 64"/>
              <a:gd name="T36" fmla="*/ 20 w 24"/>
              <a:gd name="T37" fmla="*/ 30 h 64"/>
              <a:gd name="T38" fmla="*/ 16 w 24"/>
              <a:gd name="T39" fmla="*/ 30 h 64"/>
              <a:gd name="T40" fmla="*/ 14 w 24"/>
              <a:gd name="T41" fmla="*/ 18 h 64"/>
              <a:gd name="T42" fmla="*/ 16 w 24"/>
              <a:gd name="T4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64">
                <a:moveTo>
                  <a:pt x="16" y="14"/>
                </a:moveTo>
                <a:lnTo>
                  <a:pt x="22" y="14"/>
                </a:lnTo>
                <a:lnTo>
                  <a:pt x="24" y="8"/>
                </a:lnTo>
                <a:lnTo>
                  <a:pt x="22" y="6"/>
                </a:lnTo>
                <a:lnTo>
                  <a:pt x="20" y="2"/>
                </a:lnTo>
                <a:lnTo>
                  <a:pt x="14" y="0"/>
                </a:lnTo>
                <a:lnTo>
                  <a:pt x="14" y="6"/>
                </a:lnTo>
                <a:lnTo>
                  <a:pt x="12" y="14"/>
                </a:lnTo>
                <a:lnTo>
                  <a:pt x="10" y="20"/>
                </a:lnTo>
                <a:lnTo>
                  <a:pt x="6" y="26"/>
                </a:lnTo>
                <a:lnTo>
                  <a:pt x="4" y="30"/>
                </a:lnTo>
                <a:lnTo>
                  <a:pt x="0" y="36"/>
                </a:lnTo>
                <a:lnTo>
                  <a:pt x="2" y="40"/>
                </a:lnTo>
                <a:lnTo>
                  <a:pt x="6" y="48"/>
                </a:lnTo>
                <a:lnTo>
                  <a:pt x="10" y="58"/>
                </a:lnTo>
                <a:lnTo>
                  <a:pt x="12" y="64"/>
                </a:lnTo>
                <a:lnTo>
                  <a:pt x="18" y="52"/>
                </a:lnTo>
                <a:lnTo>
                  <a:pt x="20" y="42"/>
                </a:lnTo>
                <a:lnTo>
                  <a:pt x="20" y="30"/>
                </a:lnTo>
                <a:lnTo>
                  <a:pt x="16" y="30"/>
                </a:lnTo>
                <a:lnTo>
                  <a:pt x="14" y="18"/>
                </a:lnTo>
                <a:lnTo>
                  <a:pt x="16" y="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5" name="Freeform 117">
            <a:extLst>
              <a:ext uri="{FF2B5EF4-FFF2-40B4-BE49-F238E27FC236}">
                <a16:creationId xmlns:a16="http://schemas.microsoft.com/office/drawing/2014/main" id="{16045DF5-2F54-4EE4-AE4F-2BFDCA21D239}"/>
              </a:ext>
            </a:extLst>
          </p:cNvPr>
          <p:cNvSpPr>
            <a:spLocks/>
          </p:cNvSpPr>
          <p:nvPr/>
        </p:nvSpPr>
        <p:spPr bwMode="gray">
          <a:xfrm>
            <a:off x="6984901" y="3607225"/>
            <a:ext cx="279981" cy="293360"/>
          </a:xfrm>
          <a:custGeom>
            <a:avLst/>
            <a:gdLst>
              <a:gd name="T0" fmla="*/ 90 w 142"/>
              <a:gd name="T1" fmla="*/ 2 h 148"/>
              <a:gd name="T2" fmla="*/ 94 w 142"/>
              <a:gd name="T3" fmla="*/ 10 h 148"/>
              <a:gd name="T4" fmla="*/ 106 w 142"/>
              <a:gd name="T5" fmla="*/ 28 h 148"/>
              <a:gd name="T6" fmla="*/ 114 w 142"/>
              <a:gd name="T7" fmla="*/ 30 h 148"/>
              <a:gd name="T8" fmla="*/ 110 w 142"/>
              <a:gd name="T9" fmla="*/ 36 h 148"/>
              <a:gd name="T10" fmla="*/ 112 w 142"/>
              <a:gd name="T11" fmla="*/ 44 h 148"/>
              <a:gd name="T12" fmla="*/ 106 w 142"/>
              <a:gd name="T13" fmla="*/ 48 h 148"/>
              <a:gd name="T14" fmla="*/ 100 w 142"/>
              <a:gd name="T15" fmla="*/ 62 h 148"/>
              <a:gd name="T16" fmla="*/ 112 w 142"/>
              <a:gd name="T17" fmla="*/ 74 h 148"/>
              <a:gd name="T18" fmla="*/ 118 w 142"/>
              <a:gd name="T19" fmla="*/ 84 h 148"/>
              <a:gd name="T20" fmla="*/ 132 w 142"/>
              <a:gd name="T21" fmla="*/ 90 h 148"/>
              <a:gd name="T22" fmla="*/ 140 w 142"/>
              <a:gd name="T23" fmla="*/ 98 h 148"/>
              <a:gd name="T24" fmla="*/ 136 w 142"/>
              <a:gd name="T25" fmla="*/ 112 h 148"/>
              <a:gd name="T26" fmla="*/ 142 w 142"/>
              <a:gd name="T27" fmla="*/ 124 h 148"/>
              <a:gd name="T28" fmla="*/ 140 w 142"/>
              <a:gd name="T29" fmla="*/ 130 h 148"/>
              <a:gd name="T30" fmla="*/ 132 w 142"/>
              <a:gd name="T31" fmla="*/ 132 h 148"/>
              <a:gd name="T32" fmla="*/ 122 w 142"/>
              <a:gd name="T33" fmla="*/ 140 h 148"/>
              <a:gd name="T34" fmla="*/ 122 w 142"/>
              <a:gd name="T35" fmla="*/ 148 h 148"/>
              <a:gd name="T36" fmla="*/ 90 w 142"/>
              <a:gd name="T37" fmla="*/ 148 h 148"/>
              <a:gd name="T38" fmla="*/ 76 w 142"/>
              <a:gd name="T39" fmla="*/ 136 h 148"/>
              <a:gd name="T40" fmla="*/ 68 w 142"/>
              <a:gd name="T41" fmla="*/ 136 h 148"/>
              <a:gd name="T42" fmla="*/ 58 w 142"/>
              <a:gd name="T43" fmla="*/ 120 h 148"/>
              <a:gd name="T44" fmla="*/ 22 w 142"/>
              <a:gd name="T45" fmla="*/ 100 h 148"/>
              <a:gd name="T46" fmla="*/ 2 w 142"/>
              <a:gd name="T47" fmla="*/ 96 h 148"/>
              <a:gd name="T48" fmla="*/ 0 w 142"/>
              <a:gd name="T49" fmla="*/ 72 h 148"/>
              <a:gd name="T50" fmla="*/ 32 w 142"/>
              <a:gd name="T51" fmla="*/ 52 h 148"/>
              <a:gd name="T52" fmla="*/ 36 w 142"/>
              <a:gd name="T53" fmla="*/ 20 h 148"/>
              <a:gd name="T54" fmla="*/ 50 w 142"/>
              <a:gd name="T55" fmla="*/ 10 h 148"/>
              <a:gd name="T56" fmla="*/ 50 w 142"/>
              <a:gd name="T57" fmla="*/ 6 h 148"/>
              <a:gd name="T58" fmla="*/ 60 w 142"/>
              <a:gd name="T59" fmla="*/ 0 h 148"/>
              <a:gd name="T60" fmla="*/ 88 w 142"/>
              <a:gd name="T61" fmla="*/ 6 h 148"/>
              <a:gd name="T62" fmla="*/ 90 w 142"/>
              <a:gd name="T63"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48">
                <a:moveTo>
                  <a:pt x="90" y="2"/>
                </a:moveTo>
                <a:lnTo>
                  <a:pt x="94" y="10"/>
                </a:lnTo>
                <a:lnTo>
                  <a:pt x="106" y="28"/>
                </a:lnTo>
                <a:lnTo>
                  <a:pt x="114" y="30"/>
                </a:lnTo>
                <a:lnTo>
                  <a:pt x="110" y="36"/>
                </a:lnTo>
                <a:lnTo>
                  <a:pt x="112" y="44"/>
                </a:lnTo>
                <a:lnTo>
                  <a:pt x="106" y="48"/>
                </a:lnTo>
                <a:lnTo>
                  <a:pt x="100" y="62"/>
                </a:lnTo>
                <a:lnTo>
                  <a:pt x="112" y="74"/>
                </a:lnTo>
                <a:lnTo>
                  <a:pt x="118" y="84"/>
                </a:lnTo>
                <a:lnTo>
                  <a:pt x="132" y="90"/>
                </a:lnTo>
                <a:lnTo>
                  <a:pt x="140" y="98"/>
                </a:lnTo>
                <a:lnTo>
                  <a:pt x="136" y="112"/>
                </a:lnTo>
                <a:lnTo>
                  <a:pt x="142" y="124"/>
                </a:lnTo>
                <a:lnTo>
                  <a:pt x="140" y="130"/>
                </a:lnTo>
                <a:lnTo>
                  <a:pt x="132" y="132"/>
                </a:lnTo>
                <a:lnTo>
                  <a:pt x="122" y="140"/>
                </a:lnTo>
                <a:lnTo>
                  <a:pt x="122" y="148"/>
                </a:lnTo>
                <a:lnTo>
                  <a:pt x="90" y="148"/>
                </a:lnTo>
                <a:lnTo>
                  <a:pt x="76" y="136"/>
                </a:lnTo>
                <a:lnTo>
                  <a:pt x="68" y="136"/>
                </a:lnTo>
                <a:lnTo>
                  <a:pt x="58" y="120"/>
                </a:lnTo>
                <a:lnTo>
                  <a:pt x="22" y="100"/>
                </a:lnTo>
                <a:lnTo>
                  <a:pt x="2" y="96"/>
                </a:lnTo>
                <a:lnTo>
                  <a:pt x="0" y="72"/>
                </a:lnTo>
                <a:lnTo>
                  <a:pt x="32" y="52"/>
                </a:lnTo>
                <a:lnTo>
                  <a:pt x="36" y="20"/>
                </a:lnTo>
                <a:lnTo>
                  <a:pt x="50" y="10"/>
                </a:lnTo>
                <a:lnTo>
                  <a:pt x="50" y="6"/>
                </a:lnTo>
                <a:lnTo>
                  <a:pt x="60" y="0"/>
                </a:lnTo>
                <a:lnTo>
                  <a:pt x="88" y="6"/>
                </a:lnTo>
                <a:lnTo>
                  <a:pt x="9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6" name="Freeform 118">
            <a:extLst>
              <a:ext uri="{FF2B5EF4-FFF2-40B4-BE49-F238E27FC236}">
                <a16:creationId xmlns:a16="http://schemas.microsoft.com/office/drawing/2014/main" id="{42C45BD7-814F-4870-A0F2-3C1D86DBD6F4}"/>
              </a:ext>
            </a:extLst>
          </p:cNvPr>
          <p:cNvSpPr>
            <a:spLocks/>
          </p:cNvSpPr>
          <p:nvPr/>
        </p:nvSpPr>
        <p:spPr bwMode="gray">
          <a:xfrm>
            <a:off x="7225447" y="3864906"/>
            <a:ext cx="55208" cy="55500"/>
          </a:xfrm>
          <a:custGeom>
            <a:avLst/>
            <a:gdLst>
              <a:gd name="T0" fmla="*/ 28 w 28"/>
              <a:gd name="T1" fmla="*/ 4 h 28"/>
              <a:gd name="T2" fmla="*/ 18 w 28"/>
              <a:gd name="T3" fmla="*/ 0 h 28"/>
              <a:gd name="T4" fmla="*/ 14 w 28"/>
              <a:gd name="T5" fmla="*/ 0 h 28"/>
              <a:gd name="T6" fmla="*/ 10 w 28"/>
              <a:gd name="T7" fmla="*/ 2 h 28"/>
              <a:gd name="T8" fmla="*/ 0 w 28"/>
              <a:gd name="T9" fmla="*/ 10 h 28"/>
              <a:gd name="T10" fmla="*/ 0 w 28"/>
              <a:gd name="T11" fmla="*/ 18 h 28"/>
              <a:gd name="T12" fmla="*/ 10 w 28"/>
              <a:gd name="T13" fmla="*/ 20 h 28"/>
              <a:gd name="T14" fmla="*/ 18 w 28"/>
              <a:gd name="T15" fmla="*/ 28 h 28"/>
              <a:gd name="T16" fmla="*/ 26 w 28"/>
              <a:gd name="T17" fmla="*/ 28 h 28"/>
              <a:gd name="T18" fmla="*/ 22 w 28"/>
              <a:gd name="T19" fmla="*/ 18 h 28"/>
              <a:gd name="T20" fmla="*/ 22 w 28"/>
              <a:gd name="T21" fmla="*/ 12 h 28"/>
              <a:gd name="T22" fmla="*/ 28 w 28"/>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8" y="4"/>
                </a:moveTo>
                <a:lnTo>
                  <a:pt x="18" y="0"/>
                </a:lnTo>
                <a:lnTo>
                  <a:pt x="14" y="0"/>
                </a:lnTo>
                <a:lnTo>
                  <a:pt x="10" y="2"/>
                </a:lnTo>
                <a:lnTo>
                  <a:pt x="0" y="10"/>
                </a:lnTo>
                <a:lnTo>
                  <a:pt x="0" y="18"/>
                </a:lnTo>
                <a:lnTo>
                  <a:pt x="10" y="20"/>
                </a:lnTo>
                <a:lnTo>
                  <a:pt x="18" y="28"/>
                </a:lnTo>
                <a:lnTo>
                  <a:pt x="26" y="28"/>
                </a:lnTo>
                <a:lnTo>
                  <a:pt x="22" y="18"/>
                </a:lnTo>
                <a:lnTo>
                  <a:pt x="22" y="12"/>
                </a:lnTo>
                <a:lnTo>
                  <a:pt x="28"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7" name="Freeform 119">
            <a:extLst>
              <a:ext uri="{FF2B5EF4-FFF2-40B4-BE49-F238E27FC236}">
                <a16:creationId xmlns:a16="http://schemas.microsoft.com/office/drawing/2014/main" id="{619CFC62-B30A-4638-A56A-6529EF87C1F7}"/>
              </a:ext>
            </a:extLst>
          </p:cNvPr>
          <p:cNvSpPr>
            <a:spLocks/>
          </p:cNvSpPr>
          <p:nvPr/>
        </p:nvSpPr>
        <p:spPr bwMode="gray">
          <a:xfrm>
            <a:off x="7363467" y="4011587"/>
            <a:ext cx="165623" cy="111000"/>
          </a:xfrm>
          <a:custGeom>
            <a:avLst/>
            <a:gdLst>
              <a:gd name="T0" fmla="*/ 0 w 84"/>
              <a:gd name="T1" fmla="*/ 24 h 56"/>
              <a:gd name="T2" fmla="*/ 8 w 84"/>
              <a:gd name="T3" fmla="*/ 34 h 56"/>
              <a:gd name="T4" fmla="*/ 22 w 84"/>
              <a:gd name="T5" fmla="*/ 50 h 56"/>
              <a:gd name="T6" fmla="*/ 48 w 84"/>
              <a:gd name="T7" fmla="*/ 56 h 56"/>
              <a:gd name="T8" fmla="*/ 66 w 84"/>
              <a:gd name="T9" fmla="*/ 56 h 56"/>
              <a:gd name="T10" fmla="*/ 84 w 84"/>
              <a:gd name="T11" fmla="*/ 24 h 56"/>
              <a:gd name="T12" fmla="*/ 82 w 84"/>
              <a:gd name="T13" fmla="*/ 10 h 56"/>
              <a:gd name="T14" fmla="*/ 80 w 84"/>
              <a:gd name="T15" fmla="*/ 2 h 56"/>
              <a:gd name="T16" fmla="*/ 76 w 84"/>
              <a:gd name="T17" fmla="*/ 0 h 56"/>
              <a:gd name="T18" fmla="*/ 68 w 84"/>
              <a:gd name="T19" fmla="*/ 10 h 56"/>
              <a:gd name="T20" fmla="*/ 58 w 84"/>
              <a:gd name="T21" fmla="*/ 18 h 56"/>
              <a:gd name="T22" fmla="*/ 50 w 84"/>
              <a:gd name="T23" fmla="*/ 28 h 56"/>
              <a:gd name="T24" fmla="*/ 42 w 84"/>
              <a:gd name="T25" fmla="*/ 30 h 56"/>
              <a:gd name="T26" fmla="*/ 32 w 84"/>
              <a:gd name="T27" fmla="*/ 26 h 56"/>
              <a:gd name="T28" fmla="*/ 26 w 84"/>
              <a:gd name="T29" fmla="*/ 30 h 56"/>
              <a:gd name="T30" fmla="*/ 22 w 84"/>
              <a:gd name="T31" fmla="*/ 32 h 56"/>
              <a:gd name="T32" fmla="*/ 14 w 84"/>
              <a:gd name="T33" fmla="*/ 30 h 56"/>
              <a:gd name="T34" fmla="*/ 8 w 84"/>
              <a:gd name="T35" fmla="*/ 24 h 56"/>
              <a:gd name="T36" fmla="*/ 4 w 84"/>
              <a:gd name="T37" fmla="*/ 20 h 56"/>
              <a:gd name="T38" fmla="*/ 0 w 84"/>
              <a:gd name="T39"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56">
                <a:moveTo>
                  <a:pt x="0" y="24"/>
                </a:moveTo>
                <a:lnTo>
                  <a:pt x="8" y="34"/>
                </a:lnTo>
                <a:lnTo>
                  <a:pt x="22" y="50"/>
                </a:lnTo>
                <a:lnTo>
                  <a:pt x="48" y="56"/>
                </a:lnTo>
                <a:lnTo>
                  <a:pt x="66" y="56"/>
                </a:lnTo>
                <a:lnTo>
                  <a:pt x="84" y="24"/>
                </a:lnTo>
                <a:lnTo>
                  <a:pt x="82" y="10"/>
                </a:lnTo>
                <a:lnTo>
                  <a:pt x="80" y="2"/>
                </a:lnTo>
                <a:lnTo>
                  <a:pt x="76" y="0"/>
                </a:lnTo>
                <a:lnTo>
                  <a:pt x="68" y="10"/>
                </a:lnTo>
                <a:lnTo>
                  <a:pt x="58" y="18"/>
                </a:lnTo>
                <a:lnTo>
                  <a:pt x="50" y="28"/>
                </a:lnTo>
                <a:lnTo>
                  <a:pt x="42" y="30"/>
                </a:lnTo>
                <a:lnTo>
                  <a:pt x="32" y="26"/>
                </a:lnTo>
                <a:lnTo>
                  <a:pt x="26" y="30"/>
                </a:lnTo>
                <a:lnTo>
                  <a:pt x="22" y="32"/>
                </a:lnTo>
                <a:lnTo>
                  <a:pt x="14" y="30"/>
                </a:lnTo>
                <a:lnTo>
                  <a:pt x="8" y="24"/>
                </a:lnTo>
                <a:lnTo>
                  <a:pt x="4" y="20"/>
                </a:lnTo>
                <a:lnTo>
                  <a:pt x="0" y="2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8" name="Freeform 120">
            <a:extLst>
              <a:ext uri="{FF2B5EF4-FFF2-40B4-BE49-F238E27FC236}">
                <a16:creationId xmlns:a16="http://schemas.microsoft.com/office/drawing/2014/main" id="{EB9FB02B-C1A1-432C-BA0B-D9BEC087A0D1}"/>
              </a:ext>
            </a:extLst>
          </p:cNvPr>
          <p:cNvSpPr>
            <a:spLocks/>
          </p:cNvSpPr>
          <p:nvPr/>
        </p:nvSpPr>
        <p:spPr bwMode="gray">
          <a:xfrm>
            <a:off x="7391071" y="4059159"/>
            <a:ext cx="244490" cy="257680"/>
          </a:xfrm>
          <a:custGeom>
            <a:avLst/>
            <a:gdLst>
              <a:gd name="T0" fmla="*/ 52 w 124"/>
              <a:gd name="T1" fmla="*/ 30 h 130"/>
              <a:gd name="T2" fmla="*/ 70 w 124"/>
              <a:gd name="T3" fmla="*/ 0 h 130"/>
              <a:gd name="T4" fmla="*/ 82 w 124"/>
              <a:gd name="T5" fmla="*/ 8 h 130"/>
              <a:gd name="T6" fmla="*/ 90 w 124"/>
              <a:gd name="T7" fmla="*/ 14 h 130"/>
              <a:gd name="T8" fmla="*/ 102 w 124"/>
              <a:gd name="T9" fmla="*/ 16 h 130"/>
              <a:gd name="T10" fmla="*/ 124 w 124"/>
              <a:gd name="T11" fmla="*/ 36 h 130"/>
              <a:gd name="T12" fmla="*/ 116 w 124"/>
              <a:gd name="T13" fmla="*/ 50 h 130"/>
              <a:gd name="T14" fmla="*/ 104 w 124"/>
              <a:gd name="T15" fmla="*/ 64 h 130"/>
              <a:gd name="T16" fmla="*/ 98 w 124"/>
              <a:gd name="T17" fmla="*/ 66 h 130"/>
              <a:gd name="T18" fmla="*/ 86 w 124"/>
              <a:gd name="T19" fmla="*/ 70 h 130"/>
              <a:gd name="T20" fmla="*/ 88 w 124"/>
              <a:gd name="T21" fmla="*/ 80 h 130"/>
              <a:gd name="T22" fmla="*/ 90 w 124"/>
              <a:gd name="T23" fmla="*/ 90 h 130"/>
              <a:gd name="T24" fmla="*/ 80 w 124"/>
              <a:gd name="T25" fmla="*/ 92 h 130"/>
              <a:gd name="T26" fmla="*/ 72 w 124"/>
              <a:gd name="T27" fmla="*/ 98 h 130"/>
              <a:gd name="T28" fmla="*/ 68 w 124"/>
              <a:gd name="T29" fmla="*/ 104 h 130"/>
              <a:gd name="T30" fmla="*/ 68 w 124"/>
              <a:gd name="T31" fmla="*/ 110 h 130"/>
              <a:gd name="T32" fmla="*/ 54 w 124"/>
              <a:gd name="T33" fmla="*/ 112 h 130"/>
              <a:gd name="T34" fmla="*/ 52 w 124"/>
              <a:gd name="T35" fmla="*/ 118 h 130"/>
              <a:gd name="T36" fmla="*/ 46 w 124"/>
              <a:gd name="T37" fmla="*/ 128 h 130"/>
              <a:gd name="T38" fmla="*/ 26 w 124"/>
              <a:gd name="T39" fmla="*/ 126 h 130"/>
              <a:gd name="T40" fmla="*/ 16 w 124"/>
              <a:gd name="T41" fmla="*/ 130 h 130"/>
              <a:gd name="T42" fmla="*/ 0 w 124"/>
              <a:gd name="T43" fmla="*/ 94 h 130"/>
              <a:gd name="T44" fmla="*/ 12 w 124"/>
              <a:gd name="T45" fmla="*/ 84 h 130"/>
              <a:gd name="T46" fmla="*/ 48 w 124"/>
              <a:gd name="T47" fmla="*/ 72 h 130"/>
              <a:gd name="T48" fmla="*/ 56 w 124"/>
              <a:gd name="T49" fmla="*/ 54 h 130"/>
              <a:gd name="T50" fmla="*/ 56 w 124"/>
              <a:gd name="T51" fmla="*/ 40 h 130"/>
              <a:gd name="T52" fmla="*/ 52 w 124"/>
              <a:gd name="T53"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4" h="130">
                <a:moveTo>
                  <a:pt x="52" y="30"/>
                </a:moveTo>
                <a:lnTo>
                  <a:pt x="70" y="0"/>
                </a:lnTo>
                <a:lnTo>
                  <a:pt x="82" y="8"/>
                </a:lnTo>
                <a:lnTo>
                  <a:pt x="90" y="14"/>
                </a:lnTo>
                <a:lnTo>
                  <a:pt x="102" y="16"/>
                </a:lnTo>
                <a:lnTo>
                  <a:pt x="124" y="36"/>
                </a:lnTo>
                <a:lnTo>
                  <a:pt x="116" y="50"/>
                </a:lnTo>
                <a:lnTo>
                  <a:pt x="104" y="64"/>
                </a:lnTo>
                <a:lnTo>
                  <a:pt x="98" y="66"/>
                </a:lnTo>
                <a:lnTo>
                  <a:pt x="86" y="70"/>
                </a:lnTo>
                <a:lnTo>
                  <a:pt x="88" y="80"/>
                </a:lnTo>
                <a:lnTo>
                  <a:pt x="90" y="90"/>
                </a:lnTo>
                <a:lnTo>
                  <a:pt x="80" y="92"/>
                </a:lnTo>
                <a:lnTo>
                  <a:pt x="72" y="98"/>
                </a:lnTo>
                <a:lnTo>
                  <a:pt x="68" y="104"/>
                </a:lnTo>
                <a:lnTo>
                  <a:pt x="68" y="110"/>
                </a:lnTo>
                <a:lnTo>
                  <a:pt x="54" y="112"/>
                </a:lnTo>
                <a:lnTo>
                  <a:pt x="52" y="118"/>
                </a:lnTo>
                <a:lnTo>
                  <a:pt x="46" y="128"/>
                </a:lnTo>
                <a:lnTo>
                  <a:pt x="26" y="126"/>
                </a:lnTo>
                <a:lnTo>
                  <a:pt x="16" y="130"/>
                </a:lnTo>
                <a:lnTo>
                  <a:pt x="0" y="94"/>
                </a:lnTo>
                <a:lnTo>
                  <a:pt x="12" y="84"/>
                </a:lnTo>
                <a:lnTo>
                  <a:pt x="48" y="72"/>
                </a:lnTo>
                <a:lnTo>
                  <a:pt x="56" y="54"/>
                </a:lnTo>
                <a:lnTo>
                  <a:pt x="56" y="40"/>
                </a:lnTo>
                <a:lnTo>
                  <a:pt x="52" y="3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29" name="Freeform 121">
            <a:extLst>
              <a:ext uri="{FF2B5EF4-FFF2-40B4-BE49-F238E27FC236}">
                <a16:creationId xmlns:a16="http://schemas.microsoft.com/office/drawing/2014/main" id="{75A1A17E-6BC6-4A24-8B5B-29D7590C539F}"/>
              </a:ext>
            </a:extLst>
          </p:cNvPr>
          <p:cNvSpPr>
            <a:spLocks/>
          </p:cNvSpPr>
          <p:nvPr/>
        </p:nvSpPr>
        <p:spPr bwMode="gray">
          <a:xfrm>
            <a:off x="7103202" y="4245480"/>
            <a:ext cx="319415" cy="198216"/>
          </a:xfrm>
          <a:custGeom>
            <a:avLst/>
            <a:gdLst>
              <a:gd name="T0" fmla="*/ 50 w 162"/>
              <a:gd name="T1" fmla="*/ 86 h 100"/>
              <a:gd name="T2" fmla="*/ 42 w 162"/>
              <a:gd name="T3" fmla="*/ 92 h 100"/>
              <a:gd name="T4" fmla="*/ 36 w 162"/>
              <a:gd name="T5" fmla="*/ 100 h 100"/>
              <a:gd name="T6" fmla="*/ 16 w 162"/>
              <a:gd name="T7" fmla="*/ 100 h 100"/>
              <a:gd name="T8" fmla="*/ 8 w 162"/>
              <a:gd name="T9" fmla="*/ 96 h 100"/>
              <a:gd name="T10" fmla="*/ 0 w 162"/>
              <a:gd name="T11" fmla="*/ 66 h 100"/>
              <a:gd name="T12" fmla="*/ 0 w 162"/>
              <a:gd name="T13" fmla="*/ 42 h 100"/>
              <a:gd name="T14" fmla="*/ 8 w 162"/>
              <a:gd name="T15" fmla="*/ 24 h 100"/>
              <a:gd name="T16" fmla="*/ 42 w 162"/>
              <a:gd name="T17" fmla="*/ 22 h 100"/>
              <a:gd name="T18" fmla="*/ 72 w 162"/>
              <a:gd name="T19" fmla="*/ 28 h 100"/>
              <a:gd name="T20" fmla="*/ 98 w 162"/>
              <a:gd name="T21" fmla="*/ 4 h 100"/>
              <a:gd name="T22" fmla="*/ 128 w 162"/>
              <a:gd name="T23" fmla="*/ 0 h 100"/>
              <a:gd name="T24" fmla="*/ 146 w 162"/>
              <a:gd name="T25" fmla="*/ 0 h 100"/>
              <a:gd name="T26" fmla="*/ 162 w 162"/>
              <a:gd name="T27" fmla="*/ 36 h 100"/>
              <a:gd name="T28" fmla="*/ 150 w 162"/>
              <a:gd name="T29" fmla="*/ 42 h 100"/>
              <a:gd name="T30" fmla="*/ 142 w 162"/>
              <a:gd name="T31" fmla="*/ 48 h 100"/>
              <a:gd name="T32" fmla="*/ 142 w 162"/>
              <a:gd name="T33" fmla="*/ 56 h 100"/>
              <a:gd name="T34" fmla="*/ 136 w 162"/>
              <a:gd name="T35" fmla="*/ 60 h 100"/>
              <a:gd name="T36" fmla="*/ 114 w 162"/>
              <a:gd name="T37" fmla="*/ 66 h 100"/>
              <a:gd name="T38" fmla="*/ 104 w 162"/>
              <a:gd name="T39" fmla="*/ 68 h 100"/>
              <a:gd name="T40" fmla="*/ 96 w 162"/>
              <a:gd name="T41" fmla="*/ 80 h 100"/>
              <a:gd name="T42" fmla="*/ 78 w 162"/>
              <a:gd name="T43" fmla="*/ 78 h 100"/>
              <a:gd name="T44" fmla="*/ 70 w 162"/>
              <a:gd name="T45" fmla="*/ 88 h 100"/>
              <a:gd name="T46" fmla="*/ 56 w 162"/>
              <a:gd name="T47" fmla="*/ 88 h 100"/>
              <a:gd name="T48" fmla="*/ 50 w 162"/>
              <a:gd name="T49"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2" h="100">
                <a:moveTo>
                  <a:pt x="50" y="86"/>
                </a:moveTo>
                <a:lnTo>
                  <a:pt x="42" y="92"/>
                </a:lnTo>
                <a:lnTo>
                  <a:pt x="36" y="100"/>
                </a:lnTo>
                <a:lnTo>
                  <a:pt x="16" y="100"/>
                </a:lnTo>
                <a:lnTo>
                  <a:pt x="8" y="96"/>
                </a:lnTo>
                <a:lnTo>
                  <a:pt x="0" y="66"/>
                </a:lnTo>
                <a:lnTo>
                  <a:pt x="0" y="42"/>
                </a:lnTo>
                <a:lnTo>
                  <a:pt x="8" y="24"/>
                </a:lnTo>
                <a:lnTo>
                  <a:pt x="42" y="22"/>
                </a:lnTo>
                <a:lnTo>
                  <a:pt x="72" y="28"/>
                </a:lnTo>
                <a:lnTo>
                  <a:pt x="98" y="4"/>
                </a:lnTo>
                <a:lnTo>
                  <a:pt x="128" y="0"/>
                </a:lnTo>
                <a:lnTo>
                  <a:pt x="146" y="0"/>
                </a:lnTo>
                <a:lnTo>
                  <a:pt x="162" y="36"/>
                </a:lnTo>
                <a:lnTo>
                  <a:pt x="150" y="42"/>
                </a:lnTo>
                <a:lnTo>
                  <a:pt x="142" y="48"/>
                </a:lnTo>
                <a:lnTo>
                  <a:pt x="142" y="56"/>
                </a:lnTo>
                <a:lnTo>
                  <a:pt x="136" y="60"/>
                </a:lnTo>
                <a:lnTo>
                  <a:pt x="114" y="66"/>
                </a:lnTo>
                <a:lnTo>
                  <a:pt x="104" y="68"/>
                </a:lnTo>
                <a:lnTo>
                  <a:pt x="96" y="80"/>
                </a:lnTo>
                <a:lnTo>
                  <a:pt x="78" y="78"/>
                </a:lnTo>
                <a:lnTo>
                  <a:pt x="70" y="88"/>
                </a:lnTo>
                <a:lnTo>
                  <a:pt x="56" y="88"/>
                </a:lnTo>
                <a:lnTo>
                  <a:pt x="50" y="8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0" name="Freeform 122">
            <a:extLst>
              <a:ext uri="{FF2B5EF4-FFF2-40B4-BE49-F238E27FC236}">
                <a16:creationId xmlns:a16="http://schemas.microsoft.com/office/drawing/2014/main" id="{8B3FA341-616A-4190-B17E-C4992893C78F}"/>
              </a:ext>
            </a:extLst>
          </p:cNvPr>
          <p:cNvSpPr>
            <a:spLocks/>
          </p:cNvSpPr>
          <p:nvPr/>
        </p:nvSpPr>
        <p:spPr bwMode="gray">
          <a:xfrm>
            <a:off x="7142635" y="3523975"/>
            <a:ext cx="603340" cy="511397"/>
          </a:xfrm>
          <a:custGeom>
            <a:avLst/>
            <a:gdLst>
              <a:gd name="T0" fmla="*/ 80 w 306"/>
              <a:gd name="T1" fmla="*/ 38 h 258"/>
              <a:gd name="T2" fmla="*/ 112 w 306"/>
              <a:gd name="T3" fmla="*/ 56 h 258"/>
              <a:gd name="T4" fmla="*/ 156 w 306"/>
              <a:gd name="T5" fmla="*/ 48 h 258"/>
              <a:gd name="T6" fmla="*/ 204 w 306"/>
              <a:gd name="T7" fmla="*/ 28 h 258"/>
              <a:gd name="T8" fmla="*/ 256 w 306"/>
              <a:gd name="T9" fmla="*/ 52 h 258"/>
              <a:gd name="T10" fmla="*/ 274 w 306"/>
              <a:gd name="T11" fmla="*/ 78 h 258"/>
              <a:gd name="T12" fmla="*/ 262 w 306"/>
              <a:gd name="T13" fmla="*/ 126 h 258"/>
              <a:gd name="T14" fmla="*/ 282 w 306"/>
              <a:gd name="T15" fmla="*/ 150 h 258"/>
              <a:gd name="T16" fmla="*/ 266 w 306"/>
              <a:gd name="T17" fmla="*/ 176 h 258"/>
              <a:gd name="T18" fmla="*/ 286 w 306"/>
              <a:gd name="T19" fmla="*/ 202 h 258"/>
              <a:gd name="T20" fmla="*/ 298 w 306"/>
              <a:gd name="T21" fmla="*/ 224 h 258"/>
              <a:gd name="T22" fmla="*/ 306 w 306"/>
              <a:gd name="T23" fmla="*/ 232 h 258"/>
              <a:gd name="T24" fmla="*/ 278 w 306"/>
              <a:gd name="T25" fmla="*/ 242 h 258"/>
              <a:gd name="T26" fmla="*/ 236 w 306"/>
              <a:gd name="T27" fmla="*/ 254 h 258"/>
              <a:gd name="T28" fmla="*/ 206 w 306"/>
              <a:gd name="T29" fmla="*/ 230 h 258"/>
              <a:gd name="T30" fmla="*/ 188 w 306"/>
              <a:gd name="T31" fmla="*/ 224 h 258"/>
              <a:gd name="T32" fmla="*/ 164 w 306"/>
              <a:gd name="T33" fmla="*/ 234 h 258"/>
              <a:gd name="T34" fmla="*/ 118 w 306"/>
              <a:gd name="T35" fmla="*/ 206 h 258"/>
              <a:gd name="T36" fmla="*/ 98 w 306"/>
              <a:gd name="T37" fmla="*/ 176 h 258"/>
              <a:gd name="T38" fmla="*/ 70 w 306"/>
              <a:gd name="T39" fmla="*/ 176 h 258"/>
              <a:gd name="T40" fmla="*/ 62 w 306"/>
              <a:gd name="T41" fmla="*/ 166 h 258"/>
              <a:gd name="T42" fmla="*/ 60 w 306"/>
              <a:gd name="T43" fmla="*/ 140 h 258"/>
              <a:gd name="T44" fmla="*/ 38 w 306"/>
              <a:gd name="T45" fmla="*/ 126 h 258"/>
              <a:gd name="T46" fmla="*/ 26 w 306"/>
              <a:gd name="T47" fmla="*/ 90 h 258"/>
              <a:gd name="T48" fmla="*/ 30 w 306"/>
              <a:gd name="T49" fmla="*/ 78 h 258"/>
              <a:gd name="T50" fmla="*/ 26 w 306"/>
              <a:gd name="T51" fmla="*/ 70 h 258"/>
              <a:gd name="T52" fmla="*/ 10 w 306"/>
              <a:gd name="T53" fmla="*/ 44 h 258"/>
              <a:gd name="T54" fmla="*/ 4 w 306"/>
              <a:gd name="T55" fmla="*/ 24 h 258"/>
              <a:gd name="T56" fmla="*/ 0 w 306"/>
              <a:gd name="T57" fmla="*/ 8 h 258"/>
              <a:gd name="T58" fmla="*/ 10 w 306"/>
              <a:gd name="T59" fmla="*/ 2 h 258"/>
              <a:gd name="T60" fmla="*/ 32 w 306"/>
              <a:gd name="T61" fmla="*/ 18 h 258"/>
              <a:gd name="T62" fmla="*/ 42 w 306"/>
              <a:gd name="T63" fmla="*/ 14 h 258"/>
              <a:gd name="T64" fmla="*/ 60 w 306"/>
              <a:gd name="T65" fmla="*/ 0 h 258"/>
              <a:gd name="T66" fmla="*/ 64 w 306"/>
              <a:gd name="T67" fmla="*/ 10 h 258"/>
              <a:gd name="T68" fmla="*/ 62 w 306"/>
              <a:gd name="T69" fmla="*/ 18 h 258"/>
              <a:gd name="T70" fmla="*/ 76 w 306"/>
              <a:gd name="T71" fmla="*/ 2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6" h="258">
                <a:moveTo>
                  <a:pt x="76" y="24"/>
                </a:moveTo>
                <a:lnTo>
                  <a:pt x="80" y="38"/>
                </a:lnTo>
                <a:lnTo>
                  <a:pt x="100" y="48"/>
                </a:lnTo>
                <a:lnTo>
                  <a:pt x="112" y="56"/>
                </a:lnTo>
                <a:lnTo>
                  <a:pt x="142" y="56"/>
                </a:lnTo>
                <a:lnTo>
                  <a:pt x="156" y="48"/>
                </a:lnTo>
                <a:lnTo>
                  <a:pt x="178" y="32"/>
                </a:lnTo>
                <a:lnTo>
                  <a:pt x="204" y="28"/>
                </a:lnTo>
                <a:lnTo>
                  <a:pt x="226" y="36"/>
                </a:lnTo>
                <a:lnTo>
                  <a:pt x="256" y="52"/>
                </a:lnTo>
                <a:lnTo>
                  <a:pt x="272" y="56"/>
                </a:lnTo>
                <a:lnTo>
                  <a:pt x="274" y="78"/>
                </a:lnTo>
                <a:lnTo>
                  <a:pt x="264" y="98"/>
                </a:lnTo>
                <a:lnTo>
                  <a:pt x="262" y="126"/>
                </a:lnTo>
                <a:lnTo>
                  <a:pt x="268" y="150"/>
                </a:lnTo>
                <a:lnTo>
                  <a:pt x="282" y="150"/>
                </a:lnTo>
                <a:lnTo>
                  <a:pt x="280" y="162"/>
                </a:lnTo>
                <a:lnTo>
                  <a:pt x="266" y="176"/>
                </a:lnTo>
                <a:lnTo>
                  <a:pt x="272" y="186"/>
                </a:lnTo>
                <a:lnTo>
                  <a:pt x="286" y="202"/>
                </a:lnTo>
                <a:lnTo>
                  <a:pt x="298" y="212"/>
                </a:lnTo>
                <a:lnTo>
                  <a:pt x="298" y="224"/>
                </a:lnTo>
                <a:lnTo>
                  <a:pt x="306" y="224"/>
                </a:lnTo>
                <a:lnTo>
                  <a:pt x="306" y="232"/>
                </a:lnTo>
                <a:lnTo>
                  <a:pt x="292" y="234"/>
                </a:lnTo>
                <a:lnTo>
                  <a:pt x="278" y="242"/>
                </a:lnTo>
                <a:lnTo>
                  <a:pt x="278" y="258"/>
                </a:lnTo>
                <a:lnTo>
                  <a:pt x="236" y="254"/>
                </a:lnTo>
                <a:lnTo>
                  <a:pt x="208" y="246"/>
                </a:lnTo>
                <a:lnTo>
                  <a:pt x="206" y="230"/>
                </a:lnTo>
                <a:lnTo>
                  <a:pt x="196" y="222"/>
                </a:lnTo>
                <a:lnTo>
                  <a:pt x="188" y="224"/>
                </a:lnTo>
                <a:lnTo>
                  <a:pt x="178" y="232"/>
                </a:lnTo>
                <a:lnTo>
                  <a:pt x="164" y="234"/>
                </a:lnTo>
                <a:lnTo>
                  <a:pt x="138" y="224"/>
                </a:lnTo>
                <a:lnTo>
                  <a:pt x="118" y="206"/>
                </a:lnTo>
                <a:lnTo>
                  <a:pt x="104" y="188"/>
                </a:lnTo>
                <a:lnTo>
                  <a:pt x="98" y="176"/>
                </a:lnTo>
                <a:lnTo>
                  <a:pt x="80" y="172"/>
                </a:lnTo>
                <a:lnTo>
                  <a:pt x="70" y="176"/>
                </a:lnTo>
                <a:lnTo>
                  <a:pt x="60" y="172"/>
                </a:lnTo>
                <a:lnTo>
                  <a:pt x="62" y="166"/>
                </a:lnTo>
                <a:lnTo>
                  <a:pt x="56" y="154"/>
                </a:lnTo>
                <a:lnTo>
                  <a:pt x="60" y="140"/>
                </a:lnTo>
                <a:lnTo>
                  <a:pt x="48" y="130"/>
                </a:lnTo>
                <a:lnTo>
                  <a:pt x="38" y="126"/>
                </a:lnTo>
                <a:lnTo>
                  <a:pt x="20" y="104"/>
                </a:lnTo>
                <a:lnTo>
                  <a:pt x="26" y="90"/>
                </a:lnTo>
                <a:lnTo>
                  <a:pt x="32" y="86"/>
                </a:lnTo>
                <a:lnTo>
                  <a:pt x="30" y="78"/>
                </a:lnTo>
                <a:lnTo>
                  <a:pt x="34" y="72"/>
                </a:lnTo>
                <a:lnTo>
                  <a:pt x="26" y="70"/>
                </a:lnTo>
                <a:lnTo>
                  <a:pt x="16" y="54"/>
                </a:lnTo>
                <a:lnTo>
                  <a:pt x="10" y="44"/>
                </a:lnTo>
                <a:lnTo>
                  <a:pt x="6" y="34"/>
                </a:lnTo>
                <a:lnTo>
                  <a:pt x="4" y="24"/>
                </a:lnTo>
                <a:lnTo>
                  <a:pt x="2" y="16"/>
                </a:lnTo>
                <a:lnTo>
                  <a:pt x="0" y="8"/>
                </a:lnTo>
                <a:lnTo>
                  <a:pt x="2" y="4"/>
                </a:lnTo>
                <a:lnTo>
                  <a:pt x="10" y="2"/>
                </a:lnTo>
                <a:lnTo>
                  <a:pt x="24" y="14"/>
                </a:lnTo>
                <a:lnTo>
                  <a:pt x="32" y="18"/>
                </a:lnTo>
                <a:lnTo>
                  <a:pt x="34" y="12"/>
                </a:lnTo>
                <a:lnTo>
                  <a:pt x="42" y="14"/>
                </a:lnTo>
                <a:lnTo>
                  <a:pt x="48" y="10"/>
                </a:lnTo>
                <a:lnTo>
                  <a:pt x="60" y="0"/>
                </a:lnTo>
                <a:lnTo>
                  <a:pt x="64" y="2"/>
                </a:lnTo>
                <a:lnTo>
                  <a:pt x="64" y="10"/>
                </a:lnTo>
                <a:lnTo>
                  <a:pt x="68" y="16"/>
                </a:lnTo>
                <a:lnTo>
                  <a:pt x="62" y="18"/>
                </a:lnTo>
                <a:lnTo>
                  <a:pt x="68" y="24"/>
                </a:lnTo>
                <a:lnTo>
                  <a:pt x="76" y="2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1" name="Freeform 123">
            <a:extLst>
              <a:ext uri="{FF2B5EF4-FFF2-40B4-BE49-F238E27FC236}">
                <a16:creationId xmlns:a16="http://schemas.microsoft.com/office/drawing/2014/main" id="{7579E5C7-D843-495F-90C0-8171E24B5C14}"/>
              </a:ext>
            </a:extLst>
          </p:cNvPr>
          <p:cNvSpPr>
            <a:spLocks/>
          </p:cNvSpPr>
          <p:nvPr/>
        </p:nvSpPr>
        <p:spPr bwMode="gray">
          <a:xfrm>
            <a:off x="7659221" y="3567583"/>
            <a:ext cx="445603" cy="321109"/>
          </a:xfrm>
          <a:custGeom>
            <a:avLst/>
            <a:gdLst>
              <a:gd name="T0" fmla="*/ 12 w 226"/>
              <a:gd name="T1" fmla="*/ 56 h 162"/>
              <a:gd name="T2" fmla="*/ 24 w 226"/>
              <a:gd name="T3" fmla="*/ 56 h 162"/>
              <a:gd name="T4" fmla="*/ 34 w 226"/>
              <a:gd name="T5" fmla="*/ 60 h 162"/>
              <a:gd name="T6" fmla="*/ 44 w 226"/>
              <a:gd name="T7" fmla="*/ 48 h 162"/>
              <a:gd name="T8" fmla="*/ 56 w 226"/>
              <a:gd name="T9" fmla="*/ 44 h 162"/>
              <a:gd name="T10" fmla="*/ 68 w 226"/>
              <a:gd name="T11" fmla="*/ 26 h 162"/>
              <a:gd name="T12" fmla="*/ 84 w 226"/>
              <a:gd name="T13" fmla="*/ 20 h 162"/>
              <a:gd name="T14" fmla="*/ 96 w 226"/>
              <a:gd name="T15" fmla="*/ 20 h 162"/>
              <a:gd name="T16" fmla="*/ 116 w 226"/>
              <a:gd name="T17" fmla="*/ 26 h 162"/>
              <a:gd name="T18" fmla="*/ 126 w 226"/>
              <a:gd name="T19" fmla="*/ 30 h 162"/>
              <a:gd name="T20" fmla="*/ 146 w 226"/>
              <a:gd name="T21" fmla="*/ 18 h 162"/>
              <a:gd name="T22" fmla="*/ 154 w 226"/>
              <a:gd name="T23" fmla="*/ 16 h 162"/>
              <a:gd name="T24" fmla="*/ 164 w 226"/>
              <a:gd name="T25" fmla="*/ 0 h 162"/>
              <a:gd name="T26" fmla="*/ 172 w 226"/>
              <a:gd name="T27" fmla="*/ 6 h 162"/>
              <a:gd name="T28" fmla="*/ 174 w 226"/>
              <a:gd name="T29" fmla="*/ 18 h 162"/>
              <a:gd name="T30" fmla="*/ 172 w 226"/>
              <a:gd name="T31" fmla="*/ 26 h 162"/>
              <a:gd name="T32" fmla="*/ 172 w 226"/>
              <a:gd name="T33" fmla="*/ 32 h 162"/>
              <a:gd name="T34" fmla="*/ 182 w 226"/>
              <a:gd name="T35" fmla="*/ 30 h 162"/>
              <a:gd name="T36" fmla="*/ 190 w 226"/>
              <a:gd name="T37" fmla="*/ 26 h 162"/>
              <a:gd name="T38" fmla="*/ 198 w 226"/>
              <a:gd name="T39" fmla="*/ 20 h 162"/>
              <a:gd name="T40" fmla="*/ 226 w 226"/>
              <a:gd name="T41" fmla="*/ 20 h 162"/>
              <a:gd name="T42" fmla="*/ 226 w 226"/>
              <a:gd name="T43" fmla="*/ 28 h 162"/>
              <a:gd name="T44" fmla="*/ 214 w 226"/>
              <a:gd name="T45" fmla="*/ 30 h 162"/>
              <a:gd name="T46" fmla="*/ 198 w 226"/>
              <a:gd name="T47" fmla="*/ 30 h 162"/>
              <a:gd name="T48" fmla="*/ 190 w 226"/>
              <a:gd name="T49" fmla="*/ 30 h 162"/>
              <a:gd name="T50" fmla="*/ 186 w 226"/>
              <a:gd name="T51" fmla="*/ 32 h 162"/>
              <a:gd name="T52" fmla="*/ 174 w 226"/>
              <a:gd name="T53" fmla="*/ 40 h 162"/>
              <a:gd name="T54" fmla="*/ 168 w 226"/>
              <a:gd name="T55" fmla="*/ 46 h 162"/>
              <a:gd name="T56" fmla="*/ 172 w 226"/>
              <a:gd name="T57" fmla="*/ 52 h 162"/>
              <a:gd name="T58" fmla="*/ 174 w 226"/>
              <a:gd name="T59" fmla="*/ 58 h 162"/>
              <a:gd name="T60" fmla="*/ 172 w 226"/>
              <a:gd name="T61" fmla="*/ 68 h 162"/>
              <a:gd name="T62" fmla="*/ 168 w 226"/>
              <a:gd name="T63" fmla="*/ 78 h 162"/>
              <a:gd name="T64" fmla="*/ 152 w 226"/>
              <a:gd name="T65" fmla="*/ 84 h 162"/>
              <a:gd name="T66" fmla="*/ 148 w 226"/>
              <a:gd name="T67" fmla="*/ 96 h 162"/>
              <a:gd name="T68" fmla="*/ 142 w 226"/>
              <a:gd name="T69" fmla="*/ 100 h 162"/>
              <a:gd name="T70" fmla="*/ 138 w 226"/>
              <a:gd name="T71" fmla="*/ 110 h 162"/>
              <a:gd name="T72" fmla="*/ 138 w 226"/>
              <a:gd name="T73" fmla="*/ 124 h 162"/>
              <a:gd name="T74" fmla="*/ 114 w 226"/>
              <a:gd name="T75" fmla="*/ 124 h 162"/>
              <a:gd name="T76" fmla="*/ 110 w 226"/>
              <a:gd name="T77" fmla="*/ 132 h 162"/>
              <a:gd name="T78" fmla="*/ 94 w 226"/>
              <a:gd name="T79" fmla="*/ 132 h 162"/>
              <a:gd name="T80" fmla="*/ 90 w 226"/>
              <a:gd name="T81" fmla="*/ 138 h 162"/>
              <a:gd name="T82" fmla="*/ 88 w 226"/>
              <a:gd name="T83" fmla="*/ 156 h 162"/>
              <a:gd name="T84" fmla="*/ 78 w 226"/>
              <a:gd name="T85" fmla="*/ 158 h 162"/>
              <a:gd name="T86" fmla="*/ 42 w 226"/>
              <a:gd name="T87" fmla="*/ 162 h 162"/>
              <a:gd name="T88" fmla="*/ 24 w 226"/>
              <a:gd name="T89" fmla="*/ 162 h 162"/>
              <a:gd name="T90" fmla="*/ 18 w 226"/>
              <a:gd name="T91" fmla="*/ 156 h 162"/>
              <a:gd name="T92" fmla="*/ 8 w 226"/>
              <a:gd name="T93" fmla="*/ 160 h 162"/>
              <a:gd name="T94" fmla="*/ 4 w 226"/>
              <a:gd name="T95" fmla="*/ 154 h 162"/>
              <a:gd name="T96" fmla="*/ 18 w 226"/>
              <a:gd name="T97" fmla="*/ 140 h 162"/>
              <a:gd name="T98" fmla="*/ 20 w 226"/>
              <a:gd name="T99" fmla="*/ 128 h 162"/>
              <a:gd name="T100" fmla="*/ 6 w 226"/>
              <a:gd name="T101" fmla="*/ 128 h 162"/>
              <a:gd name="T102" fmla="*/ 4 w 226"/>
              <a:gd name="T103" fmla="*/ 114 h 162"/>
              <a:gd name="T104" fmla="*/ 0 w 226"/>
              <a:gd name="T105" fmla="*/ 104 h 162"/>
              <a:gd name="T106" fmla="*/ 2 w 226"/>
              <a:gd name="T107" fmla="*/ 76 h 162"/>
              <a:gd name="T108" fmla="*/ 12 w 226"/>
              <a:gd name="T109" fmla="*/ 5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162">
                <a:moveTo>
                  <a:pt x="12" y="56"/>
                </a:moveTo>
                <a:lnTo>
                  <a:pt x="24" y="56"/>
                </a:lnTo>
                <a:lnTo>
                  <a:pt x="34" y="60"/>
                </a:lnTo>
                <a:lnTo>
                  <a:pt x="44" y="48"/>
                </a:lnTo>
                <a:lnTo>
                  <a:pt x="56" y="44"/>
                </a:lnTo>
                <a:lnTo>
                  <a:pt x="68" y="26"/>
                </a:lnTo>
                <a:lnTo>
                  <a:pt x="84" y="20"/>
                </a:lnTo>
                <a:lnTo>
                  <a:pt x="96" y="20"/>
                </a:lnTo>
                <a:lnTo>
                  <a:pt x="116" y="26"/>
                </a:lnTo>
                <a:lnTo>
                  <a:pt x="126" y="30"/>
                </a:lnTo>
                <a:lnTo>
                  <a:pt x="146" y="18"/>
                </a:lnTo>
                <a:lnTo>
                  <a:pt x="154" y="16"/>
                </a:lnTo>
                <a:lnTo>
                  <a:pt x="164" y="0"/>
                </a:lnTo>
                <a:lnTo>
                  <a:pt x="172" y="6"/>
                </a:lnTo>
                <a:lnTo>
                  <a:pt x="174" y="18"/>
                </a:lnTo>
                <a:lnTo>
                  <a:pt x="172" y="26"/>
                </a:lnTo>
                <a:lnTo>
                  <a:pt x="172" y="32"/>
                </a:lnTo>
                <a:lnTo>
                  <a:pt x="182" y="30"/>
                </a:lnTo>
                <a:lnTo>
                  <a:pt x="190" y="26"/>
                </a:lnTo>
                <a:lnTo>
                  <a:pt x="198" y="20"/>
                </a:lnTo>
                <a:lnTo>
                  <a:pt x="226" y="20"/>
                </a:lnTo>
                <a:lnTo>
                  <a:pt x="226" y="28"/>
                </a:lnTo>
                <a:lnTo>
                  <a:pt x="214" y="30"/>
                </a:lnTo>
                <a:lnTo>
                  <a:pt x="198" y="30"/>
                </a:lnTo>
                <a:lnTo>
                  <a:pt x="190" y="30"/>
                </a:lnTo>
                <a:lnTo>
                  <a:pt x="186" y="32"/>
                </a:lnTo>
                <a:lnTo>
                  <a:pt x="174" y="40"/>
                </a:lnTo>
                <a:lnTo>
                  <a:pt x="168" y="46"/>
                </a:lnTo>
                <a:lnTo>
                  <a:pt x="172" y="52"/>
                </a:lnTo>
                <a:lnTo>
                  <a:pt x="174" y="58"/>
                </a:lnTo>
                <a:lnTo>
                  <a:pt x="172" y="68"/>
                </a:lnTo>
                <a:lnTo>
                  <a:pt x="168" y="78"/>
                </a:lnTo>
                <a:lnTo>
                  <a:pt x="152" y="84"/>
                </a:lnTo>
                <a:lnTo>
                  <a:pt x="148" y="96"/>
                </a:lnTo>
                <a:lnTo>
                  <a:pt x="142" y="100"/>
                </a:lnTo>
                <a:lnTo>
                  <a:pt x="138" y="110"/>
                </a:lnTo>
                <a:lnTo>
                  <a:pt x="138" y="124"/>
                </a:lnTo>
                <a:lnTo>
                  <a:pt x="114" y="124"/>
                </a:lnTo>
                <a:lnTo>
                  <a:pt x="110" y="132"/>
                </a:lnTo>
                <a:lnTo>
                  <a:pt x="94" y="132"/>
                </a:lnTo>
                <a:lnTo>
                  <a:pt x="90" y="138"/>
                </a:lnTo>
                <a:lnTo>
                  <a:pt x="88" y="156"/>
                </a:lnTo>
                <a:lnTo>
                  <a:pt x="78" y="158"/>
                </a:lnTo>
                <a:lnTo>
                  <a:pt x="42" y="162"/>
                </a:lnTo>
                <a:lnTo>
                  <a:pt x="24" y="162"/>
                </a:lnTo>
                <a:lnTo>
                  <a:pt x="18" y="156"/>
                </a:lnTo>
                <a:lnTo>
                  <a:pt x="8" y="160"/>
                </a:lnTo>
                <a:lnTo>
                  <a:pt x="4" y="154"/>
                </a:lnTo>
                <a:lnTo>
                  <a:pt x="18" y="140"/>
                </a:lnTo>
                <a:lnTo>
                  <a:pt x="20" y="128"/>
                </a:lnTo>
                <a:lnTo>
                  <a:pt x="6" y="128"/>
                </a:lnTo>
                <a:lnTo>
                  <a:pt x="4" y="114"/>
                </a:lnTo>
                <a:lnTo>
                  <a:pt x="0" y="104"/>
                </a:lnTo>
                <a:lnTo>
                  <a:pt x="2" y="76"/>
                </a:lnTo>
                <a:lnTo>
                  <a:pt x="12" y="5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2" name="Freeform 125">
            <a:extLst>
              <a:ext uri="{FF2B5EF4-FFF2-40B4-BE49-F238E27FC236}">
                <a16:creationId xmlns:a16="http://schemas.microsoft.com/office/drawing/2014/main" id="{78A802F7-29D3-4021-A904-DA532A453E08}"/>
              </a:ext>
            </a:extLst>
          </p:cNvPr>
          <p:cNvSpPr>
            <a:spLocks/>
          </p:cNvSpPr>
          <p:nvPr/>
        </p:nvSpPr>
        <p:spPr bwMode="gray">
          <a:xfrm>
            <a:off x="6854768" y="3749940"/>
            <a:ext cx="134076" cy="150644"/>
          </a:xfrm>
          <a:custGeom>
            <a:avLst/>
            <a:gdLst>
              <a:gd name="T0" fmla="*/ 66 w 68"/>
              <a:gd name="T1" fmla="*/ 0 h 76"/>
              <a:gd name="T2" fmla="*/ 68 w 68"/>
              <a:gd name="T3" fmla="*/ 24 h 76"/>
              <a:gd name="T4" fmla="*/ 66 w 68"/>
              <a:gd name="T5" fmla="*/ 30 h 76"/>
              <a:gd name="T6" fmla="*/ 38 w 68"/>
              <a:gd name="T7" fmla="*/ 34 h 76"/>
              <a:gd name="T8" fmla="*/ 50 w 68"/>
              <a:gd name="T9" fmla="*/ 50 h 76"/>
              <a:gd name="T10" fmla="*/ 44 w 68"/>
              <a:gd name="T11" fmla="*/ 56 h 76"/>
              <a:gd name="T12" fmla="*/ 42 w 68"/>
              <a:gd name="T13" fmla="*/ 62 h 76"/>
              <a:gd name="T14" fmla="*/ 30 w 68"/>
              <a:gd name="T15" fmla="*/ 64 h 76"/>
              <a:gd name="T16" fmla="*/ 24 w 68"/>
              <a:gd name="T17" fmla="*/ 72 h 76"/>
              <a:gd name="T18" fmla="*/ 20 w 68"/>
              <a:gd name="T19" fmla="*/ 76 h 76"/>
              <a:gd name="T20" fmla="*/ 0 w 68"/>
              <a:gd name="T21" fmla="*/ 70 h 76"/>
              <a:gd name="T22" fmla="*/ 6 w 68"/>
              <a:gd name="T23" fmla="*/ 58 h 76"/>
              <a:gd name="T24" fmla="*/ 8 w 68"/>
              <a:gd name="T25" fmla="*/ 48 h 76"/>
              <a:gd name="T26" fmla="*/ 8 w 68"/>
              <a:gd name="T27" fmla="*/ 36 h 76"/>
              <a:gd name="T28" fmla="*/ 10 w 68"/>
              <a:gd name="T29" fmla="*/ 28 h 76"/>
              <a:gd name="T30" fmla="*/ 10 w 68"/>
              <a:gd name="T31" fmla="*/ 20 h 76"/>
              <a:gd name="T32" fmla="*/ 12 w 68"/>
              <a:gd name="T33" fmla="*/ 14 h 76"/>
              <a:gd name="T34" fmla="*/ 16 w 68"/>
              <a:gd name="T35" fmla="*/ 16 h 76"/>
              <a:gd name="T36" fmla="*/ 20 w 68"/>
              <a:gd name="T37" fmla="*/ 16 h 76"/>
              <a:gd name="T38" fmla="*/ 28 w 68"/>
              <a:gd name="T39" fmla="*/ 20 h 76"/>
              <a:gd name="T40" fmla="*/ 36 w 68"/>
              <a:gd name="T41" fmla="*/ 18 h 76"/>
              <a:gd name="T42" fmla="*/ 66 w 68"/>
              <a:gd name="T4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76">
                <a:moveTo>
                  <a:pt x="66" y="0"/>
                </a:moveTo>
                <a:lnTo>
                  <a:pt x="68" y="24"/>
                </a:lnTo>
                <a:lnTo>
                  <a:pt x="66" y="30"/>
                </a:lnTo>
                <a:lnTo>
                  <a:pt x="38" y="34"/>
                </a:lnTo>
                <a:lnTo>
                  <a:pt x="50" y="50"/>
                </a:lnTo>
                <a:lnTo>
                  <a:pt x="44" y="56"/>
                </a:lnTo>
                <a:lnTo>
                  <a:pt x="42" y="62"/>
                </a:lnTo>
                <a:lnTo>
                  <a:pt x="30" y="64"/>
                </a:lnTo>
                <a:lnTo>
                  <a:pt x="24" y="72"/>
                </a:lnTo>
                <a:lnTo>
                  <a:pt x="20" y="76"/>
                </a:lnTo>
                <a:lnTo>
                  <a:pt x="0" y="70"/>
                </a:lnTo>
                <a:lnTo>
                  <a:pt x="6" y="58"/>
                </a:lnTo>
                <a:lnTo>
                  <a:pt x="8" y="48"/>
                </a:lnTo>
                <a:lnTo>
                  <a:pt x="8" y="36"/>
                </a:lnTo>
                <a:lnTo>
                  <a:pt x="10" y="28"/>
                </a:lnTo>
                <a:lnTo>
                  <a:pt x="10" y="20"/>
                </a:lnTo>
                <a:lnTo>
                  <a:pt x="12" y="14"/>
                </a:lnTo>
                <a:lnTo>
                  <a:pt x="16" y="16"/>
                </a:lnTo>
                <a:lnTo>
                  <a:pt x="20" y="16"/>
                </a:lnTo>
                <a:lnTo>
                  <a:pt x="28" y="20"/>
                </a:lnTo>
                <a:lnTo>
                  <a:pt x="36" y="18"/>
                </a:lnTo>
                <a:lnTo>
                  <a:pt x="6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3" name="Freeform 126">
            <a:extLst>
              <a:ext uri="{FF2B5EF4-FFF2-40B4-BE49-F238E27FC236}">
                <a16:creationId xmlns:a16="http://schemas.microsoft.com/office/drawing/2014/main" id="{7316EECA-C181-4A7F-AF0E-B403EF97BFCC}"/>
              </a:ext>
            </a:extLst>
          </p:cNvPr>
          <p:cNvSpPr>
            <a:spLocks/>
          </p:cNvSpPr>
          <p:nvPr/>
        </p:nvSpPr>
        <p:spPr bwMode="gray">
          <a:xfrm>
            <a:off x="6850826" y="3797512"/>
            <a:ext cx="650660" cy="531218"/>
          </a:xfrm>
          <a:custGeom>
            <a:avLst/>
            <a:gdLst>
              <a:gd name="T0" fmla="*/ 0 w 330"/>
              <a:gd name="T1" fmla="*/ 68 h 268"/>
              <a:gd name="T2" fmla="*/ 4 w 330"/>
              <a:gd name="T3" fmla="*/ 46 h 268"/>
              <a:gd name="T4" fmla="*/ 22 w 330"/>
              <a:gd name="T5" fmla="*/ 52 h 268"/>
              <a:gd name="T6" fmla="*/ 26 w 330"/>
              <a:gd name="T7" fmla="*/ 48 h 268"/>
              <a:gd name="T8" fmla="*/ 32 w 330"/>
              <a:gd name="T9" fmla="*/ 40 h 268"/>
              <a:gd name="T10" fmla="*/ 44 w 330"/>
              <a:gd name="T11" fmla="*/ 38 h 268"/>
              <a:gd name="T12" fmla="*/ 46 w 330"/>
              <a:gd name="T13" fmla="*/ 32 h 268"/>
              <a:gd name="T14" fmla="*/ 52 w 330"/>
              <a:gd name="T15" fmla="*/ 26 h 268"/>
              <a:gd name="T16" fmla="*/ 40 w 330"/>
              <a:gd name="T17" fmla="*/ 10 h 268"/>
              <a:gd name="T18" fmla="*/ 68 w 330"/>
              <a:gd name="T19" fmla="*/ 6 h 268"/>
              <a:gd name="T20" fmla="*/ 70 w 330"/>
              <a:gd name="T21" fmla="*/ 0 h 268"/>
              <a:gd name="T22" fmla="*/ 90 w 330"/>
              <a:gd name="T23" fmla="*/ 4 h 268"/>
              <a:gd name="T24" fmla="*/ 126 w 330"/>
              <a:gd name="T25" fmla="*/ 24 h 268"/>
              <a:gd name="T26" fmla="*/ 134 w 330"/>
              <a:gd name="T27" fmla="*/ 36 h 268"/>
              <a:gd name="T28" fmla="*/ 136 w 330"/>
              <a:gd name="T29" fmla="*/ 40 h 268"/>
              <a:gd name="T30" fmla="*/ 144 w 330"/>
              <a:gd name="T31" fmla="*/ 42 h 268"/>
              <a:gd name="T32" fmla="*/ 158 w 330"/>
              <a:gd name="T33" fmla="*/ 52 h 268"/>
              <a:gd name="T34" fmla="*/ 174 w 330"/>
              <a:gd name="T35" fmla="*/ 52 h 268"/>
              <a:gd name="T36" fmla="*/ 190 w 330"/>
              <a:gd name="T37" fmla="*/ 52 h 268"/>
              <a:gd name="T38" fmla="*/ 200 w 330"/>
              <a:gd name="T39" fmla="*/ 54 h 268"/>
              <a:gd name="T40" fmla="*/ 208 w 330"/>
              <a:gd name="T41" fmla="*/ 62 h 268"/>
              <a:gd name="T42" fmla="*/ 216 w 330"/>
              <a:gd name="T43" fmla="*/ 62 h 268"/>
              <a:gd name="T44" fmla="*/ 226 w 330"/>
              <a:gd name="T45" fmla="*/ 82 h 268"/>
              <a:gd name="T46" fmla="*/ 234 w 330"/>
              <a:gd name="T47" fmla="*/ 88 h 268"/>
              <a:gd name="T48" fmla="*/ 242 w 330"/>
              <a:gd name="T49" fmla="*/ 96 h 268"/>
              <a:gd name="T50" fmla="*/ 244 w 330"/>
              <a:gd name="T51" fmla="*/ 110 h 268"/>
              <a:gd name="T52" fmla="*/ 248 w 330"/>
              <a:gd name="T53" fmla="*/ 118 h 268"/>
              <a:gd name="T54" fmla="*/ 256 w 330"/>
              <a:gd name="T55" fmla="*/ 128 h 268"/>
              <a:gd name="T56" fmla="*/ 260 w 330"/>
              <a:gd name="T57" fmla="*/ 132 h 268"/>
              <a:gd name="T58" fmla="*/ 282 w 330"/>
              <a:gd name="T59" fmla="*/ 158 h 268"/>
              <a:gd name="T60" fmla="*/ 290 w 330"/>
              <a:gd name="T61" fmla="*/ 160 h 268"/>
              <a:gd name="T62" fmla="*/ 302 w 330"/>
              <a:gd name="T63" fmla="*/ 164 h 268"/>
              <a:gd name="T64" fmla="*/ 308 w 330"/>
              <a:gd name="T65" fmla="*/ 166 h 268"/>
              <a:gd name="T66" fmla="*/ 326 w 330"/>
              <a:gd name="T67" fmla="*/ 164 h 268"/>
              <a:gd name="T68" fmla="*/ 330 w 330"/>
              <a:gd name="T69" fmla="*/ 172 h 268"/>
              <a:gd name="T70" fmla="*/ 330 w 330"/>
              <a:gd name="T71" fmla="*/ 186 h 268"/>
              <a:gd name="T72" fmla="*/ 322 w 330"/>
              <a:gd name="T73" fmla="*/ 204 h 268"/>
              <a:gd name="T74" fmla="*/ 306 w 330"/>
              <a:gd name="T75" fmla="*/ 208 h 268"/>
              <a:gd name="T76" fmla="*/ 290 w 330"/>
              <a:gd name="T77" fmla="*/ 216 h 268"/>
              <a:gd name="T78" fmla="*/ 274 w 330"/>
              <a:gd name="T79" fmla="*/ 226 h 268"/>
              <a:gd name="T80" fmla="*/ 258 w 330"/>
              <a:gd name="T81" fmla="*/ 224 h 268"/>
              <a:gd name="T82" fmla="*/ 226 w 330"/>
              <a:gd name="T83" fmla="*/ 230 h 268"/>
              <a:gd name="T84" fmla="*/ 200 w 330"/>
              <a:gd name="T85" fmla="*/ 254 h 268"/>
              <a:gd name="T86" fmla="*/ 170 w 330"/>
              <a:gd name="T87" fmla="*/ 248 h 268"/>
              <a:gd name="T88" fmla="*/ 136 w 330"/>
              <a:gd name="T89" fmla="*/ 250 h 268"/>
              <a:gd name="T90" fmla="*/ 128 w 330"/>
              <a:gd name="T91" fmla="*/ 268 h 268"/>
              <a:gd name="T92" fmla="*/ 120 w 330"/>
              <a:gd name="T93" fmla="*/ 250 h 268"/>
              <a:gd name="T94" fmla="*/ 106 w 330"/>
              <a:gd name="T95" fmla="*/ 232 h 268"/>
              <a:gd name="T96" fmla="*/ 96 w 330"/>
              <a:gd name="T97" fmla="*/ 212 h 268"/>
              <a:gd name="T98" fmla="*/ 88 w 330"/>
              <a:gd name="T99" fmla="*/ 202 h 268"/>
              <a:gd name="T100" fmla="*/ 76 w 330"/>
              <a:gd name="T101" fmla="*/ 200 h 268"/>
              <a:gd name="T102" fmla="*/ 68 w 330"/>
              <a:gd name="T103" fmla="*/ 184 h 268"/>
              <a:gd name="T104" fmla="*/ 68 w 330"/>
              <a:gd name="T105" fmla="*/ 160 h 268"/>
              <a:gd name="T106" fmla="*/ 56 w 330"/>
              <a:gd name="T107" fmla="*/ 142 h 268"/>
              <a:gd name="T108" fmla="*/ 42 w 330"/>
              <a:gd name="T109" fmla="*/ 136 h 268"/>
              <a:gd name="T110" fmla="*/ 38 w 330"/>
              <a:gd name="T111" fmla="*/ 126 h 268"/>
              <a:gd name="T112" fmla="*/ 38 w 330"/>
              <a:gd name="T113" fmla="*/ 114 h 268"/>
              <a:gd name="T114" fmla="*/ 18 w 330"/>
              <a:gd name="T115" fmla="*/ 90 h 268"/>
              <a:gd name="T116" fmla="*/ 8 w 330"/>
              <a:gd name="T117" fmla="*/ 70 h 268"/>
              <a:gd name="T118" fmla="*/ 0 w 330"/>
              <a:gd name="T119" fmla="*/ 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0" h="268">
                <a:moveTo>
                  <a:pt x="0" y="68"/>
                </a:moveTo>
                <a:lnTo>
                  <a:pt x="4" y="46"/>
                </a:lnTo>
                <a:lnTo>
                  <a:pt x="22" y="52"/>
                </a:lnTo>
                <a:lnTo>
                  <a:pt x="26" y="48"/>
                </a:lnTo>
                <a:lnTo>
                  <a:pt x="32" y="40"/>
                </a:lnTo>
                <a:lnTo>
                  <a:pt x="44" y="38"/>
                </a:lnTo>
                <a:lnTo>
                  <a:pt x="46" y="32"/>
                </a:lnTo>
                <a:lnTo>
                  <a:pt x="52" y="26"/>
                </a:lnTo>
                <a:lnTo>
                  <a:pt x="40" y="10"/>
                </a:lnTo>
                <a:lnTo>
                  <a:pt x="68" y="6"/>
                </a:lnTo>
                <a:lnTo>
                  <a:pt x="70" y="0"/>
                </a:lnTo>
                <a:lnTo>
                  <a:pt x="90" y="4"/>
                </a:lnTo>
                <a:lnTo>
                  <a:pt x="126" y="24"/>
                </a:lnTo>
                <a:lnTo>
                  <a:pt x="134" y="36"/>
                </a:lnTo>
                <a:lnTo>
                  <a:pt x="136" y="40"/>
                </a:lnTo>
                <a:lnTo>
                  <a:pt x="144" y="42"/>
                </a:lnTo>
                <a:lnTo>
                  <a:pt x="158" y="52"/>
                </a:lnTo>
                <a:lnTo>
                  <a:pt x="174" y="52"/>
                </a:lnTo>
                <a:lnTo>
                  <a:pt x="190" y="52"/>
                </a:lnTo>
                <a:lnTo>
                  <a:pt x="200" y="54"/>
                </a:lnTo>
                <a:lnTo>
                  <a:pt x="208" y="62"/>
                </a:lnTo>
                <a:lnTo>
                  <a:pt x="216" y="62"/>
                </a:lnTo>
                <a:lnTo>
                  <a:pt x="226" y="82"/>
                </a:lnTo>
                <a:lnTo>
                  <a:pt x="234" y="88"/>
                </a:lnTo>
                <a:lnTo>
                  <a:pt x="242" y="96"/>
                </a:lnTo>
                <a:lnTo>
                  <a:pt x="244" y="110"/>
                </a:lnTo>
                <a:lnTo>
                  <a:pt x="248" y="118"/>
                </a:lnTo>
                <a:lnTo>
                  <a:pt x="256" y="128"/>
                </a:lnTo>
                <a:lnTo>
                  <a:pt x="260" y="132"/>
                </a:lnTo>
                <a:lnTo>
                  <a:pt x="282" y="158"/>
                </a:lnTo>
                <a:lnTo>
                  <a:pt x="290" y="160"/>
                </a:lnTo>
                <a:lnTo>
                  <a:pt x="302" y="164"/>
                </a:lnTo>
                <a:lnTo>
                  <a:pt x="308" y="166"/>
                </a:lnTo>
                <a:lnTo>
                  <a:pt x="326" y="164"/>
                </a:lnTo>
                <a:lnTo>
                  <a:pt x="330" y="172"/>
                </a:lnTo>
                <a:lnTo>
                  <a:pt x="330" y="186"/>
                </a:lnTo>
                <a:lnTo>
                  <a:pt x="322" y="204"/>
                </a:lnTo>
                <a:lnTo>
                  <a:pt x="306" y="208"/>
                </a:lnTo>
                <a:lnTo>
                  <a:pt x="290" y="216"/>
                </a:lnTo>
                <a:lnTo>
                  <a:pt x="274" y="226"/>
                </a:lnTo>
                <a:lnTo>
                  <a:pt x="258" y="224"/>
                </a:lnTo>
                <a:lnTo>
                  <a:pt x="226" y="230"/>
                </a:lnTo>
                <a:lnTo>
                  <a:pt x="200" y="254"/>
                </a:lnTo>
                <a:lnTo>
                  <a:pt x="170" y="248"/>
                </a:lnTo>
                <a:lnTo>
                  <a:pt x="136" y="250"/>
                </a:lnTo>
                <a:lnTo>
                  <a:pt x="128" y="268"/>
                </a:lnTo>
                <a:lnTo>
                  <a:pt x="120" y="250"/>
                </a:lnTo>
                <a:lnTo>
                  <a:pt x="106" y="232"/>
                </a:lnTo>
                <a:lnTo>
                  <a:pt x="96" y="212"/>
                </a:lnTo>
                <a:lnTo>
                  <a:pt x="88" y="202"/>
                </a:lnTo>
                <a:lnTo>
                  <a:pt x="76" y="200"/>
                </a:lnTo>
                <a:lnTo>
                  <a:pt x="68" y="184"/>
                </a:lnTo>
                <a:lnTo>
                  <a:pt x="68" y="160"/>
                </a:lnTo>
                <a:lnTo>
                  <a:pt x="56" y="142"/>
                </a:lnTo>
                <a:lnTo>
                  <a:pt x="42" y="136"/>
                </a:lnTo>
                <a:lnTo>
                  <a:pt x="38" y="126"/>
                </a:lnTo>
                <a:lnTo>
                  <a:pt x="38" y="114"/>
                </a:lnTo>
                <a:lnTo>
                  <a:pt x="18" y="90"/>
                </a:lnTo>
                <a:lnTo>
                  <a:pt x="8" y="70"/>
                </a:lnTo>
                <a:lnTo>
                  <a:pt x="0" y="6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4" name="Freeform 127">
            <a:extLst>
              <a:ext uri="{FF2B5EF4-FFF2-40B4-BE49-F238E27FC236}">
                <a16:creationId xmlns:a16="http://schemas.microsoft.com/office/drawing/2014/main" id="{FDB607A6-8958-4F29-8D04-2574ABB97934}"/>
              </a:ext>
            </a:extLst>
          </p:cNvPr>
          <p:cNvSpPr>
            <a:spLocks/>
          </p:cNvSpPr>
          <p:nvPr/>
        </p:nvSpPr>
        <p:spPr bwMode="gray">
          <a:xfrm>
            <a:off x="6858712" y="3789585"/>
            <a:ext cx="15774" cy="31714"/>
          </a:xfrm>
          <a:custGeom>
            <a:avLst/>
            <a:gdLst>
              <a:gd name="T0" fmla="*/ 8 w 8"/>
              <a:gd name="T1" fmla="*/ 0 h 16"/>
              <a:gd name="T2" fmla="*/ 2 w 8"/>
              <a:gd name="T3" fmla="*/ 0 h 16"/>
              <a:gd name="T4" fmla="*/ 0 w 8"/>
              <a:gd name="T5" fmla="*/ 4 h 16"/>
              <a:gd name="T6" fmla="*/ 0 w 8"/>
              <a:gd name="T7" fmla="*/ 10 h 16"/>
              <a:gd name="T8" fmla="*/ 2 w 8"/>
              <a:gd name="T9" fmla="*/ 16 h 16"/>
              <a:gd name="T10" fmla="*/ 6 w 8"/>
              <a:gd name="T11" fmla="*/ 16 h 16"/>
              <a:gd name="T12" fmla="*/ 8 w 8"/>
              <a:gd name="T13" fmla="*/ 8 h 16"/>
              <a:gd name="T14" fmla="*/ 8 w 8"/>
              <a:gd name="T15" fmla="*/ 2 h 16"/>
              <a:gd name="T16" fmla="*/ 8 w 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8" y="0"/>
                </a:moveTo>
                <a:lnTo>
                  <a:pt x="2" y="0"/>
                </a:lnTo>
                <a:lnTo>
                  <a:pt x="0" y="4"/>
                </a:lnTo>
                <a:lnTo>
                  <a:pt x="0" y="10"/>
                </a:lnTo>
                <a:lnTo>
                  <a:pt x="2" y="16"/>
                </a:lnTo>
                <a:lnTo>
                  <a:pt x="6" y="16"/>
                </a:lnTo>
                <a:lnTo>
                  <a:pt x="8" y="8"/>
                </a:lnTo>
                <a:lnTo>
                  <a:pt x="8" y="2"/>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5" name="Freeform 128">
            <a:extLst>
              <a:ext uri="{FF2B5EF4-FFF2-40B4-BE49-F238E27FC236}">
                <a16:creationId xmlns:a16="http://schemas.microsoft.com/office/drawing/2014/main" id="{B8353495-181E-4C4F-82A6-61DC67866717}"/>
              </a:ext>
            </a:extLst>
          </p:cNvPr>
          <p:cNvSpPr>
            <a:spLocks/>
          </p:cNvSpPr>
          <p:nvPr/>
        </p:nvSpPr>
        <p:spPr bwMode="gray">
          <a:xfrm>
            <a:off x="7355580" y="4007619"/>
            <a:ext cx="19716" cy="51535"/>
          </a:xfrm>
          <a:custGeom>
            <a:avLst/>
            <a:gdLst>
              <a:gd name="T0" fmla="*/ 0 w 10"/>
              <a:gd name="T1" fmla="*/ 22 h 26"/>
              <a:gd name="T2" fmla="*/ 0 w 10"/>
              <a:gd name="T3" fmla="*/ 10 h 26"/>
              <a:gd name="T4" fmla="*/ 4 w 10"/>
              <a:gd name="T5" fmla="*/ 0 h 26"/>
              <a:gd name="T6" fmla="*/ 8 w 10"/>
              <a:gd name="T7" fmla="*/ 0 h 26"/>
              <a:gd name="T8" fmla="*/ 10 w 10"/>
              <a:gd name="T9" fmla="*/ 8 h 26"/>
              <a:gd name="T10" fmla="*/ 10 w 10"/>
              <a:gd name="T11" fmla="*/ 14 h 26"/>
              <a:gd name="T12" fmla="*/ 8 w 10"/>
              <a:gd name="T13" fmla="*/ 22 h 26"/>
              <a:gd name="T14" fmla="*/ 4 w 10"/>
              <a:gd name="T15" fmla="*/ 26 h 26"/>
              <a:gd name="T16" fmla="*/ 0 w 10"/>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6">
                <a:moveTo>
                  <a:pt x="0" y="22"/>
                </a:moveTo>
                <a:lnTo>
                  <a:pt x="0" y="10"/>
                </a:lnTo>
                <a:lnTo>
                  <a:pt x="4" y="0"/>
                </a:lnTo>
                <a:lnTo>
                  <a:pt x="8" y="0"/>
                </a:lnTo>
                <a:lnTo>
                  <a:pt x="10" y="8"/>
                </a:lnTo>
                <a:lnTo>
                  <a:pt x="10" y="14"/>
                </a:lnTo>
                <a:lnTo>
                  <a:pt x="8" y="22"/>
                </a:lnTo>
                <a:lnTo>
                  <a:pt x="4" y="26"/>
                </a:lnTo>
                <a:lnTo>
                  <a:pt x="0" y="2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6" name="Freeform 129">
            <a:extLst>
              <a:ext uri="{FF2B5EF4-FFF2-40B4-BE49-F238E27FC236}">
                <a16:creationId xmlns:a16="http://schemas.microsoft.com/office/drawing/2014/main" id="{F31F9323-A812-4616-80C9-47C07A21D7C0}"/>
              </a:ext>
            </a:extLst>
          </p:cNvPr>
          <p:cNvSpPr>
            <a:spLocks/>
          </p:cNvSpPr>
          <p:nvPr/>
        </p:nvSpPr>
        <p:spPr bwMode="gray">
          <a:xfrm>
            <a:off x="7339806" y="3991764"/>
            <a:ext cx="15774" cy="23786"/>
          </a:xfrm>
          <a:custGeom>
            <a:avLst/>
            <a:gdLst>
              <a:gd name="T0" fmla="*/ 0 w 8"/>
              <a:gd name="T1" fmla="*/ 0 h 12"/>
              <a:gd name="T2" fmla="*/ 8 w 8"/>
              <a:gd name="T3" fmla="*/ 2 h 12"/>
              <a:gd name="T4" fmla="*/ 4 w 8"/>
              <a:gd name="T5" fmla="*/ 12 h 12"/>
              <a:gd name="T6" fmla="*/ 0 w 8"/>
              <a:gd name="T7" fmla="*/ 0 h 12"/>
            </a:gdLst>
            <a:ahLst/>
            <a:cxnLst>
              <a:cxn ang="0">
                <a:pos x="T0" y="T1"/>
              </a:cxn>
              <a:cxn ang="0">
                <a:pos x="T2" y="T3"/>
              </a:cxn>
              <a:cxn ang="0">
                <a:pos x="T4" y="T5"/>
              </a:cxn>
              <a:cxn ang="0">
                <a:pos x="T6" y="T7"/>
              </a:cxn>
            </a:cxnLst>
            <a:rect l="0" t="0" r="r" b="b"/>
            <a:pathLst>
              <a:path w="8" h="12">
                <a:moveTo>
                  <a:pt x="0" y="0"/>
                </a:moveTo>
                <a:lnTo>
                  <a:pt x="8" y="2"/>
                </a:lnTo>
                <a:lnTo>
                  <a:pt x="4" y="1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7" name="Freeform 130">
            <a:extLst>
              <a:ext uri="{FF2B5EF4-FFF2-40B4-BE49-F238E27FC236}">
                <a16:creationId xmlns:a16="http://schemas.microsoft.com/office/drawing/2014/main" id="{5D24B105-2F29-47CA-918E-E20DEF2A097C}"/>
              </a:ext>
            </a:extLst>
          </p:cNvPr>
          <p:cNvSpPr>
            <a:spLocks/>
          </p:cNvSpPr>
          <p:nvPr/>
        </p:nvSpPr>
        <p:spPr bwMode="gray">
          <a:xfrm>
            <a:off x="6545834" y="3810363"/>
            <a:ext cx="328679" cy="330423"/>
          </a:xfrm>
          <a:custGeom>
            <a:avLst/>
            <a:gdLst>
              <a:gd name="T0" fmla="*/ 6 w 172"/>
              <a:gd name="T1" fmla="*/ 0 h 172"/>
              <a:gd name="T2" fmla="*/ 16 w 172"/>
              <a:gd name="T3" fmla="*/ 4 h 172"/>
              <a:gd name="T4" fmla="*/ 24 w 172"/>
              <a:gd name="T5" fmla="*/ 2 h 172"/>
              <a:gd name="T6" fmla="*/ 48 w 172"/>
              <a:gd name="T7" fmla="*/ 12 h 172"/>
              <a:gd name="T8" fmla="*/ 66 w 172"/>
              <a:gd name="T9" fmla="*/ 16 h 172"/>
              <a:gd name="T10" fmla="*/ 80 w 172"/>
              <a:gd name="T11" fmla="*/ 14 h 172"/>
              <a:gd name="T12" fmla="*/ 90 w 172"/>
              <a:gd name="T13" fmla="*/ 8 h 172"/>
              <a:gd name="T14" fmla="*/ 112 w 172"/>
              <a:gd name="T15" fmla="*/ 6 h 172"/>
              <a:gd name="T16" fmla="*/ 122 w 172"/>
              <a:gd name="T17" fmla="*/ 12 h 172"/>
              <a:gd name="T18" fmla="*/ 134 w 172"/>
              <a:gd name="T19" fmla="*/ 10 h 172"/>
              <a:gd name="T20" fmla="*/ 150 w 172"/>
              <a:gd name="T21" fmla="*/ 12 h 172"/>
              <a:gd name="T22" fmla="*/ 154 w 172"/>
              <a:gd name="T23" fmla="*/ 20 h 172"/>
              <a:gd name="T24" fmla="*/ 162 w 172"/>
              <a:gd name="T25" fmla="*/ 40 h 172"/>
              <a:gd name="T26" fmla="*/ 158 w 172"/>
              <a:gd name="T27" fmla="*/ 44 h 172"/>
              <a:gd name="T28" fmla="*/ 152 w 172"/>
              <a:gd name="T29" fmla="*/ 56 h 172"/>
              <a:gd name="T30" fmla="*/ 150 w 172"/>
              <a:gd name="T31" fmla="*/ 66 h 172"/>
              <a:gd name="T32" fmla="*/ 146 w 172"/>
              <a:gd name="T33" fmla="*/ 70 h 172"/>
              <a:gd name="T34" fmla="*/ 140 w 172"/>
              <a:gd name="T35" fmla="*/ 60 h 172"/>
              <a:gd name="T36" fmla="*/ 136 w 172"/>
              <a:gd name="T37" fmla="*/ 48 h 172"/>
              <a:gd name="T38" fmla="*/ 130 w 172"/>
              <a:gd name="T39" fmla="*/ 40 h 172"/>
              <a:gd name="T40" fmla="*/ 126 w 172"/>
              <a:gd name="T41" fmla="*/ 28 h 172"/>
              <a:gd name="T42" fmla="*/ 122 w 172"/>
              <a:gd name="T43" fmla="*/ 16 h 172"/>
              <a:gd name="T44" fmla="*/ 122 w 172"/>
              <a:gd name="T45" fmla="*/ 24 h 172"/>
              <a:gd name="T46" fmla="*/ 124 w 172"/>
              <a:gd name="T47" fmla="*/ 42 h 172"/>
              <a:gd name="T48" fmla="*/ 128 w 172"/>
              <a:gd name="T49" fmla="*/ 54 h 172"/>
              <a:gd name="T50" fmla="*/ 136 w 172"/>
              <a:gd name="T51" fmla="*/ 64 h 172"/>
              <a:gd name="T52" fmla="*/ 142 w 172"/>
              <a:gd name="T53" fmla="*/ 72 h 172"/>
              <a:gd name="T54" fmla="*/ 150 w 172"/>
              <a:gd name="T55" fmla="*/ 96 h 172"/>
              <a:gd name="T56" fmla="*/ 170 w 172"/>
              <a:gd name="T57" fmla="*/ 130 h 172"/>
              <a:gd name="T58" fmla="*/ 172 w 172"/>
              <a:gd name="T59" fmla="*/ 136 h 172"/>
              <a:gd name="T60" fmla="*/ 172 w 172"/>
              <a:gd name="T61" fmla="*/ 152 h 172"/>
              <a:gd name="T62" fmla="*/ 164 w 172"/>
              <a:gd name="T63" fmla="*/ 152 h 172"/>
              <a:gd name="T64" fmla="*/ 144 w 172"/>
              <a:gd name="T65" fmla="*/ 172 h 172"/>
              <a:gd name="T66" fmla="*/ 134 w 172"/>
              <a:gd name="T67" fmla="*/ 166 h 172"/>
              <a:gd name="T68" fmla="*/ 6 w 172"/>
              <a:gd name="T69" fmla="*/ 164 h 172"/>
              <a:gd name="T70" fmla="*/ 6 w 172"/>
              <a:gd name="T71" fmla="*/ 38 h 172"/>
              <a:gd name="T72" fmla="*/ 2 w 172"/>
              <a:gd name="T73" fmla="*/ 36 h 172"/>
              <a:gd name="T74" fmla="*/ 0 w 172"/>
              <a:gd name="T75" fmla="*/ 24 h 172"/>
              <a:gd name="T76" fmla="*/ 6 w 172"/>
              <a:gd name="T77" fmla="*/ 20 h 172"/>
              <a:gd name="T78" fmla="*/ 6 w 172"/>
              <a:gd name="T7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172">
                <a:moveTo>
                  <a:pt x="6" y="0"/>
                </a:moveTo>
                <a:lnTo>
                  <a:pt x="16" y="4"/>
                </a:lnTo>
                <a:lnTo>
                  <a:pt x="24" y="2"/>
                </a:lnTo>
                <a:lnTo>
                  <a:pt x="48" y="12"/>
                </a:lnTo>
                <a:lnTo>
                  <a:pt x="66" y="16"/>
                </a:lnTo>
                <a:lnTo>
                  <a:pt x="80" y="14"/>
                </a:lnTo>
                <a:lnTo>
                  <a:pt x="90" y="8"/>
                </a:lnTo>
                <a:lnTo>
                  <a:pt x="112" y="6"/>
                </a:lnTo>
                <a:lnTo>
                  <a:pt x="122" y="12"/>
                </a:lnTo>
                <a:lnTo>
                  <a:pt x="134" y="10"/>
                </a:lnTo>
                <a:lnTo>
                  <a:pt x="150" y="12"/>
                </a:lnTo>
                <a:lnTo>
                  <a:pt x="154" y="20"/>
                </a:lnTo>
                <a:lnTo>
                  <a:pt x="162" y="40"/>
                </a:lnTo>
                <a:lnTo>
                  <a:pt x="158" y="44"/>
                </a:lnTo>
                <a:lnTo>
                  <a:pt x="152" y="56"/>
                </a:lnTo>
                <a:lnTo>
                  <a:pt x="150" y="66"/>
                </a:lnTo>
                <a:lnTo>
                  <a:pt x="146" y="70"/>
                </a:lnTo>
                <a:lnTo>
                  <a:pt x="140" y="60"/>
                </a:lnTo>
                <a:lnTo>
                  <a:pt x="136" y="48"/>
                </a:lnTo>
                <a:lnTo>
                  <a:pt x="130" y="40"/>
                </a:lnTo>
                <a:lnTo>
                  <a:pt x="126" y="28"/>
                </a:lnTo>
                <a:lnTo>
                  <a:pt x="122" y="16"/>
                </a:lnTo>
                <a:lnTo>
                  <a:pt x="122" y="24"/>
                </a:lnTo>
                <a:lnTo>
                  <a:pt x="124" y="42"/>
                </a:lnTo>
                <a:lnTo>
                  <a:pt x="128" y="54"/>
                </a:lnTo>
                <a:lnTo>
                  <a:pt x="136" y="64"/>
                </a:lnTo>
                <a:lnTo>
                  <a:pt x="142" y="72"/>
                </a:lnTo>
                <a:lnTo>
                  <a:pt x="150" y="96"/>
                </a:lnTo>
                <a:lnTo>
                  <a:pt x="170" y="130"/>
                </a:lnTo>
                <a:lnTo>
                  <a:pt x="172" y="136"/>
                </a:lnTo>
                <a:lnTo>
                  <a:pt x="172" y="152"/>
                </a:lnTo>
                <a:lnTo>
                  <a:pt x="164" y="152"/>
                </a:lnTo>
                <a:lnTo>
                  <a:pt x="144" y="172"/>
                </a:lnTo>
                <a:lnTo>
                  <a:pt x="134" y="166"/>
                </a:lnTo>
                <a:lnTo>
                  <a:pt x="6" y="164"/>
                </a:lnTo>
                <a:lnTo>
                  <a:pt x="6" y="38"/>
                </a:lnTo>
                <a:lnTo>
                  <a:pt x="2" y="36"/>
                </a:lnTo>
                <a:lnTo>
                  <a:pt x="0" y="24"/>
                </a:lnTo>
                <a:lnTo>
                  <a:pt x="6" y="20"/>
                </a:lnTo>
                <a:lnTo>
                  <a:pt x="6" y="0"/>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938" name="Freeform 131">
            <a:extLst>
              <a:ext uri="{FF2B5EF4-FFF2-40B4-BE49-F238E27FC236}">
                <a16:creationId xmlns:a16="http://schemas.microsoft.com/office/drawing/2014/main" id="{BC1425CB-C18E-4618-A99F-CFED40E72133}"/>
              </a:ext>
            </a:extLst>
          </p:cNvPr>
          <p:cNvSpPr>
            <a:spLocks/>
          </p:cNvSpPr>
          <p:nvPr/>
        </p:nvSpPr>
        <p:spPr bwMode="gray">
          <a:xfrm>
            <a:off x="6081478" y="3764257"/>
            <a:ext cx="475821" cy="426475"/>
          </a:xfrm>
          <a:custGeom>
            <a:avLst/>
            <a:gdLst>
              <a:gd name="T0" fmla="*/ 35 w 249"/>
              <a:gd name="T1" fmla="*/ 0 h 222"/>
              <a:gd name="T2" fmla="*/ 51 w 249"/>
              <a:gd name="T3" fmla="*/ 4 h 222"/>
              <a:gd name="T4" fmla="*/ 79 w 249"/>
              <a:gd name="T5" fmla="*/ 8 h 222"/>
              <a:gd name="T6" fmla="*/ 93 w 249"/>
              <a:gd name="T7" fmla="*/ 16 h 222"/>
              <a:gd name="T8" fmla="*/ 99 w 249"/>
              <a:gd name="T9" fmla="*/ 28 h 222"/>
              <a:gd name="T10" fmla="*/ 107 w 249"/>
              <a:gd name="T11" fmla="*/ 34 h 222"/>
              <a:gd name="T12" fmla="*/ 125 w 249"/>
              <a:gd name="T13" fmla="*/ 34 h 222"/>
              <a:gd name="T14" fmla="*/ 137 w 249"/>
              <a:gd name="T15" fmla="*/ 42 h 222"/>
              <a:gd name="T16" fmla="*/ 157 w 249"/>
              <a:gd name="T17" fmla="*/ 54 h 222"/>
              <a:gd name="T18" fmla="*/ 171 w 249"/>
              <a:gd name="T19" fmla="*/ 40 h 222"/>
              <a:gd name="T20" fmla="*/ 173 w 249"/>
              <a:gd name="T21" fmla="*/ 30 h 222"/>
              <a:gd name="T22" fmla="*/ 167 w 249"/>
              <a:gd name="T23" fmla="*/ 22 h 222"/>
              <a:gd name="T24" fmla="*/ 177 w 249"/>
              <a:gd name="T25" fmla="*/ 12 h 222"/>
              <a:gd name="T26" fmla="*/ 191 w 249"/>
              <a:gd name="T27" fmla="*/ 6 h 222"/>
              <a:gd name="T28" fmla="*/ 209 w 249"/>
              <a:gd name="T29" fmla="*/ 8 h 222"/>
              <a:gd name="T30" fmla="*/ 223 w 249"/>
              <a:gd name="T31" fmla="*/ 16 h 222"/>
              <a:gd name="T32" fmla="*/ 237 w 249"/>
              <a:gd name="T33" fmla="*/ 22 h 222"/>
              <a:gd name="T34" fmla="*/ 249 w 249"/>
              <a:gd name="T35" fmla="*/ 24 h 222"/>
              <a:gd name="T36" fmla="*/ 249 w 249"/>
              <a:gd name="T37" fmla="*/ 44 h 222"/>
              <a:gd name="T38" fmla="*/ 243 w 249"/>
              <a:gd name="T39" fmla="*/ 48 h 222"/>
              <a:gd name="T40" fmla="*/ 245 w 249"/>
              <a:gd name="T41" fmla="*/ 60 h 222"/>
              <a:gd name="T42" fmla="*/ 249 w 249"/>
              <a:gd name="T43" fmla="*/ 62 h 222"/>
              <a:gd name="T44" fmla="*/ 249 w 249"/>
              <a:gd name="T45" fmla="*/ 188 h 222"/>
              <a:gd name="T46" fmla="*/ 249 w 249"/>
              <a:gd name="T47" fmla="*/ 222 h 222"/>
              <a:gd name="T48" fmla="*/ 231 w 249"/>
              <a:gd name="T49" fmla="*/ 222 h 222"/>
              <a:gd name="T50" fmla="*/ 97 w 249"/>
              <a:gd name="T51" fmla="*/ 168 h 222"/>
              <a:gd name="T52" fmla="*/ 91 w 249"/>
              <a:gd name="T53" fmla="*/ 174 h 222"/>
              <a:gd name="T54" fmla="*/ 79 w 249"/>
              <a:gd name="T55" fmla="*/ 180 h 222"/>
              <a:gd name="T56" fmla="*/ 69 w 249"/>
              <a:gd name="T57" fmla="*/ 172 h 222"/>
              <a:gd name="T58" fmla="*/ 59 w 249"/>
              <a:gd name="T59" fmla="*/ 168 h 222"/>
              <a:gd name="T60" fmla="*/ 43 w 249"/>
              <a:gd name="T61" fmla="*/ 164 h 222"/>
              <a:gd name="T62" fmla="*/ 37 w 249"/>
              <a:gd name="T63" fmla="*/ 158 h 222"/>
              <a:gd name="T64" fmla="*/ 33 w 249"/>
              <a:gd name="T65" fmla="*/ 150 h 222"/>
              <a:gd name="T66" fmla="*/ 14 w 249"/>
              <a:gd name="T67" fmla="*/ 148 h 222"/>
              <a:gd name="T68" fmla="*/ 8 w 249"/>
              <a:gd name="T69" fmla="*/ 136 h 222"/>
              <a:gd name="T70" fmla="*/ 4 w 249"/>
              <a:gd name="T71" fmla="*/ 126 h 222"/>
              <a:gd name="T72" fmla="*/ 0 w 249"/>
              <a:gd name="T73" fmla="*/ 116 h 222"/>
              <a:gd name="T74" fmla="*/ 8 w 249"/>
              <a:gd name="T75" fmla="*/ 112 h 222"/>
              <a:gd name="T76" fmla="*/ 8 w 249"/>
              <a:gd name="T77" fmla="*/ 66 h 222"/>
              <a:gd name="T78" fmla="*/ 4 w 249"/>
              <a:gd name="T79" fmla="*/ 48 h 222"/>
              <a:gd name="T80" fmla="*/ 12 w 249"/>
              <a:gd name="T81" fmla="*/ 42 h 222"/>
              <a:gd name="T82" fmla="*/ 12 w 249"/>
              <a:gd name="T83" fmla="*/ 26 h 222"/>
              <a:gd name="T84" fmla="*/ 33 w 249"/>
              <a:gd name="T85" fmla="*/ 12 h 222"/>
              <a:gd name="T86" fmla="*/ 35 w 249"/>
              <a:gd name="T87" fmla="*/ 10 h 222"/>
              <a:gd name="T88" fmla="*/ 35 w 249"/>
              <a:gd name="T8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 h="222">
                <a:moveTo>
                  <a:pt x="35" y="0"/>
                </a:moveTo>
                <a:lnTo>
                  <a:pt x="51" y="4"/>
                </a:lnTo>
                <a:lnTo>
                  <a:pt x="79" y="8"/>
                </a:lnTo>
                <a:lnTo>
                  <a:pt x="93" y="16"/>
                </a:lnTo>
                <a:lnTo>
                  <a:pt x="99" y="28"/>
                </a:lnTo>
                <a:lnTo>
                  <a:pt x="107" y="34"/>
                </a:lnTo>
                <a:lnTo>
                  <a:pt x="125" y="34"/>
                </a:lnTo>
                <a:lnTo>
                  <a:pt x="137" y="42"/>
                </a:lnTo>
                <a:lnTo>
                  <a:pt x="157" y="54"/>
                </a:lnTo>
                <a:lnTo>
                  <a:pt x="171" y="40"/>
                </a:lnTo>
                <a:lnTo>
                  <a:pt x="173" y="30"/>
                </a:lnTo>
                <a:lnTo>
                  <a:pt x="167" y="22"/>
                </a:lnTo>
                <a:lnTo>
                  <a:pt x="177" y="12"/>
                </a:lnTo>
                <a:lnTo>
                  <a:pt x="191" y="6"/>
                </a:lnTo>
                <a:lnTo>
                  <a:pt x="209" y="8"/>
                </a:lnTo>
                <a:lnTo>
                  <a:pt x="223" y="16"/>
                </a:lnTo>
                <a:lnTo>
                  <a:pt x="237" y="22"/>
                </a:lnTo>
                <a:lnTo>
                  <a:pt x="249" y="24"/>
                </a:lnTo>
                <a:lnTo>
                  <a:pt x="249" y="44"/>
                </a:lnTo>
                <a:lnTo>
                  <a:pt x="243" y="48"/>
                </a:lnTo>
                <a:lnTo>
                  <a:pt x="245" y="60"/>
                </a:lnTo>
                <a:lnTo>
                  <a:pt x="249" y="62"/>
                </a:lnTo>
                <a:lnTo>
                  <a:pt x="249" y="188"/>
                </a:lnTo>
                <a:lnTo>
                  <a:pt x="249" y="222"/>
                </a:lnTo>
                <a:lnTo>
                  <a:pt x="231" y="222"/>
                </a:lnTo>
                <a:lnTo>
                  <a:pt x="97" y="168"/>
                </a:lnTo>
                <a:lnTo>
                  <a:pt x="91" y="174"/>
                </a:lnTo>
                <a:lnTo>
                  <a:pt x="79" y="180"/>
                </a:lnTo>
                <a:lnTo>
                  <a:pt x="69" y="172"/>
                </a:lnTo>
                <a:lnTo>
                  <a:pt x="59" y="168"/>
                </a:lnTo>
                <a:lnTo>
                  <a:pt x="43" y="164"/>
                </a:lnTo>
                <a:lnTo>
                  <a:pt x="37" y="158"/>
                </a:lnTo>
                <a:lnTo>
                  <a:pt x="33" y="150"/>
                </a:lnTo>
                <a:lnTo>
                  <a:pt x="14" y="148"/>
                </a:lnTo>
                <a:lnTo>
                  <a:pt x="8" y="136"/>
                </a:lnTo>
                <a:lnTo>
                  <a:pt x="4" y="126"/>
                </a:lnTo>
                <a:lnTo>
                  <a:pt x="0" y="116"/>
                </a:lnTo>
                <a:lnTo>
                  <a:pt x="8" y="112"/>
                </a:lnTo>
                <a:lnTo>
                  <a:pt x="8" y="66"/>
                </a:lnTo>
                <a:lnTo>
                  <a:pt x="4" y="48"/>
                </a:lnTo>
                <a:lnTo>
                  <a:pt x="12" y="42"/>
                </a:lnTo>
                <a:lnTo>
                  <a:pt x="12" y="26"/>
                </a:lnTo>
                <a:lnTo>
                  <a:pt x="33" y="12"/>
                </a:lnTo>
                <a:lnTo>
                  <a:pt x="35" y="10"/>
                </a:lnTo>
                <a:lnTo>
                  <a:pt x="35"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39" name="Freeform 132">
            <a:extLst>
              <a:ext uri="{FF2B5EF4-FFF2-40B4-BE49-F238E27FC236}">
                <a16:creationId xmlns:a16="http://schemas.microsoft.com/office/drawing/2014/main" id="{B00C06F7-0EEE-43FF-A767-2BF63E6F4C74}"/>
              </a:ext>
            </a:extLst>
          </p:cNvPr>
          <p:cNvSpPr>
            <a:spLocks/>
          </p:cNvSpPr>
          <p:nvPr/>
        </p:nvSpPr>
        <p:spPr bwMode="gray">
          <a:xfrm>
            <a:off x="6024152" y="3622099"/>
            <a:ext cx="124211" cy="234370"/>
          </a:xfrm>
          <a:custGeom>
            <a:avLst/>
            <a:gdLst>
              <a:gd name="T0" fmla="*/ 16 w 65"/>
              <a:gd name="T1" fmla="*/ 6 h 122"/>
              <a:gd name="T2" fmla="*/ 30 w 65"/>
              <a:gd name="T3" fmla="*/ 0 h 122"/>
              <a:gd name="T4" fmla="*/ 38 w 65"/>
              <a:gd name="T5" fmla="*/ 0 h 122"/>
              <a:gd name="T6" fmla="*/ 42 w 65"/>
              <a:gd name="T7" fmla="*/ 8 h 122"/>
              <a:gd name="T8" fmla="*/ 48 w 65"/>
              <a:gd name="T9" fmla="*/ 10 h 122"/>
              <a:gd name="T10" fmla="*/ 54 w 65"/>
              <a:gd name="T11" fmla="*/ 6 h 122"/>
              <a:gd name="T12" fmla="*/ 58 w 65"/>
              <a:gd name="T13" fmla="*/ 8 h 122"/>
              <a:gd name="T14" fmla="*/ 56 w 65"/>
              <a:gd name="T15" fmla="*/ 14 h 122"/>
              <a:gd name="T16" fmla="*/ 50 w 65"/>
              <a:gd name="T17" fmla="*/ 16 h 122"/>
              <a:gd name="T18" fmla="*/ 46 w 65"/>
              <a:gd name="T19" fmla="*/ 24 h 122"/>
              <a:gd name="T20" fmla="*/ 50 w 65"/>
              <a:gd name="T21" fmla="*/ 28 h 122"/>
              <a:gd name="T22" fmla="*/ 58 w 65"/>
              <a:gd name="T23" fmla="*/ 32 h 122"/>
              <a:gd name="T24" fmla="*/ 58 w 65"/>
              <a:gd name="T25" fmla="*/ 38 h 122"/>
              <a:gd name="T26" fmla="*/ 52 w 65"/>
              <a:gd name="T27" fmla="*/ 44 h 122"/>
              <a:gd name="T28" fmla="*/ 46 w 65"/>
              <a:gd name="T29" fmla="*/ 46 h 122"/>
              <a:gd name="T30" fmla="*/ 40 w 65"/>
              <a:gd name="T31" fmla="*/ 54 h 122"/>
              <a:gd name="T32" fmla="*/ 44 w 65"/>
              <a:gd name="T33" fmla="*/ 64 h 122"/>
              <a:gd name="T34" fmla="*/ 54 w 65"/>
              <a:gd name="T35" fmla="*/ 64 h 122"/>
              <a:gd name="T36" fmla="*/ 58 w 65"/>
              <a:gd name="T37" fmla="*/ 70 h 122"/>
              <a:gd name="T38" fmla="*/ 65 w 65"/>
              <a:gd name="T39" fmla="*/ 74 h 122"/>
              <a:gd name="T40" fmla="*/ 65 w 65"/>
              <a:gd name="T41" fmla="*/ 84 h 122"/>
              <a:gd name="T42" fmla="*/ 42 w 65"/>
              <a:gd name="T43" fmla="*/ 100 h 122"/>
              <a:gd name="T44" fmla="*/ 42 w 65"/>
              <a:gd name="T45" fmla="*/ 116 h 122"/>
              <a:gd name="T46" fmla="*/ 34 w 65"/>
              <a:gd name="T47" fmla="*/ 122 h 122"/>
              <a:gd name="T48" fmla="*/ 28 w 65"/>
              <a:gd name="T49" fmla="*/ 120 h 122"/>
              <a:gd name="T50" fmla="*/ 26 w 65"/>
              <a:gd name="T51" fmla="*/ 108 h 122"/>
              <a:gd name="T52" fmla="*/ 24 w 65"/>
              <a:gd name="T53" fmla="*/ 92 h 122"/>
              <a:gd name="T54" fmla="*/ 10 w 65"/>
              <a:gd name="T55" fmla="*/ 76 h 122"/>
              <a:gd name="T56" fmla="*/ 0 w 65"/>
              <a:gd name="T57" fmla="*/ 64 h 122"/>
              <a:gd name="T58" fmla="*/ 0 w 65"/>
              <a:gd name="T59" fmla="*/ 56 h 122"/>
              <a:gd name="T60" fmla="*/ 12 w 65"/>
              <a:gd name="T61" fmla="*/ 46 h 122"/>
              <a:gd name="T62" fmla="*/ 12 w 65"/>
              <a:gd name="T63" fmla="*/ 10 h 122"/>
              <a:gd name="T64" fmla="*/ 16 w 65"/>
              <a:gd name="T65"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122">
                <a:moveTo>
                  <a:pt x="16" y="6"/>
                </a:moveTo>
                <a:lnTo>
                  <a:pt x="30" y="0"/>
                </a:lnTo>
                <a:lnTo>
                  <a:pt x="38" y="0"/>
                </a:lnTo>
                <a:lnTo>
                  <a:pt x="42" y="8"/>
                </a:lnTo>
                <a:lnTo>
                  <a:pt x="48" y="10"/>
                </a:lnTo>
                <a:lnTo>
                  <a:pt x="54" y="6"/>
                </a:lnTo>
                <a:lnTo>
                  <a:pt x="58" y="8"/>
                </a:lnTo>
                <a:lnTo>
                  <a:pt x="56" y="14"/>
                </a:lnTo>
                <a:lnTo>
                  <a:pt x="50" y="16"/>
                </a:lnTo>
                <a:lnTo>
                  <a:pt x="46" y="24"/>
                </a:lnTo>
                <a:lnTo>
                  <a:pt x="50" y="28"/>
                </a:lnTo>
                <a:lnTo>
                  <a:pt x="58" y="32"/>
                </a:lnTo>
                <a:lnTo>
                  <a:pt x="58" y="38"/>
                </a:lnTo>
                <a:lnTo>
                  <a:pt x="52" y="44"/>
                </a:lnTo>
                <a:lnTo>
                  <a:pt x="46" y="46"/>
                </a:lnTo>
                <a:lnTo>
                  <a:pt x="40" y="54"/>
                </a:lnTo>
                <a:lnTo>
                  <a:pt x="44" y="64"/>
                </a:lnTo>
                <a:lnTo>
                  <a:pt x="54" y="64"/>
                </a:lnTo>
                <a:lnTo>
                  <a:pt x="58" y="70"/>
                </a:lnTo>
                <a:lnTo>
                  <a:pt x="65" y="74"/>
                </a:lnTo>
                <a:lnTo>
                  <a:pt x="65" y="84"/>
                </a:lnTo>
                <a:lnTo>
                  <a:pt x="42" y="100"/>
                </a:lnTo>
                <a:lnTo>
                  <a:pt x="42" y="116"/>
                </a:lnTo>
                <a:lnTo>
                  <a:pt x="34" y="122"/>
                </a:lnTo>
                <a:lnTo>
                  <a:pt x="28" y="120"/>
                </a:lnTo>
                <a:lnTo>
                  <a:pt x="26" y="108"/>
                </a:lnTo>
                <a:lnTo>
                  <a:pt x="24" y="92"/>
                </a:lnTo>
                <a:lnTo>
                  <a:pt x="10" y="76"/>
                </a:lnTo>
                <a:lnTo>
                  <a:pt x="0" y="64"/>
                </a:lnTo>
                <a:lnTo>
                  <a:pt x="0" y="56"/>
                </a:lnTo>
                <a:lnTo>
                  <a:pt x="12" y="46"/>
                </a:lnTo>
                <a:lnTo>
                  <a:pt x="12" y="10"/>
                </a:lnTo>
                <a:lnTo>
                  <a:pt x="16"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0" name="Freeform 133">
            <a:extLst>
              <a:ext uri="{FF2B5EF4-FFF2-40B4-BE49-F238E27FC236}">
                <a16:creationId xmlns:a16="http://schemas.microsoft.com/office/drawing/2014/main" id="{4B7ADB65-23BD-4E79-9E9F-5CFA236DCA6F}"/>
              </a:ext>
            </a:extLst>
          </p:cNvPr>
          <p:cNvSpPr>
            <a:spLocks/>
          </p:cNvSpPr>
          <p:nvPr/>
        </p:nvSpPr>
        <p:spPr bwMode="gray">
          <a:xfrm>
            <a:off x="5531131" y="3633625"/>
            <a:ext cx="632517" cy="595529"/>
          </a:xfrm>
          <a:custGeom>
            <a:avLst/>
            <a:gdLst>
              <a:gd name="T0" fmla="*/ 0 w 331"/>
              <a:gd name="T1" fmla="*/ 164 h 310"/>
              <a:gd name="T2" fmla="*/ 0 w 331"/>
              <a:gd name="T3" fmla="*/ 146 h 310"/>
              <a:gd name="T4" fmla="*/ 32 w 331"/>
              <a:gd name="T5" fmla="*/ 126 h 310"/>
              <a:gd name="T6" fmla="*/ 54 w 331"/>
              <a:gd name="T7" fmla="*/ 124 h 310"/>
              <a:gd name="T8" fmla="*/ 78 w 331"/>
              <a:gd name="T9" fmla="*/ 104 h 310"/>
              <a:gd name="T10" fmla="*/ 80 w 331"/>
              <a:gd name="T11" fmla="*/ 96 h 310"/>
              <a:gd name="T12" fmla="*/ 96 w 331"/>
              <a:gd name="T13" fmla="*/ 86 h 310"/>
              <a:gd name="T14" fmla="*/ 120 w 331"/>
              <a:gd name="T15" fmla="*/ 84 h 310"/>
              <a:gd name="T16" fmla="*/ 120 w 331"/>
              <a:gd name="T17" fmla="*/ 76 h 310"/>
              <a:gd name="T18" fmla="*/ 112 w 331"/>
              <a:gd name="T19" fmla="*/ 66 h 310"/>
              <a:gd name="T20" fmla="*/ 112 w 331"/>
              <a:gd name="T21" fmla="*/ 40 h 310"/>
              <a:gd name="T22" fmla="*/ 110 w 331"/>
              <a:gd name="T23" fmla="*/ 34 h 310"/>
              <a:gd name="T24" fmla="*/ 126 w 331"/>
              <a:gd name="T25" fmla="*/ 22 h 310"/>
              <a:gd name="T26" fmla="*/ 138 w 331"/>
              <a:gd name="T27" fmla="*/ 20 h 310"/>
              <a:gd name="T28" fmla="*/ 154 w 331"/>
              <a:gd name="T29" fmla="*/ 10 h 310"/>
              <a:gd name="T30" fmla="*/ 180 w 331"/>
              <a:gd name="T31" fmla="*/ 6 h 310"/>
              <a:gd name="T32" fmla="*/ 204 w 331"/>
              <a:gd name="T33" fmla="*/ 2 h 310"/>
              <a:gd name="T34" fmla="*/ 218 w 331"/>
              <a:gd name="T35" fmla="*/ 4 h 310"/>
              <a:gd name="T36" fmla="*/ 226 w 331"/>
              <a:gd name="T37" fmla="*/ 6 h 310"/>
              <a:gd name="T38" fmla="*/ 238 w 331"/>
              <a:gd name="T39" fmla="*/ 0 h 310"/>
              <a:gd name="T40" fmla="*/ 254 w 331"/>
              <a:gd name="T41" fmla="*/ 0 h 310"/>
              <a:gd name="T42" fmla="*/ 262 w 331"/>
              <a:gd name="T43" fmla="*/ 0 h 310"/>
              <a:gd name="T44" fmla="*/ 270 w 331"/>
              <a:gd name="T45" fmla="*/ 4 h 310"/>
              <a:gd name="T46" fmla="*/ 270 w 331"/>
              <a:gd name="T47" fmla="*/ 40 h 310"/>
              <a:gd name="T48" fmla="*/ 258 w 331"/>
              <a:gd name="T49" fmla="*/ 50 h 310"/>
              <a:gd name="T50" fmla="*/ 258 w 331"/>
              <a:gd name="T51" fmla="*/ 58 h 310"/>
              <a:gd name="T52" fmla="*/ 282 w 331"/>
              <a:gd name="T53" fmla="*/ 86 h 310"/>
              <a:gd name="T54" fmla="*/ 286 w 331"/>
              <a:gd name="T55" fmla="*/ 114 h 310"/>
              <a:gd name="T56" fmla="*/ 292 w 331"/>
              <a:gd name="T57" fmla="*/ 116 h 310"/>
              <a:gd name="T58" fmla="*/ 294 w 331"/>
              <a:gd name="T59" fmla="*/ 132 h 310"/>
              <a:gd name="T60" fmla="*/ 296 w 331"/>
              <a:gd name="T61" fmla="*/ 180 h 310"/>
              <a:gd name="T62" fmla="*/ 288 w 331"/>
              <a:gd name="T63" fmla="*/ 184 h 310"/>
              <a:gd name="T64" fmla="*/ 292 w 331"/>
              <a:gd name="T65" fmla="*/ 194 h 310"/>
              <a:gd name="T66" fmla="*/ 302 w 331"/>
              <a:gd name="T67" fmla="*/ 216 h 310"/>
              <a:gd name="T68" fmla="*/ 321 w 331"/>
              <a:gd name="T69" fmla="*/ 218 h 310"/>
              <a:gd name="T70" fmla="*/ 325 w 331"/>
              <a:gd name="T71" fmla="*/ 226 h 310"/>
              <a:gd name="T72" fmla="*/ 331 w 331"/>
              <a:gd name="T73" fmla="*/ 232 h 310"/>
              <a:gd name="T74" fmla="*/ 264 w 331"/>
              <a:gd name="T75" fmla="*/ 272 h 310"/>
              <a:gd name="T76" fmla="*/ 226 w 331"/>
              <a:gd name="T77" fmla="*/ 304 h 310"/>
              <a:gd name="T78" fmla="*/ 206 w 331"/>
              <a:gd name="T79" fmla="*/ 308 h 310"/>
              <a:gd name="T80" fmla="*/ 188 w 331"/>
              <a:gd name="T81" fmla="*/ 310 h 310"/>
              <a:gd name="T82" fmla="*/ 190 w 331"/>
              <a:gd name="T83" fmla="*/ 294 h 310"/>
              <a:gd name="T84" fmla="*/ 170 w 331"/>
              <a:gd name="T85" fmla="*/ 286 h 310"/>
              <a:gd name="T86" fmla="*/ 160 w 331"/>
              <a:gd name="T87" fmla="*/ 276 h 310"/>
              <a:gd name="T88" fmla="*/ 0 w 331"/>
              <a:gd name="T89" fmla="*/ 16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1" h="310">
                <a:moveTo>
                  <a:pt x="0" y="164"/>
                </a:moveTo>
                <a:lnTo>
                  <a:pt x="0" y="146"/>
                </a:lnTo>
                <a:lnTo>
                  <a:pt x="32" y="126"/>
                </a:lnTo>
                <a:lnTo>
                  <a:pt x="54" y="124"/>
                </a:lnTo>
                <a:lnTo>
                  <a:pt x="78" y="104"/>
                </a:lnTo>
                <a:lnTo>
                  <a:pt x="80" y="96"/>
                </a:lnTo>
                <a:lnTo>
                  <a:pt x="96" y="86"/>
                </a:lnTo>
                <a:lnTo>
                  <a:pt x="120" y="84"/>
                </a:lnTo>
                <a:lnTo>
                  <a:pt x="120" y="76"/>
                </a:lnTo>
                <a:lnTo>
                  <a:pt x="112" y="66"/>
                </a:lnTo>
                <a:lnTo>
                  <a:pt x="112" y="40"/>
                </a:lnTo>
                <a:lnTo>
                  <a:pt x="110" y="34"/>
                </a:lnTo>
                <a:lnTo>
                  <a:pt x="126" y="22"/>
                </a:lnTo>
                <a:lnTo>
                  <a:pt x="138" y="20"/>
                </a:lnTo>
                <a:lnTo>
                  <a:pt x="154" y="10"/>
                </a:lnTo>
                <a:lnTo>
                  <a:pt x="180" y="6"/>
                </a:lnTo>
                <a:lnTo>
                  <a:pt x="204" y="2"/>
                </a:lnTo>
                <a:lnTo>
                  <a:pt x="218" y="4"/>
                </a:lnTo>
                <a:lnTo>
                  <a:pt x="226" y="6"/>
                </a:lnTo>
                <a:lnTo>
                  <a:pt x="238" y="0"/>
                </a:lnTo>
                <a:lnTo>
                  <a:pt x="254" y="0"/>
                </a:lnTo>
                <a:lnTo>
                  <a:pt x="262" y="0"/>
                </a:lnTo>
                <a:lnTo>
                  <a:pt x="270" y="4"/>
                </a:lnTo>
                <a:lnTo>
                  <a:pt x="270" y="40"/>
                </a:lnTo>
                <a:lnTo>
                  <a:pt x="258" y="50"/>
                </a:lnTo>
                <a:lnTo>
                  <a:pt x="258" y="58"/>
                </a:lnTo>
                <a:lnTo>
                  <a:pt x="282" y="86"/>
                </a:lnTo>
                <a:lnTo>
                  <a:pt x="286" y="114"/>
                </a:lnTo>
                <a:lnTo>
                  <a:pt x="292" y="116"/>
                </a:lnTo>
                <a:lnTo>
                  <a:pt x="294" y="132"/>
                </a:lnTo>
                <a:lnTo>
                  <a:pt x="296" y="180"/>
                </a:lnTo>
                <a:lnTo>
                  <a:pt x="288" y="184"/>
                </a:lnTo>
                <a:lnTo>
                  <a:pt x="292" y="194"/>
                </a:lnTo>
                <a:lnTo>
                  <a:pt x="302" y="216"/>
                </a:lnTo>
                <a:lnTo>
                  <a:pt x="321" y="218"/>
                </a:lnTo>
                <a:lnTo>
                  <a:pt x="325" y="226"/>
                </a:lnTo>
                <a:lnTo>
                  <a:pt x="331" y="232"/>
                </a:lnTo>
                <a:lnTo>
                  <a:pt x="264" y="272"/>
                </a:lnTo>
                <a:lnTo>
                  <a:pt x="226" y="304"/>
                </a:lnTo>
                <a:lnTo>
                  <a:pt x="206" y="308"/>
                </a:lnTo>
                <a:lnTo>
                  <a:pt x="188" y="310"/>
                </a:lnTo>
                <a:lnTo>
                  <a:pt x="190" y="294"/>
                </a:lnTo>
                <a:lnTo>
                  <a:pt x="170" y="286"/>
                </a:lnTo>
                <a:lnTo>
                  <a:pt x="160" y="276"/>
                </a:lnTo>
                <a:lnTo>
                  <a:pt x="0" y="16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1" name="Freeform 134">
            <a:extLst>
              <a:ext uri="{FF2B5EF4-FFF2-40B4-BE49-F238E27FC236}">
                <a16:creationId xmlns:a16="http://schemas.microsoft.com/office/drawing/2014/main" id="{27D8226A-7FA7-4A5F-9C0D-0E6BACEFD5EF}"/>
              </a:ext>
            </a:extLst>
          </p:cNvPr>
          <p:cNvSpPr>
            <a:spLocks/>
          </p:cNvSpPr>
          <p:nvPr/>
        </p:nvSpPr>
        <p:spPr bwMode="gray">
          <a:xfrm>
            <a:off x="5401189" y="3672047"/>
            <a:ext cx="359253" cy="276632"/>
          </a:xfrm>
          <a:custGeom>
            <a:avLst/>
            <a:gdLst>
              <a:gd name="T0" fmla="*/ 68 w 188"/>
              <a:gd name="T1" fmla="*/ 144 h 144"/>
              <a:gd name="T2" fmla="*/ 0 w 188"/>
              <a:gd name="T3" fmla="*/ 144 h 144"/>
              <a:gd name="T4" fmla="*/ 10 w 188"/>
              <a:gd name="T5" fmla="*/ 138 h 144"/>
              <a:gd name="T6" fmla="*/ 28 w 188"/>
              <a:gd name="T7" fmla="*/ 128 h 144"/>
              <a:gd name="T8" fmla="*/ 50 w 188"/>
              <a:gd name="T9" fmla="*/ 110 h 144"/>
              <a:gd name="T10" fmla="*/ 52 w 188"/>
              <a:gd name="T11" fmla="*/ 104 h 144"/>
              <a:gd name="T12" fmla="*/ 52 w 188"/>
              <a:gd name="T13" fmla="*/ 68 h 144"/>
              <a:gd name="T14" fmla="*/ 62 w 188"/>
              <a:gd name="T15" fmla="*/ 56 h 144"/>
              <a:gd name="T16" fmla="*/ 74 w 188"/>
              <a:gd name="T17" fmla="*/ 44 h 144"/>
              <a:gd name="T18" fmla="*/ 88 w 188"/>
              <a:gd name="T19" fmla="*/ 40 h 144"/>
              <a:gd name="T20" fmla="*/ 102 w 188"/>
              <a:gd name="T21" fmla="*/ 30 h 144"/>
              <a:gd name="T22" fmla="*/ 108 w 188"/>
              <a:gd name="T23" fmla="*/ 14 h 144"/>
              <a:gd name="T24" fmla="*/ 112 w 188"/>
              <a:gd name="T25" fmla="*/ 4 h 144"/>
              <a:gd name="T26" fmla="*/ 116 w 188"/>
              <a:gd name="T27" fmla="*/ 0 h 144"/>
              <a:gd name="T28" fmla="*/ 122 w 188"/>
              <a:gd name="T29" fmla="*/ 0 h 144"/>
              <a:gd name="T30" fmla="*/ 126 w 188"/>
              <a:gd name="T31" fmla="*/ 8 h 144"/>
              <a:gd name="T32" fmla="*/ 132 w 188"/>
              <a:gd name="T33" fmla="*/ 12 h 144"/>
              <a:gd name="T34" fmla="*/ 154 w 188"/>
              <a:gd name="T35" fmla="*/ 10 h 144"/>
              <a:gd name="T36" fmla="*/ 164 w 188"/>
              <a:gd name="T37" fmla="*/ 10 h 144"/>
              <a:gd name="T38" fmla="*/ 168 w 188"/>
              <a:gd name="T39" fmla="*/ 14 h 144"/>
              <a:gd name="T40" fmla="*/ 178 w 188"/>
              <a:gd name="T41" fmla="*/ 14 h 144"/>
              <a:gd name="T42" fmla="*/ 180 w 188"/>
              <a:gd name="T43" fmla="*/ 20 h 144"/>
              <a:gd name="T44" fmla="*/ 180 w 188"/>
              <a:gd name="T45" fmla="*/ 46 h 144"/>
              <a:gd name="T46" fmla="*/ 188 w 188"/>
              <a:gd name="T47" fmla="*/ 56 h 144"/>
              <a:gd name="T48" fmla="*/ 188 w 188"/>
              <a:gd name="T49" fmla="*/ 64 h 144"/>
              <a:gd name="T50" fmla="*/ 164 w 188"/>
              <a:gd name="T51" fmla="*/ 66 h 144"/>
              <a:gd name="T52" fmla="*/ 148 w 188"/>
              <a:gd name="T53" fmla="*/ 76 h 144"/>
              <a:gd name="T54" fmla="*/ 146 w 188"/>
              <a:gd name="T55" fmla="*/ 84 h 144"/>
              <a:gd name="T56" fmla="*/ 122 w 188"/>
              <a:gd name="T57" fmla="*/ 104 h 144"/>
              <a:gd name="T58" fmla="*/ 100 w 188"/>
              <a:gd name="T59" fmla="*/ 106 h 144"/>
              <a:gd name="T60" fmla="*/ 68 w 188"/>
              <a:gd name="T61" fmla="*/ 126 h 144"/>
              <a:gd name="T62" fmla="*/ 68 w 188"/>
              <a:gd name="T6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144">
                <a:moveTo>
                  <a:pt x="68" y="144"/>
                </a:moveTo>
                <a:lnTo>
                  <a:pt x="0" y="144"/>
                </a:lnTo>
                <a:lnTo>
                  <a:pt x="10" y="138"/>
                </a:lnTo>
                <a:lnTo>
                  <a:pt x="28" y="128"/>
                </a:lnTo>
                <a:lnTo>
                  <a:pt x="50" y="110"/>
                </a:lnTo>
                <a:lnTo>
                  <a:pt x="52" y="104"/>
                </a:lnTo>
                <a:lnTo>
                  <a:pt x="52" y="68"/>
                </a:lnTo>
                <a:lnTo>
                  <a:pt x="62" y="56"/>
                </a:lnTo>
                <a:lnTo>
                  <a:pt x="74" y="44"/>
                </a:lnTo>
                <a:lnTo>
                  <a:pt x="88" y="40"/>
                </a:lnTo>
                <a:lnTo>
                  <a:pt x="102" y="30"/>
                </a:lnTo>
                <a:lnTo>
                  <a:pt x="108" y="14"/>
                </a:lnTo>
                <a:lnTo>
                  <a:pt x="112" y="4"/>
                </a:lnTo>
                <a:lnTo>
                  <a:pt x="116" y="0"/>
                </a:lnTo>
                <a:lnTo>
                  <a:pt x="122" y="0"/>
                </a:lnTo>
                <a:lnTo>
                  <a:pt x="126" y="8"/>
                </a:lnTo>
                <a:lnTo>
                  <a:pt x="132" y="12"/>
                </a:lnTo>
                <a:lnTo>
                  <a:pt x="154" y="10"/>
                </a:lnTo>
                <a:lnTo>
                  <a:pt x="164" y="10"/>
                </a:lnTo>
                <a:lnTo>
                  <a:pt x="168" y="14"/>
                </a:lnTo>
                <a:lnTo>
                  <a:pt x="178" y="14"/>
                </a:lnTo>
                <a:lnTo>
                  <a:pt x="180" y="20"/>
                </a:lnTo>
                <a:lnTo>
                  <a:pt x="180" y="46"/>
                </a:lnTo>
                <a:lnTo>
                  <a:pt x="188" y="56"/>
                </a:lnTo>
                <a:lnTo>
                  <a:pt x="188" y="64"/>
                </a:lnTo>
                <a:lnTo>
                  <a:pt x="164" y="66"/>
                </a:lnTo>
                <a:lnTo>
                  <a:pt x="148" y="76"/>
                </a:lnTo>
                <a:lnTo>
                  <a:pt x="146" y="84"/>
                </a:lnTo>
                <a:lnTo>
                  <a:pt x="122" y="104"/>
                </a:lnTo>
                <a:lnTo>
                  <a:pt x="100" y="106"/>
                </a:lnTo>
                <a:lnTo>
                  <a:pt x="68" y="126"/>
                </a:lnTo>
                <a:lnTo>
                  <a:pt x="68" y="14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2" name="Freeform 135">
            <a:extLst>
              <a:ext uri="{FF2B5EF4-FFF2-40B4-BE49-F238E27FC236}">
                <a16:creationId xmlns:a16="http://schemas.microsoft.com/office/drawing/2014/main" id="{AE38F373-A35E-4879-853A-AE80848E3ACF}"/>
              </a:ext>
            </a:extLst>
          </p:cNvPr>
          <p:cNvSpPr>
            <a:spLocks/>
          </p:cNvSpPr>
          <p:nvPr/>
        </p:nvSpPr>
        <p:spPr bwMode="gray">
          <a:xfrm>
            <a:off x="5278890" y="3948679"/>
            <a:ext cx="252242" cy="203633"/>
          </a:xfrm>
          <a:custGeom>
            <a:avLst/>
            <a:gdLst>
              <a:gd name="T0" fmla="*/ 0 w 132"/>
              <a:gd name="T1" fmla="*/ 106 h 106"/>
              <a:gd name="T2" fmla="*/ 4 w 132"/>
              <a:gd name="T3" fmla="*/ 94 h 106"/>
              <a:gd name="T4" fmla="*/ 14 w 132"/>
              <a:gd name="T5" fmla="*/ 78 h 106"/>
              <a:gd name="T6" fmla="*/ 20 w 132"/>
              <a:gd name="T7" fmla="*/ 62 h 106"/>
              <a:gd name="T8" fmla="*/ 30 w 132"/>
              <a:gd name="T9" fmla="*/ 54 h 106"/>
              <a:gd name="T10" fmla="*/ 36 w 132"/>
              <a:gd name="T11" fmla="*/ 38 h 106"/>
              <a:gd name="T12" fmla="*/ 46 w 132"/>
              <a:gd name="T13" fmla="*/ 24 h 106"/>
              <a:gd name="T14" fmla="*/ 52 w 132"/>
              <a:gd name="T15" fmla="*/ 18 h 106"/>
              <a:gd name="T16" fmla="*/ 60 w 132"/>
              <a:gd name="T17" fmla="*/ 8 h 106"/>
              <a:gd name="T18" fmla="*/ 64 w 132"/>
              <a:gd name="T19" fmla="*/ 0 h 106"/>
              <a:gd name="T20" fmla="*/ 132 w 132"/>
              <a:gd name="T21" fmla="*/ 0 h 106"/>
              <a:gd name="T22" fmla="*/ 132 w 132"/>
              <a:gd name="T23" fmla="*/ 28 h 106"/>
              <a:gd name="T24" fmla="*/ 82 w 132"/>
              <a:gd name="T25" fmla="*/ 28 h 106"/>
              <a:gd name="T26" fmla="*/ 82 w 132"/>
              <a:gd name="T27" fmla="*/ 70 h 106"/>
              <a:gd name="T28" fmla="*/ 72 w 132"/>
              <a:gd name="T29" fmla="*/ 70 h 106"/>
              <a:gd name="T30" fmla="*/ 64 w 132"/>
              <a:gd name="T31" fmla="*/ 74 h 106"/>
              <a:gd name="T32" fmla="*/ 64 w 132"/>
              <a:gd name="T33" fmla="*/ 82 h 106"/>
              <a:gd name="T34" fmla="*/ 64 w 132"/>
              <a:gd name="T35" fmla="*/ 106 h 106"/>
              <a:gd name="T36" fmla="*/ 0 w 132"/>
              <a:gd name="T3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0" y="106"/>
                </a:moveTo>
                <a:lnTo>
                  <a:pt x="4" y="94"/>
                </a:lnTo>
                <a:lnTo>
                  <a:pt x="14" y="78"/>
                </a:lnTo>
                <a:lnTo>
                  <a:pt x="20" y="62"/>
                </a:lnTo>
                <a:lnTo>
                  <a:pt x="30" y="54"/>
                </a:lnTo>
                <a:lnTo>
                  <a:pt x="36" y="38"/>
                </a:lnTo>
                <a:lnTo>
                  <a:pt x="46" y="24"/>
                </a:lnTo>
                <a:lnTo>
                  <a:pt x="52" y="18"/>
                </a:lnTo>
                <a:lnTo>
                  <a:pt x="60" y="8"/>
                </a:lnTo>
                <a:lnTo>
                  <a:pt x="64" y="0"/>
                </a:lnTo>
                <a:lnTo>
                  <a:pt x="132" y="0"/>
                </a:lnTo>
                <a:lnTo>
                  <a:pt x="132" y="28"/>
                </a:lnTo>
                <a:lnTo>
                  <a:pt x="82" y="28"/>
                </a:lnTo>
                <a:lnTo>
                  <a:pt x="82" y="70"/>
                </a:lnTo>
                <a:lnTo>
                  <a:pt x="72" y="70"/>
                </a:lnTo>
                <a:lnTo>
                  <a:pt x="64" y="74"/>
                </a:lnTo>
                <a:lnTo>
                  <a:pt x="64" y="82"/>
                </a:lnTo>
                <a:lnTo>
                  <a:pt x="64" y="106"/>
                </a:lnTo>
                <a:lnTo>
                  <a:pt x="0" y="10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3" name="Freeform 136">
            <a:extLst>
              <a:ext uri="{FF2B5EF4-FFF2-40B4-BE49-F238E27FC236}">
                <a16:creationId xmlns:a16="http://schemas.microsoft.com/office/drawing/2014/main" id="{2AE08152-B7BD-4B82-83E2-FAE0E0AAA137}"/>
              </a:ext>
            </a:extLst>
          </p:cNvPr>
          <p:cNvSpPr>
            <a:spLocks/>
          </p:cNvSpPr>
          <p:nvPr/>
        </p:nvSpPr>
        <p:spPr bwMode="gray">
          <a:xfrm>
            <a:off x="5294177" y="4421260"/>
            <a:ext cx="91725" cy="53789"/>
          </a:xfrm>
          <a:custGeom>
            <a:avLst/>
            <a:gdLst>
              <a:gd name="T0" fmla="*/ 0 w 48"/>
              <a:gd name="T1" fmla="*/ 6 h 28"/>
              <a:gd name="T2" fmla="*/ 18 w 48"/>
              <a:gd name="T3" fmla="*/ 4 h 28"/>
              <a:gd name="T4" fmla="*/ 22 w 48"/>
              <a:gd name="T5" fmla="*/ 0 h 28"/>
              <a:gd name="T6" fmla="*/ 48 w 48"/>
              <a:gd name="T7" fmla="*/ 0 h 28"/>
              <a:gd name="T8" fmla="*/ 44 w 48"/>
              <a:gd name="T9" fmla="*/ 10 h 28"/>
              <a:gd name="T10" fmla="*/ 42 w 48"/>
              <a:gd name="T11" fmla="*/ 16 h 28"/>
              <a:gd name="T12" fmla="*/ 30 w 48"/>
              <a:gd name="T13" fmla="*/ 20 h 28"/>
              <a:gd name="T14" fmla="*/ 22 w 48"/>
              <a:gd name="T15" fmla="*/ 28 h 28"/>
              <a:gd name="T16" fmla="*/ 16 w 48"/>
              <a:gd name="T17" fmla="*/ 22 h 28"/>
              <a:gd name="T18" fmla="*/ 8 w 48"/>
              <a:gd name="T19" fmla="*/ 14 h 28"/>
              <a:gd name="T20" fmla="*/ 6 w 48"/>
              <a:gd name="T21" fmla="*/ 12 h 28"/>
              <a:gd name="T22" fmla="*/ 0 w 48"/>
              <a:gd name="T23"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8">
                <a:moveTo>
                  <a:pt x="0" y="6"/>
                </a:moveTo>
                <a:lnTo>
                  <a:pt x="18" y="4"/>
                </a:lnTo>
                <a:lnTo>
                  <a:pt x="22" y="0"/>
                </a:lnTo>
                <a:lnTo>
                  <a:pt x="48" y="0"/>
                </a:lnTo>
                <a:lnTo>
                  <a:pt x="44" y="10"/>
                </a:lnTo>
                <a:lnTo>
                  <a:pt x="42" y="16"/>
                </a:lnTo>
                <a:lnTo>
                  <a:pt x="30" y="20"/>
                </a:lnTo>
                <a:lnTo>
                  <a:pt x="22" y="28"/>
                </a:lnTo>
                <a:lnTo>
                  <a:pt x="16" y="22"/>
                </a:lnTo>
                <a:lnTo>
                  <a:pt x="8" y="14"/>
                </a:lnTo>
                <a:lnTo>
                  <a:pt x="6" y="12"/>
                </a:lnTo>
                <a:lnTo>
                  <a:pt x="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4" name="Freeform 137">
            <a:extLst>
              <a:ext uri="{FF2B5EF4-FFF2-40B4-BE49-F238E27FC236}">
                <a16:creationId xmlns:a16="http://schemas.microsoft.com/office/drawing/2014/main" id="{64404911-E177-4AFD-A9F1-F361A2F05E87}"/>
              </a:ext>
            </a:extLst>
          </p:cNvPr>
          <p:cNvSpPr>
            <a:spLocks/>
          </p:cNvSpPr>
          <p:nvPr/>
        </p:nvSpPr>
        <p:spPr bwMode="gray">
          <a:xfrm>
            <a:off x="5397368" y="4505787"/>
            <a:ext cx="84082" cy="92211"/>
          </a:xfrm>
          <a:custGeom>
            <a:avLst/>
            <a:gdLst>
              <a:gd name="T0" fmla="*/ 0 w 44"/>
              <a:gd name="T1" fmla="*/ 16 h 48"/>
              <a:gd name="T2" fmla="*/ 8 w 44"/>
              <a:gd name="T3" fmla="*/ 8 h 48"/>
              <a:gd name="T4" fmla="*/ 16 w 44"/>
              <a:gd name="T5" fmla="*/ 2 h 48"/>
              <a:gd name="T6" fmla="*/ 30 w 44"/>
              <a:gd name="T7" fmla="*/ 0 h 48"/>
              <a:gd name="T8" fmla="*/ 38 w 44"/>
              <a:gd name="T9" fmla="*/ 8 h 48"/>
              <a:gd name="T10" fmla="*/ 44 w 44"/>
              <a:gd name="T11" fmla="*/ 16 h 48"/>
              <a:gd name="T12" fmla="*/ 42 w 44"/>
              <a:gd name="T13" fmla="*/ 24 h 48"/>
              <a:gd name="T14" fmla="*/ 40 w 44"/>
              <a:gd name="T15" fmla="*/ 32 h 48"/>
              <a:gd name="T16" fmla="*/ 34 w 44"/>
              <a:gd name="T17" fmla="*/ 40 h 48"/>
              <a:gd name="T18" fmla="*/ 24 w 44"/>
              <a:gd name="T19" fmla="*/ 48 h 48"/>
              <a:gd name="T20" fmla="*/ 16 w 44"/>
              <a:gd name="T21" fmla="*/ 44 h 48"/>
              <a:gd name="T22" fmla="*/ 4 w 44"/>
              <a:gd name="T23" fmla="*/ 32 h 48"/>
              <a:gd name="T24" fmla="*/ 0 w 44"/>
              <a:gd name="T25" fmla="*/ 24 h 48"/>
              <a:gd name="T26" fmla="*/ 0 w 44"/>
              <a:gd name="T2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8">
                <a:moveTo>
                  <a:pt x="0" y="16"/>
                </a:moveTo>
                <a:lnTo>
                  <a:pt x="8" y="8"/>
                </a:lnTo>
                <a:lnTo>
                  <a:pt x="16" y="2"/>
                </a:lnTo>
                <a:lnTo>
                  <a:pt x="30" y="0"/>
                </a:lnTo>
                <a:lnTo>
                  <a:pt x="38" y="8"/>
                </a:lnTo>
                <a:lnTo>
                  <a:pt x="44" y="16"/>
                </a:lnTo>
                <a:lnTo>
                  <a:pt x="42" y="24"/>
                </a:lnTo>
                <a:lnTo>
                  <a:pt x="40" y="32"/>
                </a:lnTo>
                <a:lnTo>
                  <a:pt x="34" y="40"/>
                </a:lnTo>
                <a:lnTo>
                  <a:pt x="24" y="48"/>
                </a:lnTo>
                <a:lnTo>
                  <a:pt x="16" y="44"/>
                </a:lnTo>
                <a:lnTo>
                  <a:pt x="4" y="32"/>
                </a:lnTo>
                <a:lnTo>
                  <a:pt x="0" y="24"/>
                </a:lnTo>
                <a:lnTo>
                  <a:pt x="0" y="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5" name="Freeform 138">
            <a:extLst>
              <a:ext uri="{FF2B5EF4-FFF2-40B4-BE49-F238E27FC236}">
                <a16:creationId xmlns:a16="http://schemas.microsoft.com/office/drawing/2014/main" id="{B5059AE7-8FBC-4752-AC7A-2D83638B5272}"/>
              </a:ext>
            </a:extLst>
          </p:cNvPr>
          <p:cNvSpPr>
            <a:spLocks/>
          </p:cNvSpPr>
          <p:nvPr/>
        </p:nvSpPr>
        <p:spPr bwMode="gray">
          <a:xfrm>
            <a:off x="5278890" y="3948679"/>
            <a:ext cx="378363" cy="411106"/>
          </a:xfrm>
          <a:custGeom>
            <a:avLst/>
            <a:gdLst>
              <a:gd name="T0" fmla="*/ 0 w 198"/>
              <a:gd name="T1" fmla="*/ 106 h 214"/>
              <a:gd name="T2" fmla="*/ 64 w 198"/>
              <a:gd name="T3" fmla="*/ 106 h 214"/>
              <a:gd name="T4" fmla="*/ 64 w 198"/>
              <a:gd name="T5" fmla="*/ 82 h 214"/>
              <a:gd name="T6" fmla="*/ 64 w 198"/>
              <a:gd name="T7" fmla="*/ 74 h 214"/>
              <a:gd name="T8" fmla="*/ 68 w 198"/>
              <a:gd name="T9" fmla="*/ 72 h 214"/>
              <a:gd name="T10" fmla="*/ 72 w 198"/>
              <a:gd name="T11" fmla="*/ 70 h 214"/>
              <a:gd name="T12" fmla="*/ 82 w 198"/>
              <a:gd name="T13" fmla="*/ 70 h 214"/>
              <a:gd name="T14" fmla="*/ 82 w 198"/>
              <a:gd name="T15" fmla="*/ 28 h 214"/>
              <a:gd name="T16" fmla="*/ 132 w 198"/>
              <a:gd name="T17" fmla="*/ 28 h 214"/>
              <a:gd name="T18" fmla="*/ 132 w 198"/>
              <a:gd name="T19" fmla="*/ 0 h 214"/>
              <a:gd name="T20" fmla="*/ 198 w 198"/>
              <a:gd name="T21" fmla="*/ 48 h 214"/>
              <a:gd name="T22" fmla="*/ 168 w 198"/>
              <a:gd name="T23" fmla="*/ 48 h 214"/>
              <a:gd name="T24" fmla="*/ 180 w 198"/>
              <a:gd name="T25" fmla="*/ 184 h 214"/>
              <a:gd name="T26" fmla="*/ 186 w 198"/>
              <a:gd name="T27" fmla="*/ 192 h 214"/>
              <a:gd name="T28" fmla="*/ 184 w 198"/>
              <a:gd name="T29" fmla="*/ 202 h 214"/>
              <a:gd name="T30" fmla="*/ 84 w 198"/>
              <a:gd name="T31" fmla="*/ 200 h 214"/>
              <a:gd name="T32" fmla="*/ 78 w 198"/>
              <a:gd name="T33" fmla="*/ 214 h 214"/>
              <a:gd name="T34" fmla="*/ 68 w 198"/>
              <a:gd name="T35" fmla="*/ 206 h 214"/>
              <a:gd name="T36" fmla="*/ 60 w 198"/>
              <a:gd name="T37" fmla="*/ 194 h 214"/>
              <a:gd name="T38" fmla="*/ 52 w 198"/>
              <a:gd name="T39" fmla="*/ 188 h 214"/>
              <a:gd name="T40" fmla="*/ 40 w 198"/>
              <a:gd name="T41" fmla="*/ 182 h 214"/>
              <a:gd name="T42" fmla="*/ 26 w 198"/>
              <a:gd name="T43" fmla="*/ 182 h 214"/>
              <a:gd name="T44" fmla="*/ 12 w 198"/>
              <a:gd name="T45" fmla="*/ 184 h 214"/>
              <a:gd name="T46" fmla="*/ 12 w 198"/>
              <a:gd name="T47" fmla="*/ 172 h 214"/>
              <a:gd name="T48" fmla="*/ 18 w 198"/>
              <a:gd name="T49" fmla="*/ 152 h 214"/>
              <a:gd name="T50" fmla="*/ 12 w 198"/>
              <a:gd name="T51" fmla="*/ 144 h 214"/>
              <a:gd name="T52" fmla="*/ 8 w 198"/>
              <a:gd name="T53" fmla="*/ 138 h 214"/>
              <a:gd name="T54" fmla="*/ 12 w 198"/>
              <a:gd name="T55" fmla="*/ 130 h 214"/>
              <a:gd name="T56" fmla="*/ 12 w 198"/>
              <a:gd name="T57" fmla="*/ 122 h 214"/>
              <a:gd name="T58" fmla="*/ 8 w 198"/>
              <a:gd name="T59" fmla="*/ 116 h 214"/>
              <a:gd name="T60" fmla="*/ 0 w 198"/>
              <a:gd name="T61" fmla="*/ 112 h 214"/>
              <a:gd name="T62" fmla="*/ 0 w 198"/>
              <a:gd name="T63" fmla="*/ 10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14">
                <a:moveTo>
                  <a:pt x="0" y="106"/>
                </a:moveTo>
                <a:lnTo>
                  <a:pt x="64" y="106"/>
                </a:lnTo>
                <a:lnTo>
                  <a:pt x="64" y="82"/>
                </a:lnTo>
                <a:lnTo>
                  <a:pt x="64" y="74"/>
                </a:lnTo>
                <a:lnTo>
                  <a:pt x="68" y="72"/>
                </a:lnTo>
                <a:lnTo>
                  <a:pt x="72" y="70"/>
                </a:lnTo>
                <a:lnTo>
                  <a:pt x="82" y="70"/>
                </a:lnTo>
                <a:lnTo>
                  <a:pt x="82" y="28"/>
                </a:lnTo>
                <a:lnTo>
                  <a:pt x="132" y="28"/>
                </a:lnTo>
                <a:lnTo>
                  <a:pt x="132" y="0"/>
                </a:lnTo>
                <a:lnTo>
                  <a:pt x="198" y="48"/>
                </a:lnTo>
                <a:lnTo>
                  <a:pt x="168" y="48"/>
                </a:lnTo>
                <a:lnTo>
                  <a:pt x="180" y="184"/>
                </a:lnTo>
                <a:lnTo>
                  <a:pt x="186" y="192"/>
                </a:lnTo>
                <a:lnTo>
                  <a:pt x="184" y="202"/>
                </a:lnTo>
                <a:lnTo>
                  <a:pt x="84" y="200"/>
                </a:lnTo>
                <a:lnTo>
                  <a:pt x="78" y="214"/>
                </a:lnTo>
                <a:lnTo>
                  <a:pt x="68" y="206"/>
                </a:lnTo>
                <a:lnTo>
                  <a:pt x="60" y="194"/>
                </a:lnTo>
                <a:lnTo>
                  <a:pt x="52" y="188"/>
                </a:lnTo>
                <a:lnTo>
                  <a:pt x="40" y="182"/>
                </a:lnTo>
                <a:lnTo>
                  <a:pt x="26" y="182"/>
                </a:lnTo>
                <a:lnTo>
                  <a:pt x="12" y="184"/>
                </a:lnTo>
                <a:lnTo>
                  <a:pt x="12" y="172"/>
                </a:lnTo>
                <a:lnTo>
                  <a:pt x="18" y="152"/>
                </a:lnTo>
                <a:lnTo>
                  <a:pt x="12" y="144"/>
                </a:lnTo>
                <a:lnTo>
                  <a:pt x="8" y="138"/>
                </a:lnTo>
                <a:lnTo>
                  <a:pt x="12" y="130"/>
                </a:lnTo>
                <a:lnTo>
                  <a:pt x="12" y="122"/>
                </a:lnTo>
                <a:lnTo>
                  <a:pt x="8" y="116"/>
                </a:lnTo>
                <a:lnTo>
                  <a:pt x="0" y="112"/>
                </a:lnTo>
                <a:lnTo>
                  <a:pt x="0" y="10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6" name="Freeform 139">
            <a:extLst>
              <a:ext uri="{FF2B5EF4-FFF2-40B4-BE49-F238E27FC236}">
                <a16:creationId xmlns:a16="http://schemas.microsoft.com/office/drawing/2014/main" id="{3F75917B-D5A4-4BB8-9CDF-28752ECD68F3}"/>
              </a:ext>
            </a:extLst>
          </p:cNvPr>
          <p:cNvSpPr>
            <a:spLocks/>
          </p:cNvSpPr>
          <p:nvPr/>
        </p:nvSpPr>
        <p:spPr bwMode="gray">
          <a:xfrm>
            <a:off x="5336217" y="4421260"/>
            <a:ext cx="221666" cy="169053"/>
          </a:xfrm>
          <a:custGeom>
            <a:avLst/>
            <a:gdLst>
              <a:gd name="T0" fmla="*/ 60 w 116"/>
              <a:gd name="T1" fmla="*/ 6 h 88"/>
              <a:gd name="T2" fmla="*/ 60 w 116"/>
              <a:gd name="T3" fmla="*/ 8 h 88"/>
              <a:gd name="T4" fmla="*/ 72 w 116"/>
              <a:gd name="T5" fmla="*/ 12 h 88"/>
              <a:gd name="T6" fmla="*/ 84 w 116"/>
              <a:gd name="T7" fmla="*/ 8 h 88"/>
              <a:gd name="T8" fmla="*/ 98 w 116"/>
              <a:gd name="T9" fmla="*/ 6 h 88"/>
              <a:gd name="T10" fmla="*/ 100 w 116"/>
              <a:gd name="T11" fmla="*/ 14 h 88"/>
              <a:gd name="T12" fmla="*/ 106 w 116"/>
              <a:gd name="T13" fmla="*/ 24 h 88"/>
              <a:gd name="T14" fmla="*/ 112 w 116"/>
              <a:gd name="T15" fmla="*/ 38 h 88"/>
              <a:gd name="T16" fmla="*/ 110 w 116"/>
              <a:gd name="T17" fmla="*/ 46 h 88"/>
              <a:gd name="T18" fmla="*/ 112 w 116"/>
              <a:gd name="T19" fmla="*/ 50 h 88"/>
              <a:gd name="T20" fmla="*/ 114 w 116"/>
              <a:gd name="T21" fmla="*/ 54 h 88"/>
              <a:gd name="T22" fmla="*/ 116 w 116"/>
              <a:gd name="T23" fmla="*/ 68 h 88"/>
              <a:gd name="T24" fmla="*/ 110 w 116"/>
              <a:gd name="T25" fmla="*/ 70 h 88"/>
              <a:gd name="T26" fmla="*/ 112 w 116"/>
              <a:gd name="T27" fmla="*/ 80 h 88"/>
              <a:gd name="T28" fmla="*/ 106 w 116"/>
              <a:gd name="T29" fmla="*/ 84 h 88"/>
              <a:gd name="T30" fmla="*/ 100 w 116"/>
              <a:gd name="T31" fmla="*/ 82 h 88"/>
              <a:gd name="T32" fmla="*/ 96 w 116"/>
              <a:gd name="T33" fmla="*/ 88 h 88"/>
              <a:gd name="T34" fmla="*/ 90 w 116"/>
              <a:gd name="T35" fmla="*/ 86 h 88"/>
              <a:gd name="T36" fmla="*/ 88 w 116"/>
              <a:gd name="T37" fmla="*/ 72 h 88"/>
              <a:gd name="T38" fmla="*/ 82 w 116"/>
              <a:gd name="T39" fmla="*/ 70 h 88"/>
              <a:gd name="T40" fmla="*/ 74 w 116"/>
              <a:gd name="T41" fmla="*/ 68 h 88"/>
              <a:gd name="T42" fmla="*/ 76 w 116"/>
              <a:gd name="T43" fmla="*/ 60 h 88"/>
              <a:gd name="T44" fmla="*/ 70 w 116"/>
              <a:gd name="T45" fmla="*/ 52 h 88"/>
              <a:gd name="T46" fmla="*/ 62 w 116"/>
              <a:gd name="T47" fmla="*/ 44 h 88"/>
              <a:gd name="T48" fmla="*/ 48 w 116"/>
              <a:gd name="T49" fmla="*/ 46 h 88"/>
              <a:gd name="T50" fmla="*/ 40 w 116"/>
              <a:gd name="T51" fmla="*/ 52 h 88"/>
              <a:gd name="T52" fmla="*/ 32 w 116"/>
              <a:gd name="T53" fmla="*/ 60 h 88"/>
              <a:gd name="T54" fmla="*/ 24 w 116"/>
              <a:gd name="T55" fmla="*/ 50 h 88"/>
              <a:gd name="T56" fmla="*/ 14 w 116"/>
              <a:gd name="T57" fmla="*/ 40 h 88"/>
              <a:gd name="T58" fmla="*/ 6 w 116"/>
              <a:gd name="T59" fmla="*/ 38 h 88"/>
              <a:gd name="T60" fmla="*/ 0 w 116"/>
              <a:gd name="T61" fmla="*/ 28 h 88"/>
              <a:gd name="T62" fmla="*/ 8 w 116"/>
              <a:gd name="T63" fmla="*/ 20 h 88"/>
              <a:gd name="T64" fmla="*/ 20 w 116"/>
              <a:gd name="T65" fmla="*/ 16 h 88"/>
              <a:gd name="T66" fmla="*/ 22 w 116"/>
              <a:gd name="T67" fmla="*/ 10 h 88"/>
              <a:gd name="T68" fmla="*/ 26 w 116"/>
              <a:gd name="T69" fmla="*/ 0 h 88"/>
              <a:gd name="T70" fmla="*/ 32 w 116"/>
              <a:gd name="T71" fmla="*/ 0 h 88"/>
              <a:gd name="T72" fmla="*/ 38 w 116"/>
              <a:gd name="T73" fmla="*/ 4 h 88"/>
              <a:gd name="T74" fmla="*/ 50 w 116"/>
              <a:gd name="T75" fmla="*/ 4 h 88"/>
              <a:gd name="T76" fmla="*/ 60 w 116"/>
              <a:gd name="T7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88">
                <a:moveTo>
                  <a:pt x="60" y="6"/>
                </a:moveTo>
                <a:lnTo>
                  <a:pt x="60" y="8"/>
                </a:lnTo>
                <a:lnTo>
                  <a:pt x="72" y="12"/>
                </a:lnTo>
                <a:lnTo>
                  <a:pt x="84" y="8"/>
                </a:lnTo>
                <a:lnTo>
                  <a:pt x="98" y="6"/>
                </a:lnTo>
                <a:lnTo>
                  <a:pt x="100" y="14"/>
                </a:lnTo>
                <a:lnTo>
                  <a:pt x="106" y="24"/>
                </a:lnTo>
                <a:lnTo>
                  <a:pt x="112" y="38"/>
                </a:lnTo>
                <a:lnTo>
                  <a:pt x="110" y="46"/>
                </a:lnTo>
                <a:lnTo>
                  <a:pt x="112" y="50"/>
                </a:lnTo>
                <a:lnTo>
                  <a:pt x="114" y="54"/>
                </a:lnTo>
                <a:lnTo>
                  <a:pt x="116" y="68"/>
                </a:lnTo>
                <a:lnTo>
                  <a:pt x="110" y="70"/>
                </a:lnTo>
                <a:lnTo>
                  <a:pt x="112" y="80"/>
                </a:lnTo>
                <a:lnTo>
                  <a:pt x="106" y="84"/>
                </a:lnTo>
                <a:lnTo>
                  <a:pt x="100" y="82"/>
                </a:lnTo>
                <a:lnTo>
                  <a:pt x="96" y="88"/>
                </a:lnTo>
                <a:lnTo>
                  <a:pt x="90" y="86"/>
                </a:lnTo>
                <a:lnTo>
                  <a:pt x="88" y="72"/>
                </a:lnTo>
                <a:lnTo>
                  <a:pt x="82" y="70"/>
                </a:lnTo>
                <a:lnTo>
                  <a:pt x="74" y="68"/>
                </a:lnTo>
                <a:lnTo>
                  <a:pt x="76" y="60"/>
                </a:lnTo>
                <a:lnTo>
                  <a:pt x="70" y="52"/>
                </a:lnTo>
                <a:lnTo>
                  <a:pt x="62" y="44"/>
                </a:lnTo>
                <a:lnTo>
                  <a:pt x="48" y="46"/>
                </a:lnTo>
                <a:lnTo>
                  <a:pt x="40" y="52"/>
                </a:lnTo>
                <a:lnTo>
                  <a:pt x="32" y="60"/>
                </a:lnTo>
                <a:lnTo>
                  <a:pt x="24" y="50"/>
                </a:lnTo>
                <a:lnTo>
                  <a:pt x="14" y="40"/>
                </a:lnTo>
                <a:lnTo>
                  <a:pt x="6" y="38"/>
                </a:lnTo>
                <a:lnTo>
                  <a:pt x="0" y="28"/>
                </a:lnTo>
                <a:lnTo>
                  <a:pt x="8" y="20"/>
                </a:lnTo>
                <a:lnTo>
                  <a:pt x="20" y="16"/>
                </a:lnTo>
                <a:lnTo>
                  <a:pt x="22" y="10"/>
                </a:lnTo>
                <a:lnTo>
                  <a:pt x="26" y="0"/>
                </a:lnTo>
                <a:lnTo>
                  <a:pt x="32" y="0"/>
                </a:lnTo>
                <a:lnTo>
                  <a:pt x="38" y="4"/>
                </a:lnTo>
                <a:lnTo>
                  <a:pt x="50" y="4"/>
                </a:lnTo>
                <a:lnTo>
                  <a:pt x="6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7" name="Freeform 140">
            <a:extLst>
              <a:ext uri="{FF2B5EF4-FFF2-40B4-BE49-F238E27FC236}">
                <a16:creationId xmlns:a16="http://schemas.microsoft.com/office/drawing/2014/main" id="{9CE64D02-F3CF-4B63-A686-509E22C12719}"/>
              </a:ext>
            </a:extLst>
          </p:cNvPr>
          <p:cNvSpPr>
            <a:spLocks/>
          </p:cNvSpPr>
          <p:nvPr/>
        </p:nvSpPr>
        <p:spPr bwMode="gray">
          <a:xfrm>
            <a:off x="5443229" y="4551893"/>
            <a:ext cx="126120" cy="126789"/>
          </a:xfrm>
          <a:custGeom>
            <a:avLst/>
            <a:gdLst>
              <a:gd name="T0" fmla="*/ 50 w 66"/>
              <a:gd name="T1" fmla="*/ 16 h 66"/>
              <a:gd name="T2" fmla="*/ 50 w 66"/>
              <a:gd name="T3" fmla="*/ 26 h 66"/>
              <a:gd name="T4" fmla="*/ 50 w 66"/>
              <a:gd name="T5" fmla="*/ 34 h 66"/>
              <a:gd name="T6" fmla="*/ 58 w 66"/>
              <a:gd name="T7" fmla="*/ 36 h 66"/>
              <a:gd name="T8" fmla="*/ 64 w 66"/>
              <a:gd name="T9" fmla="*/ 40 h 66"/>
              <a:gd name="T10" fmla="*/ 66 w 66"/>
              <a:gd name="T11" fmla="*/ 46 h 66"/>
              <a:gd name="T12" fmla="*/ 66 w 66"/>
              <a:gd name="T13" fmla="*/ 54 h 66"/>
              <a:gd name="T14" fmla="*/ 62 w 66"/>
              <a:gd name="T15" fmla="*/ 66 h 66"/>
              <a:gd name="T16" fmla="*/ 50 w 66"/>
              <a:gd name="T17" fmla="*/ 62 h 66"/>
              <a:gd name="T18" fmla="*/ 38 w 66"/>
              <a:gd name="T19" fmla="*/ 54 h 66"/>
              <a:gd name="T20" fmla="*/ 30 w 66"/>
              <a:gd name="T21" fmla="*/ 44 h 66"/>
              <a:gd name="T22" fmla="*/ 18 w 66"/>
              <a:gd name="T23" fmla="*/ 36 h 66"/>
              <a:gd name="T24" fmla="*/ 8 w 66"/>
              <a:gd name="T25" fmla="*/ 32 h 66"/>
              <a:gd name="T26" fmla="*/ 0 w 66"/>
              <a:gd name="T27" fmla="*/ 24 h 66"/>
              <a:gd name="T28" fmla="*/ 16 w 66"/>
              <a:gd name="T29" fmla="*/ 8 h 66"/>
              <a:gd name="T30" fmla="*/ 18 w 66"/>
              <a:gd name="T31" fmla="*/ 0 h 66"/>
              <a:gd name="T32" fmla="*/ 24 w 66"/>
              <a:gd name="T33" fmla="*/ 0 h 66"/>
              <a:gd name="T34" fmla="*/ 32 w 66"/>
              <a:gd name="T35" fmla="*/ 4 h 66"/>
              <a:gd name="T36" fmla="*/ 34 w 66"/>
              <a:gd name="T37" fmla="*/ 18 h 66"/>
              <a:gd name="T38" fmla="*/ 40 w 66"/>
              <a:gd name="T39" fmla="*/ 20 h 66"/>
              <a:gd name="T40" fmla="*/ 44 w 66"/>
              <a:gd name="T41" fmla="*/ 14 h 66"/>
              <a:gd name="T42" fmla="*/ 50 w 66"/>
              <a:gd name="T43"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66">
                <a:moveTo>
                  <a:pt x="50" y="16"/>
                </a:moveTo>
                <a:lnTo>
                  <a:pt x="50" y="26"/>
                </a:lnTo>
                <a:lnTo>
                  <a:pt x="50" y="34"/>
                </a:lnTo>
                <a:lnTo>
                  <a:pt x="58" y="36"/>
                </a:lnTo>
                <a:lnTo>
                  <a:pt x="64" y="40"/>
                </a:lnTo>
                <a:lnTo>
                  <a:pt x="66" y="46"/>
                </a:lnTo>
                <a:lnTo>
                  <a:pt x="66" y="54"/>
                </a:lnTo>
                <a:lnTo>
                  <a:pt x="62" y="66"/>
                </a:lnTo>
                <a:lnTo>
                  <a:pt x="50" y="62"/>
                </a:lnTo>
                <a:lnTo>
                  <a:pt x="38" y="54"/>
                </a:lnTo>
                <a:lnTo>
                  <a:pt x="30" y="44"/>
                </a:lnTo>
                <a:lnTo>
                  <a:pt x="18" y="36"/>
                </a:lnTo>
                <a:lnTo>
                  <a:pt x="8" y="32"/>
                </a:lnTo>
                <a:lnTo>
                  <a:pt x="0" y="24"/>
                </a:lnTo>
                <a:lnTo>
                  <a:pt x="16" y="8"/>
                </a:lnTo>
                <a:lnTo>
                  <a:pt x="18" y="0"/>
                </a:lnTo>
                <a:lnTo>
                  <a:pt x="24" y="0"/>
                </a:lnTo>
                <a:lnTo>
                  <a:pt x="32" y="4"/>
                </a:lnTo>
                <a:lnTo>
                  <a:pt x="34" y="18"/>
                </a:lnTo>
                <a:lnTo>
                  <a:pt x="40" y="20"/>
                </a:lnTo>
                <a:lnTo>
                  <a:pt x="44" y="14"/>
                </a:lnTo>
                <a:lnTo>
                  <a:pt x="50" y="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8" name="Freeform 141">
            <a:extLst>
              <a:ext uri="{FF2B5EF4-FFF2-40B4-BE49-F238E27FC236}">
                <a16:creationId xmlns:a16="http://schemas.microsoft.com/office/drawing/2014/main" id="{89DD6D5B-5CAC-4D1B-83AA-E80BDB2F3737}"/>
              </a:ext>
            </a:extLst>
          </p:cNvPr>
          <p:cNvSpPr>
            <a:spLocks/>
          </p:cNvSpPr>
          <p:nvPr/>
        </p:nvSpPr>
        <p:spPr bwMode="gray">
          <a:xfrm>
            <a:off x="6201866" y="4086996"/>
            <a:ext cx="321035" cy="495634"/>
          </a:xfrm>
          <a:custGeom>
            <a:avLst/>
            <a:gdLst>
              <a:gd name="T0" fmla="*/ 166 w 168"/>
              <a:gd name="T1" fmla="*/ 128 h 258"/>
              <a:gd name="T2" fmla="*/ 152 w 168"/>
              <a:gd name="T3" fmla="*/ 130 h 258"/>
              <a:gd name="T4" fmla="*/ 148 w 168"/>
              <a:gd name="T5" fmla="*/ 142 h 258"/>
              <a:gd name="T6" fmla="*/ 136 w 168"/>
              <a:gd name="T7" fmla="*/ 170 h 258"/>
              <a:gd name="T8" fmla="*/ 144 w 168"/>
              <a:gd name="T9" fmla="*/ 178 h 258"/>
              <a:gd name="T10" fmla="*/ 148 w 168"/>
              <a:gd name="T11" fmla="*/ 204 h 258"/>
              <a:gd name="T12" fmla="*/ 136 w 168"/>
              <a:gd name="T13" fmla="*/ 206 h 258"/>
              <a:gd name="T14" fmla="*/ 112 w 168"/>
              <a:gd name="T15" fmla="*/ 230 h 258"/>
              <a:gd name="T16" fmla="*/ 88 w 168"/>
              <a:gd name="T17" fmla="*/ 234 h 258"/>
              <a:gd name="T18" fmla="*/ 86 w 168"/>
              <a:gd name="T19" fmla="*/ 246 h 258"/>
              <a:gd name="T20" fmla="*/ 40 w 168"/>
              <a:gd name="T21" fmla="*/ 258 h 258"/>
              <a:gd name="T22" fmla="*/ 30 w 168"/>
              <a:gd name="T23" fmla="*/ 246 h 258"/>
              <a:gd name="T24" fmla="*/ 10 w 168"/>
              <a:gd name="T25" fmla="*/ 226 h 258"/>
              <a:gd name="T26" fmla="*/ 12 w 168"/>
              <a:gd name="T27" fmla="*/ 216 h 258"/>
              <a:gd name="T28" fmla="*/ 32 w 168"/>
              <a:gd name="T29" fmla="*/ 216 h 258"/>
              <a:gd name="T30" fmla="*/ 26 w 168"/>
              <a:gd name="T31" fmla="*/ 206 h 258"/>
              <a:gd name="T32" fmla="*/ 24 w 168"/>
              <a:gd name="T33" fmla="*/ 182 h 258"/>
              <a:gd name="T34" fmla="*/ 16 w 168"/>
              <a:gd name="T35" fmla="*/ 170 h 258"/>
              <a:gd name="T36" fmla="*/ 2 w 168"/>
              <a:gd name="T37" fmla="*/ 156 h 258"/>
              <a:gd name="T38" fmla="*/ 0 w 168"/>
              <a:gd name="T39" fmla="*/ 144 h 258"/>
              <a:gd name="T40" fmla="*/ 32 w 168"/>
              <a:gd name="T41" fmla="*/ 106 h 258"/>
              <a:gd name="T42" fmla="*/ 36 w 168"/>
              <a:gd name="T43" fmla="*/ 66 h 258"/>
              <a:gd name="T44" fmla="*/ 40 w 168"/>
              <a:gd name="T45" fmla="*/ 50 h 258"/>
              <a:gd name="T46" fmla="*/ 28 w 168"/>
              <a:gd name="T47" fmla="*/ 6 h 258"/>
              <a:gd name="T48" fmla="*/ 34 w 168"/>
              <a:gd name="T49" fmla="*/ 0 h 258"/>
              <a:gd name="T50" fmla="*/ 168 w 168"/>
              <a:gd name="T51" fmla="*/ 54 h 258"/>
              <a:gd name="T52" fmla="*/ 166 w 168"/>
              <a:gd name="T53" fmla="*/ 1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58">
                <a:moveTo>
                  <a:pt x="166" y="128"/>
                </a:moveTo>
                <a:lnTo>
                  <a:pt x="152" y="130"/>
                </a:lnTo>
                <a:lnTo>
                  <a:pt x="148" y="142"/>
                </a:lnTo>
                <a:lnTo>
                  <a:pt x="136" y="170"/>
                </a:lnTo>
                <a:lnTo>
                  <a:pt x="144" y="178"/>
                </a:lnTo>
                <a:lnTo>
                  <a:pt x="148" y="204"/>
                </a:lnTo>
                <a:lnTo>
                  <a:pt x="136" y="206"/>
                </a:lnTo>
                <a:lnTo>
                  <a:pt x="112" y="230"/>
                </a:lnTo>
                <a:lnTo>
                  <a:pt x="88" y="234"/>
                </a:lnTo>
                <a:lnTo>
                  <a:pt x="86" y="246"/>
                </a:lnTo>
                <a:lnTo>
                  <a:pt x="40" y="258"/>
                </a:lnTo>
                <a:lnTo>
                  <a:pt x="30" y="246"/>
                </a:lnTo>
                <a:lnTo>
                  <a:pt x="10" y="226"/>
                </a:lnTo>
                <a:lnTo>
                  <a:pt x="12" y="216"/>
                </a:lnTo>
                <a:lnTo>
                  <a:pt x="32" y="216"/>
                </a:lnTo>
                <a:lnTo>
                  <a:pt x="26" y="206"/>
                </a:lnTo>
                <a:lnTo>
                  <a:pt x="24" y="182"/>
                </a:lnTo>
                <a:lnTo>
                  <a:pt x="16" y="170"/>
                </a:lnTo>
                <a:lnTo>
                  <a:pt x="2" y="156"/>
                </a:lnTo>
                <a:lnTo>
                  <a:pt x="0" y="144"/>
                </a:lnTo>
                <a:lnTo>
                  <a:pt x="32" y="106"/>
                </a:lnTo>
                <a:lnTo>
                  <a:pt x="36" y="66"/>
                </a:lnTo>
                <a:lnTo>
                  <a:pt x="40" y="50"/>
                </a:lnTo>
                <a:lnTo>
                  <a:pt x="28" y="6"/>
                </a:lnTo>
                <a:lnTo>
                  <a:pt x="34" y="0"/>
                </a:lnTo>
                <a:lnTo>
                  <a:pt x="168" y="54"/>
                </a:lnTo>
                <a:lnTo>
                  <a:pt x="166" y="12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49" name="Freeform 142">
            <a:extLst>
              <a:ext uri="{FF2B5EF4-FFF2-40B4-BE49-F238E27FC236}">
                <a16:creationId xmlns:a16="http://schemas.microsoft.com/office/drawing/2014/main" id="{75EC9D64-9DC2-4789-B17F-2A4FAF46C30C}"/>
              </a:ext>
            </a:extLst>
          </p:cNvPr>
          <p:cNvSpPr>
            <a:spLocks/>
          </p:cNvSpPr>
          <p:nvPr/>
        </p:nvSpPr>
        <p:spPr bwMode="gray">
          <a:xfrm>
            <a:off x="5798662" y="4079312"/>
            <a:ext cx="479642" cy="372686"/>
          </a:xfrm>
          <a:custGeom>
            <a:avLst/>
            <a:gdLst>
              <a:gd name="T0" fmla="*/ 4 w 251"/>
              <a:gd name="T1" fmla="*/ 142 h 194"/>
              <a:gd name="T2" fmla="*/ 18 w 251"/>
              <a:gd name="T3" fmla="*/ 142 h 194"/>
              <a:gd name="T4" fmla="*/ 52 w 251"/>
              <a:gd name="T5" fmla="*/ 136 h 194"/>
              <a:gd name="T6" fmla="*/ 64 w 251"/>
              <a:gd name="T7" fmla="*/ 118 h 194"/>
              <a:gd name="T8" fmla="*/ 66 w 251"/>
              <a:gd name="T9" fmla="*/ 76 h 194"/>
              <a:gd name="T10" fmla="*/ 86 w 251"/>
              <a:gd name="T11" fmla="*/ 72 h 194"/>
              <a:gd name="T12" fmla="*/ 124 w 251"/>
              <a:gd name="T13" fmla="*/ 40 h 194"/>
              <a:gd name="T14" fmla="*/ 191 w 251"/>
              <a:gd name="T15" fmla="*/ 0 h 194"/>
              <a:gd name="T16" fmla="*/ 199 w 251"/>
              <a:gd name="T17" fmla="*/ 2 h 194"/>
              <a:gd name="T18" fmla="*/ 207 w 251"/>
              <a:gd name="T19" fmla="*/ 4 h 194"/>
              <a:gd name="T20" fmla="*/ 217 w 251"/>
              <a:gd name="T21" fmla="*/ 8 h 194"/>
              <a:gd name="T22" fmla="*/ 227 w 251"/>
              <a:gd name="T23" fmla="*/ 16 h 194"/>
              <a:gd name="T24" fmla="*/ 239 w 251"/>
              <a:gd name="T25" fmla="*/ 10 h 194"/>
              <a:gd name="T26" fmla="*/ 251 w 251"/>
              <a:gd name="T27" fmla="*/ 54 h 194"/>
              <a:gd name="T28" fmla="*/ 247 w 251"/>
              <a:gd name="T29" fmla="*/ 70 h 194"/>
              <a:gd name="T30" fmla="*/ 243 w 251"/>
              <a:gd name="T31" fmla="*/ 110 h 194"/>
              <a:gd name="T32" fmla="*/ 211 w 251"/>
              <a:gd name="T33" fmla="*/ 148 h 194"/>
              <a:gd name="T34" fmla="*/ 213 w 251"/>
              <a:gd name="T35" fmla="*/ 160 h 194"/>
              <a:gd name="T36" fmla="*/ 191 w 251"/>
              <a:gd name="T37" fmla="*/ 174 h 194"/>
              <a:gd name="T38" fmla="*/ 156 w 251"/>
              <a:gd name="T39" fmla="*/ 170 h 194"/>
              <a:gd name="T40" fmla="*/ 150 w 251"/>
              <a:gd name="T41" fmla="*/ 178 h 194"/>
              <a:gd name="T42" fmla="*/ 122 w 251"/>
              <a:gd name="T43" fmla="*/ 168 h 194"/>
              <a:gd name="T44" fmla="*/ 112 w 251"/>
              <a:gd name="T45" fmla="*/ 174 h 194"/>
              <a:gd name="T46" fmla="*/ 96 w 251"/>
              <a:gd name="T47" fmla="*/ 162 h 194"/>
              <a:gd name="T48" fmla="*/ 66 w 251"/>
              <a:gd name="T49" fmla="*/ 162 h 194"/>
              <a:gd name="T50" fmla="*/ 54 w 251"/>
              <a:gd name="T51" fmla="*/ 194 h 194"/>
              <a:gd name="T52" fmla="*/ 44 w 251"/>
              <a:gd name="T53" fmla="*/ 184 h 194"/>
              <a:gd name="T54" fmla="*/ 30 w 251"/>
              <a:gd name="T55" fmla="*/ 186 h 194"/>
              <a:gd name="T56" fmla="*/ 16 w 251"/>
              <a:gd name="T57" fmla="*/ 178 h 194"/>
              <a:gd name="T58" fmla="*/ 12 w 251"/>
              <a:gd name="T59" fmla="*/ 176 h 194"/>
              <a:gd name="T60" fmla="*/ 14 w 251"/>
              <a:gd name="T61" fmla="*/ 170 h 194"/>
              <a:gd name="T62" fmla="*/ 4 w 251"/>
              <a:gd name="T63" fmla="*/ 158 h 194"/>
              <a:gd name="T64" fmla="*/ 0 w 251"/>
              <a:gd name="T65" fmla="*/ 150 h 194"/>
              <a:gd name="T66" fmla="*/ 4 w 251"/>
              <a:gd name="T67" fmla="*/ 1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1" h="194">
                <a:moveTo>
                  <a:pt x="4" y="142"/>
                </a:moveTo>
                <a:lnTo>
                  <a:pt x="18" y="142"/>
                </a:lnTo>
                <a:lnTo>
                  <a:pt x="52" y="136"/>
                </a:lnTo>
                <a:lnTo>
                  <a:pt x="64" y="118"/>
                </a:lnTo>
                <a:lnTo>
                  <a:pt x="66" y="76"/>
                </a:lnTo>
                <a:lnTo>
                  <a:pt x="86" y="72"/>
                </a:lnTo>
                <a:lnTo>
                  <a:pt x="124" y="40"/>
                </a:lnTo>
                <a:lnTo>
                  <a:pt x="191" y="0"/>
                </a:lnTo>
                <a:lnTo>
                  <a:pt x="199" y="2"/>
                </a:lnTo>
                <a:lnTo>
                  <a:pt x="207" y="4"/>
                </a:lnTo>
                <a:lnTo>
                  <a:pt x="217" y="8"/>
                </a:lnTo>
                <a:lnTo>
                  <a:pt x="227" y="16"/>
                </a:lnTo>
                <a:lnTo>
                  <a:pt x="239" y="10"/>
                </a:lnTo>
                <a:lnTo>
                  <a:pt x="251" y="54"/>
                </a:lnTo>
                <a:lnTo>
                  <a:pt x="247" y="70"/>
                </a:lnTo>
                <a:lnTo>
                  <a:pt x="243" y="110"/>
                </a:lnTo>
                <a:lnTo>
                  <a:pt x="211" y="148"/>
                </a:lnTo>
                <a:lnTo>
                  <a:pt x="213" y="160"/>
                </a:lnTo>
                <a:lnTo>
                  <a:pt x="191" y="174"/>
                </a:lnTo>
                <a:lnTo>
                  <a:pt x="156" y="170"/>
                </a:lnTo>
                <a:lnTo>
                  <a:pt x="150" y="178"/>
                </a:lnTo>
                <a:lnTo>
                  <a:pt x="122" y="168"/>
                </a:lnTo>
                <a:lnTo>
                  <a:pt x="112" y="174"/>
                </a:lnTo>
                <a:lnTo>
                  <a:pt x="96" y="162"/>
                </a:lnTo>
                <a:lnTo>
                  <a:pt x="66" y="162"/>
                </a:lnTo>
                <a:lnTo>
                  <a:pt x="54" y="194"/>
                </a:lnTo>
                <a:lnTo>
                  <a:pt x="44" y="184"/>
                </a:lnTo>
                <a:lnTo>
                  <a:pt x="30" y="186"/>
                </a:lnTo>
                <a:lnTo>
                  <a:pt x="16" y="178"/>
                </a:lnTo>
                <a:lnTo>
                  <a:pt x="12" y="176"/>
                </a:lnTo>
                <a:lnTo>
                  <a:pt x="14" y="170"/>
                </a:lnTo>
                <a:lnTo>
                  <a:pt x="4" y="158"/>
                </a:lnTo>
                <a:lnTo>
                  <a:pt x="0" y="150"/>
                </a:lnTo>
                <a:lnTo>
                  <a:pt x="4" y="14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0" name="Freeform 143">
            <a:extLst>
              <a:ext uri="{FF2B5EF4-FFF2-40B4-BE49-F238E27FC236}">
                <a16:creationId xmlns:a16="http://schemas.microsoft.com/office/drawing/2014/main" id="{F4EF538D-4C02-4A14-9467-53E72CB317F7}"/>
              </a:ext>
            </a:extLst>
          </p:cNvPr>
          <p:cNvSpPr>
            <a:spLocks/>
          </p:cNvSpPr>
          <p:nvPr/>
        </p:nvSpPr>
        <p:spPr bwMode="gray">
          <a:xfrm>
            <a:off x="6240085" y="4478891"/>
            <a:ext cx="386008" cy="245896"/>
          </a:xfrm>
          <a:custGeom>
            <a:avLst/>
            <a:gdLst>
              <a:gd name="T0" fmla="*/ 20 w 202"/>
              <a:gd name="T1" fmla="*/ 54 h 128"/>
              <a:gd name="T2" fmla="*/ 66 w 202"/>
              <a:gd name="T3" fmla="*/ 42 h 128"/>
              <a:gd name="T4" fmla="*/ 68 w 202"/>
              <a:gd name="T5" fmla="*/ 30 h 128"/>
              <a:gd name="T6" fmla="*/ 92 w 202"/>
              <a:gd name="T7" fmla="*/ 26 h 128"/>
              <a:gd name="T8" fmla="*/ 116 w 202"/>
              <a:gd name="T9" fmla="*/ 2 h 128"/>
              <a:gd name="T10" fmla="*/ 128 w 202"/>
              <a:gd name="T11" fmla="*/ 0 h 128"/>
              <a:gd name="T12" fmla="*/ 140 w 202"/>
              <a:gd name="T13" fmla="*/ 8 h 128"/>
              <a:gd name="T14" fmla="*/ 142 w 202"/>
              <a:gd name="T15" fmla="*/ 22 h 128"/>
              <a:gd name="T16" fmla="*/ 142 w 202"/>
              <a:gd name="T17" fmla="*/ 34 h 128"/>
              <a:gd name="T18" fmla="*/ 180 w 202"/>
              <a:gd name="T19" fmla="*/ 60 h 128"/>
              <a:gd name="T20" fmla="*/ 202 w 202"/>
              <a:gd name="T21" fmla="*/ 92 h 128"/>
              <a:gd name="T22" fmla="*/ 172 w 202"/>
              <a:gd name="T23" fmla="*/ 90 h 128"/>
              <a:gd name="T24" fmla="*/ 138 w 202"/>
              <a:gd name="T25" fmla="*/ 100 h 128"/>
              <a:gd name="T26" fmla="*/ 126 w 202"/>
              <a:gd name="T27" fmla="*/ 108 h 128"/>
              <a:gd name="T28" fmla="*/ 104 w 202"/>
              <a:gd name="T29" fmla="*/ 106 h 128"/>
              <a:gd name="T30" fmla="*/ 92 w 202"/>
              <a:gd name="T31" fmla="*/ 102 h 128"/>
              <a:gd name="T32" fmla="*/ 78 w 202"/>
              <a:gd name="T33" fmla="*/ 88 h 128"/>
              <a:gd name="T34" fmla="*/ 64 w 202"/>
              <a:gd name="T35" fmla="*/ 104 h 128"/>
              <a:gd name="T36" fmla="*/ 62 w 202"/>
              <a:gd name="T37" fmla="*/ 118 h 128"/>
              <a:gd name="T38" fmla="*/ 32 w 202"/>
              <a:gd name="T39" fmla="*/ 116 h 128"/>
              <a:gd name="T40" fmla="*/ 24 w 202"/>
              <a:gd name="T41" fmla="*/ 128 h 128"/>
              <a:gd name="T42" fmla="*/ 10 w 202"/>
              <a:gd name="T43" fmla="*/ 112 h 128"/>
              <a:gd name="T44" fmla="*/ 0 w 202"/>
              <a:gd name="T45" fmla="*/ 86 h 128"/>
              <a:gd name="T46" fmla="*/ 0 w 202"/>
              <a:gd name="T47" fmla="*/ 70 h 128"/>
              <a:gd name="T48" fmla="*/ 20 w 202"/>
              <a:gd name="T49" fmla="*/ 5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28">
                <a:moveTo>
                  <a:pt x="20" y="54"/>
                </a:moveTo>
                <a:lnTo>
                  <a:pt x="66" y="42"/>
                </a:lnTo>
                <a:lnTo>
                  <a:pt x="68" y="30"/>
                </a:lnTo>
                <a:lnTo>
                  <a:pt x="92" y="26"/>
                </a:lnTo>
                <a:lnTo>
                  <a:pt x="116" y="2"/>
                </a:lnTo>
                <a:lnTo>
                  <a:pt x="128" y="0"/>
                </a:lnTo>
                <a:lnTo>
                  <a:pt x="140" y="8"/>
                </a:lnTo>
                <a:lnTo>
                  <a:pt x="142" y="22"/>
                </a:lnTo>
                <a:lnTo>
                  <a:pt x="142" y="34"/>
                </a:lnTo>
                <a:lnTo>
                  <a:pt x="180" y="60"/>
                </a:lnTo>
                <a:lnTo>
                  <a:pt x="202" y="92"/>
                </a:lnTo>
                <a:lnTo>
                  <a:pt x="172" y="90"/>
                </a:lnTo>
                <a:lnTo>
                  <a:pt x="138" y="100"/>
                </a:lnTo>
                <a:lnTo>
                  <a:pt x="126" y="108"/>
                </a:lnTo>
                <a:lnTo>
                  <a:pt x="104" y="106"/>
                </a:lnTo>
                <a:lnTo>
                  <a:pt x="92" y="102"/>
                </a:lnTo>
                <a:lnTo>
                  <a:pt x="78" y="88"/>
                </a:lnTo>
                <a:lnTo>
                  <a:pt x="64" y="104"/>
                </a:lnTo>
                <a:lnTo>
                  <a:pt x="62" y="118"/>
                </a:lnTo>
                <a:lnTo>
                  <a:pt x="32" y="116"/>
                </a:lnTo>
                <a:lnTo>
                  <a:pt x="24" y="128"/>
                </a:lnTo>
                <a:lnTo>
                  <a:pt x="10" y="112"/>
                </a:lnTo>
                <a:lnTo>
                  <a:pt x="0" y="86"/>
                </a:lnTo>
                <a:lnTo>
                  <a:pt x="0" y="70"/>
                </a:lnTo>
                <a:lnTo>
                  <a:pt x="20" y="5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1" name="Freeform 144">
            <a:extLst>
              <a:ext uri="{FF2B5EF4-FFF2-40B4-BE49-F238E27FC236}">
                <a16:creationId xmlns:a16="http://schemas.microsoft.com/office/drawing/2014/main" id="{1EA1C605-7BC3-402B-9863-0A9CB0535A6C}"/>
              </a:ext>
            </a:extLst>
          </p:cNvPr>
          <p:cNvSpPr>
            <a:spLocks/>
          </p:cNvSpPr>
          <p:nvPr/>
        </p:nvSpPr>
        <p:spPr bwMode="gray">
          <a:xfrm>
            <a:off x="6461753" y="4102365"/>
            <a:ext cx="504484" cy="591686"/>
          </a:xfrm>
          <a:custGeom>
            <a:avLst/>
            <a:gdLst>
              <a:gd name="T0" fmla="*/ 188 w 264"/>
              <a:gd name="T1" fmla="*/ 20 h 308"/>
              <a:gd name="T2" fmla="*/ 208 w 264"/>
              <a:gd name="T3" fmla="*/ 0 h 308"/>
              <a:gd name="T4" fmla="*/ 216 w 264"/>
              <a:gd name="T5" fmla="*/ 0 h 308"/>
              <a:gd name="T6" fmla="*/ 238 w 264"/>
              <a:gd name="T7" fmla="*/ 18 h 308"/>
              <a:gd name="T8" fmla="*/ 242 w 264"/>
              <a:gd name="T9" fmla="*/ 32 h 308"/>
              <a:gd name="T10" fmla="*/ 240 w 264"/>
              <a:gd name="T11" fmla="*/ 60 h 308"/>
              <a:gd name="T12" fmla="*/ 264 w 264"/>
              <a:gd name="T13" fmla="*/ 86 h 308"/>
              <a:gd name="T14" fmla="*/ 236 w 264"/>
              <a:gd name="T15" fmla="*/ 98 h 308"/>
              <a:gd name="T16" fmla="*/ 230 w 264"/>
              <a:gd name="T17" fmla="*/ 128 h 308"/>
              <a:gd name="T18" fmla="*/ 230 w 264"/>
              <a:gd name="T19" fmla="*/ 142 h 308"/>
              <a:gd name="T20" fmla="*/ 206 w 264"/>
              <a:gd name="T21" fmla="*/ 180 h 308"/>
              <a:gd name="T22" fmla="*/ 206 w 264"/>
              <a:gd name="T23" fmla="*/ 196 h 308"/>
              <a:gd name="T24" fmla="*/ 194 w 264"/>
              <a:gd name="T25" fmla="*/ 198 h 308"/>
              <a:gd name="T26" fmla="*/ 194 w 264"/>
              <a:gd name="T27" fmla="*/ 234 h 308"/>
              <a:gd name="T28" fmla="*/ 174 w 264"/>
              <a:gd name="T29" fmla="*/ 234 h 308"/>
              <a:gd name="T30" fmla="*/ 178 w 264"/>
              <a:gd name="T31" fmla="*/ 248 h 308"/>
              <a:gd name="T32" fmla="*/ 188 w 264"/>
              <a:gd name="T33" fmla="*/ 250 h 308"/>
              <a:gd name="T34" fmla="*/ 212 w 264"/>
              <a:gd name="T35" fmla="*/ 282 h 308"/>
              <a:gd name="T36" fmla="*/ 218 w 264"/>
              <a:gd name="T37" fmla="*/ 282 h 308"/>
              <a:gd name="T38" fmla="*/ 218 w 264"/>
              <a:gd name="T39" fmla="*/ 296 h 308"/>
              <a:gd name="T40" fmla="*/ 198 w 264"/>
              <a:gd name="T41" fmla="*/ 296 h 308"/>
              <a:gd name="T42" fmla="*/ 190 w 264"/>
              <a:gd name="T43" fmla="*/ 304 h 308"/>
              <a:gd name="T44" fmla="*/ 138 w 264"/>
              <a:gd name="T45" fmla="*/ 308 h 308"/>
              <a:gd name="T46" fmla="*/ 122 w 264"/>
              <a:gd name="T47" fmla="*/ 296 h 308"/>
              <a:gd name="T48" fmla="*/ 94 w 264"/>
              <a:gd name="T49" fmla="*/ 298 h 308"/>
              <a:gd name="T50" fmla="*/ 86 w 264"/>
              <a:gd name="T51" fmla="*/ 288 h 308"/>
              <a:gd name="T52" fmla="*/ 64 w 264"/>
              <a:gd name="T53" fmla="*/ 256 h 308"/>
              <a:gd name="T54" fmla="*/ 26 w 264"/>
              <a:gd name="T55" fmla="*/ 230 h 308"/>
              <a:gd name="T56" fmla="*/ 24 w 264"/>
              <a:gd name="T57" fmla="*/ 204 h 308"/>
              <a:gd name="T58" fmla="*/ 12 w 264"/>
              <a:gd name="T59" fmla="*/ 196 h 308"/>
              <a:gd name="T60" fmla="*/ 8 w 264"/>
              <a:gd name="T61" fmla="*/ 170 h 308"/>
              <a:gd name="T62" fmla="*/ 0 w 264"/>
              <a:gd name="T63" fmla="*/ 162 h 308"/>
              <a:gd name="T64" fmla="*/ 16 w 264"/>
              <a:gd name="T65" fmla="*/ 122 h 308"/>
              <a:gd name="T66" fmla="*/ 30 w 264"/>
              <a:gd name="T67" fmla="*/ 120 h 308"/>
              <a:gd name="T68" fmla="*/ 32 w 264"/>
              <a:gd name="T69" fmla="*/ 46 h 308"/>
              <a:gd name="T70" fmla="*/ 50 w 264"/>
              <a:gd name="T71" fmla="*/ 46 h 308"/>
              <a:gd name="T72" fmla="*/ 50 w 264"/>
              <a:gd name="T73" fmla="*/ 12 h 308"/>
              <a:gd name="T74" fmla="*/ 178 w 264"/>
              <a:gd name="T75" fmla="*/ 14 h 308"/>
              <a:gd name="T76" fmla="*/ 188 w 264"/>
              <a:gd name="T77" fmla="*/ 2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4" h="308">
                <a:moveTo>
                  <a:pt x="188" y="20"/>
                </a:moveTo>
                <a:lnTo>
                  <a:pt x="208" y="0"/>
                </a:lnTo>
                <a:lnTo>
                  <a:pt x="216" y="0"/>
                </a:lnTo>
                <a:lnTo>
                  <a:pt x="238" y="18"/>
                </a:lnTo>
                <a:lnTo>
                  <a:pt x="242" y="32"/>
                </a:lnTo>
                <a:lnTo>
                  <a:pt x="240" y="60"/>
                </a:lnTo>
                <a:lnTo>
                  <a:pt x="264" y="86"/>
                </a:lnTo>
                <a:lnTo>
                  <a:pt x="236" y="98"/>
                </a:lnTo>
                <a:lnTo>
                  <a:pt x="230" y="128"/>
                </a:lnTo>
                <a:lnTo>
                  <a:pt x="230" y="142"/>
                </a:lnTo>
                <a:lnTo>
                  <a:pt x="206" y="180"/>
                </a:lnTo>
                <a:lnTo>
                  <a:pt x="206" y="196"/>
                </a:lnTo>
                <a:lnTo>
                  <a:pt x="194" y="198"/>
                </a:lnTo>
                <a:lnTo>
                  <a:pt x="194" y="234"/>
                </a:lnTo>
                <a:lnTo>
                  <a:pt x="174" y="234"/>
                </a:lnTo>
                <a:lnTo>
                  <a:pt x="178" y="248"/>
                </a:lnTo>
                <a:lnTo>
                  <a:pt x="188" y="250"/>
                </a:lnTo>
                <a:lnTo>
                  <a:pt x="212" y="282"/>
                </a:lnTo>
                <a:lnTo>
                  <a:pt x="218" y="282"/>
                </a:lnTo>
                <a:lnTo>
                  <a:pt x="218" y="296"/>
                </a:lnTo>
                <a:lnTo>
                  <a:pt x="198" y="296"/>
                </a:lnTo>
                <a:lnTo>
                  <a:pt x="190" y="304"/>
                </a:lnTo>
                <a:lnTo>
                  <a:pt x="138" y="308"/>
                </a:lnTo>
                <a:lnTo>
                  <a:pt x="122" y="296"/>
                </a:lnTo>
                <a:lnTo>
                  <a:pt x="94" y="298"/>
                </a:lnTo>
                <a:lnTo>
                  <a:pt x="86" y="288"/>
                </a:lnTo>
                <a:lnTo>
                  <a:pt x="64" y="256"/>
                </a:lnTo>
                <a:lnTo>
                  <a:pt x="26" y="230"/>
                </a:lnTo>
                <a:lnTo>
                  <a:pt x="24" y="204"/>
                </a:lnTo>
                <a:lnTo>
                  <a:pt x="12" y="196"/>
                </a:lnTo>
                <a:lnTo>
                  <a:pt x="8" y="170"/>
                </a:lnTo>
                <a:lnTo>
                  <a:pt x="0" y="162"/>
                </a:lnTo>
                <a:lnTo>
                  <a:pt x="16" y="122"/>
                </a:lnTo>
                <a:lnTo>
                  <a:pt x="30" y="120"/>
                </a:lnTo>
                <a:lnTo>
                  <a:pt x="32" y="46"/>
                </a:lnTo>
                <a:lnTo>
                  <a:pt x="50" y="46"/>
                </a:lnTo>
                <a:lnTo>
                  <a:pt x="50" y="12"/>
                </a:lnTo>
                <a:lnTo>
                  <a:pt x="178" y="14"/>
                </a:lnTo>
                <a:lnTo>
                  <a:pt x="188" y="2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2" name="Freeform 145">
            <a:extLst>
              <a:ext uri="{FF2B5EF4-FFF2-40B4-BE49-F238E27FC236}">
                <a16:creationId xmlns:a16="http://schemas.microsoft.com/office/drawing/2014/main" id="{C3997325-9344-41E1-B9AC-0307D557DE66}"/>
              </a:ext>
            </a:extLst>
          </p:cNvPr>
          <p:cNvSpPr>
            <a:spLocks/>
          </p:cNvSpPr>
          <p:nvPr/>
        </p:nvSpPr>
        <p:spPr bwMode="gray">
          <a:xfrm>
            <a:off x="6901264" y="4267576"/>
            <a:ext cx="191094" cy="165212"/>
          </a:xfrm>
          <a:custGeom>
            <a:avLst/>
            <a:gdLst>
              <a:gd name="T0" fmla="*/ 34 w 100"/>
              <a:gd name="T1" fmla="*/ 0 h 86"/>
              <a:gd name="T2" fmla="*/ 42 w 100"/>
              <a:gd name="T3" fmla="*/ 12 h 86"/>
              <a:gd name="T4" fmla="*/ 48 w 100"/>
              <a:gd name="T5" fmla="*/ 26 h 86"/>
              <a:gd name="T6" fmla="*/ 50 w 100"/>
              <a:gd name="T7" fmla="*/ 44 h 86"/>
              <a:gd name="T8" fmla="*/ 64 w 100"/>
              <a:gd name="T9" fmla="*/ 44 h 86"/>
              <a:gd name="T10" fmla="*/ 100 w 100"/>
              <a:gd name="T11" fmla="*/ 76 h 86"/>
              <a:gd name="T12" fmla="*/ 94 w 100"/>
              <a:gd name="T13" fmla="*/ 86 h 86"/>
              <a:gd name="T14" fmla="*/ 76 w 100"/>
              <a:gd name="T15" fmla="*/ 68 h 86"/>
              <a:gd name="T16" fmla="*/ 58 w 100"/>
              <a:gd name="T17" fmla="*/ 52 h 86"/>
              <a:gd name="T18" fmla="*/ 24 w 100"/>
              <a:gd name="T19" fmla="*/ 50 h 86"/>
              <a:gd name="T20" fmla="*/ 22 w 100"/>
              <a:gd name="T21" fmla="*/ 56 h 86"/>
              <a:gd name="T22" fmla="*/ 0 w 100"/>
              <a:gd name="T23" fmla="*/ 56 h 86"/>
              <a:gd name="T24" fmla="*/ 0 w 100"/>
              <a:gd name="T25" fmla="*/ 42 h 86"/>
              <a:gd name="T26" fmla="*/ 4 w 100"/>
              <a:gd name="T27" fmla="*/ 28 h 86"/>
              <a:gd name="T28" fmla="*/ 6 w 100"/>
              <a:gd name="T29" fmla="*/ 12 h 86"/>
              <a:gd name="T30" fmla="*/ 34 w 10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6">
                <a:moveTo>
                  <a:pt x="34" y="0"/>
                </a:moveTo>
                <a:lnTo>
                  <a:pt x="42" y="12"/>
                </a:lnTo>
                <a:lnTo>
                  <a:pt x="48" y="26"/>
                </a:lnTo>
                <a:lnTo>
                  <a:pt x="50" y="44"/>
                </a:lnTo>
                <a:lnTo>
                  <a:pt x="64" y="44"/>
                </a:lnTo>
                <a:lnTo>
                  <a:pt x="100" y="76"/>
                </a:lnTo>
                <a:lnTo>
                  <a:pt x="94" y="86"/>
                </a:lnTo>
                <a:lnTo>
                  <a:pt x="76" y="68"/>
                </a:lnTo>
                <a:lnTo>
                  <a:pt x="58" y="52"/>
                </a:lnTo>
                <a:lnTo>
                  <a:pt x="24" y="50"/>
                </a:lnTo>
                <a:lnTo>
                  <a:pt x="22" y="56"/>
                </a:lnTo>
                <a:lnTo>
                  <a:pt x="0" y="56"/>
                </a:lnTo>
                <a:lnTo>
                  <a:pt x="0" y="42"/>
                </a:lnTo>
                <a:lnTo>
                  <a:pt x="4" y="28"/>
                </a:lnTo>
                <a:lnTo>
                  <a:pt x="6" y="12"/>
                </a:lnTo>
                <a:lnTo>
                  <a:pt x="3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3" name="Freeform 146">
            <a:extLst>
              <a:ext uri="{FF2B5EF4-FFF2-40B4-BE49-F238E27FC236}">
                <a16:creationId xmlns:a16="http://schemas.microsoft.com/office/drawing/2014/main" id="{CB75B9F6-9EAA-4B63-B23F-FCFA405864E7}"/>
              </a:ext>
            </a:extLst>
          </p:cNvPr>
          <p:cNvSpPr>
            <a:spLocks/>
          </p:cNvSpPr>
          <p:nvPr/>
        </p:nvSpPr>
        <p:spPr bwMode="gray">
          <a:xfrm>
            <a:off x="7065604" y="4413576"/>
            <a:ext cx="42040" cy="65317"/>
          </a:xfrm>
          <a:custGeom>
            <a:avLst/>
            <a:gdLst>
              <a:gd name="T0" fmla="*/ 22 w 22"/>
              <a:gd name="T1" fmla="*/ 16 h 34"/>
              <a:gd name="T2" fmla="*/ 14 w 22"/>
              <a:gd name="T3" fmla="*/ 22 h 34"/>
              <a:gd name="T4" fmla="*/ 16 w 22"/>
              <a:gd name="T5" fmla="*/ 34 h 34"/>
              <a:gd name="T6" fmla="*/ 0 w 22"/>
              <a:gd name="T7" fmla="*/ 32 h 34"/>
              <a:gd name="T8" fmla="*/ 0 w 22"/>
              <a:gd name="T9" fmla="*/ 20 h 34"/>
              <a:gd name="T10" fmla="*/ 8 w 22"/>
              <a:gd name="T11" fmla="*/ 10 h 34"/>
              <a:gd name="T12" fmla="*/ 14 w 22"/>
              <a:gd name="T13" fmla="*/ 0 h 34"/>
              <a:gd name="T14" fmla="*/ 22 w 22"/>
              <a:gd name="T15" fmla="*/ 1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4">
                <a:moveTo>
                  <a:pt x="22" y="16"/>
                </a:moveTo>
                <a:lnTo>
                  <a:pt x="14" y="22"/>
                </a:lnTo>
                <a:lnTo>
                  <a:pt x="16" y="34"/>
                </a:lnTo>
                <a:lnTo>
                  <a:pt x="0" y="32"/>
                </a:lnTo>
                <a:lnTo>
                  <a:pt x="0" y="20"/>
                </a:lnTo>
                <a:lnTo>
                  <a:pt x="8" y="10"/>
                </a:lnTo>
                <a:lnTo>
                  <a:pt x="14" y="0"/>
                </a:lnTo>
                <a:lnTo>
                  <a:pt x="22" y="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4" name="Freeform 147">
            <a:extLst>
              <a:ext uri="{FF2B5EF4-FFF2-40B4-BE49-F238E27FC236}">
                <a16:creationId xmlns:a16="http://schemas.microsoft.com/office/drawing/2014/main" id="{95ACDB8E-5996-4A32-9D76-353F68ED099B}"/>
              </a:ext>
            </a:extLst>
          </p:cNvPr>
          <p:cNvSpPr>
            <a:spLocks/>
          </p:cNvSpPr>
          <p:nvPr/>
        </p:nvSpPr>
        <p:spPr bwMode="gray">
          <a:xfrm>
            <a:off x="7035030" y="4448155"/>
            <a:ext cx="317214" cy="414949"/>
          </a:xfrm>
          <a:custGeom>
            <a:avLst/>
            <a:gdLst>
              <a:gd name="T0" fmla="*/ 60 w 166"/>
              <a:gd name="T1" fmla="*/ 26 h 216"/>
              <a:gd name="T2" fmla="*/ 78 w 166"/>
              <a:gd name="T3" fmla="*/ 18 h 216"/>
              <a:gd name="T4" fmla="*/ 146 w 166"/>
              <a:gd name="T5" fmla="*/ 8 h 216"/>
              <a:gd name="T6" fmla="*/ 164 w 166"/>
              <a:gd name="T7" fmla="*/ 0 h 216"/>
              <a:gd name="T8" fmla="*/ 166 w 166"/>
              <a:gd name="T9" fmla="*/ 22 h 216"/>
              <a:gd name="T10" fmla="*/ 158 w 166"/>
              <a:gd name="T11" fmla="*/ 30 h 216"/>
              <a:gd name="T12" fmla="*/ 132 w 166"/>
              <a:gd name="T13" fmla="*/ 80 h 216"/>
              <a:gd name="T14" fmla="*/ 80 w 166"/>
              <a:gd name="T15" fmla="*/ 152 h 216"/>
              <a:gd name="T16" fmla="*/ 12 w 166"/>
              <a:gd name="T17" fmla="*/ 216 h 216"/>
              <a:gd name="T18" fmla="*/ 2 w 166"/>
              <a:gd name="T19" fmla="*/ 202 h 216"/>
              <a:gd name="T20" fmla="*/ 0 w 166"/>
              <a:gd name="T21" fmla="*/ 146 h 216"/>
              <a:gd name="T22" fmla="*/ 16 w 166"/>
              <a:gd name="T23" fmla="*/ 136 h 216"/>
              <a:gd name="T24" fmla="*/ 16 w 166"/>
              <a:gd name="T25" fmla="*/ 126 h 216"/>
              <a:gd name="T26" fmla="*/ 40 w 166"/>
              <a:gd name="T27" fmla="*/ 112 h 216"/>
              <a:gd name="T28" fmla="*/ 66 w 166"/>
              <a:gd name="T29" fmla="*/ 108 h 216"/>
              <a:gd name="T30" fmla="*/ 108 w 166"/>
              <a:gd name="T31" fmla="*/ 62 h 216"/>
              <a:gd name="T32" fmla="*/ 52 w 166"/>
              <a:gd name="T33" fmla="*/ 48 h 216"/>
              <a:gd name="T34" fmla="*/ 32 w 166"/>
              <a:gd name="T35" fmla="*/ 26 h 216"/>
              <a:gd name="T36" fmla="*/ 32 w 166"/>
              <a:gd name="T37" fmla="*/ 16 h 216"/>
              <a:gd name="T38" fmla="*/ 40 w 166"/>
              <a:gd name="T39" fmla="*/ 8 h 216"/>
              <a:gd name="T40" fmla="*/ 60 w 166"/>
              <a:gd name="T41" fmla="*/ 2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16">
                <a:moveTo>
                  <a:pt x="60" y="26"/>
                </a:moveTo>
                <a:lnTo>
                  <a:pt x="78" y="18"/>
                </a:lnTo>
                <a:lnTo>
                  <a:pt x="146" y="8"/>
                </a:lnTo>
                <a:lnTo>
                  <a:pt x="164" y="0"/>
                </a:lnTo>
                <a:lnTo>
                  <a:pt x="166" y="22"/>
                </a:lnTo>
                <a:lnTo>
                  <a:pt x="158" y="30"/>
                </a:lnTo>
                <a:lnTo>
                  <a:pt x="132" y="80"/>
                </a:lnTo>
                <a:lnTo>
                  <a:pt x="80" y="152"/>
                </a:lnTo>
                <a:lnTo>
                  <a:pt x="12" y="216"/>
                </a:lnTo>
                <a:lnTo>
                  <a:pt x="2" y="202"/>
                </a:lnTo>
                <a:lnTo>
                  <a:pt x="0" y="146"/>
                </a:lnTo>
                <a:lnTo>
                  <a:pt x="16" y="136"/>
                </a:lnTo>
                <a:lnTo>
                  <a:pt x="16" y="126"/>
                </a:lnTo>
                <a:lnTo>
                  <a:pt x="40" y="112"/>
                </a:lnTo>
                <a:lnTo>
                  <a:pt x="66" y="108"/>
                </a:lnTo>
                <a:lnTo>
                  <a:pt x="108" y="62"/>
                </a:lnTo>
                <a:lnTo>
                  <a:pt x="52" y="48"/>
                </a:lnTo>
                <a:lnTo>
                  <a:pt x="32" y="26"/>
                </a:lnTo>
                <a:lnTo>
                  <a:pt x="32" y="16"/>
                </a:lnTo>
                <a:lnTo>
                  <a:pt x="40" y="8"/>
                </a:lnTo>
                <a:lnTo>
                  <a:pt x="60" y="2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5" name="Freeform 148">
            <a:extLst>
              <a:ext uri="{FF2B5EF4-FFF2-40B4-BE49-F238E27FC236}">
                <a16:creationId xmlns:a16="http://schemas.microsoft.com/office/drawing/2014/main" id="{90481255-D60D-4BA6-B34F-0BE5ED63B1DE}"/>
              </a:ext>
            </a:extLst>
          </p:cNvPr>
          <p:cNvSpPr>
            <a:spLocks/>
          </p:cNvSpPr>
          <p:nvPr/>
        </p:nvSpPr>
        <p:spPr bwMode="gray">
          <a:xfrm>
            <a:off x="6794253" y="4363628"/>
            <a:ext cx="447156" cy="341948"/>
          </a:xfrm>
          <a:custGeom>
            <a:avLst/>
            <a:gdLst>
              <a:gd name="T0" fmla="*/ 56 w 234"/>
              <a:gd name="T1" fmla="*/ 6 h 178"/>
              <a:gd name="T2" fmla="*/ 78 w 234"/>
              <a:gd name="T3" fmla="*/ 6 h 178"/>
              <a:gd name="T4" fmla="*/ 80 w 234"/>
              <a:gd name="T5" fmla="*/ 0 h 178"/>
              <a:gd name="T6" fmla="*/ 114 w 234"/>
              <a:gd name="T7" fmla="*/ 2 h 178"/>
              <a:gd name="T8" fmla="*/ 150 w 234"/>
              <a:gd name="T9" fmla="*/ 36 h 178"/>
              <a:gd name="T10" fmla="*/ 142 w 234"/>
              <a:gd name="T11" fmla="*/ 46 h 178"/>
              <a:gd name="T12" fmla="*/ 142 w 234"/>
              <a:gd name="T13" fmla="*/ 58 h 178"/>
              <a:gd name="T14" fmla="*/ 158 w 234"/>
              <a:gd name="T15" fmla="*/ 60 h 178"/>
              <a:gd name="T16" fmla="*/ 158 w 234"/>
              <a:gd name="T17" fmla="*/ 70 h 178"/>
              <a:gd name="T18" fmla="*/ 178 w 234"/>
              <a:gd name="T19" fmla="*/ 92 h 178"/>
              <a:gd name="T20" fmla="*/ 234 w 234"/>
              <a:gd name="T21" fmla="*/ 106 h 178"/>
              <a:gd name="T22" fmla="*/ 192 w 234"/>
              <a:gd name="T23" fmla="*/ 152 h 178"/>
              <a:gd name="T24" fmla="*/ 166 w 234"/>
              <a:gd name="T25" fmla="*/ 156 h 178"/>
              <a:gd name="T26" fmla="*/ 142 w 234"/>
              <a:gd name="T27" fmla="*/ 170 h 178"/>
              <a:gd name="T28" fmla="*/ 130 w 234"/>
              <a:gd name="T29" fmla="*/ 174 h 178"/>
              <a:gd name="T30" fmla="*/ 124 w 234"/>
              <a:gd name="T31" fmla="*/ 166 h 178"/>
              <a:gd name="T32" fmla="*/ 104 w 234"/>
              <a:gd name="T33" fmla="*/ 178 h 178"/>
              <a:gd name="T34" fmla="*/ 80 w 234"/>
              <a:gd name="T35" fmla="*/ 176 h 178"/>
              <a:gd name="T36" fmla="*/ 44 w 234"/>
              <a:gd name="T37" fmla="*/ 160 h 178"/>
              <a:gd name="T38" fmla="*/ 44 w 234"/>
              <a:gd name="T39" fmla="*/ 146 h 178"/>
              <a:gd name="T40" fmla="*/ 38 w 234"/>
              <a:gd name="T41" fmla="*/ 146 h 178"/>
              <a:gd name="T42" fmla="*/ 14 w 234"/>
              <a:gd name="T43" fmla="*/ 114 h 178"/>
              <a:gd name="T44" fmla="*/ 4 w 234"/>
              <a:gd name="T45" fmla="*/ 112 h 178"/>
              <a:gd name="T46" fmla="*/ 0 w 234"/>
              <a:gd name="T47" fmla="*/ 98 h 178"/>
              <a:gd name="T48" fmla="*/ 20 w 234"/>
              <a:gd name="T49" fmla="*/ 98 h 178"/>
              <a:gd name="T50" fmla="*/ 20 w 234"/>
              <a:gd name="T51" fmla="*/ 62 h 178"/>
              <a:gd name="T52" fmla="*/ 32 w 234"/>
              <a:gd name="T53" fmla="*/ 60 h 178"/>
              <a:gd name="T54" fmla="*/ 32 w 234"/>
              <a:gd name="T55" fmla="*/ 44 h 178"/>
              <a:gd name="T56" fmla="*/ 56 w 234"/>
              <a:gd name="T57" fmla="*/ 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4" h="178">
                <a:moveTo>
                  <a:pt x="56" y="6"/>
                </a:moveTo>
                <a:lnTo>
                  <a:pt x="78" y="6"/>
                </a:lnTo>
                <a:lnTo>
                  <a:pt x="80" y="0"/>
                </a:lnTo>
                <a:lnTo>
                  <a:pt x="114" y="2"/>
                </a:lnTo>
                <a:lnTo>
                  <a:pt x="150" y="36"/>
                </a:lnTo>
                <a:lnTo>
                  <a:pt x="142" y="46"/>
                </a:lnTo>
                <a:lnTo>
                  <a:pt x="142" y="58"/>
                </a:lnTo>
                <a:lnTo>
                  <a:pt x="158" y="60"/>
                </a:lnTo>
                <a:lnTo>
                  <a:pt x="158" y="70"/>
                </a:lnTo>
                <a:lnTo>
                  <a:pt x="178" y="92"/>
                </a:lnTo>
                <a:lnTo>
                  <a:pt x="234" y="106"/>
                </a:lnTo>
                <a:lnTo>
                  <a:pt x="192" y="152"/>
                </a:lnTo>
                <a:lnTo>
                  <a:pt x="166" y="156"/>
                </a:lnTo>
                <a:lnTo>
                  <a:pt x="142" y="170"/>
                </a:lnTo>
                <a:lnTo>
                  <a:pt x="130" y="174"/>
                </a:lnTo>
                <a:lnTo>
                  <a:pt x="124" y="166"/>
                </a:lnTo>
                <a:lnTo>
                  <a:pt x="104" y="178"/>
                </a:lnTo>
                <a:lnTo>
                  <a:pt x="80" y="176"/>
                </a:lnTo>
                <a:lnTo>
                  <a:pt x="44" y="160"/>
                </a:lnTo>
                <a:lnTo>
                  <a:pt x="44" y="146"/>
                </a:lnTo>
                <a:lnTo>
                  <a:pt x="38" y="146"/>
                </a:lnTo>
                <a:lnTo>
                  <a:pt x="14" y="114"/>
                </a:lnTo>
                <a:lnTo>
                  <a:pt x="4" y="112"/>
                </a:lnTo>
                <a:lnTo>
                  <a:pt x="0" y="98"/>
                </a:lnTo>
                <a:lnTo>
                  <a:pt x="20" y="98"/>
                </a:lnTo>
                <a:lnTo>
                  <a:pt x="20" y="62"/>
                </a:lnTo>
                <a:lnTo>
                  <a:pt x="32" y="60"/>
                </a:lnTo>
                <a:lnTo>
                  <a:pt x="32" y="44"/>
                </a:lnTo>
                <a:lnTo>
                  <a:pt x="56"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6" name="Freeform 149">
            <a:extLst>
              <a:ext uri="{FF2B5EF4-FFF2-40B4-BE49-F238E27FC236}">
                <a16:creationId xmlns:a16="http://schemas.microsoft.com/office/drawing/2014/main" id="{5E368153-D955-4893-9C72-726163090567}"/>
              </a:ext>
            </a:extLst>
          </p:cNvPr>
          <p:cNvSpPr>
            <a:spLocks/>
          </p:cNvSpPr>
          <p:nvPr/>
        </p:nvSpPr>
        <p:spPr bwMode="gray">
          <a:xfrm>
            <a:off x="6058547" y="4413576"/>
            <a:ext cx="227401" cy="341948"/>
          </a:xfrm>
          <a:custGeom>
            <a:avLst/>
            <a:gdLst>
              <a:gd name="T0" fmla="*/ 91 w 119"/>
              <a:gd name="T1" fmla="*/ 0 h 178"/>
              <a:gd name="T2" fmla="*/ 99 w 119"/>
              <a:gd name="T3" fmla="*/ 12 h 178"/>
              <a:gd name="T4" fmla="*/ 101 w 119"/>
              <a:gd name="T5" fmla="*/ 36 h 178"/>
              <a:gd name="T6" fmla="*/ 107 w 119"/>
              <a:gd name="T7" fmla="*/ 46 h 178"/>
              <a:gd name="T8" fmla="*/ 87 w 119"/>
              <a:gd name="T9" fmla="*/ 46 h 178"/>
              <a:gd name="T10" fmla="*/ 85 w 119"/>
              <a:gd name="T11" fmla="*/ 56 h 178"/>
              <a:gd name="T12" fmla="*/ 115 w 119"/>
              <a:gd name="T13" fmla="*/ 88 h 178"/>
              <a:gd name="T14" fmla="*/ 95 w 119"/>
              <a:gd name="T15" fmla="*/ 104 h 178"/>
              <a:gd name="T16" fmla="*/ 95 w 119"/>
              <a:gd name="T17" fmla="*/ 120 h 178"/>
              <a:gd name="T18" fmla="*/ 105 w 119"/>
              <a:gd name="T19" fmla="*/ 146 h 178"/>
              <a:gd name="T20" fmla="*/ 119 w 119"/>
              <a:gd name="T21" fmla="*/ 162 h 178"/>
              <a:gd name="T22" fmla="*/ 117 w 119"/>
              <a:gd name="T23" fmla="*/ 176 h 178"/>
              <a:gd name="T24" fmla="*/ 99 w 119"/>
              <a:gd name="T25" fmla="*/ 178 h 178"/>
              <a:gd name="T26" fmla="*/ 99 w 119"/>
              <a:gd name="T27" fmla="*/ 170 h 178"/>
              <a:gd name="T28" fmla="*/ 18 w 119"/>
              <a:gd name="T29" fmla="*/ 170 h 178"/>
              <a:gd name="T30" fmla="*/ 18 w 119"/>
              <a:gd name="T31" fmla="*/ 146 h 178"/>
              <a:gd name="T32" fmla="*/ 10 w 119"/>
              <a:gd name="T33" fmla="*/ 138 h 178"/>
              <a:gd name="T34" fmla="*/ 0 w 119"/>
              <a:gd name="T35" fmla="*/ 132 h 178"/>
              <a:gd name="T36" fmla="*/ 2 w 119"/>
              <a:gd name="T37" fmla="*/ 114 h 178"/>
              <a:gd name="T38" fmla="*/ 22 w 119"/>
              <a:gd name="T39" fmla="*/ 96 h 178"/>
              <a:gd name="T40" fmla="*/ 32 w 119"/>
              <a:gd name="T41" fmla="*/ 96 h 178"/>
              <a:gd name="T42" fmla="*/ 43 w 119"/>
              <a:gd name="T43" fmla="*/ 104 h 178"/>
              <a:gd name="T44" fmla="*/ 83 w 119"/>
              <a:gd name="T45" fmla="*/ 28 h 178"/>
              <a:gd name="T46" fmla="*/ 93 w 119"/>
              <a:gd name="T47" fmla="*/ 26 h 178"/>
              <a:gd name="T48" fmla="*/ 91 w 119"/>
              <a:gd name="T49" fmla="*/ 12 h 178"/>
              <a:gd name="T50" fmla="*/ 91 w 119"/>
              <a:gd name="T5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78">
                <a:moveTo>
                  <a:pt x="91" y="0"/>
                </a:moveTo>
                <a:lnTo>
                  <a:pt x="99" y="12"/>
                </a:lnTo>
                <a:lnTo>
                  <a:pt x="101" y="36"/>
                </a:lnTo>
                <a:lnTo>
                  <a:pt x="107" y="46"/>
                </a:lnTo>
                <a:lnTo>
                  <a:pt x="87" y="46"/>
                </a:lnTo>
                <a:lnTo>
                  <a:pt x="85" y="56"/>
                </a:lnTo>
                <a:lnTo>
                  <a:pt x="115" y="88"/>
                </a:lnTo>
                <a:lnTo>
                  <a:pt x="95" y="104"/>
                </a:lnTo>
                <a:lnTo>
                  <a:pt x="95" y="120"/>
                </a:lnTo>
                <a:lnTo>
                  <a:pt x="105" y="146"/>
                </a:lnTo>
                <a:lnTo>
                  <a:pt x="119" y="162"/>
                </a:lnTo>
                <a:lnTo>
                  <a:pt x="117" y="176"/>
                </a:lnTo>
                <a:lnTo>
                  <a:pt x="99" y="178"/>
                </a:lnTo>
                <a:lnTo>
                  <a:pt x="99" y="170"/>
                </a:lnTo>
                <a:lnTo>
                  <a:pt x="18" y="170"/>
                </a:lnTo>
                <a:lnTo>
                  <a:pt x="18" y="146"/>
                </a:lnTo>
                <a:lnTo>
                  <a:pt x="10" y="138"/>
                </a:lnTo>
                <a:lnTo>
                  <a:pt x="0" y="132"/>
                </a:lnTo>
                <a:lnTo>
                  <a:pt x="2" y="114"/>
                </a:lnTo>
                <a:lnTo>
                  <a:pt x="22" y="96"/>
                </a:lnTo>
                <a:lnTo>
                  <a:pt x="32" y="96"/>
                </a:lnTo>
                <a:lnTo>
                  <a:pt x="43" y="104"/>
                </a:lnTo>
                <a:lnTo>
                  <a:pt x="83" y="28"/>
                </a:lnTo>
                <a:lnTo>
                  <a:pt x="93" y="26"/>
                </a:lnTo>
                <a:lnTo>
                  <a:pt x="91" y="12"/>
                </a:lnTo>
                <a:lnTo>
                  <a:pt x="91"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7" name="Freeform 150">
            <a:extLst>
              <a:ext uri="{FF2B5EF4-FFF2-40B4-BE49-F238E27FC236}">
                <a16:creationId xmlns:a16="http://schemas.microsoft.com/office/drawing/2014/main" id="{3C8F2B86-7299-436D-BC3D-70F0A3870DA9}"/>
              </a:ext>
            </a:extLst>
          </p:cNvPr>
          <p:cNvSpPr>
            <a:spLocks/>
          </p:cNvSpPr>
          <p:nvPr/>
        </p:nvSpPr>
        <p:spPr bwMode="gray">
          <a:xfrm>
            <a:off x="5878921" y="4386681"/>
            <a:ext cx="357343" cy="288159"/>
          </a:xfrm>
          <a:custGeom>
            <a:avLst/>
            <a:gdLst>
              <a:gd name="T0" fmla="*/ 94 w 187"/>
              <a:gd name="T1" fmla="*/ 146 h 150"/>
              <a:gd name="T2" fmla="*/ 64 w 187"/>
              <a:gd name="T3" fmla="*/ 150 h 150"/>
              <a:gd name="T4" fmla="*/ 44 w 187"/>
              <a:gd name="T5" fmla="*/ 148 h 150"/>
              <a:gd name="T6" fmla="*/ 46 w 187"/>
              <a:gd name="T7" fmla="*/ 132 h 150"/>
              <a:gd name="T8" fmla="*/ 22 w 187"/>
              <a:gd name="T9" fmla="*/ 118 h 150"/>
              <a:gd name="T10" fmla="*/ 2 w 187"/>
              <a:gd name="T11" fmla="*/ 116 h 150"/>
              <a:gd name="T12" fmla="*/ 0 w 187"/>
              <a:gd name="T13" fmla="*/ 78 h 150"/>
              <a:gd name="T14" fmla="*/ 22 w 187"/>
              <a:gd name="T15" fmla="*/ 52 h 150"/>
              <a:gd name="T16" fmla="*/ 10 w 187"/>
              <a:gd name="T17" fmla="*/ 42 h 150"/>
              <a:gd name="T18" fmla="*/ 12 w 187"/>
              <a:gd name="T19" fmla="*/ 34 h 150"/>
              <a:gd name="T20" fmla="*/ 24 w 187"/>
              <a:gd name="T21" fmla="*/ 2 h 150"/>
              <a:gd name="T22" fmla="*/ 54 w 187"/>
              <a:gd name="T23" fmla="*/ 2 h 150"/>
              <a:gd name="T24" fmla="*/ 70 w 187"/>
              <a:gd name="T25" fmla="*/ 14 h 150"/>
              <a:gd name="T26" fmla="*/ 80 w 187"/>
              <a:gd name="T27" fmla="*/ 8 h 150"/>
              <a:gd name="T28" fmla="*/ 108 w 187"/>
              <a:gd name="T29" fmla="*/ 18 h 150"/>
              <a:gd name="T30" fmla="*/ 114 w 187"/>
              <a:gd name="T31" fmla="*/ 10 h 150"/>
              <a:gd name="T32" fmla="*/ 149 w 187"/>
              <a:gd name="T33" fmla="*/ 14 h 150"/>
              <a:gd name="T34" fmla="*/ 171 w 187"/>
              <a:gd name="T35" fmla="*/ 0 h 150"/>
              <a:gd name="T36" fmla="*/ 185 w 187"/>
              <a:gd name="T37" fmla="*/ 14 h 150"/>
              <a:gd name="T38" fmla="*/ 187 w 187"/>
              <a:gd name="T39" fmla="*/ 40 h 150"/>
              <a:gd name="T40" fmla="*/ 177 w 187"/>
              <a:gd name="T41" fmla="*/ 42 h 150"/>
              <a:gd name="T42" fmla="*/ 137 w 187"/>
              <a:gd name="T43" fmla="*/ 118 h 150"/>
              <a:gd name="T44" fmla="*/ 126 w 187"/>
              <a:gd name="T45" fmla="*/ 110 h 150"/>
              <a:gd name="T46" fmla="*/ 116 w 187"/>
              <a:gd name="T47" fmla="*/ 110 h 150"/>
              <a:gd name="T48" fmla="*/ 96 w 187"/>
              <a:gd name="T49" fmla="*/ 128 h 150"/>
              <a:gd name="T50" fmla="*/ 94 w 187"/>
              <a:gd name="T51"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50">
                <a:moveTo>
                  <a:pt x="94" y="146"/>
                </a:moveTo>
                <a:lnTo>
                  <a:pt x="64" y="150"/>
                </a:lnTo>
                <a:lnTo>
                  <a:pt x="44" y="148"/>
                </a:lnTo>
                <a:lnTo>
                  <a:pt x="46" y="132"/>
                </a:lnTo>
                <a:lnTo>
                  <a:pt x="22" y="118"/>
                </a:lnTo>
                <a:lnTo>
                  <a:pt x="2" y="116"/>
                </a:lnTo>
                <a:lnTo>
                  <a:pt x="0" y="78"/>
                </a:lnTo>
                <a:lnTo>
                  <a:pt x="22" y="52"/>
                </a:lnTo>
                <a:lnTo>
                  <a:pt x="10" y="42"/>
                </a:lnTo>
                <a:lnTo>
                  <a:pt x="12" y="34"/>
                </a:lnTo>
                <a:lnTo>
                  <a:pt x="24" y="2"/>
                </a:lnTo>
                <a:lnTo>
                  <a:pt x="54" y="2"/>
                </a:lnTo>
                <a:lnTo>
                  <a:pt x="70" y="14"/>
                </a:lnTo>
                <a:lnTo>
                  <a:pt x="80" y="8"/>
                </a:lnTo>
                <a:lnTo>
                  <a:pt x="108" y="18"/>
                </a:lnTo>
                <a:lnTo>
                  <a:pt x="114" y="10"/>
                </a:lnTo>
                <a:lnTo>
                  <a:pt x="149" y="14"/>
                </a:lnTo>
                <a:lnTo>
                  <a:pt x="171" y="0"/>
                </a:lnTo>
                <a:lnTo>
                  <a:pt x="185" y="14"/>
                </a:lnTo>
                <a:lnTo>
                  <a:pt x="187" y="40"/>
                </a:lnTo>
                <a:lnTo>
                  <a:pt x="177" y="42"/>
                </a:lnTo>
                <a:lnTo>
                  <a:pt x="137" y="118"/>
                </a:lnTo>
                <a:lnTo>
                  <a:pt x="126" y="110"/>
                </a:lnTo>
                <a:lnTo>
                  <a:pt x="116" y="110"/>
                </a:lnTo>
                <a:lnTo>
                  <a:pt x="96" y="128"/>
                </a:lnTo>
                <a:lnTo>
                  <a:pt x="94" y="1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8" name="Freeform 151">
            <a:extLst>
              <a:ext uri="{FF2B5EF4-FFF2-40B4-BE49-F238E27FC236}">
                <a16:creationId xmlns:a16="http://schemas.microsoft.com/office/drawing/2014/main" id="{D1E831C4-3922-4B24-9138-E07AAAB7800B}"/>
              </a:ext>
            </a:extLst>
          </p:cNvPr>
          <p:cNvSpPr>
            <a:spLocks/>
          </p:cNvSpPr>
          <p:nvPr/>
        </p:nvSpPr>
        <p:spPr bwMode="gray">
          <a:xfrm>
            <a:off x="5817770" y="4432787"/>
            <a:ext cx="103190" cy="184422"/>
          </a:xfrm>
          <a:custGeom>
            <a:avLst/>
            <a:gdLst>
              <a:gd name="T0" fmla="*/ 20 w 54"/>
              <a:gd name="T1" fmla="*/ 2 h 96"/>
              <a:gd name="T2" fmla="*/ 34 w 54"/>
              <a:gd name="T3" fmla="*/ 0 h 96"/>
              <a:gd name="T4" fmla="*/ 44 w 54"/>
              <a:gd name="T5" fmla="*/ 10 h 96"/>
              <a:gd name="T6" fmla="*/ 42 w 54"/>
              <a:gd name="T7" fmla="*/ 18 h 96"/>
              <a:gd name="T8" fmla="*/ 54 w 54"/>
              <a:gd name="T9" fmla="*/ 28 h 96"/>
              <a:gd name="T10" fmla="*/ 32 w 54"/>
              <a:gd name="T11" fmla="*/ 54 h 96"/>
              <a:gd name="T12" fmla="*/ 34 w 54"/>
              <a:gd name="T13" fmla="*/ 92 h 96"/>
              <a:gd name="T14" fmla="*/ 12 w 54"/>
              <a:gd name="T15" fmla="*/ 96 h 96"/>
              <a:gd name="T16" fmla="*/ 12 w 54"/>
              <a:gd name="T17" fmla="*/ 48 h 96"/>
              <a:gd name="T18" fmla="*/ 0 w 54"/>
              <a:gd name="T19" fmla="*/ 32 h 96"/>
              <a:gd name="T20" fmla="*/ 4 w 54"/>
              <a:gd name="T21" fmla="*/ 20 h 96"/>
              <a:gd name="T22" fmla="*/ 20 w 54"/>
              <a:gd name="T23" fmla="*/ 16 h 96"/>
              <a:gd name="T24" fmla="*/ 20 w 54"/>
              <a:gd name="T25"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96">
                <a:moveTo>
                  <a:pt x="20" y="2"/>
                </a:moveTo>
                <a:lnTo>
                  <a:pt x="34" y="0"/>
                </a:lnTo>
                <a:lnTo>
                  <a:pt x="44" y="10"/>
                </a:lnTo>
                <a:lnTo>
                  <a:pt x="42" y="18"/>
                </a:lnTo>
                <a:lnTo>
                  <a:pt x="54" y="28"/>
                </a:lnTo>
                <a:lnTo>
                  <a:pt x="32" y="54"/>
                </a:lnTo>
                <a:lnTo>
                  <a:pt x="34" y="92"/>
                </a:lnTo>
                <a:lnTo>
                  <a:pt x="12" y="96"/>
                </a:lnTo>
                <a:lnTo>
                  <a:pt x="12" y="48"/>
                </a:lnTo>
                <a:lnTo>
                  <a:pt x="0" y="32"/>
                </a:lnTo>
                <a:lnTo>
                  <a:pt x="4" y="20"/>
                </a:lnTo>
                <a:lnTo>
                  <a:pt x="20" y="16"/>
                </a:lnTo>
                <a:lnTo>
                  <a:pt x="2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59" name="Freeform 152">
            <a:extLst>
              <a:ext uri="{FF2B5EF4-FFF2-40B4-BE49-F238E27FC236}">
                <a16:creationId xmlns:a16="http://schemas.microsoft.com/office/drawing/2014/main" id="{28D3DDDF-32C7-414D-850A-5A8E0A78C993}"/>
              </a:ext>
            </a:extLst>
          </p:cNvPr>
          <p:cNvSpPr>
            <a:spLocks/>
          </p:cNvSpPr>
          <p:nvPr/>
        </p:nvSpPr>
        <p:spPr bwMode="gray">
          <a:xfrm>
            <a:off x="5783375" y="4471208"/>
            <a:ext cx="57328" cy="153684"/>
          </a:xfrm>
          <a:custGeom>
            <a:avLst/>
            <a:gdLst>
              <a:gd name="T0" fmla="*/ 30 w 30"/>
              <a:gd name="T1" fmla="*/ 76 h 80"/>
              <a:gd name="T2" fmla="*/ 16 w 30"/>
              <a:gd name="T3" fmla="*/ 80 h 80"/>
              <a:gd name="T4" fmla="*/ 12 w 30"/>
              <a:gd name="T5" fmla="*/ 48 h 80"/>
              <a:gd name="T6" fmla="*/ 8 w 30"/>
              <a:gd name="T7" fmla="*/ 34 h 80"/>
              <a:gd name="T8" fmla="*/ 12 w 30"/>
              <a:gd name="T9" fmla="*/ 18 h 80"/>
              <a:gd name="T10" fmla="*/ 0 w 30"/>
              <a:gd name="T11" fmla="*/ 0 h 80"/>
              <a:gd name="T12" fmla="*/ 22 w 30"/>
              <a:gd name="T13" fmla="*/ 0 h 80"/>
              <a:gd name="T14" fmla="*/ 18 w 30"/>
              <a:gd name="T15" fmla="*/ 12 h 80"/>
              <a:gd name="T16" fmla="*/ 30 w 30"/>
              <a:gd name="T17" fmla="*/ 28 h 80"/>
              <a:gd name="T18" fmla="*/ 30 w 30"/>
              <a:gd name="T19"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80">
                <a:moveTo>
                  <a:pt x="30" y="76"/>
                </a:moveTo>
                <a:lnTo>
                  <a:pt x="16" y="80"/>
                </a:lnTo>
                <a:lnTo>
                  <a:pt x="12" y="48"/>
                </a:lnTo>
                <a:lnTo>
                  <a:pt x="8" y="34"/>
                </a:lnTo>
                <a:lnTo>
                  <a:pt x="12" y="18"/>
                </a:lnTo>
                <a:lnTo>
                  <a:pt x="0" y="0"/>
                </a:lnTo>
                <a:lnTo>
                  <a:pt x="22" y="0"/>
                </a:lnTo>
                <a:lnTo>
                  <a:pt x="18" y="12"/>
                </a:lnTo>
                <a:lnTo>
                  <a:pt x="30" y="28"/>
                </a:lnTo>
                <a:lnTo>
                  <a:pt x="30" y="7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0" name="Freeform 153">
            <a:extLst>
              <a:ext uri="{FF2B5EF4-FFF2-40B4-BE49-F238E27FC236}">
                <a16:creationId xmlns:a16="http://schemas.microsoft.com/office/drawing/2014/main" id="{A2C7CE92-0297-4EE3-96D8-1DC0CA1873E3}"/>
              </a:ext>
            </a:extLst>
          </p:cNvPr>
          <p:cNvSpPr>
            <a:spLocks/>
          </p:cNvSpPr>
          <p:nvPr/>
        </p:nvSpPr>
        <p:spPr bwMode="gray">
          <a:xfrm>
            <a:off x="5427941" y="4040890"/>
            <a:ext cx="493018" cy="453371"/>
          </a:xfrm>
          <a:custGeom>
            <a:avLst/>
            <a:gdLst>
              <a:gd name="T0" fmla="*/ 120 w 258"/>
              <a:gd name="T1" fmla="*/ 0 h 236"/>
              <a:gd name="T2" fmla="*/ 210 w 258"/>
              <a:gd name="T3" fmla="*/ 60 h 236"/>
              <a:gd name="T4" fmla="*/ 224 w 258"/>
              <a:gd name="T5" fmla="*/ 74 h 236"/>
              <a:gd name="T6" fmla="*/ 244 w 258"/>
              <a:gd name="T7" fmla="*/ 82 h 236"/>
              <a:gd name="T8" fmla="*/ 242 w 258"/>
              <a:gd name="T9" fmla="*/ 98 h 236"/>
              <a:gd name="T10" fmla="*/ 258 w 258"/>
              <a:gd name="T11" fmla="*/ 96 h 236"/>
              <a:gd name="T12" fmla="*/ 258 w 258"/>
              <a:gd name="T13" fmla="*/ 138 h 236"/>
              <a:gd name="T14" fmla="*/ 246 w 258"/>
              <a:gd name="T15" fmla="*/ 156 h 236"/>
              <a:gd name="T16" fmla="*/ 212 w 258"/>
              <a:gd name="T17" fmla="*/ 162 h 236"/>
              <a:gd name="T18" fmla="*/ 198 w 258"/>
              <a:gd name="T19" fmla="*/ 162 h 236"/>
              <a:gd name="T20" fmla="*/ 178 w 258"/>
              <a:gd name="T21" fmla="*/ 162 h 236"/>
              <a:gd name="T22" fmla="*/ 154 w 258"/>
              <a:gd name="T23" fmla="*/ 172 h 236"/>
              <a:gd name="T24" fmla="*/ 136 w 258"/>
              <a:gd name="T25" fmla="*/ 190 h 236"/>
              <a:gd name="T26" fmla="*/ 128 w 258"/>
              <a:gd name="T27" fmla="*/ 186 h 236"/>
              <a:gd name="T28" fmla="*/ 118 w 258"/>
              <a:gd name="T29" fmla="*/ 210 h 236"/>
              <a:gd name="T30" fmla="*/ 108 w 258"/>
              <a:gd name="T31" fmla="*/ 212 h 236"/>
              <a:gd name="T32" fmla="*/ 104 w 258"/>
              <a:gd name="T33" fmla="*/ 234 h 236"/>
              <a:gd name="T34" fmla="*/ 64 w 258"/>
              <a:gd name="T35" fmla="*/ 236 h 236"/>
              <a:gd name="T36" fmla="*/ 56 w 258"/>
              <a:gd name="T37" fmla="*/ 218 h 236"/>
              <a:gd name="T38" fmla="*/ 50 w 258"/>
              <a:gd name="T39" fmla="*/ 204 h 236"/>
              <a:gd name="T40" fmla="*/ 24 w 258"/>
              <a:gd name="T41" fmla="*/ 210 h 236"/>
              <a:gd name="T42" fmla="*/ 12 w 258"/>
              <a:gd name="T43" fmla="*/ 206 h 236"/>
              <a:gd name="T44" fmla="*/ 12 w 258"/>
              <a:gd name="T45" fmla="*/ 204 h 236"/>
              <a:gd name="T46" fmla="*/ 12 w 258"/>
              <a:gd name="T47" fmla="*/ 200 h 236"/>
              <a:gd name="T48" fmla="*/ 10 w 258"/>
              <a:gd name="T49" fmla="*/ 192 h 236"/>
              <a:gd name="T50" fmla="*/ 4 w 258"/>
              <a:gd name="T51" fmla="*/ 184 h 236"/>
              <a:gd name="T52" fmla="*/ 2 w 258"/>
              <a:gd name="T53" fmla="*/ 172 h 236"/>
              <a:gd name="T54" fmla="*/ 0 w 258"/>
              <a:gd name="T55" fmla="*/ 166 h 236"/>
              <a:gd name="T56" fmla="*/ 6 w 258"/>
              <a:gd name="T57" fmla="*/ 152 h 236"/>
              <a:gd name="T58" fmla="*/ 106 w 258"/>
              <a:gd name="T59" fmla="*/ 154 h 236"/>
              <a:gd name="T60" fmla="*/ 108 w 258"/>
              <a:gd name="T61" fmla="*/ 144 h 236"/>
              <a:gd name="T62" fmla="*/ 102 w 258"/>
              <a:gd name="T63" fmla="*/ 136 h 236"/>
              <a:gd name="T64" fmla="*/ 90 w 258"/>
              <a:gd name="T65" fmla="*/ 0 h 236"/>
              <a:gd name="T66" fmla="*/ 120 w 258"/>
              <a:gd name="T6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36">
                <a:moveTo>
                  <a:pt x="120" y="0"/>
                </a:moveTo>
                <a:lnTo>
                  <a:pt x="210" y="60"/>
                </a:lnTo>
                <a:lnTo>
                  <a:pt x="224" y="74"/>
                </a:lnTo>
                <a:lnTo>
                  <a:pt x="244" y="82"/>
                </a:lnTo>
                <a:lnTo>
                  <a:pt x="242" y="98"/>
                </a:lnTo>
                <a:lnTo>
                  <a:pt x="258" y="96"/>
                </a:lnTo>
                <a:lnTo>
                  <a:pt x="258" y="138"/>
                </a:lnTo>
                <a:lnTo>
                  <a:pt x="246" y="156"/>
                </a:lnTo>
                <a:lnTo>
                  <a:pt x="212" y="162"/>
                </a:lnTo>
                <a:lnTo>
                  <a:pt x="198" y="162"/>
                </a:lnTo>
                <a:lnTo>
                  <a:pt x="178" y="162"/>
                </a:lnTo>
                <a:lnTo>
                  <a:pt x="154" y="172"/>
                </a:lnTo>
                <a:lnTo>
                  <a:pt x="136" y="190"/>
                </a:lnTo>
                <a:lnTo>
                  <a:pt x="128" y="186"/>
                </a:lnTo>
                <a:lnTo>
                  <a:pt x="118" y="210"/>
                </a:lnTo>
                <a:lnTo>
                  <a:pt x="108" y="212"/>
                </a:lnTo>
                <a:lnTo>
                  <a:pt x="104" y="234"/>
                </a:lnTo>
                <a:lnTo>
                  <a:pt x="64" y="236"/>
                </a:lnTo>
                <a:lnTo>
                  <a:pt x="56" y="218"/>
                </a:lnTo>
                <a:lnTo>
                  <a:pt x="50" y="204"/>
                </a:lnTo>
                <a:lnTo>
                  <a:pt x="24" y="210"/>
                </a:lnTo>
                <a:lnTo>
                  <a:pt x="12" y="206"/>
                </a:lnTo>
                <a:lnTo>
                  <a:pt x="12" y="204"/>
                </a:lnTo>
                <a:lnTo>
                  <a:pt x="12" y="200"/>
                </a:lnTo>
                <a:lnTo>
                  <a:pt x="10" y="192"/>
                </a:lnTo>
                <a:lnTo>
                  <a:pt x="4" y="184"/>
                </a:lnTo>
                <a:lnTo>
                  <a:pt x="2" y="172"/>
                </a:lnTo>
                <a:lnTo>
                  <a:pt x="0" y="166"/>
                </a:lnTo>
                <a:lnTo>
                  <a:pt x="6" y="152"/>
                </a:lnTo>
                <a:lnTo>
                  <a:pt x="106" y="154"/>
                </a:lnTo>
                <a:lnTo>
                  <a:pt x="108" y="144"/>
                </a:lnTo>
                <a:lnTo>
                  <a:pt x="102" y="136"/>
                </a:lnTo>
                <a:lnTo>
                  <a:pt x="90" y="0"/>
                </a:lnTo>
                <a:lnTo>
                  <a:pt x="12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1" name="Freeform 154">
            <a:extLst>
              <a:ext uri="{FF2B5EF4-FFF2-40B4-BE49-F238E27FC236}">
                <a16:creationId xmlns:a16="http://schemas.microsoft.com/office/drawing/2014/main" id="{8988295B-46A9-42AC-B564-FCE9BF553CF4}"/>
              </a:ext>
            </a:extLst>
          </p:cNvPr>
          <p:cNvSpPr>
            <a:spLocks/>
          </p:cNvSpPr>
          <p:nvPr/>
        </p:nvSpPr>
        <p:spPr bwMode="gray">
          <a:xfrm>
            <a:off x="5626679" y="4352102"/>
            <a:ext cx="229310" cy="165212"/>
          </a:xfrm>
          <a:custGeom>
            <a:avLst/>
            <a:gdLst>
              <a:gd name="T0" fmla="*/ 44 w 120"/>
              <a:gd name="T1" fmla="*/ 62 h 86"/>
              <a:gd name="T2" fmla="*/ 44 w 120"/>
              <a:gd name="T3" fmla="*/ 84 h 86"/>
              <a:gd name="T4" fmla="*/ 30 w 120"/>
              <a:gd name="T5" fmla="*/ 78 h 86"/>
              <a:gd name="T6" fmla="*/ 20 w 120"/>
              <a:gd name="T7" fmla="*/ 86 h 86"/>
              <a:gd name="T8" fmla="*/ 0 w 120"/>
              <a:gd name="T9" fmla="*/ 72 h 86"/>
              <a:gd name="T10" fmla="*/ 4 w 120"/>
              <a:gd name="T11" fmla="*/ 50 h 86"/>
              <a:gd name="T12" fmla="*/ 14 w 120"/>
              <a:gd name="T13" fmla="*/ 48 h 86"/>
              <a:gd name="T14" fmla="*/ 24 w 120"/>
              <a:gd name="T15" fmla="*/ 24 h 86"/>
              <a:gd name="T16" fmla="*/ 32 w 120"/>
              <a:gd name="T17" fmla="*/ 28 h 86"/>
              <a:gd name="T18" fmla="*/ 50 w 120"/>
              <a:gd name="T19" fmla="*/ 10 h 86"/>
              <a:gd name="T20" fmla="*/ 74 w 120"/>
              <a:gd name="T21" fmla="*/ 0 h 86"/>
              <a:gd name="T22" fmla="*/ 94 w 120"/>
              <a:gd name="T23" fmla="*/ 0 h 86"/>
              <a:gd name="T24" fmla="*/ 90 w 120"/>
              <a:gd name="T25" fmla="*/ 8 h 86"/>
              <a:gd name="T26" fmla="*/ 92 w 120"/>
              <a:gd name="T27" fmla="*/ 14 h 86"/>
              <a:gd name="T28" fmla="*/ 104 w 120"/>
              <a:gd name="T29" fmla="*/ 28 h 86"/>
              <a:gd name="T30" fmla="*/ 102 w 120"/>
              <a:gd name="T31" fmla="*/ 34 h 86"/>
              <a:gd name="T32" fmla="*/ 120 w 120"/>
              <a:gd name="T33" fmla="*/ 44 h 86"/>
              <a:gd name="T34" fmla="*/ 120 w 120"/>
              <a:gd name="T35" fmla="*/ 58 h 86"/>
              <a:gd name="T36" fmla="*/ 104 w 120"/>
              <a:gd name="T37" fmla="*/ 62 h 86"/>
              <a:gd name="T38" fmla="*/ 82 w 120"/>
              <a:gd name="T39" fmla="*/ 62 h 86"/>
              <a:gd name="T40" fmla="*/ 44 w 120"/>
              <a:gd name="T4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86">
                <a:moveTo>
                  <a:pt x="44" y="62"/>
                </a:moveTo>
                <a:lnTo>
                  <a:pt x="44" y="84"/>
                </a:lnTo>
                <a:lnTo>
                  <a:pt x="30" y="78"/>
                </a:lnTo>
                <a:lnTo>
                  <a:pt x="20" y="86"/>
                </a:lnTo>
                <a:lnTo>
                  <a:pt x="0" y="72"/>
                </a:lnTo>
                <a:lnTo>
                  <a:pt x="4" y="50"/>
                </a:lnTo>
                <a:lnTo>
                  <a:pt x="14" y="48"/>
                </a:lnTo>
                <a:lnTo>
                  <a:pt x="24" y="24"/>
                </a:lnTo>
                <a:lnTo>
                  <a:pt x="32" y="28"/>
                </a:lnTo>
                <a:lnTo>
                  <a:pt x="50" y="10"/>
                </a:lnTo>
                <a:lnTo>
                  <a:pt x="74" y="0"/>
                </a:lnTo>
                <a:lnTo>
                  <a:pt x="94" y="0"/>
                </a:lnTo>
                <a:lnTo>
                  <a:pt x="90" y="8"/>
                </a:lnTo>
                <a:lnTo>
                  <a:pt x="92" y="14"/>
                </a:lnTo>
                <a:lnTo>
                  <a:pt x="104" y="28"/>
                </a:lnTo>
                <a:lnTo>
                  <a:pt x="102" y="34"/>
                </a:lnTo>
                <a:lnTo>
                  <a:pt x="120" y="44"/>
                </a:lnTo>
                <a:lnTo>
                  <a:pt x="120" y="58"/>
                </a:lnTo>
                <a:lnTo>
                  <a:pt x="104" y="62"/>
                </a:lnTo>
                <a:lnTo>
                  <a:pt x="82" y="62"/>
                </a:lnTo>
                <a:lnTo>
                  <a:pt x="44" y="6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2" name="Freeform 155">
            <a:extLst>
              <a:ext uri="{FF2B5EF4-FFF2-40B4-BE49-F238E27FC236}">
                <a16:creationId xmlns:a16="http://schemas.microsoft.com/office/drawing/2014/main" id="{330C1619-F7DF-4984-AEEF-8FC30C87FA66}"/>
              </a:ext>
            </a:extLst>
          </p:cNvPr>
          <p:cNvSpPr>
            <a:spLocks/>
          </p:cNvSpPr>
          <p:nvPr/>
        </p:nvSpPr>
        <p:spPr bwMode="gray">
          <a:xfrm>
            <a:off x="5699293" y="4471208"/>
            <a:ext cx="114655" cy="192106"/>
          </a:xfrm>
          <a:custGeom>
            <a:avLst/>
            <a:gdLst>
              <a:gd name="T0" fmla="*/ 60 w 60"/>
              <a:gd name="T1" fmla="*/ 80 h 100"/>
              <a:gd name="T2" fmla="*/ 48 w 60"/>
              <a:gd name="T3" fmla="*/ 86 h 100"/>
              <a:gd name="T4" fmla="*/ 36 w 60"/>
              <a:gd name="T5" fmla="*/ 96 h 100"/>
              <a:gd name="T6" fmla="*/ 20 w 60"/>
              <a:gd name="T7" fmla="*/ 100 h 100"/>
              <a:gd name="T8" fmla="*/ 8 w 60"/>
              <a:gd name="T9" fmla="*/ 94 h 100"/>
              <a:gd name="T10" fmla="*/ 0 w 60"/>
              <a:gd name="T11" fmla="*/ 72 h 100"/>
              <a:gd name="T12" fmla="*/ 10 w 60"/>
              <a:gd name="T13" fmla="*/ 50 h 100"/>
              <a:gd name="T14" fmla="*/ 6 w 60"/>
              <a:gd name="T15" fmla="*/ 22 h 100"/>
              <a:gd name="T16" fmla="*/ 6 w 60"/>
              <a:gd name="T17" fmla="*/ 0 h 100"/>
              <a:gd name="T18" fmla="*/ 44 w 60"/>
              <a:gd name="T19" fmla="*/ 0 h 100"/>
              <a:gd name="T20" fmla="*/ 56 w 60"/>
              <a:gd name="T21" fmla="*/ 18 h 100"/>
              <a:gd name="T22" fmla="*/ 52 w 60"/>
              <a:gd name="T23" fmla="*/ 30 h 100"/>
              <a:gd name="T24" fmla="*/ 54 w 60"/>
              <a:gd name="T25" fmla="*/ 40 h 100"/>
              <a:gd name="T26" fmla="*/ 56 w 60"/>
              <a:gd name="T27" fmla="*/ 48 h 100"/>
              <a:gd name="T28" fmla="*/ 60 w 60"/>
              <a:gd name="T2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0">
                <a:moveTo>
                  <a:pt x="60" y="80"/>
                </a:moveTo>
                <a:lnTo>
                  <a:pt x="48" y="86"/>
                </a:lnTo>
                <a:lnTo>
                  <a:pt x="36" y="96"/>
                </a:lnTo>
                <a:lnTo>
                  <a:pt x="20" y="100"/>
                </a:lnTo>
                <a:lnTo>
                  <a:pt x="8" y="94"/>
                </a:lnTo>
                <a:lnTo>
                  <a:pt x="0" y="72"/>
                </a:lnTo>
                <a:lnTo>
                  <a:pt x="10" y="50"/>
                </a:lnTo>
                <a:lnTo>
                  <a:pt x="6" y="22"/>
                </a:lnTo>
                <a:lnTo>
                  <a:pt x="6" y="0"/>
                </a:lnTo>
                <a:lnTo>
                  <a:pt x="44" y="0"/>
                </a:lnTo>
                <a:lnTo>
                  <a:pt x="56" y="18"/>
                </a:lnTo>
                <a:lnTo>
                  <a:pt x="52" y="30"/>
                </a:lnTo>
                <a:lnTo>
                  <a:pt x="54" y="40"/>
                </a:lnTo>
                <a:lnTo>
                  <a:pt x="56" y="48"/>
                </a:lnTo>
                <a:lnTo>
                  <a:pt x="60" y="8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3" name="Freeform 156">
            <a:extLst>
              <a:ext uri="{FF2B5EF4-FFF2-40B4-BE49-F238E27FC236}">
                <a16:creationId xmlns:a16="http://schemas.microsoft.com/office/drawing/2014/main" id="{06F72D32-569D-4F87-89FE-CFF2083FB22B}"/>
              </a:ext>
            </a:extLst>
          </p:cNvPr>
          <p:cNvSpPr>
            <a:spLocks/>
          </p:cNvSpPr>
          <p:nvPr/>
        </p:nvSpPr>
        <p:spPr bwMode="gray">
          <a:xfrm>
            <a:off x="5538776" y="4490417"/>
            <a:ext cx="179627" cy="188265"/>
          </a:xfrm>
          <a:custGeom>
            <a:avLst/>
            <a:gdLst>
              <a:gd name="T0" fmla="*/ 92 w 94"/>
              <a:gd name="T1" fmla="*/ 84 h 98"/>
              <a:gd name="T2" fmla="*/ 50 w 94"/>
              <a:gd name="T3" fmla="*/ 84 h 98"/>
              <a:gd name="T4" fmla="*/ 24 w 94"/>
              <a:gd name="T5" fmla="*/ 94 h 98"/>
              <a:gd name="T6" fmla="*/ 12 w 94"/>
              <a:gd name="T7" fmla="*/ 98 h 98"/>
              <a:gd name="T8" fmla="*/ 16 w 94"/>
              <a:gd name="T9" fmla="*/ 78 h 98"/>
              <a:gd name="T10" fmla="*/ 14 w 94"/>
              <a:gd name="T11" fmla="*/ 72 h 98"/>
              <a:gd name="T12" fmla="*/ 8 w 94"/>
              <a:gd name="T13" fmla="*/ 68 h 98"/>
              <a:gd name="T14" fmla="*/ 0 w 94"/>
              <a:gd name="T15" fmla="*/ 66 h 98"/>
              <a:gd name="T16" fmla="*/ 0 w 94"/>
              <a:gd name="T17" fmla="*/ 56 h 98"/>
              <a:gd name="T18" fmla="*/ 0 w 94"/>
              <a:gd name="T19" fmla="*/ 48 h 98"/>
              <a:gd name="T20" fmla="*/ 6 w 94"/>
              <a:gd name="T21" fmla="*/ 44 h 98"/>
              <a:gd name="T22" fmla="*/ 4 w 94"/>
              <a:gd name="T23" fmla="*/ 34 h 98"/>
              <a:gd name="T24" fmla="*/ 10 w 94"/>
              <a:gd name="T25" fmla="*/ 32 h 98"/>
              <a:gd name="T26" fmla="*/ 8 w 94"/>
              <a:gd name="T27" fmla="*/ 18 h 98"/>
              <a:gd name="T28" fmla="*/ 4 w 94"/>
              <a:gd name="T29" fmla="*/ 10 h 98"/>
              <a:gd name="T30" fmla="*/ 6 w 94"/>
              <a:gd name="T31" fmla="*/ 2 h 98"/>
              <a:gd name="T32" fmla="*/ 46 w 94"/>
              <a:gd name="T33" fmla="*/ 0 h 98"/>
              <a:gd name="T34" fmla="*/ 66 w 94"/>
              <a:gd name="T35" fmla="*/ 14 h 98"/>
              <a:gd name="T36" fmla="*/ 76 w 94"/>
              <a:gd name="T37" fmla="*/ 6 h 98"/>
              <a:gd name="T38" fmla="*/ 90 w 94"/>
              <a:gd name="T39" fmla="*/ 12 h 98"/>
              <a:gd name="T40" fmla="*/ 94 w 94"/>
              <a:gd name="T41" fmla="*/ 40 h 98"/>
              <a:gd name="T42" fmla="*/ 84 w 94"/>
              <a:gd name="T43" fmla="*/ 62 h 98"/>
              <a:gd name="T44" fmla="*/ 92 w 94"/>
              <a:gd name="T45"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98">
                <a:moveTo>
                  <a:pt x="92" y="84"/>
                </a:moveTo>
                <a:lnTo>
                  <a:pt x="50" y="84"/>
                </a:lnTo>
                <a:lnTo>
                  <a:pt x="24" y="94"/>
                </a:lnTo>
                <a:lnTo>
                  <a:pt x="12" y="98"/>
                </a:lnTo>
                <a:lnTo>
                  <a:pt x="16" y="78"/>
                </a:lnTo>
                <a:lnTo>
                  <a:pt x="14" y="72"/>
                </a:lnTo>
                <a:lnTo>
                  <a:pt x="8" y="68"/>
                </a:lnTo>
                <a:lnTo>
                  <a:pt x="0" y="66"/>
                </a:lnTo>
                <a:lnTo>
                  <a:pt x="0" y="56"/>
                </a:lnTo>
                <a:lnTo>
                  <a:pt x="0" y="48"/>
                </a:lnTo>
                <a:lnTo>
                  <a:pt x="6" y="44"/>
                </a:lnTo>
                <a:lnTo>
                  <a:pt x="4" y="34"/>
                </a:lnTo>
                <a:lnTo>
                  <a:pt x="10" y="32"/>
                </a:lnTo>
                <a:lnTo>
                  <a:pt x="8" y="18"/>
                </a:lnTo>
                <a:lnTo>
                  <a:pt x="4" y="10"/>
                </a:lnTo>
                <a:lnTo>
                  <a:pt x="6" y="2"/>
                </a:lnTo>
                <a:lnTo>
                  <a:pt x="46" y="0"/>
                </a:lnTo>
                <a:lnTo>
                  <a:pt x="66" y="14"/>
                </a:lnTo>
                <a:lnTo>
                  <a:pt x="76" y="6"/>
                </a:lnTo>
                <a:lnTo>
                  <a:pt x="90" y="12"/>
                </a:lnTo>
                <a:lnTo>
                  <a:pt x="94" y="40"/>
                </a:lnTo>
                <a:lnTo>
                  <a:pt x="84" y="62"/>
                </a:lnTo>
                <a:lnTo>
                  <a:pt x="92" y="8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4" name="Freeform 157">
            <a:extLst>
              <a:ext uri="{FF2B5EF4-FFF2-40B4-BE49-F238E27FC236}">
                <a16:creationId xmlns:a16="http://schemas.microsoft.com/office/drawing/2014/main" id="{765E549D-7EFE-46A8-967D-E2413B47A008}"/>
              </a:ext>
            </a:extLst>
          </p:cNvPr>
          <p:cNvSpPr>
            <a:spLocks/>
          </p:cNvSpPr>
          <p:nvPr/>
        </p:nvSpPr>
        <p:spPr bwMode="gray">
          <a:xfrm>
            <a:off x="6085302" y="4740155"/>
            <a:ext cx="55417" cy="46106"/>
          </a:xfrm>
          <a:custGeom>
            <a:avLst/>
            <a:gdLst>
              <a:gd name="T0" fmla="*/ 4 w 29"/>
              <a:gd name="T1" fmla="*/ 0 h 24"/>
              <a:gd name="T2" fmla="*/ 29 w 29"/>
              <a:gd name="T3" fmla="*/ 0 h 24"/>
              <a:gd name="T4" fmla="*/ 26 w 29"/>
              <a:gd name="T5" fmla="*/ 22 h 24"/>
              <a:gd name="T6" fmla="*/ 2 w 29"/>
              <a:gd name="T7" fmla="*/ 24 h 24"/>
              <a:gd name="T8" fmla="*/ 0 w 29"/>
              <a:gd name="T9" fmla="*/ 10 h 24"/>
              <a:gd name="T10" fmla="*/ 4 w 29"/>
              <a:gd name="T11" fmla="*/ 0 h 24"/>
            </a:gdLst>
            <a:ahLst/>
            <a:cxnLst>
              <a:cxn ang="0">
                <a:pos x="T0" y="T1"/>
              </a:cxn>
              <a:cxn ang="0">
                <a:pos x="T2" y="T3"/>
              </a:cxn>
              <a:cxn ang="0">
                <a:pos x="T4" y="T5"/>
              </a:cxn>
              <a:cxn ang="0">
                <a:pos x="T6" y="T7"/>
              </a:cxn>
              <a:cxn ang="0">
                <a:pos x="T8" y="T9"/>
              </a:cxn>
              <a:cxn ang="0">
                <a:pos x="T10" y="T11"/>
              </a:cxn>
            </a:cxnLst>
            <a:rect l="0" t="0" r="r" b="b"/>
            <a:pathLst>
              <a:path w="29" h="24">
                <a:moveTo>
                  <a:pt x="4" y="0"/>
                </a:moveTo>
                <a:lnTo>
                  <a:pt x="29" y="0"/>
                </a:lnTo>
                <a:lnTo>
                  <a:pt x="26" y="22"/>
                </a:lnTo>
                <a:lnTo>
                  <a:pt x="2" y="24"/>
                </a:lnTo>
                <a:lnTo>
                  <a:pt x="0" y="10"/>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5" name="Freeform 158">
            <a:extLst>
              <a:ext uri="{FF2B5EF4-FFF2-40B4-BE49-F238E27FC236}">
                <a16:creationId xmlns:a16="http://schemas.microsoft.com/office/drawing/2014/main" id="{51FC3635-E051-4748-B9DE-C45CC594AEA4}"/>
              </a:ext>
            </a:extLst>
          </p:cNvPr>
          <p:cNvSpPr>
            <a:spLocks/>
          </p:cNvSpPr>
          <p:nvPr/>
        </p:nvSpPr>
        <p:spPr bwMode="gray">
          <a:xfrm>
            <a:off x="7107646" y="5178158"/>
            <a:ext cx="217845" cy="430318"/>
          </a:xfrm>
          <a:custGeom>
            <a:avLst/>
            <a:gdLst>
              <a:gd name="T0" fmla="*/ 22 w 114"/>
              <a:gd name="T1" fmla="*/ 70 h 224"/>
              <a:gd name="T2" fmla="*/ 46 w 114"/>
              <a:gd name="T3" fmla="*/ 60 h 224"/>
              <a:gd name="T4" fmla="*/ 70 w 114"/>
              <a:gd name="T5" fmla="*/ 44 h 224"/>
              <a:gd name="T6" fmla="*/ 78 w 114"/>
              <a:gd name="T7" fmla="*/ 30 h 224"/>
              <a:gd name="T8" fmla="*/ 86 w 114"/>
              <a:gd name="T9" fmla="*/ 26 h 224"/>
              <a:gd name="T10" fmla="*/ 94 w 114"/>
              <a:gd name="T11" fmla="*/ 10 h 224"/>
              <a:gd name="T12" fmla="*/ 96 w 114"/>
              <a:gd name="T13" fmla="*/ 0 h 224"/>
              <a:gd name="T14" fmla="*/ 108 w 114"/>
              <a:gd name="T15" fmla="*/ 20 h 224"/>
              <a:gd name="T16" fmla="*/ 112 w 114"/>
              <a:gd name="T17" fmla="*/ 40 h 224"/>
              <a:gd name="T18" fmla="*/ 114 w 114"/>
              <a:gd name="T19" fmla="*/ 52 h 224"/>
              <a:gd name="T20" fmla="*/ 114 w 114"/>
              <a:gd name="T21" fmla="*/ 64 h 224"/>
              <a:gd name="T22" fmla="*/ 102 w 114"/>
              <a:gd name="T23" fmla="*/ 66 h 224"/>
              <a:gd name="T24" fmla="*/ 102 w 114"/>
              <a:gd name="T25" fmla="*/ 82 h 224"/>
              <a:gd name="T26" fmla="*/ 82 w 114"/>
              <a:gd name="T27" fmla="*/ 150 h 224"/>
              <a:gd name="T28" fmla="*/ 74 w 114"/>
              <a:gd name="T29" fmla="*/ 182 h 224"/>
              <a:gd name="T30" fmla="*/ 62 w 114"/>
              <a:gd name="T31" fmla="*/ 214 h 224"/>
              <a:gd name="T32" fmla="*/ 40 w 114"/>
              <a:gd name="T33" fmla="*/ 224 h 224"/>
              <a:gd name="T34" fmla="*/ 18 w 114"/>
              <a:gd name="T35" fmla="*/ 222 h 224"/>
              <a:gd name="T36" fmla="*/ 8 w 114"/>
              <a:gd name="T37" fmla="*/ 202 h 224"/>
              <a:gd name="T38" fmla="*/ 6 w 114"/>
              <a:gd name="T39" fmla="*/ 182 h 224"/>
              <a:gd name="T40" fmla="*/ 0 w 114"/>
              <a:gd name="T41" fmla="*/ 164 h 224"/>
              <a:gd name="T42" fmla="*/ 16 w 114"/>
              <a:gd name="T43" fmla="*/ 142 h 224"/>
              <a:gd name="T44" fmla="*/ 20 w 114"/>
              <a:gd name="T45" fmla="*/ 122 h 224"/>
              <a:gd name="T46" fmla="*/ 16 w 114"/>
              <a:gd name="T47" fmla="*/ 106 h 224"/>
              <a:gd name="T48" fmla="*/ 10 w 114"/>
              <a:gd name="T49" fmla="*/ 90 h 224"/>
              <a:gd name="T50" fmla="*/ 18 w 114"/>
              <a:gd name="T51" fmla="*/ 80 h 224"/>
              <a:gd name="T52" fmla="*/ 22 w 114"/>
              <a:gd name="T53" fmla="*/ 7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224">
                <a:moveTo>
                  <a:pt x="22" y="70"/>
                </a:moveTo>
                <a:lnTo>
                  <a:pt x="46" y="60"/>
                </a:lnTo>
                <a:lnTo>
                  <a:pt x="70" y="44"/>
                </a:lnTo>
                <a:lnTo>
                  <a:pt x="78" y="30"/>
                </a:lnTo>
                <a:lnTo>
                  <a:pt x="86" y="26"/>
                </a:lnTo>
                <a:lnTo>
                  <a:pt x="94" y="10"/>
                </a:lnTo>
                <a:lnTo>
                  <a:pt x="96" y="0"/>
                </a:lnTo>
                <a:lnTo>
                  <a:pt x="108" y="20"/>
                </a:lnTo>
                <a:lnTo>
                  <a:pt x="112" y="40"/>
                </a:lnTo>
                <a:lnTo>
                  <a:pt x="114" y="52"/>
                </a:lnTo>
                <a:lnTo>
                  <a:pt x="114" y="64"/>
                </a:lnTo>
                <a:lnTo>
                  <a:pt x="102" y="66"/>
                </a:lnTo>
                <a:lnTo>
                  <a:pt x="102" y="82"/>
                </a:lnTo>
                <a:lnTo>
                  <a:pt x="82" y="150"/>
                </a:lnTo>
                <a:lnTo>
                  <a:pt x="74" y="182"/>
                </a:lnTo>
                <a:lnTo>
                  <a:pt x="62" y="214"/>
                </a:lnTo>
                <a:lnTo>
                  <a:pt x="40" y="224"/>
                </a:lnTo>
                <a:lnTo>
                  <a:pt x="18" y="222"/>
                </a:lnTo>
                <a:lnTo>
                  <a:pt x="8" y="202"/>
                </a:lnTo>
                <a:lnTo>
                  <a:pt x="6" y="182"/>
                </a:lnTo>
                <a:lnTo>
                  <a:pt x="0" y="164"/>
                </a:lnTo>
                <a:lnTo>
                  <a:pt x="16" y="142"/>
                </a:lnTo>
                <a:lnTo>
                  <a:pt x="20" y="122"/>
                </a:lnTo>
                <a:lnTo>
                  <a:pt x="16" y="106"/>
                </a:lnTo>
                <a:lnTo>
                  <a:pt x="10" y="90"/>
                </a:lnTo>
                <a:lnTo>
                  <a:pt x="18" y="80"/>
                </a:lnTo>
                <a:lnTo>
                  <a:pt x="22" y="7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6" name="Freeform 159">
            <a:extLst>
              <a:ext uri="{FF2B5EF4-FFF2-40B4-BE49-F238E27FC236}">
                <a16:creationId xmlns:a16="http://schemas.microsoft.com/office/drawing/2014/main" id="{3ABF0F2C-249D-4D11-82F8-9F33E8367543}"/>
              </a:ext>
            </a:extLst>
          </p:cNvPr>
          <p:cNvSpPr>
            <a:spLocks/>
          </p:cNvSpPr>
          <p:nvPr/>
        </p:nvSpPr>
        <p:spPr bwMode="gray">
          <a:xfrm>
            <a:off x="6301235" y="5497054"/>
            <a:ext cx="496841" cy="418791"/>
          </a:xfrm>
          <a:custGeom>
            <a:avLst/>
            <a:gdLst>
              <a:gd name="T0" fmla="*/ 0 w 260"/>
              <a:gd name="T1" fmla="*/ 108 h 218"/>
              <a:gd name="T2" fmla="*/ 2 w 260"/>
              <a:gd name="T3" fmla="*/ 104 h 218"/>
              <a:gd name="T4" fmla="*/ 6 w 260"/>
              <a:gd name="T5" fmla="*/ 102 h 218"/>
              <a:gd name="T6" fmla="*/ 8 w 260"/>
              <a:gd name="T7" fmla="*/ 102 h 218"/>
              <a:gd name="T8" fmla="*/ 14 w 260"/>
              <a:gd name="T9" fmla="*/ 110 h 218"/>
              <a:gd name="T10" fmla="*/ 22 w 260"/>
              <a:gd name="T11" fmla="*/ 114 h 218"/>
              <a:gd name="T12" fmla="*/ 38 w 260"/>
              <a:gd name="T13" fmla="*/ 114 h 218"/>
              <a:gd name="T14" fmla="*/ 54 w 260"/>
              <a:gd name="T15" fmla="*/ 104 h 218"/>
              <a:gd name="T16" fmla="*/ 54 w 260"/>
              <a:gd name="T17" fmla="*/ 46 h 218"/>
              <a:gd name="T18" fmla="*/ 66 w 260"/>
              <a:gd name="T19" fmla="*/ 58 h 218"/>
              <a:gd name="T20" fmla="*/ 66 w 260"/>
              <a:gd name="T21" fmla="*/ 78 h 218"/>
              <a:gd name="T22" fmla="*/ 82 w 260"/>
              <a:gd name="T23" fmla="*/ 78 h 218"/>
              <a:gd name="T24" fmla="*/ 96 w 260"/>
              <a:gd name="T25" fmla="*/ 66 h 218"/>
              <a:gd name="T26" fmla="*/ 100 w 260"/>
              <a:gd name="T27" fmla="*/ 54 h 218"/>
              <a:gd name="T28" fmla="*/ 110 w 260"/>
              <a:gd name="T29" fmla="*/ 54 h 218"/>
              <a:gd name="T30" fmla="*/ 120 w 260"/>
              <a:gd name="T31" fmla="*/ 62 h 218"/>
              <a:gd name="T32" fmla="*/ 140 w 260"/>
              <a:gd name="T33" fmla="*/ 60 h 218"/>
              <a:gd name="T34" fmla="*/ 148 w 260"/>
              <a:gd name="T35" fmla="*/ 46 h 218"/>
              <a:gd name="T36" fmla="*/ 186 w 260"/>
              <a:gd name="T37" fmla="*/ 6 h 218"/>
              <a:gd name="T38" fmla="*/ 196 w 260"/>
              <a:gd name="T39" fmla="*/ 6 h 218"/>
              <a:gd name="T40" fmla="*/ 198 w 260"/>
              <a:gd name="T41" fmla="*/ 0 h 218"/>
              <a:gd name="T42" fmla="*/ 228 w 260"/>
              <a:gd name="T43" fmla="*/ 2 h 218"/>
              <a:gd name="T44" fmla="*/ 236 w 260"/>
              <a:gd name="T45" fmla="*/ 8 h 218"/>
              <a:gd name="T46" fmla="*/ 241 w 260"/>
              <a:gd name="T47" fmla="*/ 31 h 218"/>
              <a:gd name="T48" fmla="*/ 241 w 260"/>
              <a:gd name="T49" fmla="*/ 55 h 218"/>
              <a:gd name="T50" fmla="*/ 217 w 260"/>
              <a:gd name="T51" fmla="*/ 69 h 218"/>
              <a:gd name="T52" fmla="*/ 227 w 260"/>
              <a:gd name="T53" fmla="*/ 93 h 218"/>
              <a:gd name="T54" fmla="*/ 260 w 260"/>
              <a:gd name="T55" fmla="*/ 80 h 218"/>
              <a:gd name="T56" fmla="*/ 254 w 260"/>
              <a:gd name="T57" fmla="*/ 90 h 218"/>
              <a:gd name="T58" fmla="*/ 254 w 260"/>
              <a:gd name="T59" fmla="*/ 104 h 218"/>
              <a:gd name="T60" fmla="*/ 246 w 260"/>
              <a:gd name="T61" fmla="*/ 110 h 218"/>
              <a:gd name="T62" fmla="*/ 230 w 260"/>
              <a:gd name="T63" fmla="*/ 130 h 218"/>
              <a:gd name="T64" fmla="*/ 224 w 260"/>
              <a:gd name="T65" fmla="*/ 142 h 218"/>
              <a:gd name="T66" fmla="*/ 210 w 260"/>
              <a:gd name="T67" fmla="*/ 160 h 218"/>
              <a:gd name="T68" fmla="*/ 188 w 260"/>
              <a:gd name="T69" fmla="*/ 176 h 218"/>
              <a:gd name="T70" fmla="*/ 164 w 260"/>
              <a:gd name="T71" fmla="*/ 198 h 218"/>
              <a:gd name="T72" fmla="*/ 142 w 260"/>
              <a:gd name="T73" fmla="*/ 202 h 218"/>
              <a:gd name="T74" fmla="*/ 128 w 260"/>
              <a:gd name="T75" fmla="*/ 208 h 218"/>
              <a:gd name="T76" fmla="*/ 110 w 260"/>
              <a:gd name="T77" fmla="*/ 206 h 218"/>
              <a:gd name="T78" fmla="*/ 88 w 260"/>
              <a:gd name="T79" fmla="*/ 206 h 218"/>
              <a:gd name="T80" fmla="*/ 70 w 260"/>
              <a:gd name="T81" fmla="*/ 212 h 218"/>
              <a:gd name="T82" fmla="*/ 50 w 260"/>
              <a:gd name="T83" fmla="*/ 218 h 218"/>
              <a:gd name="T84" fmla="*/ 34 w 260"/>
              <a:gd name="T85" fmla="*/ 210 h 218"/>
              <a:gd name="T86" fmla="*/ 28 w 260"/>
              <a:gd name="T87" fmla="*/ 198 h 218"/>
              <a:gd name="T88" fmla="*/ 20 w 260"/>
              <a:gd name="T89" fmla="*/ 184 h 218"/>
              <a:gd name="T90" fmla="*/ 30 w 260"/>
              <a:gd name="T91" fmla="*/ 172 h 218"/>
              <a:gd name="T92" fmla="*/ 22 w 260"/>
              <a:gd name="T93" fmla="*/ 158 h 218"/>
              <a:gd name="T94" fmla="*/ 12 w 260"/>
              <a:gd name="T95" fmla="*/ 144 h 218"/>
              <a:gd name="T96" fmla="*/ 6 w 260"/>
              <a:gd name="T97" fmla="*/ 122 h 218"/>
              <a:gd name="T98" fmla="*/ 0 w 260"/>
              <a:gd name="T99" fmla="*/ 1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18">
                <a:moveTo>
                  <a:pt x="0" y="108"/>
                </a:moveTo>
                <a:lnTo>
                  <a:pt x="2" y="104"/>
                </a:lnTo>
                <a:lnTo>
                  <a:pt x="6" y="102"/>
                </a:lnTo>
                <a:lnTo>
                  <a:pt x="8" y="102"/>
                </a:lnTo>
                <a:lnTo>
                  <a:pt x="14" y="110"/>
                </a:lnTo>
                <a:lnTo>
                  <a:pt x="22" y="114"/>
                </a:lnTo>
                <a:lnTo>
                  <a:pt x="38" y="114"/>
                </a:lnTo>
                <a:lnTo>
                  <a:pt x="54" y="104"/>
                </a:lnTo>
                <a:lnTo>
                  <a:pt x="54" y="46"/>
                </a:lnTo>
                <a:lnTo>
                  <a:pt x="66" y="58"/>
                </a:lnTo>
                <a:lnTo>
                  <a:pt x="66" y="78"/>
                </a:lnTo>
                <a:lnTo>
                  <a:pt x="82" y="78"/>
                </a:lnTo>
                <a:lnTo>
                  <a:pt x="96" y="66"/>
                </a:lnTo>
                <a:lnTo>
                  <a:pt x="100" y="54"/>
                </a:lnTo>
                <a:lnTo>
                  <a:pt x="110" y="54"/>
                </a:lnTo>
                <a:lnTo>
                  <a:pt x="120" y="62"/>
                </a:lnTo>
                <a:lnTo>
                  <a:pt x="140" y="60"/>
                </a:lnTo>
                <a:lnTo>
                  <a:pt x="148" y="46"/>
                </a:lnTo>
                <a:lnTo>
                  <a:pt x="186" y="6"/>
                </a:lnTo>
                <a:lnTo>
                  <a:pt x="196" y="6"/>
                </a:lnTo>
                <a:lnTo>
                  <a:pt x="198" y="0"/>
                </a:lnTo>
                <a:lnTo>
                  <a:pt x="228" y="2"/>
                </a:lnTo>
                <a:lnTo>
                  <a:pt x="236" y="8"/>
                </a:lnTo>
                <a:lnTo>
                  <a:pt x="241" y="31"/>
                </a:lnTo>
                <a:lnTo>
                  <a:pt x="241" y="55"/>
                </a:lnTo>
                <a:lnTo>
                  <a:pt x="217" y="69"/>
                </a:lnTo>
                <a:lnTo>
                  <a:pt x="227" y="93"/>
                </a:lnTo>
                <a:lnTo>
                  <a:pt x="260" y="80"/>
                </a:lnTo>
                <a:lnTo>
                  <a:pt x="254" y="90"/>
                </a:lnTo>
                <a:lnTo>
                  <a:pt x="254" y="104"/>
                </a:lnTo>
                <a:lnTo>
                  <a:pt x="246" y="110"/>
                </a:lnTo>
                <a:lnTo>
                  <a:pt x="230" y="130"/>
                </a:lnTo>
                <a:lnTo>
                  <a:pt x="224" y="142"/>
                </a:lnTo>
                <a:lnTo>
                  <a:pt x="210" y="160"/>
                </a:lnTo>
                <a:lnTo>
                  <a:pt x="188" y="176"/>
                </a:lnTo>
                <a:lnTo>
                  <a:pt x="164" y="198"/>
                </a:lnTo>
                <a:lnTo>
                  <a:pt x="142" y="202"/>
                </a:lnTo>
                <a:lnTo>
                  <a:pt x="128" y="208"/>
                </a:lnTo>
                <a:lnTo>
                  <a:pt x="110" y="206"/>
                </a:lnTo>
                <a:lnTo>
                  <a:pt x="88" y="206"/>
                </a:lnTo>
                <a:lnTo>
                  <a:pt x="70" y="212"/>
                </a:lnTo>
                <a:lnTo>
                  <a:pt x="50" y="218"/>
                </a:lnTo>
                <a:lnTo>
                  <a:pt x="34" y="210"/>
                </a:lnTo>
                <a:lnTo>
                  <a:pt x="28" y="198"/>
                </a:lnTo>
                <a:lnTo>
                  <a:pt x="20" y="184"/>
                </a:lnTo>
                <a:lnTo>
                  <a:pt x="30" y="172"/>
                </a:lnTo>
                <a:lnTo>
                  <a:pt x="22" y="158"/>
                </a:lnTo>
                <a:lnTo>
                  <a:pt x="12" y="144"/>
                </a:lnTo>
                <a:lnTo>
                  <a:pt x="6" y="122"/>
                </a:lnTo>
                <a:lnTo>
                  <a:pt x="0" y="108"/>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967" name="Freeform 160">
            <a:extLst>
              <a:ext uri="{FF2B5EF4-FFF2-40B4-BE49-F238E27FC236}">
                <a16:creationId xmlns:a16="http://schemas.microsoft.com/office/drawing/2014/main" id="{93A587C1-116A-4277-BE5C-D647CC3C6DA7}"/>
              </a:ext>
            </a:extLst>
          </p:cNvPr>
          <p:cNvSpPr>
            <a:spLocks/>
          </p:cNvSpPr>
          <p:nvPr/>
        </p:nvSpPr>
        <p:spPr bwMode="gray">
          <a:xfrm>
            <a:off x="6564942" y="5297264"/>
            <a:ext cx="229310" cy="203633"/>
          </a:xfrm>
          <a:custGeom>
            <a:avLst/>
            <a:gdLst>
              <a:gd name="T0" fmla="*/ 60 w 120"/>
              <a:gd name="T1" fmla="*/ 104 h 106"/>
              <a:gd name="T2" fmla="*/ 58 w 120"/>
              <a:gd name="T3" fmla="*/ 98 h 106"/>
              <a:gd name="T4" fmla="*/ 44 w 120"/>
              <a:gd name="T5" fmla="*/ 96 h 106"/>
              <a:gd name="T6" fmla="*/ 36 w 120"/>
              <a:gd name="T7" fmla="*/ 76 h 106"/>
              <a:gd name="T8" fmla="*/ 12 w 120"/>
              <a:gd name="T9" fmla="*/ 64 h 106"/>
              <a:gd name="T10" fmla="*/ 8 w 120"/>
              <a:gd name="T11" fmla="*/ 48 h 106"/>
              <a:gd name="T12" fmla="*/ 0 w 120"/>
              <a:gd name="T13" fmla="*/ 36 h 106"/>
              <a:gd name="T14" fmla="*/ 28 w 120"/>
              <a:gd name="T15" fmla="*/ 34 h 106"/>
              <a:gd name="T16" fmla="*/ 42 w 120"/>
              <a:gd name="T17" fmla="*/ 16 h 106"/>
              <a:gd name="T18" fmla="*/ 54 w 120"/>
              <a:gd name="T19" fmla="*/ 14 h 106"/>
              <a:gd name="T20" fmla="*/ 62 w 120"/>
              <a:gd name="T21" fmla="*/ 0 h 106"/>
              <a:gd name="T22" fmla="*/ 78 w 120"/>
              <a:gd name="T23" fmla="*/ 0 h 106"/>
              <a:gd name="T24" fmla="*/ 118 w 120"/>
              <a:gd name="T25" fmla="*/ 14 h 106"/>
              <a:gd name="T26" fmla="*/ 120 w 120"/>
              <a:gd name="T27" fmla="*/ 42 h 106"/>
              <a:gd name="T28" fmla="*/ 120 w 120"/>
              <a:gd name="T29" fmla="*/ 72 h 106"/>
              <a:gd name="T30" fmla="*/ 112 w 120"/>
              <a:gd name="T31" fmla="*/ 90 h 106"/>
              <a:gd name="T32" fmla="*/ 90 w 120"/>
              <a:gd name="T33" fmla="*/ 106 h 106"/>
              <a:gd name="T34" fmla="*/ 60 w 120"/>
              <a:gd name="T35" fmla="*/ 10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06">
                <a:moveTo>
                  <a:pt x="60" y="104"/>
                </a:moveTo>
                <a:lnTo>
                  <a:pt x="58" y="98"/>
                </a:lnTo>
                <a:lnTo>
                  <a:pt x="44" y="96"/>
                </a:lnTo>
                <a:lnTo>
                  <a:pt x="36" y="76"/>
                </a:lnTo>
                <a:lnTo>
                  <a:pt x="12" y="64"/>
                </a:lnTo>
                <a:lnTo>
                  <a:pt x="8" y="48"/>
                </a:lnTo>
                <a:lnTo>
                  <a:pt x="0" y="36"/>
                </a:lnTo>
                <a:lnTo>
                  <a:pt x="28" y="34"/>
                </a:lnTo>
                <a:lnTo>
                  <a:pt x="42" y="16"/>
                </a:lnTo>
                <a:lnTo>
                  <a:pt x="54" y="14"/>
                </a:lnTo>
                <a:lnTo>
                  <a:pt x="62" y="0"/>
                </a:lnTo>
                <a:lnTo>
                  <a:pt x="78" y="0"/>
                </a:lnTo>
                <a:lnTo>
                  <a:pt x="118" y="14"/>
                </a:lnTo>
                <a:lnTo>
                  <a:pt x="120" y="42"/>
                </a:lnTo>
                <a:lnTo>
                  <a:pt x="120" y="72"/>
                </a:lnTo>
                <a:lnTo>
                  <a:pt x="112" y="90"/>
                </a:lnTo>
                <a:lnTo>
                  <a:pt x="90" y="106"/>
                </a:lnTo>
                <a:lnTo>
                  <a:pt x="60" y="10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68" name="Freeform 161">
            <a:extLst>
              <a:ext uri="{FF2B5EF4-FFF2-40B4-BE49-F238E27FC236}">
                <a16:creationId xmlns:a16="http://schemas.microsoft.com/office/drawing/2014/main" id="{C7C29C65-876F-4664-B8B0-3C5C2AD4DABB}"/>
              </a:ext>
            </a:extLst>
          </p:cNvPr>
          <p:cNvSpPr>
            <a:spLocks/>
          </p:cNvSpPr>
          <p:nvPr/>
        </p:nvSpPr>
        <p:spPr bwMode="gray">
          <a:xfrm>
            <a:off x="6404424" y="5366422"/>
            <a:ext cx="275173" cy="280475"/>
          </a:xfrm>
          <a:custGeom>
            <a:avLst/>
            <a:gdLst>
              <a:gd name="T0" fmla="*/ 0 w 144"/>
              <a:gd name="T1" fmla="*/ 114 h 146"/>
              <a:gd name="T2" fmla="*/ 0 w 144"/>
              <a:gd name="T3" fmla="*/ 66 h 146"/>
              <a:gd name="T4" fmla="*/ 14 w 144"/>
              <a:gd name="T5" fmla="*/ 66 h 146"/>
              <a:gd name="T6" fmla="*/ 16 w 144"/>
              <a:gd name="T7" fmla="*/ 4 h 146"/>
              <a:gd name="T8" fmla="*/ 50 w 144"/>
              <a:gd name="T9" fmla="*/ 0 h 146"/>
              <a:gd name="T10" fmla="*/ 56 w 144"/>
              <a:gd name="T11" fmla="*/ 8 h 146"/>
              <a:gd name="T12" fmla="*/ 84 w 144"/>
              <a:gd name="T13" fmla="*/ 0 h 146"/>
              <a:gd name="T14" fmla="*/ 92 w 144"/>
              <a:gd name="T15" fmla="*/ 12 h 146"/>
              <a:gd name="T16" fmla="*/ 96 w 144"/>
              <a:gd name="T17" fmla="*/ 28 h 146"/>
              <a:gd name="T18" fmla="*/ 120 w 144"/>
              <a:gd name="T19" fmla="*/ 40 h 146"/>
              <a:gd name="T20" fmla="*/ 128 w 144"/>
              <a:gd name="T21" fmla="*/ 60 h 146"/>
              <a:gd name="T22" fmla="*/ 142 w 144"/>
              <a:gd name="T23" fmla="*/ 62 h 146"/>
              <a:gd name="T24" fmla="*/ 144 w 144"/>
              <a:gd name="T25" fmla="*/ 70 h 146"/>
              <a:gd name="T26" fmla="*/ 142 w 144"/>
              <a:gd name="T27" fmla="*/ 74 h 146"/>
              <a:gd name="T28" fmla="*/ 132 w 144"/>
              <a:gd name="T29" fmla="*/ 74 h 146"/>
              <a:gd name="T30" fmla="*/ 94 w 144"/>
              <a:gd name="T31" fmla="*/ 114 h 146"/>
              <a:gd name="T32" fmla="*/ 86 w 144"/>
              <a:gd name="T33" fmla="*/ 128 h 146"/>
              <a:gd name="T34" fmla="*/ 66 w 144"/>
              <a:gd name="T35" fmla="*/ 130 h 146"/>
              <a:gd name="T36" fmla="*/ 56 w 144"/>
              <a:gd name="T37" fmla="*/ 122 h 146"/>
              <a:gd name="T38" fmla="*/ 46 w 144"/>
              <a:gd name="T39" fmla="*/ 122 h 146"/>
              <a:gd name="T40" fmla="*/ 42 w 144"/>
              <a:gd name="T41" fmla="*/ 134 h 146"/>
              <a:gd name="T42" fmla="*/ 28 w 144"/>
              <a:gd name="T43" fmla="*/ 146 h 146"/>
              <a:gd name="T44" fmla="*/ 12 w 144"/>
              <a:gd name="T45" fmla="*/ 146 h 146"/>
              <a:gd name="T46" fmla="*/ 12 w 144"/>
              <a:gd name="T47" fmla="*/ 126 h 146"/>
              <a:gd name="T48" fmla="*/ 0 w 144"/>
              <a:gd name="T49"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6">
                <a:moveTo>
                  <a:pt x="0" y="114"/>
                </a:moveTo>
                <a:lnTo>
                  <a:pt x="0" y="66"/>
                </a:lnTo>
                <a:lnTo>
                  <a:pt x="14" y="66"/>
                </a:lnTo>
                <a:lnTo>
                  <a:pt x="16" y="4"/>
                </a:lnTo>
                <a:lnTo>
                  <a:pt x="50" y="0"/>
                </a:lnTo>
                <a:lnTo>
                  <a:pt x="56" y="8"/>
                </a:lnTo>
                <a:lnTo>
                  <a:pt x="84" y="0"/>
                </a:lnTo>
                <a:lnTo>
                  <a:pt x="92" y="12"/>
                </a:lnTo>
                <a:lnTo>
                  <a:pt x="96" y="28"/>
                </a:lnTo>
                <a:lnTo>
                  <a:pt x="120" y="40"/>
                </a:lnTo>
                <a:lnTo>
                  <a:pt x="128" y="60"/>
                </a:lnTo>
                <a:lnTo>
                  <a:pt x="142" y="62"/>
                </a:lnTo>
                <a:lnTo>
                  <a:pt x="144" y="70"/>
                </a:lnTo>
                <a:lnTo>
                  <a:pt x="142" y="74"/>
                </a:lnTo>
                <a:lnTo>
                  <a:pt x="132" y="74"/>
                </a:lnTo>
                <a:lnTo>
                  <a:pt x="94" y="114"/>
                </a:lnTo>
                <a:lnTo>
                  <a:pt x="86" y="128"/>
                </a:lnTo>
                <a:lnTo>
                  <a:pt x="66" y="130"/>
                </a:lnTo>
                <a:lnTo>
                  <a:pt x="56" y="122"/>
                </a:lnTo>
                <a:lnTo>
                  <a:pt x="46" y="122"/>
                </a:lnTo>
                <a:lnTo>
                  <a:pt x="42" y="134"/>
                </a:lnTo>
                <a:lnTo>
                  <a:pt x="28" y="146"/>
                </a:lnTo>
                <a:lnTo>
                  <a:pt x="12" y="146"/>
                </a:lnTo>
                <a:lnTo>
                  <a:pt x="12" y="126"/>
                </a:lnTo>
                <a:lnTo>
                  <a:pt x="0" y="114"/>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969" name="Freeform 162">
            <a:extLst>
              <a:ext uri="{FF2B5EF4-FFF2-40B4-BE49-F238E27FC236}">
                <a16:creationId xmlns:a16="http://schemas.microsoft.com/office/drawing/2014/main" id="{1F752715-F5EF-4269-A7CC-95EFD3F93AE7}"/>
              </a:ext>
            </a:extLst>
          </p:cNvPr>
          <p:cNvSpPr>
            <a:spLocks/>
          </p:cNvSpPr>
          <p:nvPr/>
        </p:nvSpPr>
        <p:spPr bwMode="gray">
          <a:xfrm>
            <a:off x="6163649" y="5347210"/>
            <a:ext cx="271351" cy="368843"/>
          </a:xfrm>
          <a:custGeom>
            <a:avLst/>
            <a:gdLst>
              <a:gd name="T0" fmla="*/ 0 w 142"/>
              <a:gd name="T1" fmla="*/ 0 h 192"/>
              <a:gd name="T2" fmla="*/ 98 w 142"/>
              <a:gd name="T3" fmla="*/ 0 h 192"/>
              <a:gd name="T4" fmla="*/ 106 w 142"/>
              <a:gd name="T5" fmla="*/ 6 h 192"/>
              <a:gd name="T6" fmla="*/ 134 w 142"/>
              <a:gd name="T7" fmla="*/ 8 h 192"/>
              <a:gd name="T8" fmla="*/ 142 w 142"/>
              <a:gd name="T9" fmla="*/ 14 h 192"/>
              <a:gd name="T10" fmla="*/ 140 w 142"/>
              <a:gd name="T11" fmla="*/ 76 h 192"/>
              <a:gd name="T12" fmla="*/ 126 w 142"/>
              <a:gd name="T13" fmla="*/ 76 h 192"/>
              <a:gd name="T14" fmla="*/ 126 w 142"/>
              <a:gd name="T15" fmla="*/ 182 h 192"/>
              <a:gd name="T16" fmla="*/ 110 w 142"/>
              <a:gd name="T17" fmla="*/ 192 h 192"/>
              <a:gd name="T18" fmla="*/ 94 w 142"/>
              <a:gd name="T19" fmla="*/ 192 h 192"/>
              <a:gd name="T20" fmla="*/ 86 w 142"/>
              <a:gd name="T21" fmla="*/ 188 h 192"/>
              <a:gd name="T22" fmla="*/ 80 w 142"/>
              <a:gd name="T23" fmla="*/ 180 h 192"/>
              <a:gd name="T24" fmla="*/ 72 w 142"/>
              <a:gd name="T25" fmla="*/ 186 h 192"/>
              <a:gd name="T26" fmla="*/ 52 w 142"/>
              <a:gd name="T27" fmla="*/ 164 h 192"/>
              <a:gd name="T28" fmla="*/ 44 w 142"/>
              <a:gd name="T29" fmla="*/ 126 h 192"/>
              <a:gd name="T30" fmla="*/ 38 w 142"/>
              <a:gd name="T31" fmla="*/ 114 h 192"/>
              <a:gd name="T32" fmla="*/ 38 w 142"/>
              <a:gd name="T33" fmla="*/ 82 h 192"/>
              <a:gd name="T34" fmla="*/ 12 w 142"/>
              <a:gd name="T35" fmla="*/ 36 h 192"/>
              <a:gd name="T36" fmla="*/ 0 w 142"/>
              <a:gd name="T37" fmla="*/ 16 h 192"/>
              <a:gd name="T38" fmla="*/ 0 w 142"/>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92">
                <a:moveTo>
                  <a:pt x="0" y="0"/>
                </a:moveTo>
                <a:lnTo>
                  <a:pt x="98" y="0"/>
                </a:lnTo>
                <a:lnTo>
                  <a:pt x="106" y="6"/>
                </a:lnTo>
                <a:lnTo>
                  <a:pt x="134" y="8"/>
                </a:lnTo>
                <a:lnTo>
                  <a:pt x="142" y="14"/>
                </a:lnTo>
                <a:lnTo>
                  <a:pt x="140" y="76"/>
                </a:lnTo>
                <a:lnTo>
                  <a:pt x="126" y="76"/>
                </a:lnTo>
                <a:lnTo>
                  <a:pt x="126" y="182"/>
                </a:lnTo>
                <a:lnTo>
                  <a:pt x="110" y="192"/>
                </a:lnTo>
                <a:lnTo>
                  <a:pt x="94" y="192"/>
                </a:lnTo>
                <a:lnTo>
                  <a:pt x="86" y="188"/>
                </a:lnTo>
                <a:lnTo>
                  <a:pt x="80" y="180"/>
                </a:lnTo>
                <a:lnTo>
                  <a:pt x="72" y="186"/>
                </a:lnTo>
                <a:lnTo>
                  <a:pt x="52" y="164"/>
                </a:lnTo>
                <a:lnTo>
                  <a:pt x="44" y="126"/>
                </a:lnTo>
                <a:lnTo>
                  <a:pt x="38" y="114"/>
                </a:lnTo>
                <a:lnTo>
                  <a:pt x="38" y="82"/>
                </a:lnTo>
                <a:lnTo>
                  <a:pt x="12" y="36"/>
                </a:lnTo>
                <a:lnTo>
                  <a:pt x="0" y="16"/>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0" name="Freeform 163">
            <a:extLst>
              <a:ext uri="{FF2B5EF4-FFF2-40B4-BE49-F238E27FC236}">
                <a16:creationId xmlns:a16="http://schemas.microsoft.com/office/drawing/2014/main" id="{8F990D2E-6834-45E3-BF3A-F61C3FC4777A}"/>
              </a:ext>
            </a:extLst>
          </p:cNvPr>
          <p:cNvSpPr>
            <a:spLocks/>
          </p:cNvSpPr>
          <p:nvPr/>
        </p:nvSpPr>
        <p:spPr bwMode="gray">
          <a:xfrm>
            <a:off x="6721638" y="5132053"/>
            <a:ext cx="309569" cy="518686"/>
          </a:xfrm>
          <a:custGeom>
            <a:avLst/>
            <a:gdLst>
              <a:gd name="T0" fmla="*/ 0 w 162"/>
              <a:gd name="T1" fmla="*/ 88 h 270"/>
              <a:gd name="T2" fmla="*/ 0 w 162"/>
              <a:gd name="T3" fmla="*/ 72 h 270"/>
              <a:gd name="T4" fmla="*/ 50 w 162"/>
              <a:gd name="T5" fmla="*/ 64 h 270"/>
              <a:gd name="T6" fmla="*/ 66 w 162"/>
              <a:gd name="T7" fmla="*/ 64 h 270"/>
              <a:gd name="T8" fmla="*/ 64 w 162"/>
              <a:gd name="T9" fmla="*/ 94 h 270"/>
              <a:gd name="T10" fmla="*/ 76 w 162"/>
              <a:gd name="T11" fmla="*/ 106 h 270"/>
              <a:gd name="T12" fmla="*/ 86 w 162"/>
              <a:gd name="T13" fmla="*/ 92 h 270"/>
              <a:gd name="T14" fmla="*/ 84 w 162"/>
              <a:gd name="T15" fmla="*/ 64 h 270"/>
              <a:gd name="T16" fmla="*/ 70 w 162"/>
              <a:gd name="T17" fmla="*/ 48 h 270"/>
              <a:gd name="T18" fmla="*/ 64 w 162"/>
              <a:gd name="T19" fmla="*/ 32 h 270"/>
              <a:gd name="T20" fmla="*/ 68 w 162"/>
              <a:gd name="T21" fmla="*/ 16 h 270"/>
              <a:gd name="T22" fmla="*/ 90 w 162"/>
              <a:gd name="T23" fmla="*/ 18 h 270"/>
              <a:gd name="T24" fmla="*/ 116 w 162"/>
              <a:gd name="T25" fmla="*/ 20 h 270"/>
              <a:gd name="T26" fmla="*/ 142 w 162"/>
              <a:gd name="T27" fmla="*/ 10 h 270"/>
              <a:gd name="T28" fmla="*/ 158 w 162"/>
              <a:gd name="T29" fmla="*/ 0 h 270"/>
              <a:gd name="T30" fmla="*/ 158 w 162"/>
              <a:gd name="T31" fmla="*/ 40 h 270"/>
              <a:gd name="T32" fmla="*/ 162 w 162"/>
              <a:gd name="T33" fmla="*/ 80 h 270"/>
              <a:gd name="T34" fmla="*/ 144 w 162"/>
              <a:gd name="T35" fmla="*/ 98 h 270"/>
              <a:gd name="T36" fmla="*/ 112 w 162"/>
              <a:gd name="T37" fmla="*/ 118 h 270"/>
              <a:gd name="T38" fmla="*/ 76 w 162"/>
              <a:gd name="T39" fmla="*/ 150 h 270"/>
              <a:gd name="T40" fmla="*/ 68 w 162"/>
              <a:gd name="T41" fmla="*/ 154 h 270"/>
              <a:gd name="T42" fmla="*/ 70 w 162"/>
              <a:gd name="T43" fmla="*/ 168 h 270"/>
              <a:gd name="T44" fmla="*/ 80 w 162"/>
              <a:gd name="T45" fmla="*/ 196 h 270"/>
              <a:gd name="T46" fmla="*/ 76 w 162"/>
              <a:gd name="T47" fmla="*/ 228 h 270"/>
              <a:gd name="T48" fmla="*/ 38 w 162"/>
              <a:gd name="T49" fmla="*/ 248 h 270"/>
              <a:gd name="T50" fmla="*/ 34 w 162"/>
              <a:gd name="T51" fmla="*/ 256 h 270"/>
              <a:gd name="T52" fmla="*/ 38 w 162"/>
              <a:gd name="T53" fmla="*/ 264 h 270"/>
              <a:gd name="T54" fmla="*/ 40 w 162"/>
              <a:gd name="T55" fmla="*/ 270 h 270"/>
              <a:gd name="T56" fmla="*/ 24 w 162"/>
              <a:gd name="T57" fmla="*/ 268 h 270"/>
              <a:gd name="T58" fmla="*/ 24 w 162"/>
              <a:gd name="T59" fmla="*/ 258 h 270"/>
              <a:gd name="T60" fmla="*/ 24 w 162"/>
              <a:gd name="T61" fmla="*/ 222 h 270"/>
              <a:gd name="T62" fmla="*/ 16 w 162"/>
              <a:gd name="T63" fmla="*/ 198 h 270"/>
              <a:gd name="T64" fmla="*/ 8 w 162"/>
              <a:gd name="T65" fmla="*/ 192 h 270"/>
              <a:gd name="T66" fmla="*/ 30 w 162"/>
              <a:gd name="T67" fmla="*/ 176 h 270"/>
              <a:gd name="T68" fmla="*/ 38 w 162"/>
              <a:gd name="T69" fmla="*/ 158 h 270"/>
              <a:gd name="T70" fmla="*/ 38 w 162"/>
              <a:gd name="T71" fmla="*/ 128 h 270"/>
              <a:gd name="T72" fmla="*/ 36 w 162"/>
              <a:gd name="T73" fmla="*/ 100 h 270"/>
              <a:gd name="T74" fmla="*/ 0 w 162"/>
              <a:gd name="T75"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 h="270">
                <a:moveTo>
                  <a:pt x="0" y="88"/>
                </a:moveTo>
                <a:lnTo>
                  <a:pt x="0" y="72"/>
                </a:lnTo>
                <a:lnTo>
                  <a:pt x="50" y="64"/>
                </a:lnTo>
                <a:lnTo>
                  <a:pt x="66" y="64"/>
                </a:lnTo>
                <a:lnTo>
                  <a:pt x="64" y="94"/>
                </a:lnTo>
                <a:lnTo>
                  <a:pt x="76" y="106"/>
                </a:lnTo>
                <a:lnTo>
                  <a:pt x="86" y="92"/>
                </a:lnTo>
                <a:lnTo>
                  <a:pt x="84" y="64"/>
                </a:lnTo>
                <a:lnTo>
                  <a:pt x="70" y="48"/>
                </a:lnTo>
                <a:lnTo>
                  <a:pt x="64" y="32"/>
                </a:lnTo>
                <a:lnTo>
                  <a:pt x="68" y="16"/>
                </a:lnTo>
                <a:lnTo>
                  <a:pt x="90" y="18"/>
                </a:lnTo>
                <a:lnTo>
                  <a:pt x="116" y="20"/>
                </a:lnTo>
                <a:lnTo>
                  <a:pt x="142" y="10"/>
                </a:lnTo>
                <a:lnTo>
                  <a:pt x="158" y="0"/>
                </a:lnTo>
                <a:lnTo>
                  <a:pt x="158" y="40"/>
                </a:lnTo>
                <a:lnTo>
                  <a:pt x="162" y="80"/>
                </a:lnTo>
                <a:lnTo>
                  <a:pt x="144" y="98"/>
                </a:lnTo>
                <a:lnTo>
                  <a:pt x="112" y="118"/>
                </a:lnTo>
                <a:lnTo>
                  <a:pt x="76" y="150"/>
                </a:lnTo>
                <a:lnTo>
                  <a:pt x="68" y="154"/>
                </a:lnTo>
                <a:lnTo>
                  <a:pt x="70" y="168"/>
                </a:lnTo>
                <a:lnTo>
                  <a:pt x="80" y="196"/>
                </a:lnTo>
                <a:lnTo>
                  <a:pt x="76" y="228"/>
                </a:lnTo>
                <a:lnTo>
                  <a:pt x="38" y="248"/>
                </a:lnTo>
                <a:lnTo>
                  <a:pt x="34" y="256"/>
                </a:lnTo>
                <a:lnTo>
                  <a:pt x="38" y="264"/>
                </a:lnTo>
                <a:lnTo>
                  <a:pt x="40" y="270"/>
                </a:lnTo>
                <a:lnTo>
                  <a:pt x="24" y="268"/>
                </a:lnTo>
                <a:lnTo>
                  <a:pt x="24" y="258"/>
                </a:lnTo>
                <a:lnTo>
                  <a:pt x="24" y="222"/>
                </a:lnTo>
                <a:lnTo>
                  <a:pt x="16" y="198"/>
                </a:lnTo>
                <a:lnTo>
                  <a:pt x="8" y="192"/>
                </a:lnTo>
                <a:lnTo>
                  <a:pt x="30" y="176"/>
                </a:lnTo>
                <a:lnTo>
                  <a:pt x="38" y="158"/>
                </a:lnTo>
                <a:lnTo>
                  <a:pt x="38" y="128"/>
                </a:lnTo>
                <a:lnTo>
                  <a:pt x="36" y="100"/>
                </a:lnTo>
                <a:lnTo>
                  <a:pt x="0" y="8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1" name="Freeform 164">
            <a:extLst>
              <a:ext uri="{FF2B5EF4-FFF2-40B4-BE49-F238E27FC236}">
                <a16:creationId xmlns:a16="http://schemas.microsoft.com/office/drawing/2014/main" id="{725F01C9-B993-4486-907D-1B08B80A7D0C}"/>
              </a:ext>
            </a:extLst>
          </p:cNvPr>
          <p:cNvSpPr>
            <a:spLocks/>
          </p:cNvSpPr>
          <p:nvPr/>
        </p:nvSpPr>
        <p:spPr bwMode="gray">
          <a:xfrm>
            <a:off x="6790432" y="5105159"/>
            <a:ext cx="95546" cy="230527"/>
          </a:xfrm>
          <a:custGeom>
            <a:avLst/>
            <a:gdLst>
              <a:gd name="T0" fmla="*/ 4 w 50"/>
              <a:gd name="T1" fmla="*/ 50 h 120"/>
              <a:gd name="T2" fmla="*/ 10 w 50"/>
              <a:gd name="T3" fmla="*/ 44 h 120"/>
              <a:gd name="T4" fmla="*/ 12 w 50"/>
              <a:gd name="T5" fmla="*/ 18 h 120"/>
              <a:gd name="T6" fmla="*/ 14 w 50"/>
              <a:gd name="T7" fmla="*/ 14 h 120"/>
              <a:gd name="T8" fmla="*/ 8 w 50"/>
              <a:gd name="T9" fmla="*/ 0 h 120"/>
              <a:gd name="T10" fmla="*/ 22 w 50"/>
              <a:gd name="T11" fmla="*/ 0 h 120"/>
              <a:gd name="T12" fmla="*/ 30 w 50"/>
              <a:gd name="T13" fmla="*/ 12 h 120"/>
              <a:gd name="T14" fmla="*/ 32 w 50"/>
              <a:gd name="T15" fmla="*/ 30 h 120"/>
              <a:gd name="T16" fmla="*/ 28 w 50"/>
              <a:gd name="T17" fmla="*/ 46 h 120"/>
              <a:gd name="T18" fmla="*/ 34 w 50"/>
              <a:gd name="T19" fmla="*/ 62 h 120"/>
              <a:gd name="T20" fmla="*/ 48 w 50"/>
              <a:gd name="T21" fmla="*/ 78 h 120"/>
              <a:gd name="T22" fmla="*/ 50 w 50"/>
              <a:gd name="T23" fmla="*/ 106 h 120"/>
              <a:gd name="T24" fmla="*/ 40 w 50"/>
              <a:gd name="T25" fmla="*/ 120 h 120"/>
              <a:gd name="T26" fmla="*/ 28 w 50"/>
              <a:gd name="T27" fmla="*/ 108 h 120"/>
              <a:gd name="T28" fmla="*/ 30 w 50"/>
              <a:gd name="T29" fmla="*/ 78 h 120"/>
              <a:gd name="T30" fmla="*/ 10 w 50"/>
              <a:gd name="T31" fmla="*/ 78 h 120"/>
              <a:gd name="T32" fmla="*/ 0 w 50"/>
              <a:gd name="T33" fmla="*/ 64 h 120"/>
              <a:gd name="T34" fmla="*/ 4 w 50"/>
              <a:gd name="T35" fmla="*/ 5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20">
                <a:moveTo>
                  <a:pt x="4" y="50"/>
                </a:moveTo>
                <a:lnTo>
                  <a:pt x="10" y="44"/>
                </a:lnTo>
                <a:lnTo>
                  <a:pt x="12" y="18"/>
                </a:lnTo>
                <a:lnTo>
                  <a:pt x="14" y="14"/>
                </a:lnTo>
                <a:lnTo>
                  <a:pt x="8" y="0"/>
                </a:lnTo>
                <a:lnTo>
                  <a:pt x="22" y="0"/>
                </a:lnTo>
                <a:lnTo>
                  <a:pt x="30" y="12"/>
                </a:lnTo>
                <a:lnTo>
                  <a:pt x="32" y="30"/>
                </a:lnTo>
                <a:lnTo>
                  <a:pt x="28" y="46"/>
                </a:lnTo>
                <a:lnTo>
                  <a:pt x="34" y="62"/>
                </a:lnTo>
                <a:lnTo>
                  <a:pt x="48" y="78"/>
                </a:lnTo>
                <a:lnTo>
                  <a:pt x="50" y="106"/>
                </a:lnTo>
                <a:lnTo>
                  <a:pt x="40" y="120"/>
                </a:lnTo>
                <a:lnTo>
                  <a:pt x="28" y="108"/>
                </a:lnTo>
                <a:lnTo>
                  <a:pt x="30" y="78"/>
                </a:lnTo>
                <a:lnTo>
                  <a:pt x="10" y="78"/>
                </a:lnTo>
                <a:lnTo>
                  <a:pt x="0" y="64"/>
                </a:lnTo>
                <a:lnTo>
                  <a:pt x="4" y="5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2" name="Freeform 165">
            <a:extLst>
              <a:ext uri="{FF2B5EF4-FFF2-40B4-BE49-F238E27FC236}">
                <a16:creationId xmlns:a16="http://schemas.microsoft.com/office/drawing/2014/main" id="{47EABC7C-203D-4BE2-B3DD-58753365DD7B}"/>
              </a:ext>
            </a:extLst>
          </p:cNvPr>
          <p:cNvSpPr>
            <a:spLocks/>
          </p:cNvSpPr>
          <p:nvPr/>
        </p:nvSpPr>
        <p:spPr bwMode="gray">
          <a:xfrm>
            <a:off x="6465575" y="5066736"/>
            <a:ext cx="351610" cy="299685"/>
          </a:xfrm>
          <a:custGeom>
            <a:avLst/>
            <a:gdLst>
              <a:gd name="T0" fmla="*/ 52 w 184"/>
              <a:gd name="T1" fmla="*/ 156 h 156"/>
              <a:gd name="T2" fmla="*/ 46 w 184"/>
              <a:gd name="T3" fmla="*/ 150 h 156"/>
              <a:gd name="T4" fmla="*/ 20 w 184"/>
              <a:gd name="T5" fmla="*/ 148 h 156"/>
              <a:gd name="T6" fmla="*/ 2 w 184"/>
              <a:gd name="T7" fmla="*/ 128 h 156"/>
              <a:gd name="T8" fmla="*/ 0 w 184"/>
              <a:gd name="T9" fmla="*/ 76 h 156"/>
              <a:gd name="T10" fmla="*/ 30 w 184"/>
              <a:gd name="T11" fmla="*/ 76 h 156"/>
              <a:gd name="T12" fmla="*/ 30 w 184"/>
              <a:gd name="T13" fmla="*/ 42 h 156"/>
              <a:gd name="T14" fmla="*/ 48 w 184"/>
              <a:gd name="T15" fmla="*/ 50 h 156"/>
              <a:gd name="T16" fmla="*/ 68 w 184"/>
              <a:gd name="T17" fmla="*/ 58 h 156"/>
              <a:gd name="T18" fmla="*/ 82 w 184"/>
              <a:gd name="T19" fmla="*/ 52 h 156"/>
              <a:gd name="T20" fmla="*/ 90 w 184"/>
              <a:gd name="T21" fmla="*/ 64 h 156"/>
              <a:gd name="T22" fmla="*/ 102 w 184"/>
              <a:gd name="T23" fmla="*/ 70 h 156"/>
              <a:gd name="T24" fmla="*/ 110 w 184"/>
              <a:gd name="T25" fmla="*/ 82 h 156"/>
              <a:gd name="T26" fmla="*/ 124 w 184"/>
              <a:gd name="T27" fmla="*/ 82 h 156"/>
              <a:gd name="T28" fmla="*/ 124 w 184"/>
              <a:gd name="T29" fmla="*/ 64 h 156"/>
              <a:gd name="T30" fmla="*/ 110 w 184"/>
              <a:gd name="T31" fmla="*/ 58 h 156"/>
              <a:gd name="T32" fmla="*/ 100 w 184"/>
              <a:gd name="T33" fmla="*/ 48 h 156"/>
              <a:gd name="T34" fmla="*/ 104 w 184"/>
              <a:gd name="T35" fmla="*/ 26 h 156"/>
              <a:gd name="T36" fmla="*/ 102 w 184"/>
              <a:gd name="T37" fmla="*/ 8 h 156"/>
              <a:gd name="T38" fmla="*/ 118 w 184"/>
              <a:gd name="T39" fmla="*/ 0 h 156"/>
              <a:gd name="T40" fmla="*/ 136 w 184"/>
              <a:gd name="T41" fmla="*/ 0 h 156"/>
              <a:gd name="T42" fmla="*/ 178 w 184"/>
              <a:gd name="T43" fmla="*/ 20 h 156"/>
              <a:gd name="T44" fmla="*/ 184 w 184"/>
              <a:gd name="T45" fmla="*/ 34 h 156"/>
              <a:gd name="T46" fmla="*/ 180 w 184"/>
              <a:gd name="T47" fmla="*/ 40 h 156"/>
              <a:gd name="T48" fmla="*/ 180 w 184"/>
              <a:gd name="T49" fmla="*/ 64 h 156"/>
              <a:gd name="T50" fmla="*/ 174 w 184"/>
              <a:gd name="T51" fmla="*/ 70 h 156"/>
              <a:gd name="T52" fmla="*/ 170 w 184"/>
              <a:gd name="T53" fmla="*/ 84 h 156"/>
              <a:gd name="T54" fmla="*/ 180 w 184"/>
              <a:gd name="T55" fmla="*/ 98 h 156"/>
              <a:gd name="T56" fmla="*/ 134 w 184"/>
              <a:gd name="T57" fmla="*/ 106 h 156"/>
              <a:gd name="T58" fmla="*/ 134 w 184"/>
              <a:gd name="T59" fmla="*/ 122 h 156"/>
              <a:gd name="T60" fmla="*/ 114 w 184"/>
              <a:gd name="T61" fmla="*/ 120 h 156"/>
              <a:gd name="T62" fmla="*/ 106 w 184"/>
              <a:gd name="T63" fmla="*/ 134 h 156"/>
              <a:gd name="T64" fmla="*/ 94 w 184"/>
              <a:gd name="T65" fmla="*/ 136 h 156"/>
              <a:gd name="T66" fmla="*/ 80 w 184"/>
              <a:gd name="T67" fmla="*/ 154 h 156"/>
              <a:gd name="T68" fmla="*/ 52 w 184"/>
              <a:gd name="T6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156">
                <a:moveTo>
                  <a:pt x="52" y="156"/>
                </a:moveTo>
                <a:lnTo>
                  <a:pt x="46" y="150"/>
                </a:lnTo>
                <a:lnTo>
                  <a:pt x="20" y="148"/>
                </a:lnTo>
                <a:lnTo>
                  <a:pt x="2" y="128"/>
                </a:lnTo>
                <a:lnTo>
                  <a:pt x="0" y="76"/>
                </a:lnTo>
                <a:lnTo>
                  <a:pt x="30" y="76"/>
                </a:lnTo>
                <a:lnTo>
                  <a:pt x="30" y="42"/>
                </a:lnTo>
                <a:lnTo>
                  <a:pt x="48" y="50"/>
                </a:lnTo>
                <a:lnTo>
                  <a:pt x="68" y="58"/>
                </a:lnTo>
                <a:lnTo>
                  <a:pt x="82" y="52"/>
                </a:lnTo>
                <a:lnTo>
                  <a:pt x="90" y="64"/>
                </a:lnTo>
                <a:lnTo>
                  <a:pt x="102" y="70"/>
                </a:lnTo>
                <a:lnTo>
                  <a:pt x="110" y="82"/>
                </a:lnTo>
                <a:lnTo>
                  <a:pt x="124" y="82"/>
                </a:lnTo>
                <a:lnTo>
                  <a:pt x="124" y="64"/>
                </a:lnTo>
                <a:lnTo>
                  <a:pt x="110" y="58"/>
                </a:lnTo>
                <a:lnTo>
                  <a:pt x="100" y="48"/>
                </a:lnTo>
                <a:lnTo>
                  <a:pt x="104" y="26"/>
                </a:lnTo>
                <a:lnTo>
                  <a:pt x="102" y="8"/>
                </a:lnTo>
                <a:lnTo>
                  <a:pt x="118" y="0"/>
                </a:lnTo>
                <a:lnTo>
                  <a:pt x="136" y="0"/>
                </a:lnTo>
                <a:lnTo>
                  <a:pt x="178" y="20"/>
                </a:lnTo>
                <a:lnTo>
                  <a:pt x="184" y="34"/>
                </a:lnTo>
                <a:lnTo>
                  <a:pt x="180" y="40"/>
                </a:lnTo>
                <a:lnTo>
                  <a:pt x="180" y="64"/>
                </a:lnTo>
                <a:lnTo>
                  <a:pt x="174" y="70"/>
                </a:lnTo>
                <a:lnTo>
                  <a:pt x="170" y="84"/>
                </a:lnTo>
                <a:lnTo>
                  <a:pt x="180" y="98"/>
                </a:lnTo>
                <a:lnTo>
                  <a:pt x="134" y="106"/>
                </a:lnTo>
                <a:lnTo>
                  <a:pt x="134" y="122"/>
                </a:lnTo>
                <a:lnTo>
                  <a:pt x="114" y="120"/>
                </a:lnTo>
                <a:lnTo>
                  <a:pt x="106" y="134"/>
                </a:lnTo>
                <a:lnTo>
                  <a:pt x="94" y="136"/>
                </a:lnTo>
                <a:lnTo>
                  <a:pt x="80" y="154"/>
                </a:lnTo>
                <a:lnTo>
                  <a:pt x="52" y="15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3" name="Freeform 166">
            <a:extLst>
              <a:ext uri="{FF2B5EF4-FFF2-40B4-BE49-F238E27FC236}">
                <a16:creationId xmlns:a16="http://schemas.microsoft.com/office/drawing/2014/main" id="{77C713E0-297D-4506-878B-E0CB2A1B71F7}"/>
              </a:ext>
            </a:extLst>
          </p:cNvPr>
          <p:cNvSpPr>
            <a:spLocks/>
          </p:cNvSpPr>
          <p:nvPr/>
        </p:nvSpPr>
        <p:spPr bwMode="gray">
          <a:xfrm>
            <a:off x="6691062" y="4843894"/>
            <a:ext cx="332502" cy="326580"/>
          </a:xfrm>
          <a:custGeom>
            <a:avLst/>
            <a:gdLst>
              <a:gd name="T0" fmla="*/ 18 w 174"/>
              <a:gd name="T1" fmla="*/ 116 h 170"/>
              <a:gd name="T2" fmla="*/ 16 w 174"/>
              <a:gd name="T3" fmla="*/ 100 h 170"/>
              <a:gd name="T4" fmla="*/ 2 w 174"/>
              <a:gd name="T5" fmla="*/ 82 h 170"/>
              <a:gd name="T6" fmla="*/ 0 w 174"/>
              <a:gd name="T7" fmla="*/ 56 h 170"/>
              <a:gd name="T8" fmla="*/ 20 w 174"/>
              <a:gd name="T9" fmla="*/ 34 h 170"/>
              <a:gd name="T10" fmla="*/ 16 w 174"/>
              <a:gd name="T11" fmla="*/ 20 h 170"/>
              <a:gd name="T12" fmla="*/ 22 w 174"/>
              <a:gd name="T13" fmla="*/ 12 h 170"/>
              <a:gd name="T14" fmla="*/ 16 w 174"/>
              <a:gd name="T15" fmla="*/ 0 h 170"/>
              <a:gd name="T16" fmla="*/ 38 w 174"/>
              <a:gd name="T17" fmla="*/ 0 h 170"/>
              <a:gd name="T18" fmla="*/ 76 w 174"/>
              <a:gd name="T19" fmla="*/ 2 h 170"/>
              <a:gd name="T20" fmla="*/ 128 w 174"/>
              <a:gd name="T21" fmla="*/ 30 h 170"/>
              <a:gd name="T22" fmla="*/ 132 w 174"/>
              <a:gd name="T23" fmla="*/ 40 h 170"/>
              <a:gd name="T24" fmla="*/ 156 w 174"/>
              <a:gd name="T25" fmla="*/ 58 h 170"/>
              <a:gd name="T26" fmla="*/ 150 w 174"/>
              <a:gd name="T27" fmla="*/ 72 h 170"/>
              <a:gd name="T28" fmla="*/ 148 w 174"/>
              <a:gd name="T29" fmla="*/ 86 h 170"/>
              <a:gd name="T30" fmla="*/ 156 w 174"/>
              <a:gd name="T31" fmla="*/ 98 h 170"/>
              <a:gd name="T32" fmla="*/ 156 w 174"/>
              <a:gd name="T33" fmla="*/ 126 h 170"/>
              <a:gd name="T34" fmla="*/ 174 w 174"/>
              <a:gd name="T35" fmla="*/ 150 h 170"/>
              <a:gd name="T36" fmla="*/ 158 w 174"/>
              <a:gd name="T37" fmla="*/ 160 h 170"/>
              <a:gd name="T38" fmla="*/ 132 w 174"/>
              <a:gd name="T39" fmla="*/ 170 h 170"/>
              <a:gd name="T40" fmla="*/ 84 w 174"/>
              <a:gd name="T41" fmla="*/ 166 h 170"/>
              <a:gd name="T42" fmla="*/ 82 w 174"/>
              <a:gd name="T43" fmla="*/ 148 h 170"/>
              <a:gd name="T44" fmla="*/ 74 w 174"/>
              <a:gd name="T45" fmla="*/ 136 h 170"/>
              <a:gd name="T46" fmla="*/ 60 w 174"/>
              <a:gd name="T47" fmla="*/ 136 h 170"/>
              <a:gd name="T48" fmla="*/ 18 w 174"/>
              <a:gd name="T49"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0">
                <a:moveTo>
                  <a:pt x="18" y="116"/>
                </a:moveTo>
                <a:lnTo>
                  <a:pt x="16" y="100"/>
                </a:lnTo>
                <a:lnTo>
                  <a:pt x="2" y="82"/>
                </a:lnTo>
                <a:lnTo>
                  <a:pt x="0" y="56"/>
                </a:lnTo>
                <a:lnTo>
                  <a:pt x="20" y="34"/>
                </a:lnTo>
                <a:lnTo>
                  <a:pt x="16" y="20"/>
                </a:lnTo>
                <a:lnTo>
                  <a:pt x="22" y="12"/>
                </a:lnTo>
                <a:lnTo>
                  <a:pt x="16" y="0"/>
                </a:lnTo>
                <a:lnTo>
                  <a:pt x="38" y="0"/>
                </a:lnTo>
                <a:lnTo>
                  <a:pt x="76" y="2"/>
                </a:lnTo>
                <a:lnTo>
                  <a:pt x="128" y="30"/>
                </a:lnTo>
                <a:lnTo>
                  <a:pt x="132" y="40"/>
                </a:lnTo>
                <a:lnTo>
                  <a:pt x="156" y="58"/>
                </a:lnTo>
                <a:lnTo>
                  <a:pt x="150" y="72"/>
                </a:lnTo>
                <a:lnTo>
                  <a:pt x="148" y="86"/>
                </a:lnTo>
                <a:lnTo>
                  <a:pt x="156" y="98"/>
                </a:lnTo>
                <a:lnTo>
                  <a:pt x="156" y="126"/>
                </a:lnTo>
                <a:lnTo>
                  <a:pt x="174" y="150"/>
                </a:lnTo>
                <a:lnTo>
                  <a:pt x="158" y="160"/>
                </a:lnTo>
                <a:lnTo>
                  <a:pt x="132" y="170"/>
                </a:lnTo>
                <a:lnTo>
                  <a:pt x="84" y="166"/>
                </a:lnTo>
                <a:lnTo>
                  <a:pt x="82" y="148"/>
                </a:lnTo>
                <a:lnTo>
                  <a:pt x="74" y="136"/>
                </a:lnTo>
                <a:lnTo>
                  <a:pt x="60" y="136"/>
                </a:lnTo>
                <a:lnTo>
                  <a:pt x="18" y="1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4" name="Freeform 167">
            <a:extLst>
              <a:ext uri="{FF2B5EF4-FFF2-40B4-BE49-F238E27FC236}">
                <a16:creationId xmlns:a16="http://schemas.microsoft.com/office/drawing/2014/main" id="{CC53B25D-A590-408D-B22B-C994774C946E}"/>
              </a:ext>
            </a:extLst>
          </p:cNvPr>
          <p:cNvSpPr>
            <a:spLocks/>
          </p:cNvSpPr>
          <p:nvPr/>
        </p:nvSpPr>
        <p:spPr bwMode="gray">
          <a:xfrm>
            <a:off x="6687242" y="4882313"/>
            <a:ext cx="42040" cy="69158"/>
          </a:xfrm>
          <a:custGeom>
            <a:avLst/>
            <a:gdLst>
              <a:gd name="T0" fmla="*/ 18 w 22"/>
              <a:gd name="T1" fmla="*/ 0 h 36"/>
              <a:gd name="T2" fmla="*/ 10 w 22"/>
              <a:gd name="T3" fmla="*/ 2 h 36"/>
              <a:gd name="T4" fmla="*/ 0 w 22"/>
              <a:gd name="T5" fmla="*/ 12 h 36"/>
              <a:gd name="T6" fmla="*/ 2 w 22"/>
              <a:gd name="T7" fmla="*/ 36 h 36"/>
              <a:gd name="T8" fmla="*/ 22 w 22"/>
              <a:gd name="T9" fmla="*/ 14 h 36"/>
              <a:gd name="T10" fmla="*/ 18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18" y="0"/>
                </a:moveTo>
                <a:lnTo>
                  <a:pt x="10" y="2"/>
                </a:lnTo>
                <a:lnTo>
                  <a:pt x="0" y="12"/>
                </a:lnTo>
                <a:lnTo>
                  <a:pt x="2" y="36"/>
                </a:lnTo>
                <a:lnTo>
                  <a:pt x="22" y="14"/>
                </a:lnTo>
                <a:lnTo>
                  <a:pt x="1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5" name="Freeform 168">
            <a:extLst>
              <a:ext uri="{FF2B5EF4-FFF2-40B4-BE49-F238E27FC236}">
                <a16:creationId xmlns:a16="http://schemas.microsoft.com/office/drawing/2014/main" id="{B3641C01-4063-4814-B054-2ED1B1C0FFF2}"/>
              </a:ext>
            </a:extLst>
          </p:cNvPr>
          <p:cNvSpPr>
            <a:spLocks/>
          </p:cNvSpPr>
          <p:nvPr/>
        </p:nvSpPr>
        <p:spPr bwMode="gray">
          <a:xfrm>
            <a:off x="6675777" y="4843894"/>
            <a:ext cx="57328" cy="61474"/>
          </a:xfrm>
          <a:custGeom>
            <a:avLst/>
            <a:gdLst>
              <a:gd name="T0" fmla="*/ 10 w 30"/>
              <a:gd name="T1" fmla="*/ 2 h 32"/>
              <a:gd name="T2" fmla="*/ 24 w 30"/>
              <a:gd name="T3" fmla="*/ 0 h 32"/>
              <a:gd name="T4" fmla="*/ 30 w 30"/>
              <a:gd name="T5" fmla="*/ 12 h 32"/>
              <a:gd name="T6" fmla="*/ 24 w 30"/>
              <a:gd name="T7" fmla="*/ 20 h 32"/>
              <a:gd name="T8" fmla="*/ 16 w 30"/>
              <a:gd name="T9" fmla="*/ 22 h 32"/>
              <a:gd name="T10" fmla="*/ 6 w 30"/>
              <a:gd name="T11" fmla="*/ 32 h 32"/>
              <a:gd name="T12" fmla="*/ 0 w 30"/>
              <a:gd name="T13" fmla="*/ 16 h 32"/>
              <a:gd name="T14" fmla="*/ 10 w 30"/>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2">
                <a:moveTo>
                  <a:pt x="10" y="2"/>
                </a:moveTo>
                <a:lnTo>
                  <a:pt x="24" y="0"/>
                </a:lnTo>
                <a:lnTo>
                  <a:pt x="30" y="12"/>
                </a:lnTo>
                <a:lnTo>
                  <a:pt x="24" y="20"/>
                </a:lnTo>
                <a:lnTo>
                  <a:pt x="16" y="22"/>
                </a:lnTo>
                <a:lnTo>
                  <a:pt x="6" y="32"/>
                </a:lnTo>
                <a:lnTo>
                  <a:pt x="0" y="16"/>
                </a:lnTo>
                <a:lnTo>
                  <a:pt x="1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6" name="Freeform 169">
            <a:extLst>
              <a:ext uri="{FF2B5EF4-FFF2-40B4-BE49-F238E27FC236}">
                <a16:creationId xmlns:a16="http://schemas.microsoft.com/office/drawing/2014/main" id="{1C42F06B-782E-4738-B892-9E8C83E89588}"/>
              </a:ext>
            </a:extLst>
          </p:cNvPr>
          <p:cNvSpPr>
            <a:spLocks/>
          </p:cNvSpPr>
          <p:nvPr/>
        </p:nvSpPr>
        <p:spPr bwMode="gray">
          <a:xfrm>
            <a:off x="6694886" y="4686366"/>
            <a:ext cx="164339" cy="161369"/>
          </a:xfrm>
          <a:custGeom>
            <a:avLst/>
            <a:gdLst>
              <a:gd name="T0" fmla="*/ 0 w 86"/>
              <a:gd name="T1" fmla="*/ 84 h 84"/>
              <a:gd name="T2" fmla="*/ 2 w 86"/>
              <a:gd name="T3" fmla="*/ 64 h 84"/>
              <a:gd name="T4" fmla="*/ 6 w 86"/>
              <a:gd name="T5" fmla="*/ 52 h 84"/>
              <a:gd name="T6" fmla="*/ 26 w 86"/>
              <a:gd name="T7" fmla="*/ 34 h 84"/>
              <a:gd name="T8" fmla="*/ 26 w 86"/>
              <a:gd name="T9" fmla="*/ 30 h 84"/>
              <a:gd name="T10" fmla="*/ 20 w 86"/>
              <a:gd name="T11" fmla="*/ 28 h 84"/>
              <a:gd name="T12" fmla="*/ 16 w 86"/>
              <a:gd name="T13" fmla="*/ 4 h 84"/>
              <a:gd name="T14" fmla="*/ 68 w 86"/>
              <a:gd name="T15" fmla="*/ 0 h 84"/>
              <a:gd name="T16" fmla="*/ 80 w 86"/>
              <a:gd name="T17" fmla="*/ 20 h 84"/>
              <a:gd name="T18" fmla="*/ 86 w 86"/>
              <a:gd name="T19" fmla="*/ 42 h 84"/>
              <a:gd name="T20" fmla="*/ 72 w 86"/>
              <a:gd name="T21" fmla="*/ 58 h 84"/>
              <a:gd name="T22" fmla="*/ 76 w 86"/>
              <a:gd name="T23" fmla="*/ 72 h 84"/>
              <a:gd name="T24" fmla="*/ 70 w 86"/>
              <a:gd name="T25" fmla="*/ 84 h 84"/>
              <a:gd name="T26" fmla="*/ 36 w 86"/>
              <a:gd name="T27" fmla="*/ 82 h 84"/>
              <a:gd name="T28" fmla="*/ 14 w 86"/>
              <a:gd name="T29" fmla="*/ 82 h 84"/>
              <a:gd name="T30" fmla="*/ 0 w 86"/>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84">
                <a:moveTo>
                  <a:pt x="0" y="84"/>
                </a:moveTo>
                <a:lnTo>
                  <a:pt x="2" y="64"/>
                </a:lnTo>
                <a:lnTo>
                  <a:pt x="6" y="52"/>
                </a:lnTo>
                <a:lnTo>
                  <a:pt x="26" y="34"/>
                </a:lnTo>
                <a:lnTo>
                  <a:pt x="26" y="30"/>
                </a:lnTo>
                <a:lnTo>
                  <a:pt x="20" y="28"/>
                </a:lnTo>
                <a:lnTo>
                  <a:pt x="16" y="4"/>
                </a:lnTo>
                <a:lnTo>
                  <a:pt x="68" y="0"/>
                </a:lnTo>
                <a:lnTo>
                  <a:pt x="80" y="20"/>
                </a:lnTo>
                <a:lnTo>
                  <a:pt x="86" y="42"/>
                </a:lnTo>
                <a:lnTo>
                  <a:pt x="72" y="58"/>
                </a:lnTo>
                <a:lnTo>
                  <a:pt x="76" y="72"/>
                </a:lnTo>
                <a:lnTo>
                  <a:pt x="70" y="84"/>
                </a:lnTo>
                <a:lnTo>
                  <a:pt x="36" y="82"/>
                </a:lnTo>
                <a:lnTo>
                  <a:pt x="14" y="82"/>
                </a:lnTo>
                <a:lnTo>
                  <a:pt x="0" y="8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7" name="Freeform 170">
            <a:extLst>
              <a:ext uri="{FF2B5EF4-FFF2-40B4-BE49-F238E27FC236}">
                <a16:creationId xmlns:a16="http://schemas.microsoft.com/office/drawing/2014/main" id="{75CA18AA-EAAB-4279-949A-15988C167180}"/>
              </a:ext>
            </a:extLst>
          </p:cNvPr>
          <p:cNvSpPr>
            <a:spLocks/>
          </p:cNvSpPr>
          <p:nvPr/>
        </p:nvSpPr>
        <p:spPr bwMode="gray">
          <a:xfrm>
            <a:off x="6163649" y="4989894"/>
            <a:ext cx="401293" cy="391896"/>
          </a:xfrm>
          <a:custGeom>
            <a:avLst/>
            <a:gdLst>
              <a:gd name="T0" fmla="*/ 0 w 210"/>
              <a:gd name="T1" fmla="*/ 186 h 204"/>
              <a:gd name="T2" fmla="*/ 0 w 210"/>
              <a:gd name="T3" fmla="*/ 162 h 204"/>
              <a:gd name="T4" fmla="*/ 8 w 210"/>
              <a:gd name="T5" fmla="*/ 126 h 204"/>
              <a:gd name="T6" fmla="*/ 28 w 210"/>
              <a:gd name="T7" fmla="*/ 94 h 204"/>
              <a:gd name="T8" fmla="*/ 28 w 210"/>
              <a:gd name="T9" fmla="*/ 78 h 204"/>
              <a:gd name="T10" fmla="*/ 16 w 210"/>
              <a:gd name="T11" fmla="*/ 52 h 204"/>
              <a:gd name="T12" fmla="*/ 20 w 210"/>
              <a:gd name="T13" fmla="*/ 38 h 204"/>
              <a:gd name="T14" fmla="*/ 0 w 210"/>
              <a:gd name="T15" fmla="*/ 2 h 204"/>
              <a:gd name="T16" fmla="*/ 10 w 210"/>
              <a:gd name="T17" fmla="*/ 0 h 204"/>
              <a:gd name="T18" fmla="*/ 72 w 210"/>
              <a:gd name="T19" fmla="*/ 0 h 204"/>
              <a:gd name="T20" fmla="*/ 76 w 210"/>
              <a:gd name="T21" fmla="*/ 14 h 204"/>
              <a:gd name="T22" fmla="*/ 86 w 210"/>
              <a:gd name="T23" fmla="*/ 32 h 204"/>
              <a:gd name="T24" fmla="*/ 116 w 210"/>
              <a:gd name="T25" fmla="*/ 34 h 204"/>
              <a:gd name="T26" fmla="*/ 126 w 210"/>
              <a:gd name="T27" fmla="*/ 18 h 204"/>
              <a:gd name="T28" fmla="*/ 152 w 210"/>
              <a:gd name="T29" fmla="*/ 24 h 204"/>
              <a:gd name="T30" fmla="*/ 154 w 210"/>
              <a:gd name="T31" fmla="*/ 64 h 204"/>
              <a:gd name="T32" fmla="*/ 164 w 210"/>
              <a:gd name="T33" fmla="*/ 70 h 204"/>
              <a:gd name="T34" fmla="*/ 162 w 210"/>
              <a:gd name="T35" fmla="*/ 82 h 204"/>
              <a:gd name="T36" fmla="*/ 188 w 210"/>
              <a:gd name="T37" fmla="*/ 82 h 204"/>
              <a:gd name="T38" fmla="*/ 188 w 210"/>
              <a:gd name="T39" fmla="*/ 116 h 204"/>
              <a:gd name="T40" fmla="*/ 158 w 210"/>
              <a:gd name="T41" fmla="*/ 116 h 204"/>
              <a:gd name="T42" fmla="*/ 160 w 210"/>
              <a:gd name="T43" fmla="*/ 168 h 204"/>
              <a:gd name="T44" fmla="*/ 178 w 210"/>
              <a:gd name="T45" fmla="*/ 188 h 204"/>
              <a:gd name="T46" fmla="*/ 204 w 210"/>
              <a:gd name="T47" fmla="*/ 190 h 204"/>
              <a:gd name="T48" fmla="*/ 210 w 210"/>
              <a:gd name="T49" fmla="*/ 196 h 204"/>
              <a:gd name="T50" fmla="*/ 204 w 210"/>
              <a:gd name="T51" fmla="*/ 196 h 204"/>
              <a:gd name="T52" fmla="*/ 182 w 210"/>
              <a:gd name="T53" fmla="*/ 204 h 204"/>
              <a:gd name="T54" fmla="*/ 176 w 210"/>
              <a:gd name="T55" fmla="*/ 196 h 204"/>
              <a:gd name="T56" fmla="*/ 142 w 210"/>
              <a:gd name="T57" fmla="*/ 200 h 204"/>
              <a:gd name="T58" fmla="*/ 134 w 210"/>
              <a:gd name="T59" fmla="*/ 194 h 204"/>
              <a:gd name="T60" fmla="*/ 106 w 210"/>
              <a:gd name="T61" fmla="*/ 192 h 204"/>
              <a:gd name="T62" fmla="*/ 98 w 210"/>
              <a:gd name="T63" fmla="*/ 186 h 204"/>
              <a:gd name="T64" fmla="*/ 0 w 210"/>
              <a:gd name="T65"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0" h="204">
                <a:moveTo>
                  <a:pt x="0" y="186"/>
                </a:moveTo>
                <a:lnTo>
                  <a:pt x="0" y="162"/>
                </a:lnTo>
                <a:lnTo>
                  <a:pt x="8" y="126"/>
                </a:lnTo>
                <a:lnTo>
                  <a:pt x="28" y="94"/>
                </a:lnTo>
                <a:lnTo>
                  <a:pt x="28" y="78"/>
                </a:lnTo>
                <a:lnTo>
                  <a:pt x="16" y="52"/>
                </a:lnTo>
                <a:lnTo>
                  <a:pt x="20" y="38"/>
                </a:lnTo>
                <a:lnTo>
                  <a:pt x="0" y="2"/>
                </a:lnTo>
                <a:lnTo>
                  <a:pt x="10" y="0"/>
                </a:lnTo>
                <a:lnTo>
                  <a:pt x="72" y="0"/>
                </a:lnTo>
                <a:lnTo>
                  <a:pt x="76" y="14"/>
                </a:lnTo>
                <a:lnTo>
                  <a:pt x="86" y="32"/>
                </a:lnTo>
                <a:lnTo>
                  <a:pt x="116" y="34"/>
                </a:lnTo>
                <a:lnTo>
                  <a:pt x="126" y="18"/>
                </a:lnTo>
                <a:lnTo>
                  <a:pt x="152" y="24"/>
                </a:lnTo>
                <a:lnTo>
                  <a:pt x="154" y="64"/>
                </a:lnTo>
                <a:lnTo>
                  <a:pt x="164" y="70"/>
                </a:lnTo>
                <a:lnTo>
                  <a:pt x="162" y="82"/>
                </a:lnTo>
                <a:lnTo>
                  <a:pt x="188" y="82"/>
                </a:lnTo>
                <a:lnTo>
                  <a:pt x="188" y="116"/>
                </a:lnTo>
                <a:lnTo>
                  <a:pt x="158" y="116"/>
                </a:lnTo>
                <a:lnTo>
                  <a:pt x="160" y="168"/>
                </a:lnTo>
                <a:lnTo>
                  <a:pt x="178" y="188"/>
                </a:lnTo>
                <a:lnTo>
                  <a:pt x="204" y="190"/>
                </a:lnTo>
                <a:lnTo>
                  <a:pt x="210" y="196"/>
                </a:lnTo>
                <a:lnTo>
                  <a:pt x="204" y="196"/>
                </a:lnTo>
                <a:lnTo>
                  <a:pt x="182" y="204"/>
                </a:lnTo>
                <a:lnTo>
                  <a:pt x="176" y="196"/>
                </a:lnTo>
                <a:lnTo>
                  <a:pt x="142" y="200"/>
                </a:lnTo>
                <a:lnTo>
                  <a:pt x="134" y="194"/>
                </a:lnTo>
                <a:lnTo>
                  <a:pt x="106" y="192"/>
                </a:lnTo>
                <a:lnTo>
                  <a:pt x="98" y="186"/>
                </a:lnTo>
                <a:lnTo>
                  <a:pt x="0" y="18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8" name="Freeform 171">
            <a:extLst>
              <a:ext uri="{FF2B5EF4-FFF2-40B4-BE49-F238E27FC236}">
                <a16:creationId xmlns:a16="http://schemas.microsoft.com/office/drawing/2014/main" id="{96BBE507-5D14-4F29-A589-0FD28F5C050E}"/>
              </a:ext>
            </a:extLst>
          </p:cNvPr>
          <p:cNvSpPr>
            <a:spLocks/>
          </p:cNvSpPr>
          <p:nvPr/>
        </p:nvSpPr>
        <p:spPr bwMode="gray">
          <a:xfrm>
            <a:off x="6175113" y="4647945"/>
            <a:ext cx="569455" cy="576318"/>
          </a:xfrm>
          <a:custGeom>
            <a:avLst/>
            <a:gdLst>
              <a:gd name="T0" fmla="*/ 0 w 298"/>
              <a:gd name="T1" fmla="*/ 176 h 300"/>
              <a:gd name="T2" fmla="*/ 6 w 298"/>
              <a:gd name="T3" fmla="*/ 162 h 300"/>
              <a:gd name="T4" fmla="*/ 14 w 298"/>
              <a:gd name="T5" fmla="*/ 160 h 300"/>
              <a:gd name="T6" fmla="*/ 34 w 298"/>
              <a:gd name="T7" fmla="*/ 156 h 300"/>
              <a:gd name="T8" fmla="*/ 60 w 298"/>
              <a:gd name="T9" fmla="*/ 144 h 300"/>
              <a:gd name="T10" fmla="*/ 64 w 298"/>
              <a:gd name="T11" fmla="*/ 112 h 300"/>
              <a:gd name="T12" fmla="*/ 88 w 298"/>
              <a:gd name="T13" fmla="*/ 74 h 300"/>
              <a:gd name="T14" fmla="*/ 94 w 298"/>
              <a:gd name="T15" fmla="*/ 42 h 300"/>
              <a:gd name="T16" fmla="*/ 96 w 298"/>
              <a:gd name="T17" fmla="*/ 30 h 300"/>
              <a:gd name="T18" fmla="*/ 98 w 298"/>
              <a:gd name="T19" fmla="*/ 16 h 300"/>
              <a:gd name="T20" fmla="*/ 112 w 298"/>
              <a:gd name="T21" fmla="*/ 0 h 300"/>
              <a:gd name="T22" fmla="*/ 126 w 298"/>
              <a:gd name="T23" fmla="*/ 14 h 300"/>
              <a:gd name="T24" fmla="*/ 138 w 298"/>
              <a:gd name="T25" fmla="*/ 18 h 300"/>
              <a:gd name="T26" fmla="*/ 160 w 298"/>
              <a:gd name="T27" fmla="*/ 20 h 300"/>
              <a:gd name="T28" fmla="*/ 172 w 298"/>
              <a:gd name="T29" fmla="*/ 12 h 300"/>
              <a:gd name="T30" fmla="*/ 206 w 298"/>
              <a:gd name="T31" fmla="*/ 2 h 300"/>
              <a:gd name="T32" fmla="*/ 236 w 298"/>
              <a:gd name="T33" fmla="*/ 4 h 300"/>
              <a:gd name="T34" fmla="*/ 244 w 298"/>
              <a:gd name="T35" fmla="*/ 14 h 300"/>
              <a:gd name="T36" fmla="*/ 272 w 298"/>
              <a:gd name="T37" fmla="*/ 12 h 300"/>
              <a:gd name="T38" fmla="*/ 288 w 298"/>
              <a:gd name="T39" fmla="*/ 24 h 300"/>
              <a:gd name="T40" fmla="*/ 292 w 298"/>
              <a:gd name="T41" fmla="*/ 48 h 300"/>
              <a:gd name="T42" fmla="*/ 298 w 298"/>
              <a:gd name="T43" fmla="*/ 50 h 300"/>
              <a:gd name="T44" fmla="*/ 298 w 298"/>
              <a:gd name="T45" fmla="*/ 54 h 300"/>
              <a:gd name="T46" fmla="*/ 278 w 298"/>
              <a:gd name="T47" fmla="*/ 72 h 300"/>
              <a:gd name="T48" fmla="*/ 274 w 298"/>
              <a:gd name="T49" fmla="*/ 84 h 300"/>
              <a:gd name="T50" fmla="*/ 272 w 298"/>
              <a:gd name="T51" fmla="*/ 104 h 300"/>
              <a:gd name="T52" fmla="*/ 262 w 298"/>
              <a:gd name="T53" fmla="*/ 118 h 300"/>
              <a:gd name="T54" fmla="*/ 268 w 298"/>
              <a:gd name="T55" fmla="*/ 134 h 300"/>
              <a:gd name="T56" fmla="*/ 270 w 298"/>
              <a:gd name="T57" fmla="*/ 158 h 300"/>
              <a:gd name="T58" fmla="*/ 270 w 298"/>
              <a:gd name="T59" fmla="*/ 172 h 300"/>
              <a:gd name="T60" fmla="*/ 272 w 298"/>
              <a:gd name="T61" fmla="*/ 184 h 300"/>
              <a:gd name="T62" fmla="*/ 286 w 298"/>
              <a:gd name="T63" fmla="*/ 202 h 300"/>
              <a:gd name="T64" fmla="*/ 288 w 298"/>
              <a:gd name="T65" fmla="*/ 218 h 300"/>
              <a:gd name="T66" fmla="*/ 270 w 298"/>
              <a:gd name="T67" fmla="*/ 218 h 300"/>
              <a:gd name="T68" fmla="*/ 254 w 298"/>
              <a:gd name="T69" fmla="*/ 226 h 300"/>
              <a:gd name="T70" fmla="*/ 256 w 298"/>
              <a:gd name="T71" fmla="*/ 244 h 300"/>
              <a:gd name="T72" fmla="*/ 252 w 298"/>
              <a:gd name="T73" fmla="*/ 266 h 300"/>
              <a:gd name="T74" fmla="*/ 262 w 298"/>
              <a:gd name="T75" fmla="*/ 276 h 300"/>
              <a:gd name="T76" fmla="*/ 276 w 298"/>
              <a:gd name="T77" fmla="*/ 282 h 300"/>
              <a:gd name="T78" fmla="*/ 276 w 298"/>
              <a:gd name="T79" fmla="*/ 300 h 300"/>
              <a:gd name="T80" fmla="*/ 262 w 298"/>
              <a:gd name="T81" fmla="*/ 300 h 300"/>
              <a:gd name="T82" fmla="*/ 254 w 298"/>
              <a:gd name="T83" fmla="*/ 288 h 300"/>
              <a:gd name="T84" fmla="*/ 242 w 298"/>
              <a:gd name="T85" fmla="*/ 282 h 300"/>
              <a:gd name="T86" fmla="*/ 234 w 298"/>
              <a:gd name="T87" fmla="*/ 270 h 300"/>
              <a:gd name="T88" fmla="*/ 220 w 298"/>
              <a:gd name="T89" fmla="*/ 276 h 300"/>
              <a:gd name="T90" fmla="*/ 182 w 298"/>
              <a:gd name="T91" fmla="*/ 260 h 300"/>
              <a:gd name="T92" fmla="*/ 156 w 298"/>
              <a:gd name="T93" fmla="*/ 260 h 300"/>
              <a:gd name="T94" fmla="*/ 158 w 298"/>
              <a:gd name="T95" fmla="*/ 248 h 300"/>
              <a:gd name="T96" fmla="*/ 148 w 298"/>
              <a:gd name="T97" fmla="*/ 242 h 300"/>
              <a:gd name="T98" fmla="*/ 146 w 298"/>
              <a:gd name="T99" fmla="*/ 202 h 300"/>
              <a:gd name="T100" fmla="*/ 120 w 298"/>
              <a:gd name="T101" fmla="*/ 196 h 300"/>
              <a:gd name="T102" fmla="*/ 110 w 298"/>
              <a:gd name="T103" fmla="*/ 212 h 300"/>
              <a:gd name="T104" fmla="*/ 80 w 298"/>
              <a:gd name="T105" fmla="*/ 210 h 300"/>
              <a:gd name="T106" fmla="*/ 70 w 298"/>
              <a:gd name="T107" fmla="*/ 192 h 300"/>
              <a:gd name="T108" fmla="*/ 66 w 298"/>
              <a:gd name="T109" fmla="*/ 178 h 300"/>
              <a:gd name="T110" fmla="*/ 6 w 298"/>
              <a:gd name="T111" fmla="*/ 178 h 300"/>
              <a:gd name="T112" fmla="*/ 0 w 298"/>
              <a:gd name="T113" fmla="*/ 17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300">
                <a:moveTo>
                  <a:pt x="0" y="176"/>
                </a:moveTo>
                <a:lnTo>
                  <a:pt x="6" y="162"/>
                </a:lnTo>
                <a:lnTo>
                  <a:pt x="14" y="160"/>
                </a:lnTo>
                <a:lnTo>
                  <a:pt x="34" y="156"/>
                </a:lnTo>
                <a:lnTo>
                  <a:pt x="60" y="144"/>
                </a:lnTo>
                <a:lnTo>
                  <a:pt x="64" y="112"/>
                </a:lnTo>
                <a:lnTo>
                  <a:pt x="88" y="74"/>
                </a:lnTo>
                <a:lnTo>
                  <a:pt x="94" y="42"/>
                </a:lnTo>
                <a:lnTo>
                  <a:pt x="96" y="30"/>
                </a:lnTo>
                <a:lnTo>
                  <a:pt x="98" y="16"/>
                </a:lnTo>
                <a:lnTo>
                  <a:pt x="112" y="0"/>
                </a:lnTo>
                <a:lnTo>
                  <a:pt x="126" y="14"/>
                </a:lnTo>
                <a:lnTo>
                  <a:pt x="138" y="18"/>
                </a:lnTo>
                <a:lnTo>
                  <a:pt x="160" y="20"/>
                </a:lnTo>
                <a:lnTo>
                  <a:pt x="172" y="12"/>
                </a:lnTo>
                <a:lnTo>
                  <a:pt x="206" y="2"/>
                </a:lnTo>
                <a:lnTo>
                  <a:pt x="236" y="4"/>
                </a:lnTo>
                <a:lnTo>
                  <a:pt x="244" y="14"/>
                </a:lnTo>
                <a:lnTo>
                  <a:pt x="272" y="12"/>
                </a:lnTo>
                <a:lnTo>
                  <a:pt x="288" y="24"/>
                </a:lnTo>
                <a:lnTo>
                  <a:pt x="292" y="48"/>
                </a:lnTo>
                <a:lnTo>
                  <a:pt x="298" y="50"/>
                </a:lnTo>
                <a:lnTo>
                  <a:pt x="298" y="54"/>
                </a:lnTo>
                <a:lnTo>
                  <a:pt x="278" y="72"/>
                </a:lnTo>
                <a:lnTo>
                  <a:pt x="274" y="84"/>
                </a:lnTo>
                <a:lnTo>
                  <a:pt x="272" y="104"/>
                </a:lnTo>
                <a:lnTo>
                  <a:pt x="262" y="118"/>
                </a:lnTo>
                <a:lnTo>
                  <a:pt x="268" y="134"/>
                </a:lnTo>
                <a:lnTo>
                  <a:pt x="270" y="158"/>
                </a:lnTo>
                <a:lnTo>
                  <a:pt x="270" y="172"/>
                </a:lnTo>
                <a:lnTo>
                  <a:pt x="272" y="184"/>
                </a:lnTo>
                <a:lnTo>
                  <a:pt x="286" y="202"/>
                </a:lnTo>
                <a:lnTo>
                  <a:pt x="288" y="218"/>
                </a:lnTo>
                <a:lnTo>
                  <a:pt x="270" y="218"/>
                </a:lnTo>
                <a:lnTo>
                  <a:pt x="254" y="226"/>
                </a:lnTo>
                <a:lnTo>
                  <a:pt x="256" y="244"/>
                </a:lnTo>
                <a:lnTo>
                  <a:pt x="252" y="266"/>
                </a:lnTo>
                <a:lnTo>
                  <a:pt x="262" y="276"/>
                </a:lnTo>
                <a:lnTo>
                  <a:pt x="276" y="282"/>
                </a:lnTo>
                <a:lnTo>
                  <a:pt x="276" y="300"/>
                </a:lnTo>
                <a:lnTo>
                  <a:pt x="262" y="300"/>
                </a:lnTo>
                <a:lnTo>
                  <a:pt x="254" y="288"/>
                </a:lnTo>
                <a:lnTo>
                  <a:pt x="242" y="282"/>
                </a:lnTo>
                <a:lnTo>
                  <a:pt x="234" y="270"/>
                </a:lnTo>
                <a:lnTo>
                  <a:pt x="220" y="276"/>
                </a:lnTo>
                <a:lnTo>
                  <a:pt x="182" y="260"/>
                </a:lnTo>
                <a:lnTo>
                  <a:pt x="156" y="260"/>
                </a:lnTo>
                <a:lnTo>
                  <a:pt x="158" y="248"/>
                </a:lnTo>
                <a:lnTo>
                  <a:pt x="148" y="242"/>
                </a:lnTo>
                <a:lnTo>
                  <a:pt x="146" y="202"/>
                </a:lnTo>
                <a:lnTo>
                  <a:pt x="120" y="196"/>
                </a:lnTo>
                <a:lnTo>
                  <a:pt x="110" y="212"/>
                </a:lnTo>
                <a:lnTo>
                  <a:pt x="80" y="210"/>
                </a:lnTo>
                <a:lnTo>
                  <a:pt x="70" y="192"/>
                </a:lnTo>
                <a:lnTo>
                  <a:pt x="66" y="178"/>
                </a:lnTo>
                <a:lnTo>
                  <a:pt x="6" y="178"/>
                </a:lnTo>
                <a:lnTo>
                  <a:pt x="0" y="17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79" name="Freeform 172">
            <a:extLst>
              <a:ext uri="{FF2B5EF4-FFF2-40B4-BE49-F238E27FC236}">
                <a16:creationId xmlns:a16="http://schemas.microsoft.com/office/drawing/2014/main" id="{235D61A2-F09C-4DB7-A058-C539EE9326AA}"/>
              </a:ext>
            </a:extLst>
          </p:cNvPr>
          <p:cNvSpPr>
            <a:spLocks/>
          </p:cNvSpPr>
          <p:nvPr/>
        </p:nvSpPr>
        <p:spPr bwMode="gray">
          <a:xfrm>
            <a:off x="6163649" y="4947630"/>
            <a:ext cx="22931" cy="38422"/>
          </a:xfrm>
          <a:custGeom>
            <a:avLst/>
            <a:gdLst>
              <a:gd name="T0" fmla="*/ 0 w 12"/>
              <a:gd name="T1" fmla="*/ 4 h 20"/>
              <a:gd name="T2" fmla="*/ 10 w 12"/>
              <a:gd name="T3" fmla="*/ 0 h 20"/>
              <a:gd name="T4" fmla="*/ 12 w 12"/>
              <a:gd name="T5" fmla="*/ 4 h 20"/>
              <a:gd name="T6" fmla="*/ 10 w 12"/>
              <a:gd name="T7" fmla="*/ 12 h 20"/>
              <a:gd name="T8" fmla="*/ 0 w 12"/>
              <a:gd name="T9" fmla="*/ 20 h 20"/>
              <a:gd name="T10" fmla="*/ 0 w 12"/>
              <a:gd name="T11" fmla="*/ 4 h 20"/>
            </a:gdLst>
            <a:ahLst/>
            <a:cxnLst>
              <a:cxn ang="0">
                <a:pos x="T0" y="T1"/>
              </a:cxn>
              <a:cxn ang="0">
                <a:pos x="T2" y="T3"/>
              </a:cxn>
              <a:cxn ang="0">
                <a:pos x="T4" y="T5"/>
              </a:cxn>
              <a:cxn ang="0">
                <a:pos x="T6" y="T7"/>
              </a:cxn>
              <a:cxn ang="0">
                <a:pos x="T8" y="T9"/>
              </a:cxn>
              <a:cxn ang="0">
                <a:pos x="T10" y="T11"/>
              </a:cxn>
            </a:cxnLst>
            <a:rect l="0" t="0" r="r" b="b"/>
            <a:pathLst>
              <a:path w="12" h="20">
                <a:moveTo>
                  <a:pt x="0" y="4"/>
                </a:moveTo>
                <a:lnTo>
                  <a:pt x="10" y="0"/>
                </a:lnTo>
                <a:lnTo>
                  <a:pt x="12" y="4"/>
                </a:lnTo>
                <a:lnTo>
                  <a:pt x="10" y="12"/>
                </a:lnTo>
                <a:lnTo>
                  <a:pt x="0" y="20"/>
                </a:lnTo>
                <a:lnTo>
                  <a:pt x="0"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0" name="Freeform 173">
            <a:extLst>
              <a:ext uri="{FF2B5EF4-FFF2-40B4-BE49-F238E27FC236}">
                <a16:creationId xmlns:a16="http://schemas.microsoft.com/office/drawing/2014/main" id="{3738DF10-2AAE-4BB7-8DE0-DA139D5A8686}"/>
              </a:ext>
            </a:extLst>
          </p:cNvPr>
          <p:cNvSpPr>
            <a:spLocks/>
          </p:cNvSpPr>
          <p:nvPr/>
        </p:nvSpPr>
        <p:spPr bwMode="gray">
          <a:xfrm>
            <a:off x="6134984" y="4701735"/>
            <a:ext cx="223579" cy="253579"/>
          </a:xfrm>
          <a:custGeom>
            <a:avLst/>
            <a:gdLst>
              <a:gd name="T0" fmla="*/ 0 w 117"/>
              <a:gd name="T1" fmla="*/ 116 h 132"/>
              <a:gd name="T2" fmla="*/ 15 w 117"/>
              <a:gd name="T3" fmla="*/ 116 h 132"/>
              <a:gd name="T4" fmla="*/ 15 w 117"/>
              <a:gd name="T5" fmla="*/ 106 h 132"/>
              <a:gd name="T6" fmla="*/ 7 w 117"/>
              <a:gd name="T7" fmla="*/ 106 h 132"/>
              <a:gd name="T8" fmla="*/ 7 w 117"/>
              <a:gd name="T9" fmla="*/ 94 h 132"/>
              <a:gd name="T10" fmla="*/ 15 w 117"/>
              <a:gd name="T11" fmla="*/ 94 h 132"/>
              <a:gd name="T12" fmla="*/ 25 w 117"/>
              <a:gd name="T13" fmla="*/ 86 h 132"/>
              <a:gd name="T14" fmla="*/ 31 w 117"/>
              <a:gd name="T15" fmla="*/ 94 h 132"/>
              <a:gd name="T16" fmla="*/ 49 w 117"/>
              <a:gd name="T17" fmla="*/ 96 h 132"/>
              <a:gd name="T18" fmla="*/ 53 w 117"/>
              <a:gd name="T19" fmla="*/ 88 h 132"/>
              <a:gd name="T20" fmla="*/ 53 w 117"/>
              <a:gd name="T21" fmla="*/ 68 h 132"/>
              <a:gd name="T22" fmla="*/ 45 w 117"/>
              <a:gd name="T23" fmla="*/ 62 h 132"/>
              <a:gd name="T24" fmla="*/ 45 w 117"/>
              <a:gd name="T25" fmla="*/ 50 h 132"/>
              <a:gd name="T26" fmla="*/ 53 w 117"/>
              <a:gd name="T27" fmla="*/ 44 h 132"/>
              <a:gd name="T28" fmla="*/ 49 w 117"/>
              <a:gd name="T29" fmla="*/ 34 h 132"/>
              <a:gd name="T30" fmla="*/ 35 w 117"/>
              <a:gd name="T31" fmla="*/ 36 h 132"/>
              <a:gd name="T32" fmla="*/ 31 w 117"/>
              <a:gd name="T33" fmla="*/ 20 h 132"/>
              <a:gd name="T34" fmla="*/ 59 w 117"/>
              <a:gd name="T35" fmla="*/ 20 h 132"/>
              <a:gd name="T36" fmla="*/ 59 w 117"/>
              <a:gd name="T37" fmla="*/ 28 h 132"/>
              <a:gd name="T38" fmla="*/ 77 w 117"/>
              <a:gd name="T39" fmla="*/ 26 h 132"/>
              <a:gd name="T40" fmla="*/ 79 w 117"/>
              <a:gd name="T41" fmla="*/ 12 h 132"/>
              <a:gd name="T42" fmla="*/ 87 w 117"/>
              <a:gd name="T43" fmla="*/ 0 h 132"/>
              <a:gd name="T44" fmla="*/ 117 w 117"/>
              <a:gd name="T45" fmla="*/ 2 h 132"/>
              <a:gd name="T46" fmla="*/ 109 w 117"/>
              <a:gd name="T47" fmla="*/ 46 h 132"/>
              <a:gd name="T48" fmla="*/ 85 w 117"/>
              <a:gd name="T49" fmla="*/ 84 h 132"/>
              <a:gd name="T50" fmla="*/ 81 w 117"/>
              <a:gd name="T51" fmla="*/ 116 h 132"/>
              <a:gd name="T52" fmla="*/ 55 w 117"/>
              <a:gd name="T53" fmla="*/ 128 h 132"/>
              <a:gd name="T54" fmla="*/ 27 w 117"/>
              <a:gd name="T55" fmla="*/ 132 h 132"/>
              <a:gd name="T56" fmla="*/ 25 w 117"/>
              <a:gd name="T57" fmla="*/ 128 h 132"/>
              <a:gd name="T58" fmla="*/ 15 w 117"/>
              <a:gd name="T59" fmla="*/ 132 h 132"/>
              <a:gd name="T60" fmla="*/ 0 w 117"/>
              <a:gd name="T6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 h="132">
                <a:moveTo>
                  <a:pt x="0" y="116"/>
                </a:moveTo>
                <a:lnTo>
                  <a:pt x="15" y="116"/>
                </a:lnTo>
                <a:lnTo>
                  <a:pt x="15" y="106"/>
                </a:lnTo>
                <a:lnTo>
                  <a:pt x="7" y="106"/>
                </a:lnTo>
                <a:lnTo>
                  <a:pt x="7" y="94"/>
                </a:lnTo>
                <a:lnTo>
                  <a:pt x="15" y="94"/>
                </a:lnTo>
                <a:lnTo>
                  <a:pt x="25" y="86"/>
                </a:lnTo>
                <a:lnTo>
                  <a:pt x="31" y="94"/>
                </a:lnTo>
                <a:lnTo>
                  <a:pt x="49" y="96"/>
                </a:lnTo>
                <a:lnTo>
                  <a:pt x="53" y="88"/>
                </a:lnTo>
                <a:lnTo>
                  <a:pt x="53" y="68"/>
                </a:lnTo>
                <a:lnTo>
                  <a:pt x="45" y="62"/>
                </a:lnTo>
                <a:lnTo>
                  <a:pt x="45" y="50"/>
                </a:lnTo>
                <a:lnTo>
                  <a:pt x="53" y="44"/>
                </a:lnTo>
                <a:lnTo>
                  <a:pt x="49" y="34"/>
                </a:lnTo>
                <a:lnTo>
                  <a:pt x="35" y="36"/>
                </a:lnTo>
                <a:lnTo>
                  <a:pt x="31" y="20"/>
                </a:lnTo>
                <a:lnTo>
                  <a:pt x="59" y="20"/>
                </a:lnTo>
                <a:lnTo>
                  <a:pt x="59" y="28"/>
                </a:lnTo>
                <a:lnTo>
                  <a:pt x="77" y="26"/>
                </a:lnTo>
                <a:lnTo>
                  <a:pt x="79" y="12"/>
                </a:lnTo>
                <a:lnTo>
                  <a:pt x="87" y="0"/>
                </a:lnTo>
                <a:lnTo>
                  <a:pt x="117" y="2"/>
                </a:lnTo>
                <a:lnTo>
                  <a:pt x="109" y="46"/>
                </a:lnTo>
                <a:lnTo>
                  <a:pt x="85" y="84"/>
                </a:lnTo>
                <a:lnTo>
                  <a:pt x="81" y="116"/>
                </a:lnTo>
                <a:lnTo>
                  <a:pt x="55" y="128"/>
                </a:lnTo>
                <a:lnTo>
                  <a:pt x="27" y="132"/>
                </a:lnTo>
                <a:lnTo>
                  <a:pt x="25" y="128"/>
                </a:lnTo>
                <a:lnTo>
                  <a:pt x="15" y="132"/>
                </a:lnTo>
                <a:lnTo>
                  <a:pt x="0" y="1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1" name="Freeform 174">
            <a:extLst>
              <a:ext uri="{FF2B5EF4-FFF2-40B4-BE49-F238E27FC236}">
                <a16:creationId xmlns:a16="http://schemas.microsoft.com/office/drawing/2014/main" id="{AC15D2DD-D09B-4191-92DB-DAD76AD73F01}"/>
              </a:ext>
            </a:extLst>
          </p:cNvPr>
          <p:cNvSpPr>
            <a:spLocks/>
          </p:cNvSpPr>
          <p:nvPr/>
        </p:nvSpPr>
        <p:spPr bwMode="gray">
          <a:xfrm>
            <a:off x="6824828" y="4670998"/>
            <a:ext cx="240778" cy="284317"/>
          </a:xfrm>
          <a:custGeom>
            <a:avLst/>
            <a:gdLst>
              <a:gd name="T0" fmla="*/ 8 w 126"/>
              <a:gd name="T1" fmla="*/ 0 h 148"/>
              <a:gd name="T2" fmla="*/ 28 w 126"/>
              <a:gd name="T3" fmla="*/ 0 h 148"/>
              <a:gd name="T4" fmla="*/ 64 w 126"/>
              <a:gd name="T5" fmla="*/ 16 h 148"/>
              <a:gd name="T6" fmla="*/ 88 w 126"/>
              <a:gd name="T7" fmla="*/ 18 h 148"/>
              <a:gd name="T8" fmla="*/ 108 w 126"/>
              <a:gd name="T9" fmla="*/ 6 h 148"/>
              <a:gd name="T10" fmla="*/ 114 w 126"/>
              <a:gd name="T11" fmla="*/ 14 h 148"/>
              <a:gd name="T12" fmla="*/ 126 w 126"/>
              <a:gd name="T13" fmla="*/ 10 h 148"/>
              <a:gd name="T14" fmla="*/ 126 w 126"/>
              <a:gd name="T15" fmla="*/ 20 h 148"/>
              <a:gd name="T16" fmla="*/ 110 w 126"/>
              <a:gd name="T17" fmla="*/ 30 h 148"/>
              <a:gd name="T18" fmla="*/ 112 w 126"/>
              <a:gd name="T19" fmla="*/ 86 h 148"/>
              <a:gd name="T20" fmla="*/ 122 w 126"/>
              <a:gd name="T21" fmla="*/ 98 h 148"/>
              <a:gd name="T22" fmla="*/ 112 w 126"/>
              <a:gd name="T23" fmla="*/ 106 h 148"/>
              <a:gd name="T24" fmla="*/ 100 w 126"/>
              <a:gd name="T25" fmla="*/ 118 h 148"/>
              <a:gd name="T26" fmla="*/ 92 w 126"/>
              <a:gd name="T27" fmla="*/ 136 h 148"/>
              <a:gd name="T28" fmla="*/ 86 w 126"/>
              <a:gd name="T29" fmla="*/ 148 h 148"/>
              <a:gd name="T30" fmla="*/ 62 w 126"/>
              <a:gd name="T31" fmla="*/ 130 h 148"/>
              <a:gd name="T32" fmla="*/ 58 w 126"/>
              <a:gd name="T33" fmla="*/ 120 h 148"/>
              <a:gd name="T34" fmla="*/ 6 w 126"/>
              <a:gd name="T35" fmla="*/ 92 h 148"/>
              <a:gd name="T36" fmla="*/ 2 w 126"/>
              <a:gd name="T37" fmla="*/ 92 h 148"/>
              <a:gd name="T38" fmla="*/ 6 w 126"/>
              <a:gd name="T39" fmla="*/ 78 h 148"/>
              <a:gd name="T40" fmla="*/ 4 w 126"/>
              <a:gd name="T41" fmla="*/ 66 h 148"/>
              <a:gd name="T42" fmla="*/ 18 w 126"/>
              <a:gd name="T43" fmla="*/ 50 h 148"/>
              <a:gd name="T44" fmla="*/ 12 w 126"/>
              <a:gd name="T45" fmla="*/ 28 h 148"/>
              <a:gd name="T46" fmla="*/ 0 w 126"/>
              <a:gd name="T47" fmla="*/ 8 h 148"/>
              <a:gd name="T48" fmla="*/ 8 w 126"/>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48">
                <a:moveTo>
                  <a:pt x="8" y="0"/>
                </a:moveTo>
                <a:lnTo>
                  <a:pt x="28" y="0"/>
                </a:lnTo>
                <a:lnTo>
                  <a:pt x="64" y="16"/>
                </a:lnTo>
                <a:lnTo>
                  <a:pt x="88" y="18"/>
                </a:lnTo>
                <a:lnTo>
                  <a:pt x="108" y="6"/>
                </a:lnTo>
                <a:lnTo>
                  <a:pt x="114" y="14"/>
                </a:lnTo>
                <a:lnTo>
                  <a:pt x="126" y="10"/>
                </a:lnTo>
                <a:lnTo>
                  <a:pt x="126" y="20"/>
                </a:lnTo>
                <a:lnTo>
                  <a:pt x="110" y="30"/>
                </a:lnTo>
                <a:lnTo>
                  <a:pt x="112" y="86"/>
                </a:lnTo>
                <a:lnTo>
                  <a:pt x="122" y="98"/>
                </a:lnTo>
                <a:lnTo>
                  <a:pt x="112" y="106"/>
                </a:lnTo>
                <a:lnTo>
                  <a:pt x="100" y="118"/>
                </a:lnTo>
                <a:lnTo>
                  <a:pt x="92" y="136"/>
                </a:lnTo>
                <a:lnTo>
                  <a:pt x="86" y="148"/>
                </a:lnTo>
                <a:lnTo>
                  <a:pt x="62" y="130"/>
                </a:lnTo>
                <a:lnTo>
                  <a:pt x="58" y="120"/>
                </a:lnTo>
                <a:lnTo>
                  <a:pt x="6" y="92"/>
                </a:lnTo>
                <a:lnTo>
                  <a:pt x="2" y="92"/>
                </a:lnTo>
                <a:lnTo>
                  <a:pt x="6" y="78"/>
                </a:lnTo>
                <a:lnTo>
                  <a:pt x="4" y="66"/>
                </a:lnTo>
                <a:lnTo>
                  <a:pt x="18" y="50"/>
                </a:lnTo>
                <a:lnTo>
                  <a:pt x="12" y="28"/>
                </a:lnTo>
                <a:lnTo>
                  <a:pt x="0" y="8"/>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2" name="Freeform 175">
            <a:extLst>
              <a:ext uri="{FF2B5EF4-FFF2-40B4-BE49-F238E27FC236}">
                <a16:creationId xmlns:a16="http://schemas.microsoft.com/office/drawing/2014/main" id="{404F451A-D8DF-493C-91E1-BBB935A53445}"/>
              </a:ext>
            </a:extLst>
          </p:cNvPr>
          <p:cNvSpPr>
            <a:spLocks/>
          </p:cNvSpPr>
          <p:nvPr/>
        </p:nvSpPr>
        <p:spPr bwMode="gray">
          <a:xfrm>
            <a:off x="6066190" y="4740155"/>
            <a:ext cx="170073" cy="184422"/>
          </a:xfrm>
          <a:custGeom>
            <a:avLst/>
            <a:gdLst>
              <a:gd name="T0" fmla="*/ 39 w 89"/>
              <a:gd name="T1" fmla="*/ 0 h 96"/>
              <a:gd name="T2" fmla="*/ 67 w 89"/>
              <a:gd name="T3" fmla="*/ 0 h 96"/>
              <a:gd name="T4" fmla="*/ 71 w 89"/>
              <a:gd name="T5" fmla="*/ 16 h 96"/>
              <a:gd name="T6" fmla="*/ 85 w 89"/>
              <a:gd name="T7" fmla="*/ 14 h 96"/>
              <a:gd name="T8" fmla="*/ 89 w 89"/>
              <a:gd name="T9" fmla="*/ 24 h 96"/>
              <a:gd name="T10" fmla="*/ 81 w 89"/>
              <a:gd name="T11" fmla="*/ 30 h 96"/>
              <a:gd name="T12" fmla="*/ 81 w 89"/>
              <a:gd name="T13" fmla="*/ 42 h 96"/>
              <a:gd name="T14" fmla="*/ 89 w 89"/>
              <a:gd name="T15" fmla="*/ 48 h 96"/>
              <a:gd name="T16" fmla="*/ 89 w 89"/>
              <a:gd name="T17" fmla="*/ 68 h 96"/>
              <a:gd name="T18" fmla="*/ 85 w 89"/>
              <a:gd name="T19" fmla="*/ 76 h 96"/>
              <a:gd name="T20" fmla="*/ 67 w 89"/>
              <a:gd name="T21" fmla="*/ 74 h 96"/>
              <a:gd name="T22" fmla="*/ 61 w 89"/>
              <a:gd name="T23" fmla="*/ 66 h 96"/>
              <a:gd name="T24" fmla="*/ 51 w 89"/>
              <a:gd name="T25" fmla="*/ 74 h 96"/>
              <a:gd name="T26" fmla="*/ 43 w 89"/>
              <a:gd name="T27" fmla="*/ 74 h 96"/>
              <a:gd name="T28" fmla="*/ 43 w 89"/>
              <a:gd name="T29" fmla="*/ 86 h 96"/>
              <a:gd name="T30" fmla="*/ 51 w 89"/>
              <a:gd name="T31" fmla="*/ 86 h 96"/>
              <a:gd name="T32" fmla="*/ 51 w 89"/>
              <a:gd name="T33" fmla="*/ 96 h 96"/>
              <a:gd name="T34" fmla="*/ 36 w 89"/>
              <a:gd name="T35" fmla="*/ 96 h 96"/>
              <a:gd name="T36" fmla="*/ 18 w 89"/>
              <a:gd name="T37" fmla="*/ 82 h 96"/>
              <a:gd name="T38" fmla="*/ 10 w 89"/>
              <a:gd name="T39" fmla="*/ 68 h 96"/>
              <a:gd name="T40" fmla="*/ 0 w 89"/>
              <a:gd name="T41" fmla="*/ 48 h 96"/>
              <a:gd name="T42" fmla="*/ 10 w 89"/>
              <a:gd name="T43" fmla="*/ 32 h 96"/>
              <a:gd name="T44" fmla="*/ 12 w 89"/>
              <a:gd name="T45" fmla="*/ 24 h 96"/>
              <a:gd name="T46" fmla="*/ 36 w 89"/>
              <a:gd name="T47" fmla="*/ 22 h 96"/>
              <a:gd name="T48" fmla="*/ 39 w 89"/>
              <a:gd name="T4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96">
                <a:moveTo>
                  <a:pt x="39" y="0"/>
                </a:moveTo>
                <a:lnTo>
                  <a:pt x="67" y="0"/>
                </a:lnTo>
                <a:lnTo>
                  <a:pt x="71" y="16"/>
                </a:lnTo>
                <a:lnTo>
                  <a:pt x="85" y="14"/>
                </a:lnTo>
                <a:lnTo>
                  <a:pt x="89" y="24"/>
                </a:lnTo>
                <a:lnTo>
                  <a:pt x="81" y="30"/>
                </a:lnTo>
                <a:lnTo>
                  <a:pt x="81" y="42"/>
                </a:lnTo>
                <a:lnTo>
                  <a:pt x="89" y="48"/>
                </a:lnTo>
                <a:lnTo>
                  <a:pt x="89" y="68"/>
                </a:lnTo>
                <a:lnTo>
                  <a:pt x="85" y="76"/>
                </a:lnTo>
                <a:lnTo>
                  <a:pt x="67" y="74"/>
                </a:lnTo>
                <a:lnTo>
                  <a:pt x="61" y="66"/>
                </a:lnTo>
                <a:lnTo>
                  <a:pt x="51" y="74"/>
                </a:lnTo>
                <a:lnTo>
                  <a:pt x="43" y="74"/>
                </a:lnTo>
                <a:lnTo>
                  <a:pt x="43" y="86"/>
                </a:lnTo>
                <a:lnTo>
                  <a:pt x="51" y="86"/>
                </a:lnTo>
                <a:lnTo>
                  <a:pt x="51" y="96"/>
                </a:lnTo>
                <a:lnTo>
                  <a:pt x="36" y="96"/>
                </a:lnTo>
                <a:lnTo>
                  <a:pt x="18" y="82"/>
                </a:lnTo>
                <a:lnTo>
                  <a:pt x="10" y="68"/>
                </a:lnTo>
                <a:lnTo>
                  <a:pt x="0" y="48"/>
                </a:lnTo>
                <a:lnTo>
                  <a:pt x="10" y="32"/>
                </a:lnTo>
                <a:lnTo>
                  <a:pt x="12" y="24"/>
                </a:lnTo>
                <a:lnTo>
                  <a:pt x="36" y="22"/>
                </a:lnTo>
                <a:lnTo>
                  <a:pt x="39"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3" name="Freeform 176">
            <a:extLst>
              <a:ext uri="{FF2B5EF4-FFF2-40B4-BE49-F238E27FC236}">
                <a16:creationId xmlns:a16="http://schemas.microsoft.com/office/drawing/2014/main" id="{370636B2-122F-4A5C-B742-D2B8D5A0A4F4}"/>
              </a:ext>
            </a:extLst>
          </p:cNvPr>
          <p:cNvSpPr>
            <a:spLocks/>
          </p:cNvSpPr>
          <p:nvPr/>
        </p:nvSpPr>
        <p:spPr bwMode="gray">
          <a:xfrm>
            <a:off x="5282712" y="4390524"/>
            <a:ext cx="95546" cy="23053"/>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4" name="Freeform 177">
            <a:extLst>
              <a:ext uri="{FF2B5EF4-FFF2-40B4-BE49-F238E27FC236}">
                <a16:creationId xmlns:a16="http://schemas.microsoft.com/office/drawing/2014/main" id="{3D6B15A4-93E2-4EB0-AF64-1B4BEE23F830}"/>
              </a:ext>
            </a:extLst>
          </p:cNvPr>
          <p:cNvSpPr>
            <a:spLocks/>
          </p:cNvSpPr>
          <p:nvPr/>
        </p:nvSpPr>
        <p:spPr bwMode="gray">
          <a:xfrm>
            <a:off x="5282712" y="4390524"/>
            <a:ext cx="95546" cy="23053"/>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5" name="Freeform 178">
            <a:extLst>
              <a:ext uri="{FF2B5EF4-FFF2-40B4-BE49-F238E27FC236}">
                <a16:creationId xmlns:a16="http://schemas.microsoft.com/office/drawing/2014/main" id="{2D565648-A5C3-49DC-9584-CCF8AC706B09}"/>
              </a:ext>
            </a:extLst>
          </p:cNvPr>
          <p:cNvSpPr>
            <a:spLocks/>
          </p:cNvSpPr>
          <p:nvPr/>
        </p:nvSpPr>
        <p:spPr bwMode="gray">
          <a:xfrm>
            <a:off x="5275069" y="4298312"/>
            <a:ext cx="175806" cy="134475"/>
          </a:xfrm>
          <a:custGeom>
            <a:avLst/>
            <a:gdLst>
              <a:gd name="T0" fmla="*/ 2 w 92"/>
              <a:gd name="T1" fmla="*/ 34 h 70"/>
              <a:gd name="T2" fmla="*/ 0 w 92"/>
              <a:gd name="T3" fmla="*/ 28 h 70"/>
              <a:gd name="T4" fmla="*/ 6 w 92"/>
              <a:gd name="T5" fmla="*/ 20 h 70"/>
              <a:gd name="T6" fmla="*/ 12 w 92"/>
              <a:gd name="T7" fmla="*/ 12 h 70"/>
              <a:gd name="T8" fmla="*/ 14 w 92"/>
              <a:gd name="T9" fmla="*/ 2 h 70"/>
              <a:gd name="T10" fmla="*/ 28 w 92"/>
              <a:gd name="T11" fmla="*/ 0 h 70"/>
              <a:gd name="T12" fmla="*/ 42 w 92"/>
              <a:gd name="T13" fmla="*/ 0 h 70"/>
              <a:gd name="T14" fmla="*/ 54 w 92"/>
              <a:gd name="T15" fmla="*/ 6 h 70"/>
              <a:gd name="T16" fmla="*/ 62 w 92"/>
              <a:gd name="T17" fmla="*/ 12 h 70"/>
              <a:gd name="T18" fmla="*/ 70 w 92"/>
              <a:gd name="T19" fmla="*/ 24 h 70"/>
              <a:gd name="T20" fmla="*/ 80 w 92"/>
              <a:gd name="T21" fmla="*/ 32 h 70"/>
              <a:gd name="T22" fmla="*/ 82 w 92"/>
              <a:gd name="T23" fmla="*/ 38 h 70"/>
              <a:gd name="T24" fmla="*/ 84 w 92"/>
              <a:gd name="T25" fmla="*/ 50 h 70"/>
              <a:gd name="T26" fmla="*/ 90 w 92"/>
              <a:gd name="T27" fmla="*/ 58 h 70"/>
              <a:gd name="T28" fmla="*/ 92 w 92"/>
              <a:gd name="T29" fmla="*/ 66 h 70"/>
              <a:gd name="T30" fmla="*/ 92 w 92"/>
              <a:gd name="T31" fmla="*/ 70 h 70"/>
              <a:gd name="T32" fmla="*/ 70 w 92"/>
              <a:gd name="T33" fmla="*/ 68 h 70"/>
              <a:gd name="T34" fmla="*/ 64 w 92"/>
              <a:gd name="T35" fmla="*/ 64 h 70"/>
              <a:gd name="T36" fmla="*/ 58 w 92"/>
              <a:gd name="T37" fmla="*/ 64 h 70"/>
              <a:gd name="T38" fmla="*/ 50 w 92"/>
              <a:gd name="T39" fmla="*/ 64 h 70"/>
              <a:gd name="T40" fmla="*/ 38 w 92"/>
              <a:gd name="T41" fmla="*/ 64 h 70"/>
              <a:gd name="T42" fmla="*/ 32 w 92"/>
              <a:gd name="T43" fmla="*/ 64 h 70"/>
              <a:gd name="T44" fmla="*/ 28 w 92"/>
              <a:gd name="T45" fmla="*/ 68 h 70"/>
              <a:gd name="T46" fmla="*/ 10 w 92"/>
              <a:gd name="T47" fmla="*/ 70 h 70"/>
              <a:gd name="T48" fmla="*/ 10 w 92"/>
              <a:gd name="T49" fmla="*/ 60 h 70"/>
              <a:gd name="T50" fmla="*/ 20 w 92"/>
              <a:gd name="T51" fmla="*/ 56 h 70"/>
              <a:gd name="T52" fmla="*/ 30 w 92"/>
              <a:gd name="T53" fmla="*/ 56 h 70"/>
              <a:gd name="T54" fmla="*/ 38 w 92"/>
              <a:gd name="T55" fmla="*/ 56 h 70"/>
              <a:gd name="T56" fmla="*/ 50 w 92"/>
              <a:gd name="T57" fmla="*/ 56 h 70"/>
              <a:gd name="T58" fmla="*/ 54 w 92"/>
              <a:gd name="T59" fmla="*/ 54 h 70"/>
              <a:gd name="T60" fmla="*/ 40 w 92"/>
              <a:gd name="T61" fmla="*/ 50 h 70"/>
              <a:gd name="T62" fmla="*/ 36 w 92"/>
              <a:gd name="T63" fmla="*/ 50 h 70"/>
              <a:gd name="T64" fmla="*/ 22 w 92"/>
              <a:gd name="T65" fmla="*/ 48 h 70"/>
              <a:gd name="T66" fmla="*/ 12 w 92"/>
              <a:gd name="T67" fmla="*/ 48 h 70"/>
              <a:gd name="T68" fmla="*/ 8 w 92"/>
              <a:gd name="T69" fmla="*/ 48 h 70"/>
              <a:gd name="T70" fmla="*/ 4 w 92"/>
              <a:gd name="T71" fmla="*/ 40 h 70"/>
              <a:gd name="T72" fmla="*/ 2 w 92"/>
              <a:gd name="T73"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70">
                <a:moveTo>
                  <a:pt x="2" y="34"/>
                </a:moveTo>
                <a:lnTo>
                  <a:pt x="0" y="28"/>
                </a:lnTo>
                <a:lnTo>
                  <a:pt x="6" y="20"/>
                </a:lnTo>
                <a:lnTo>
                  <a:pt x="12" y="12"/>
                </a:lnTo>
                <a:lnTo>
                  <a:pt x="14" y="2"/>
                </a:lnTo>
                <a:lnTo>
                  <a:pt x="28" y="0"/>
                </a:lnTo>
                <a:lnTo>
                  <a:pt x="42" y="0"/>
                </a:lnTo>
                <a:lnTo>
                  <a:pt x="54" y="6"/>
                </a:lnTo>
                <a:lnTo>
                  <a:pt x="62" y="12"/>
                </a:lnTo>
                <a:lnTo>
                  <a:pt x="70" y="24"/>
                </a:lnTo>
                <a:lnTo>
                  <a:pt x="80" y="32"/>
                </a:lnTo>
                <a:lnTo>
                  <a:pt x="82" y="38"/>
                </a:lnTo>
                <a:lnTo>
                  <a:pt x="84" y="50"/>
                </a:lnTo>
                <a:lnTo>
                  <a:pt x="90" y="58"/>
                </a:lnTo>
                <a:lnTo>
                  <a:pt x="92" y="66"/>
                </a:lnTo>
                <a:lnTo>
                  <a:pt x="92" y="70"/>
                </a:lnTo>
                <a:lnTo>
                  <a:pt x="70" y="68"/>
                </a:lnTo>
                <a:lnTo>
                  <a:pt x="64" y="64"/>
                </a:lnTo>
                <a:lnTo>
                  <a:pt x="58" y="64"/>
                </a:lnTo>
                <a:lnTo>
                  <a:pt x="50" y="64"/>
                </a:lnTo>
                <a:lnTo>
                  <a:pt x="38" y="64"/>
                </a:lnTo>
                <a:lnTo>
                  <a:pt x="32" y="64"/>
                </a:lnTo>
                <a:lnTo>
                  <a:pt x="28" y="68"/>
                </a:lnTo>
                <a:lnTo>
                  <a:pt x="10" y="70"/>
                </a:lnTo>
                <a:lnTo>
                  <a:pt x="10" y="60"/>
                </a:lnTo>
                <a:lnTo>
                  <a:pt x="20" y="56"/>
                </a:lnTo>
                <a:lnTo>
                  <a:pt x="30" y="56"/>
                </a:lnTo>
                <a:lnTo>
                  <a:pt x="38" y="56"/>
                </a:lnTo>
                <a:lnTo>
                  <a:pt x="50" y="56"/>
                </a:lnTo>
                <a:lnTo>
                  <a:pt x="54" y="54"/>
                </a:lnTo>
                <a:lnTo>
                  <a:pt x="40" y="50"/>
                </a:lnTo>
                <a:lnTo>
                  <a:pt x="36" y="50"/>
                </a:lnTo>
                <a:lnTo>
                  <a:pt x="22" y="48"/>
                </a:lnTo>
                <a:lnTo>
                  <a:pt x="12" y="48"/>
                </a:lnTo>
                <a:lnTo>
                  <a:pt x="8" y="48"/>
                </a:lnTo>
                <a:lnTo>
                  <a:pt x="4" y="40"/>
                </a:lnTo>
                <a:lnTo>
                  <a:pt x="2" y="3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986" name="Freeform 179">
            <a:extLst>
              <a:ext uri="{FF2B5EF4-FFF2-40B4-BE49-F238E27FC236}">
                <a16:creationId xmlns:a16="http://schemas.microsoft.com/office/drawing/2014/main" id="{83098635-33D4-4CD7-AD7F-4E457518FDAE}"/>
              </a:ext>
            </a:extLst>
          </p:cNvPr>
          <p:cNvSpPr>
            <a:spLocks/>
          </p:cNvSpPr>
          <p:nvPr/>
        </p:nvSpPr>
        <p:spPr bwMode="gray">
          <a:xfrm>
            <a:off x="6715906" y="5606554"/>
            <a:ext cx="72614" cy="69158"/>
          </a:xfrm>
          <a:custGeom>
            <a:avLst/>
            <a:gdLst>
              <a:gd name="T0" fmla="*/ 28 w 38"/>
              <a:gd name="T1" fmla="*/ 0 h 36"/>
              <a:gd name="T2" fmla="*/ 0 w 38"/>
              <a:gd name="T3" fmla="*/ 10 h 36"/>
              <a:gd name="T4" fmla="*/ 8 w 38"/>
              <a:gd name="T5" fmla="*/ 36 h 36"/>
              <a:gd name="T6" fmla="*/ 38 w 38"/>
              <a:gd name="T7" fmla="*/ 26 h 36"/>
              <a:gd name="T8" fmla="*/ 26 w 38"/>
              <a:gd name="T9" fmla="*/ 18 h 36"/>
              <a:gd name="T10" fmla="*/ 28 w 38"/>
              <a:gd name="T11" fmla="*/ 0 h 36"/>
            </a:gdLst>
            <a:ahLst/>
            <a:cxnLst>
              <a:cxn ang="0">
                <a:pos x="T0" y="T1"/>
              </a:cxn>
              <a:cxn ang="0">
                <a:pos x="T2" y="T3"/>
              </a:cxn>
              <a:cxn ang="0">
                <a:pos x="T4" y="T5"/>
              </a:cxn>
              <a:cxn ang="0">
                <a:pos x="T6" y="T7"/>
              </a:cxn>
              <a:cxn ang="0">
                <a:pos x="T8" y="T9"/>
              </a:cxn>
              <a:cxn ang="0">
                <a:pos x="T10" y="T11"/>
              </a:cxn>
            </a:cxnLst>
            <a:rect l="0" t="0" r="r" b="b"/>
            <a:pathLst>
              <a:path w="38" h="36">
                <a:moveTo>
                  <a:pt x="28" y="0"/>
                </a:moveTo>
                <a:lnTo>
                  <a:pt x="0" y="10"/>
                </a:lnTo>
                <a:lnTo>
                  <a:pt x="8" y="36"/>
                </a:lnTo>
                <a:lnTo>
                  <a:pt x="38" y="26"/>
                </a:lnTo>
                <a:lnTo>
                  <a:pt x="26" y="18"/>
                </a:lnTo>
                <a:lnTo>
                  <a:pt x="28" y="0"/>
                </a:lnTo>
                <a:close/>
              </a:path>
            </a:pathLst>
          </a:custGeom>
          <a:solidFill>
            <a:schemeClr val="bg1">
              <a:lumMod val="75000"/>
            </a:schemeClr>
          </a:solid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987" name="Freeform 180">
            <a:extLst>
              <a:ext uri="{FF2B5EF4-FFF2-40B4-BE49-F238E27FC236}">
                <a16:creationId xmlns:a16="http://schemas.microsoft.com/office/drawing/2014/main" id="{EB93D67E-B09D-43BE-B51A-8C6C3E9851B0}"/>
              </a:ext>
            </a:extLst>
          </p:cNvPr>
          <p:cNvSpPr>
            <a:spLocks/>
          </p:cNvSpPr>
          <p:nvPr/>
        </p:nvSpPr>
        <p:spPr bwMode="gray">
          <a:xfrm>
            <a:off x="6616537" y="5675712"/>
            <a:ext cx="61149" cy="84527"/>
          </a:xfrm>
          <a:custGeom>
            <a:avLst/>
            <a:gdLst>
              <a:gd name="T0" fmla="*/ 32 w 32"/>
              <a:gd name="T1" fmla="*/ 28 h 44"/>
              <a:gd name="T2" fmla="*/ 16 w 32"/>
              <a:gd name="T3" fmla="*/ 0 h 44"/>
              <a:gd name="T4" fmla="*/ 0 w 32"/>
              <a:gd name="T5" fmla="*/ 22 h 44"/>
              <a:gd name="T6" fmla="*/ 10 w 32"/>
              <a:gd name="T7" fmla="*/ 44 h 44"/>
              <a:gd name="T8" fmla="*/ 18 w 32"/>
              <a:gd name="T9" fmla="*/ 32 h 44"/>
              <a:gd name="T10" fmla="*/ 32 w 32"/>
              <a:gd name="T11" fmla="*/ 28 h 44"/>
            </a:gdLst>
            <a:ahLst/>
            <a:cxnLst>
              <a:cxn ang="0">
                <a:pos x="T0" y="T1"/>
              </a:cxn>
              <a:cxn ang="0">
                <a:pos x="T2" y="T3"/>
              </a:cxn>
              <a:cxn ang="0">
                <a:pos x="T4" y="T5"/>
              </a:cxn>
              <a:cxn ang="0">
                <a:pos x="T6" y="T7"/>
              </a:cxn>
              <a:cxn ang="0">
                <a:pos x="T8" y="T9"/>
              </a:cxn>
              <a:cxn ang="0">
                <a:pos x="T10" y="T11"/>
              </a:cxn>
            </a:cxnLst>
            <a:rect l="0" t="0" r="r" b="b"/>
            <a:pathLst>
              <a:path w="32" h="44">
                <a:moveTo>
                  <a:pt x="32" y="28"/>
                </a:moveTo>
                <a:lnTo>
                  <a:pt x="16" y="0"/>
                </a:lnTo>
                <a:lnTo>
                  <a:pt x="0" y="22"/>
                </a:lnTo>
                <a:lnTo>
                  <a:pt x="10" y="44"/>
                </a:lnTo>
                <a:lnTo>
                  <a:pt x="18" y="32"/>
                </a:lnTo>
                <a:lnTo>
                  <a:pt x="32" y="28"/>
                </a:lnTo>
                <a:close/>
              </a:path>
            </a:pathLst>
          </a:custGeom>
          <a:solidFill>
            <a:schemeClr val="bg1">
              <a:lumMod val="75000"/>
            </a:schemeClr>
          </a:solid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2" name="Freeform 225">
            <a:extLst>
              <a:ext uri="{FF2B5EF4-FFF2-40B4-BE49-F238E27FC236}">
                <a16:creationId xmlns:a16="http://schemas.microsoft.com/office/drawing/2014/main" id="{A8E262B9-721B-4822-A3FC-4D19F16DB33F}"/>
              </a:ext>
            </a:extLst>
          </p:cNvPr>
          <p:cNvSpPr>
            <a:spLocks/>
          </p:cNvSpPr>
          <p:nvPr/>
        </p:nvSpPr>
        <p:spPr bwMode="gray">
          <a:xfrm>
            <a:off x="8968430" y="4380266"/>
            <a:ext cx="157737" cy="134786"/>
          </a:xfrm>
          <a:custGeom>
            <a:avLst/>
            <a:gdLst>
              <a:gd name="T0" fmla="*/ 40 w 80"/>
              <a:gd name="T1" fmla="*/ 66 h 68"/>
              <a:gd name="T2" fmla="*/ 34 w 80"/>
              <a:gd name="T3" fmla="*/ 66 h 68"/>
              <a:gd name="T4" fmla="*/ 32 w 80"/>
              <a:gd name="T5" fmla="*/ 68 h 68"/>
              <a:gd name="T6" fmla="*/ 18 w 80"/>
              <a:gd name="T7" fmla="*/ 64 h 68"/>
              <a:gd name="T8" fmla="*/ 12 w 80"/>
              <a:gd name="T9" fmla="*/ 54 h 68"/>
              <a:gd name="T10" fmla="*/ 8 w 80"/>
              <a:gd name="T11" fmla="*/ 44 h 68"/>
              <a:gd name="T12" fmla="*/ 0 w 80"/>
              <a:gd name="T13" fmla="*/ 24 h 68"/>
              <a:gd name="T14" fmla="*/ 0 w 80"/>
              <a:gd name="T15" fmla="*/ 18 h 68"/>
              <a:gd name="T16" fmla="*/ 8 w 80"/>
              <a:gd name="T17" fmla="*/ 4 h 68"/>
              <a:gd name="T18" fmla="*/ 48 w 80"/>
              <a:gd name="T19" fmla="*/ 2 h 68"/>
              <a:gd name="T20" fmla="*/ 48 w 80"/>
              <a:gd name="T21" fmla="*/ 8 h 68"/>
              <a:gd name="T22" fmla="*/ 58 w 80"/>
              <a:gd name="T23" fmla="*/ 8 h 68"/>
              <a:gd name="T24" fmla="*/ 62 w 80"/>
              <a:gd name="T25" fmla="*/ 0 h 68"/>
              <a:gd name="T26" fmla="*/ 66 w 80"/>
              <a:gd name="T27" fmla="*/ 2 h 68"/>
              <a:gd name="T28" fmla="*/ 68 w 80"/>
              <a:gd name="T29" fmla="*/ 6 h 68"/>
              <a:gd name="T30" fmla="*/ 80 w 80"/>
              <a:gd name="T31" fmla="*/ 6 h 68"/>
              <a:gd name="T32" fmla="*/ 80 w 80"/>
              <a:gd name="T33" fmla="*/ 16 h 68"/>
              <a:gd name="T34" fmla="*/ 76 w 80"/>
              <a:gd name="T35" fmla="*/ 26 h 68"/>
              <a:gd name="T36" fmla="*/ 70 w 80"/>
              <a:gd name="T37" fmla="*/ 38 h 68"/>
              <a:gd name="T38" fmla="*/ 64 w 80"/>
              <a:gd name="T39" fmla="*/ 46 h 68"/>
              <a:gd name="T40" fmla="*/ 54 w 80"/>
              <a:gd name="T41" fmla="*/ 50 h 68"/>
              <a:gd name="T42" fmla="*/ 54 w 80"/>
              <a:gd name="T43" fmla="*/ 58 h 68"/>
              <a:gd name="T44" fmla="*/ 44 w 80"/>
              <a:gd name="T45" fmla="*/ 62 h 68"/>
              <a:gd name="T46" fmla="*/ 40 w 80"/>
              <a:gd name="T47"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68">
                <a:moveTo>
                  <a:pt x="40" y="66"/>
                </a:moveTo>
                <a:lnTo>
                  <a:pt x="34" y="66"/>
                </a:lnTo>
                <a:lnTo>
                  <a:pt x="32" y="68"/>
                </a:lnTo>
                <a:lnTo>
                  <a:pt x="18" y="64"/>
                </a:lnTo>
                <a:lnTo>
                  <a:pt x="12" y="54"/>
                </a:lnTo>
                <a:lnTo>
                  <a:pt x="8" y="44"/>
                </a:lnTo>
                <a:lnTo>
                  <a:pt x="0" y="24"/>
                </a:lnTo>
                <a:lnTo>
                  <a:pt x="0" y="18"/>
                </a:lnTo>
                <a:lnTo>
                  <a:pt x="8" y="4"/>
                </a:lnTo>
                <a:lnTo>
                  <a:pt x="48" y="2"/>
                </a:lnTo>
                <a:lnTo>
                  <a:pt x="48" y="8"/>
                </a:lnTo>
                <a:lnTo>
                  <a:pt x="58" y="8"/>
                </a:lnTo>
                <a:lnTo>
                  <a:pt x="62" y="0"/>
                </a:lnTo>
                <a:lnTo>
                  <a:pt x="66" y="2"/>
                </a:lnTo>
                <a:lnTo>
                  <a:pt x="68" y="6"/>
                </a:lnTo>
                <a:lnTo>
                  <a:pt x="80" y="6"/>
                </a:lnTo>
                <a:lnTo>
                  <a:pt x="80" y="16"/>
                </a:lnTo>
                <a:lnTo>
                  <a:pt x="76" y="26"/>
                </a:lnTo>
                <a:lnTo>
                  <a:pt x="70" y="38"/>
                </a:lnTo>
                <a:lnTo>
                  <a:pt x="64" y="46"/>
                </a:lnTo>
                <a:lnTo>
                  <a:pt x="54" y="50"/>
                </a:lnTo>
                <a:lnTo>
                  <a:pt x="54" y="58"/>
                </a:lnTo>
                <a:lnTo>
                  <a:pt x="44" y="62"/>
                </a:lnTo>
                <a:lnTo>
                  <a:pt x="40" y="6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3" name="Freeform 226">
            <a:extLst>
              <a:ext uri="{FF2B5EF4-FFF2-40B4-BE49-F238E27FC236}">
                <a16:creationId xmlns:a16="http://schemas.microsoft.com/office/drawing/2014/main" id="{C07A756C-0307-4340-A3CC-81002FC3FD3E}"/>
              </a:ext>
            </a:extLst>
          </p:cNvPr>
          <p:cNvSpPr>
            <a:spLocks/>
          </p:cNvSpPr>
          <p:nvPr/>
        </p:nvSpPr>
        <p:spPr bwMode="gray">
          <a:xfrm>
            <a:off x="8964487" y="4106728"/>
            <a:ext cx="220830" cy="463825"/>
          </a:xfrm>
          <a:custGeom>
            <a:avLst/>
            <a:gdLst>
              <a:gd name="T0" fmla="*/ 42 w 112"/>
              <a:gd name="T1" fmla="*/ 204 h 234"/>
              <a:gd name="T2" fmla="*/ 44 w 112"/>
              <a:gd name="T3" fmla="*/ 206 h 234"/>
              <a:gd name="T4" fmla="*/ 44 w 112"/>
              <a:gd name="T5" fmla="*/ 208 h 234"/>
              <a:gd name="T6" fmla="*/ 44 w 112"/>
              <a:gd name="T7" fmla="*/ 214 h 234"/>
              <a:gd name="T8" fmla="*/ 42 w 112"/>
              <a:gd name="T9" fmla="*/ 214 h 234"/>
              <a:gd name="T10" fmla="*/ 40 w 112"/>
              <a:gd name="T11" fmla="*/ 234 h 234"/>
              <a:gd name="T12" fmla="*/ 52 w 112"/>
              <a:gd name="T13" fmla="*/ 226 h 234"/>
              <a:gd name="T14" fmla="*/ 66 w 112"/>
              <a:gd name="T15" fmla="*/ 218 h 234"/>
              <a:gd name="T16" fmla="*/ 66 w 112"/>
              <a:gd name="T17" fmla="*/ 210 h 234"/>
              <a:gd name="T18" fmla="*/ 70 w 112"/>
              <a:gd name="T19" fmla="*/ 204 h 234"/>
              <a:gd name="T20" fmla="*/ 82 w 112"/>
              <a:gd name="T21" fmla="*/ 206 h 234"/>
              <a:gd name="T22" fmla="*/ 94 w 112"/>
              <a:gd name="T23" fmla="*/ 202 h 234"/>
              <a:gd name="T24" fmla="*/ 108 w 112"/>
              <a:gd name="T25" fmla="*/ 190 h 234"/>
              <a:gd name="T26" fmla="*/ 112 w 112"/>
              <a:gd name="T27" fmla="*/ 172 h 234"/>
              <a:gd name="T28" fmla="*/ 108 w 112"/>
              <a:gd name="T29" fmla="*/ 152 h 234"/>
              <a:gd name="T30" fmla="*/ 104 w 112"/>
              <a:gd name="T31" fmla="*/ 138 h 234"/>
              <a:gd name="T32" fmla="*/ 100 w 112"/>
              <a:gd name="T33" fmla="*/ 122 h 234"/>
              <a:gd name="T34" fmla="*/ 60 w 112"/>
              <a:gd name="T35" fmla="*/ 78 h 234"/>
              <a:gd name="T36" fmla="*/ 54 w 112"/>
              <a:gd name="T37" fmla="*/ 70 h 234"/>
              <a:gd name="T38" fmla="*/ 62 w 112"/>
              <a:gd name="T39" fmla="*/ 50 h 234"/>
              <a:gd name="T40" fmla="*/ 74 w 112"/>
              <a:gd name="T41" fmla="*/ 34 h 234"/>
              <a:gd name="T42" fmla="*/ 82 w 112"/>
              <a:gd name="T43" fmla="*/ 32 h 234"/>
              <a:gd name="T44" fmla="*/ 80 w 112"/>
              <a:gd name="T45" fmla="*/ 24 h 234"/>
              <a:gd name="T46" fmla="*/ 70 w 112"/>
              <a:gd name="T47" fmla="*/ 20 h 234"/>
              <a:gd name="T48" fmla="*/ 68 w 112"/>
              <a:gd name="T49" fmla="*/ 6 h 234"/>
              <a:gd name="T50" fmla="*/ 58 w 112"/>
              <a:gd name="T51" fmla="*/ 4 h 234"/>
              <a:gd name="T52" fmla="*/ 50 w 112"/>
              <a:gd name="T53" fmla="*/ 0 h 234"/>
              <a:gd name="T54" fmla="*/ 44 w 112"/>
              <a:gd name="T55" fmla="*/ 0 h 234"/>
              <a:gd name="T56" fmla="*/ 34 w 112"/>
              <a:gd name="T57" fmla="*/ 6 h 234"/>
              <a:gd name="T58" fmla="*/ 2 w 112"/>
              <a:gd name="T59" fmla="*/ 8 h 234"/>
              <a:gd name="T60" fmla="*/ 0 w 112"/>
              <a:gd name="T61" fmla="*/ 14 h 234"/>
              <a:gd name="T62" fmla="*/ 10 w 112"/>
              <a:gd name="T63" fmla="*/ 24 h 234"/>
              <a:gd name="T64" fmla="*/ 12 w 112"/>
              <a:gd name="T65" fmla="*/ 38 h 234"/>
              <a:gd name="T66" fmla="*/ 34 w 112"/>
              <a:gd name="T67" fmla="*/ 36 h 234"/>
              <a:gd name="T68" fmla="*/ 40 w 112"/>
              <a:gd name="T69" fmla="*/ 46 h 234"/>
              <a:gd name="T70" fmla="*/ 42 w 112"/>
              <a:gd name="T71" fmla="*/ 56 h 234"/>
              <a:gd name="T72" fmla="*/ 28 w 112"/>
              <a:gd name="T73" fmla="*/ 56 h 234"/>
              <a:gd name="T74" fmla="*/ 26 w 112"/>
              <a:gd name="T75" fmla="*/ 66 h 234"/>
              <a:gd name="T76" fmla="*/ 34 w 112"/>
              <a:gd name="T77" fmla="*/ 70 h 234"/>
              <a:gd name="T78" fmla="*/ 62 w 112"/>
              <a:gd name="T79" fmla="*/ 96 h 234"/>
              <a:gd name="T80" fmla="*/ 80 w 112"/>
              <a:gd name="T81" fmla="*/ 116 h 234"/>
              <a:gd name="T82" fmla="*/ 84 w 112"/>
              <a:gd name="T83" fmla="*/ 130 h 234"/>
              <a:gd name="T84" fmla="*/ 82 w 112"/>
              <a:gd name="T85" fmla="*/ 144 h 234"/>
              <a:gd name="T86" fmla="*/ 82 w 112"/>
              <a:gd name="T87" fmla="*/ 152 h 234"/>
              <a:gd name="T88" fmla="*/ 78 w 112"/>
              <a:gd name="T89" fmla="*/ 164 h 234"/>
              <a:gd name="T90" fmla="*/ 72 w 112"/>
              <a:gd name="T91" fmla="*/ 176 h 234"/>
              <a:gd name="T92" fmla="*/ 66 w 112"/>
              <a:gd name="T93" fmla="*/ 184 h 234"/>
              <a:gd name="T94" fmla="*/ 56 w 112"/>
              <a:gd name="T95" fmla="*/ 188 h 234"/>
              <a:gd name="T96" fmla="*/ 56 w 112"/>
              <a:gd name="T97" fmla="*/ 196 h 234"/>
              <a:gd name="T98" fmla="*/ 46 w 112"/>
              <a:gd name="T99" fmla="*/ 200 h 234"/>
              <a:gd name="T100" fmla="*/ 42 w 112"/>
              <a:gd name="T101" fmla="*/ 20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234">
                <a:moveTo>
                  <a:pt x="42" y="204"/>
                </a:moveTo>
                <a:lnTo>
                  <a:pt x="44" y="206"/>
                </a:lnTo>
                <a:lnTo>
                  <a:pt x="44" y="208"/>
                </a:lnTo>
                <a:lnTo>
                  <a:pt x="44" y="214"/>
                </a:lnTo>
                <a:lnTo>
                  <a:pt x="42" y="214"/>
                </a:lnTo>
                <a:lnTo>
                  <a:pt x="40" y="234"/>
                </a:lnTo>
                <a:lnTo>
                  <a:pt x="52" y="226"/>
                </a:lnTo>
                <a:lnTo>
                  <a:pt x="66" y="218"/>
                </a:lnTo>
                <a:lnTo>
                  <a:pt x="66" y="210"/>
                </a:lnTo>
                <a:lnTo>
                  <a:pt x="70" y="204"/>
                </a:lnTo>
                <a:lnTo>
                  <a:pt x="82" y="206"/>
                </a:lnTo>
                <a:lnTo>
                  <a:pt x="94" y="202"/>
                </a:lnTo>
                <a:lnTo>
                  <a:pt x="108" y="190"/>
                </a:lnTo>
                <a:lnTo>
                  <a:pt x="112" y="172"/>
                </a:lnTo>
                <a:lnTo>
                  <a:pt x="108" y="152"/>
                </a:lnTo>
                <a:lnTo>
                  <a:pt x="104" y="138"/>
                </a:lnTo>
                <a:lnTo>
                  <a:pt x="100" y="122"/>
                </a:lnTo>
                <a:lnTo>
                  <a:pt x="60" y="78"/>
                </a:lnTo>
                <a:lnTo>
                  <a:pt x="54" y="70"/>
                </a:lnTo>
                <a:lnTo>
                  <a:pt x="62" y="50"/>
                </a:lnTo>
                <a:lnTo>
                  <a:pt x="74" y="34"/>
                </a:lnTo>
                <a:lnTo>
                  <a:pt x="82" y="32"/>
                </a:lnTo>
                <a:lnTo>
                  <a:pt x="80" y="24"/>
                </a:lnTo>
                <a:lnTo>
                  <a:pt x="70" y="20"/>
                </a:lnTo>
                <a:lnTo>
                  <a:pt x="68" y="6"/>
                </a:lnTo>
                <a:lnTo>
                  <a:pt x="58" y="4"/>
                </a:lnTo>
                <a:lnTo>
                  <a:pt x="50" y="0"/>
                </a:lnTo>
                <a:lnTo>
                  <a:pt x="44" y="0"/>
                </a:lnTo>
                <a:lnTo>
                  <a:pt x="34" y="6"/>
                </a:lnTo>
                <a:lnTo>
                  <a:pt x="2" y="8"/>
                </a:lnTo>
                <a:lnTo>
                  <a:pt x="0" y="14"/>
                </a:lnTo>
                <a:lnTo>
                  <a:pt x="10" y="24"/>
                </a:lnTo>
                <a:lnTo>
                  <a:pt x="12" y="38"/>
                </a:lnTo>
                <a:lnTo>
                  <a:pt x="34" y="36"/>
                </a:lnTo>
                <a:lnTo>
                  <a:pt x="40" y="46"/>
                </a:lnTo>
                <a:lnTo>
                  <a:pt x="42" y="56"/>
                </a:lnTo>
                <a:lnTo>
                  <a:pt x="28" y="56"/>
                </a:lnTo>
                <a:lnTo>
                  <a:pt x="26" y="66"/>
                </a:lnTo>
                <a:lnTo>
                  <a:pt x="34" y="70"/>
                </a:lnTo>
                <a:lnTo>
                  <a:pt x="62" y="96"/>
                </a:lnTo>
                <a:lnTo>
                  <a:pt x="80" y="116"/>
                </a:lnTo>
                <a:lnTo>
                  <a:pt x="84" y="130"/>
                </a:lnTo>
                <a:lnTo>
                  <a:pt x="82" y="144"/>
                </a:lnTo>
                <a:lnTo>
                  <a:pt x="82" y="152"/>
                </a:lnTo>
                <a:lnTo>
                  <a:pt x="78" y="164"/>
                </a:lnTo>
                <a:lnTo>
                  <a:pt x="72" y="176"/>
                </a:lnTo>
                <a:lnTo>
                  <a:pt x="66" y="184"/>
                </a:lnTo>
                <a:lnTo>
                  <a:pt x="56" y="188"/>
                </a:lnTo>
                <a:lnTo>
                  <a:pt x="56" y="196"/>
                </a:lnTo>
                <a:lnTo>
                  <a:pt x="46" y="200"/>
                </a:lnTo>
                <a:lnTo>
                  <a:pt x="42" y="204"/>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1034" name="Freeform 229">
            <a:extLst>
              <a:ext uri="{FF2B5EF4-FFF2-40B4-BE49-F238E27FC236}">
                <a16:creationId xmlns:a16="http://schemas.microsoft.com/office/drawing/2014/main" id="{5FBDE967-8D37-4C17-8FCE-0EC5EAD4BAC6}"/>
              </a:ext>
            </a:extLst>
          </p:cNvPr>
          <p:cNvSpPr>
            <a:spLocks/>
          </p:cNvSpPr>
          <p:nvPr/>
        </p:nvSpPr>
        <p:spPr bwMode="gray">
          <a:xfrm>
            <a:off x="8550429" y="3932298"/>
            <a:ext cx="98584" cy="51535"/>
          </a:xfrm>
          <a:custGeom>
            <a:avLst/>
            <a:gdLst>
              <a:gd name="T0" fmla="*/ 10 w 50"/>
              <a:gd name="T1" fmla="*/ 0 h 26"/>
              <a:gd name="T2" fmla="*/ 4 w 50"/>
              <a:gd name="T3" fmla="*/ 6 h 26"/>
              <a:gd name="T4" fmla="*/ 2 w 50"/>
              <a:gd name="T5" fmla="*/ 6 h 26"/>
              <a:gd name="T6" fmla="*/ 0 w 50"/>
              <a:gd name="T7" fmla="*/ 14 h 26"/>
              <a:gd name="T8" fmla="*/ 2 w 50"/>
              <a:gd name="T9" fmla="*/ 20 h 26"/>
              <a:gd name="T10" fmla="*/ 8 w 50"/>
              <a:gd name="T11" fmla="*/ 24 h 26"/>
              <a:gd name="T12" fmla="*/ 16 w 50"/>
              <a:gd name="T13" fmla="*/ 26 h 26"/>
              <a:gd name="T14" fmla="*/ 32 w 50"/>
              <a:gd name="T15" fmla="*/ 24 h 26"/>
              <a:gd name="T16" fmla="*/ 46 w 50"/>
              <a:gd name="T17" fmla="*/ 22 h 26"/>
              <a:gd name="T18" fmla="*/ 50 w 50"/>
              <a:gd name="T19" fmla="*/ 16 h 26"/>
              <a:gd name="T20" fmla="*/ 46 w 50"/>
              <a:gd name="T21" fmla="*/ 6 h 26"/>
              <a:gd name="T22" fmla="*/ 32 w 50"/>
              <a:gd name="T23" fmla="*/ 4 h 26"/>
              <a:gd name="T24" fmla="*/ 20 w 50"/>
              <a:gd name="T25" fmla="*/ 0 h 26"/>
              <a:gd name="T26" fmla="*/ 10 w 50"/>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6">
                <a:moveTo>
                  <a:pt x="10" y="0"/>
                </a:moveTo>
                <a:lnTo>
                  <a:pt x="4" y="6"/>
                </a:lnTo>
                <a:lnTo>
                  <a:pt x="2" y="6"/>
                </a:lnTo>
                <a:lnTo>
                  <a:pt x="0" y="14"/>
                </a:lnTo>
                <a:lnTo>
                  <a:pt x="2" y="20"/>
                </a:lnTo>
                <a:lnTo>
                  <a:pt x="8" y="24"/>
                </a:lnTo>
                <a:lnTo>
                  <a:pt x="16" y="26"/>
                </a:lnTo>
                <a:lnTo>
                  <a:pt x="32" y="24"/>
                </a:lnTo>
                <a:lnTo>
                  <a:pt x="46" y="22"/>
                </a:lnTo>
                <a:lnTo>
                  <a:pt x="50" y="16"/>
                </a:lnTo>
                <a:lnTo>
                  <a:pt x="46" y="6"/>
                </a:lnTo>
                <a:lnTo>
                  <a:pt x="32" y="4"/>
                </a:lnTo>
                <a:lnTo>
                  <a:pt x="20" y="0"/>
                </a:lnTo>
                <a:lnTo>
                  <a:pt x="1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5" name="Freeform 230">
            <a:extLst>
              <a:ext uri="{FF2B5EF4-FFF2-40B4-BE49-F238E27FC236}">
                <a16:creationId xmlns:a16="http://schemas.microsoft.com/office/drawing/2014/main" id="{AA188D99-6CA9-4737-A45C-7F8B25A53E24}"/>
              </a:ext>
            </a:extLst>
          </p:cNvPr>
          <p:cNvSpPr>
            <a:spLocks/>
          </p:cNvSpPr>
          <p:nvPr/>
        </p:nvSpPr>
        <p:spPr bwMode="gray">
          <a:xfrm>
            <a:off x="8522826" y="3991764"/>
            <a:ext cx="138018" cy="178393"/>
          </a:xfrm>
          <a:custGeom>
            <a:avLst/>
            <a:gdLst>
              <a:gd name="T0" fmla="*/ 14 w 70"/>
              <a:gd name="T1" fmla="*/ 74 h 90"/>
              <a:gd name="T2" fmla="*/ 10 w 70"/>
              <a:gd name="T3" fmla="*/ 50 h 90"/>
              <a:gd name="T4" fmla="*/ 8 w 70"/>
              <a:gd name="T5" fmla="*/ 38 h 90"/>
              <a:gd name="T6" fmla="*/ 2 w 70"/>
              <a:gd name="T7" fmla="*/ 34 h 90"/>
              <a:gd name="T8" fmla="*/ 0 w 70"/>
              <a:gd name="T9" fmla="*/ 26 h 90"/>
              <a:gd name="T10" fmla="*/ 12 w 70"/>
              <a:gd name="T11" fmla="*/ 20 h 90"/>
              <a:gd name="T12" fmla="*/ 4 w 70"/>
              <a:gd name="T13" fmla="*/ 12 h 90"/>
              <a:gd name="T14" fmla="*/ 4 w 70"/>
              <a:gd name="T15" fmla="*/ 6 h 90"/>
              <a:gd name="T16" fmla="*/ 10 w 70"/>
              <a:gd name="T17" fmla="*/ 0 h 90"/>
              <a:gd name="T18" fmla="*/ 14 w 70"/>
              <a:gd name="T19" fmla="*/ 6 h 90"/>
              <a:gd name="T20" fmla="*/ 24 w 70"/>
              <a:gd name="T21" fmla="*/ 10 h 90"/>
              <a:gd name="T22" fmla="*/ 30 w 70"/>
              <a:gd name="T23" fmla="*/ 22 h 90"/>
              <a:gd name="T24" fmla="*/ 64 w 70"/>
              <a:gd name="T25" fmla="*/ 22 h 90"/>
              <a:gd name="T26" fmla="*/ 64 w 70"/>
              <a:gd name="T27" fmla="*/ 34 h 90"/>
              <a:gd name="T28" fmla="*/ 56 w 70"/>
              <a:gd name="T29" fmla="*/ 38 h 90"/>
              <a:gd name="T30" fmla="*/ 52 w 70"/>
              <a:gd name="T31" fmla="*/ 40 h 90"/>
              <a:gd name="T32" fmla="*/ 48 w 70"/>
              <a:gd name="T33" fmla="*/ 46 h 90"/>
              <a:gd name="T34" fmla="*/ 48 w 70"/>
              <a:gd name="T35" fmla="*/ 50 h 90"/>
              <a:gd name="T36" fmla="*/ 48 w 70"/>
              <a:gd name="T37" fmla="*/ 54 h 90"/>
              <a:gd name="T38" fmla="*/ 56 w 70"/>
              <a:gd name="T39" fmla="*/ 58 h 90"/>
              <a:gd name="T40" fmla="*/ 60 w 70"/>
              <a:gd name="T41" fmla="*/ 46 h 90"/>
              <a:gd name="T42" fmla="*/ 70 w 70"/>
              <a:gd name="T43" fmla="*/ 48 h 90"/>
              <a:gd name="T44" fmla="*/ 68 w 70"/>
              <a:gd name="T45" fmla="*/ 60 h 90"/>
              <a:gd name="T46" fmla="*/ 68 w 70"/>
              <a:gd name="T47" fmla="*/ 70 h 90"/>
              <a:gd name="T48" fmla="*/ 70 w 70"/>
              <a:gd name="T49" fmla="*/ 76 h 90"/>
              <a:gd name="T50" fmla="*/ 70 w 70"/>
              <a:gd name="T51" fmla="*/ 86 h 90"/>
              <a:gd name="T52" fmla="*/ 64 w 70"/>
              <a:gd name="T53" fmla="*/ 90 h 90"/>
              <a:gd name="T54" fmla="*/ 60 w 70"/>
              <a:gd name="T55" fmla="*/ 82 h 90"/>
              <a:gd name="T56" fmla="*/ 58 w 70"/>
              <a:gd name="T57" fmla="*/ 68 h 90"/>
              <a:gd name="T58" fmla="*/ 54 w 70"/>
              <a:gd name="T59" fmla="*/ 64 h 90"/>
              <a:gd name="T60" fmla="*/ 48 w 70"/>
              <a:gd name="T61" fmla="*/ 62 h 90"/>
              <a:gd name="T62" fmla="*/ 40 w 70"/>
              <a:gd name="T63" fmla="*/ 56 h 90"/>
              <a:gd name="T64" fmla="*/ 36 w 70"/>
              <a:gd name="T65" fmla="*/ 62 h 90"/>
              <a:gd name="T66" fmla="*/ 36 w 70"/>
              <a:gd name="T67" fmla="*/ 74 h 90"/>
              <a:gd name="T68" fmla="*/ 26 w 70"/>
              <a:gd name="T69" fmla="*/ 74 h 90"/>
              <a:gd name="T70" fmla="*/ 14 w 70"/>
              <a:gd name="T71"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90">
                <a:moveTo>
                  <a:pt x="14" y="74"/>
                </a:moveTo>
                <a:lnTo>
                  <a:pt x="10" y="50"/>
                </a:lnTo>
                <a:lnTo>
                  <a:pt x="8" y="38"/>
                </a:lnTo>
                <a:lnTo>
                  <a:pt x="2" y="34"/>
                </a:lnTo>
                <a:lnTo>
                  <a:pt x="0" y="26"/>
                </a:lnTo>
                <a:lnTo>
                  <a:pt x="12" y="20"/>
                </a:lnTo>
                <a:lnTo>
                  <a:pt x="4" y="12"/>
                </a:lnTo>
                <a:lnTo>
                  <a:pt x="4" y="6"/>
                </a:lnTo>
                <a:lnTo>
                  <a:pt x="10" y="0"/>
                </a:lnTo>
                <a:lnTo>
                  <a:pt x="14" y="6"/>
                </a:lnTo>
                <a:lnTo>
                  <a:pt x="24" y="10"/>
                </a:lnTo>
                <a:lnTo>
                  <a:pt x="30" y="22"/>
                </a:lnTo>
                <a:lnTo>
                  <a:pt x="64" y="22"/>
                </a:lnTo>
                <a:lnTo>
                  <a:pt x="64" y="34"/>
                </a:lnTo>
                <a:lnTo>
                  <a:pt x="56" y="38"/>
                </a:lnTo>
                <a:lnTo>
                  <a:pt x="52" y="40"/>
                </a:lnTo>
                <a:lnTo>
                  <a:pt x="48" y="46"/>
                </a:lnTo>
                <a:lnTo>
                  <a:pt x="48" y="50"/>
                </a:lnTo>
                <a:lnTo>
                  <a:pt x="48" y="54"/>
                </a:lnTo>
                <a:lnTo>
                  <a:pt x="56" y="58"/>
                </a:lnTo>
                <a:lnTo>
                  <a:pt x="60" y="46"/>
                </a:lnTo>
                <a:lnTo>
                  <a:pt x="70" y="48"/>
                </a:lnTo>
                <a:lnTo>
                  <a:pt x="68" y="60"/>
                </a:lnTo>
                <a:lnTo>
                  <a:pt x="68" y="70"/>
                </a:lnTo>
                <a:lnTo>
                  <a:pt x="70" y="76"/>
                </a:lnTo>
                <a:lnTo>
                  <a:pt x="70" y="86"/>
                </a:lnTo>
                <a:lnTo>
                  <a:pt x="64" y="90"/>
                </a:lnTo>
                <a:lnTo>
                  <a:pt x="60" y="82"/>
                </a:lnTo>
                <a:lnTo>
                  <a:pt x="58" y="68"/>
                </a:lnTo>
                <a:lnTo>
                  <a:pt x="54" y="64"/>
                </a:lnTo>
                <a:lnTo>
                  <a:pt x="48" y="62"/>
                </a:lnTo>
                <a:lnTo>
                  <a:pt x="40" y="56"/>
                </a:lnTo>
                <a:lnTo>
                  <a:pt x="36" y="62"/>
                </a:lnTo>
                <a:lnTo>
                  <a:pt x="36" y="74"/>
                </a:lnTo>
                <a:lnTo>
                  <a:pt x="26" y="74"/>
                </a:lnTo>
                <a:lnTo>
                  <a:pt x="14" y="7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6" name="Freeform 231">
            <a:extLst>
              <a:ext uri="{FF2B5EF4-FFF2-40B4-BE49-F238E27FC236}">
                <a16:creationId xmlns:a16="http://schemas.microsoft.com/office/drawing/2014/main" id="{A377F30D-A27F-4FB4-A85C-5005611C5993}"/>
              </a:ext>
            </a:extLst>
          </p:cNvPr>
          <p:cNvSpPr>
            <a:spLocks/>
          </p:cNvSpPr>
          <p:nvPr/>
        </p:nvSpPr>
        <p:spPr bwMode="gray">
          <a:xfrm>
            <a:off x="8262560" y="4534874"/>
            <a:ext cx="63094" cy="114966"/>
          </a:xfrm>
          <a:custGeom>
            <a:avLst/>
            <a:gdLst>
              <a:gd name="T0" fmla="*/ 6 w 32"/>
              <a:gd name="T1" fmla="*/ 0 h 58"/>
              <a:gd name="T2" fmla="*/ 16 w 32"/>
              <a:gd name="T3" fmla="*/ 12 h 58"/>
              <a:gd name="T4" fmla="*/ 26 w 32"/>
              <a:gd name="T5" fmla="*/ 26 h 58"/>
              <a:gd name="T6" fmla="*/ 32 w 32"/>
              <a:gd name="T7" fmla="*/ 40 h 58"/>
              <a:gd name="T8" fmla="*/ 26 w 32"/>
              <a:gd name="T9" fmla="*/ 56 h 58"/>
              <a:gd name="T10" fmla="*/ 16 w 32"/>
              <a:gd name="T11" fmla="*/ 58 h 58"/>
              <a:gd name="T12" fmla="*/ 6 w 32"/>
              <a:gd name="T13" fmla="*/ 56 h 58"/>
              <a:gd name="T14" fmla="*/ 0 w 32"/>
              <a:gd name="T15" fmla="*/ 44 h 58"/>
              <a:gd name="T16" fmla="*/ 0 w 32"/>
              <a:gd name="T17" fmla="*/ 26 h 58"/>
              <a:gd name="T18" fmla="*/ 4 w 32"/>
              <a:gd name="T19" fmla="*/ 12 h 58"/>
              <a:gd name="T20" fmla="*/ 6 w 32"/>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8">
                <a:moveTo>
                  <a:pt x="6" y="0"/>
                </a:moveTo>
                <a:lnTo>
                  <a:pt x="16" y="12"/>
                </a:lnTo>
                <a:lnTo>
                  <a:pt x="26" y="26"/>
                </a:lnTo>
                <a:lnTo>
                  <a:pt x="32" y="40"/>
                </a:lnTo>
                <a:lnTo>
                  <a:pt x="26" y="56"/>
                </a:lnTo>
                <a:lnTo>
                  <a:pt x="16" y="58"/>
                </a:lnTo>
                <a:lnTo>
                  <a:pt x="6" y="56"/>
                </a:lnTo>
                <a:lnTo>
                  <a:pt x="0" y="44"/>
                </a:lnTo>
                <a:lnTo>
                  <a:pt x="0" y="26"/>
                </a:lnTo>
                <a:lnTo>
                  <a:pt x="4" y="12"/>
                </a:lnTo>
                <a:lnTo>
                  <a:pt x="6" y="0"/>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1037" name="Freeform 233">
            <a:extLst>
              <a:ext uri="{FF2B5EF4-FFF2-40B4-BE49-F238E27FC236}">
                <a16:creationId xmlns:a16="http://schemas.microsoft.com/office/drawing/2014/main" id="{44F20A16-2B77-41A8-B6F6-BED80F1DED36}"/>
              </a:ext>
            </a:extLst>
          </p:cNvPr>
          <p:cNvSpPr>
            <a:spLocks/>
          </p:cNvSpPr>
          <p:nvPr/>
        </p:nvSpPr>
        <p:spPr bwMode="gray">
          <a:xfrm>
            <a:off x="8649013" y="3924370"/>
            <a:ext cx="264207" cy="586718"/>
          </a:xfrm>
          <a:custGeom>
            <a:avLst/>
            <a:gdLst>
              <a:gd name="T0" fmla="*/ 6 w 134"/>
              <a:gd name="T1" fmla="*/ 120 h 296"/>
              <a:gd name="T2" fmla="*/ 12 w 134"/>
              <a:gd name="T3" fmla="*/ 104 h 296"/>
              <a:gd name="T4" fmla="*/ 32 w 134"/>
              <a:gd name="T5" fmla="*/ 74 h 296"/>
              <a:gd name="T6" fmla="*/ 44 w 134"/>
              <a:gd name="T7" fmla="*/ 46 h 296"/>
              <a:gd name="T8" fmla="*/ 62 w 134"/>
              <a:gd name="T9" fmla="*/ 20 h 296"/>
              <a:gd name="T10" fmla="*/ 76 w 134"/>
              <a:gd name="T11" fmla="*/ 10 h 296"/>
              <a:gd name="T12" fmla="*/ 90 w 134"/>
              <a:gd name="T13" fmla="*/ 2 h 296"/>
              <a:gd name="T14" fmla="*/ 104 w 134"/>
              <a:gd name="T15" fmla="*/ 18 h 296"/>
              <a:gd name="T16" fmla="*/ 94 w 134"/>
              <a:gd name="T17" fmla="*/ 52 h 296"/>
              <a:gd name="T18" fmla="*/ 86 w 134"/>
              <a:gd name="T19" fmla="*/ 68 h 296"/>
              <a:gd name="T20" fmla="*/ 106 w 134"/>
              <a:gd name="T21" fmla="*/ 88 h 296"/>
              <a:gd name="T22" fmla="*/ 116 w 134"/>
              <a:gd name="T23" fmla="*/ 108 h 296"/>
              <a:gd name="T24" fmla="*/ 124 w 134"/>
              <a:gd name="T25" fmla="*/ 116 h 296"/>
              <a:gd name="T26" fmla="*/ 134 w 134"/>
              <a:gd name="T27" fmla="*/ 126 h 296"/>
              <a:gd name="T28" fmla="*/ 106 w 134"/>
              <a:gd name="T29" fmla="*/ 144 h 296"/>
              <a:gd name="T30" fmla="*/ 88 w 134"/>
              <a:gd name="T31" fmla="*/ 158 h 296"/>
              <a:gd name="T32" fmla="*/ 84 w 134"/>
              <a:gd name="T33" fmla="*/ 168 h 296"/>
              <a:gd name="T34" fmla="*/ 88 w 134"/>
              <a:gd name="T35" fmla="*/ 184 h 296"/>
              <a:gd name="T36" fmla="*/ 104 w 134"/>
              <a:gd name="T37" fmla="*/ 208 h 296"/>
              <a:gd name="T38" fmla="*/ 96 w 134"/>
              <a:gd name="T39" fmla="*/ 228 h 296"/>
              <a:gd name="T40" fmla="*/ 110 w 134"/>
              <a:gd name="T41" fmla="*/ 248 h 296"/>
              <a:gd name="T42" fmla="*/ 116 w 134"/>
              <a:gd name="T43" fmla="*/ 274 h 296"/>
              <a:gd name="T44" fmla="*/ 100 w 134"/>
              <a:gd name="T45" fmla="*/ 296 h 296"/>
              <a:gd name="T46" fmla="*/ 100 w 134"/>
              <a:gd name="T47" fmla="*/ 280 h 296"/>
              <a:gd name="T48" fmla="*/ 100 w 134"/>
              <a:gd name="T49" fmla="*/ 256 h 296"/>
              <a:gd name="T50" fmla="*/ 90 w 134"/>
              <a:gd name="T51" fmla="*/ 230 h 296"/>
              <a:gd name="T52" fmla="*/ 84 w 134"/>
              <a:gd name="T53" fmla="*/ 200 h 296"/>
              <a:gd name="T54" fmla="*/ 68 w 134"/>
              <a:gd name="T55" fmla="*/ 200 h 296"/>
              <a:gd name="T56" fmla="*/ 54 w 134"/>
              <a:gd name="T57" fmla="*/ 212 h 296"/>
              <a:gd name="T58" fmla="*/ 36 w 134"/>
              <a:gd name="T59" fmla="*/ 204 h 296"/>
              <a:gd name="T60" fmla="*/ 38 w 134"/>
              <a:gd name="T61" fmla="*/ 176 h 296"/>
              <a:gd name="T62" fmla="*/ 26 w 134"/>
              <a:gd name="T63" fmla="*/ 158 h 296"/>
              <a:gd name="T64" fmla="*/ 0 w 134"/>
              <a:gd name="T65" fmla="*/ 12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96">
                <a:moveTo>
                  <a:pt x="0" y="124"/>
                </a:moveTo>
                <a:lnTo>
                  <a:pt x="6" y="120"/>
                </a:lnTo>
                <a:lnTo>
                  <a:pt x="6" y="110"/>
                </a:lnTo>
                <a:lnTo>
                  <a:pt x="12" y="104"/>
                </a:lnTo>
                <a:lnTo>
                  <a:pt x="18" y="76"/>
                </a:lnTo>
                <a:lnTo>
                  <a:pt x="32" y="74"/>
                </a:lnTo>
                <a:lnTo>
                  <a:pt x="36" y="54"/>
                </a:lnTo>
                <a:lnTo>
                  <a:pt x="44" y="46"/>
                </a:lnTo>
                <a:lnTo>
                  <a:pt x="46" y="34"/>
                </a:lnTo>
                <a:lnTo>
                  <a:pt x="62" y="20"/>
                </a:lnTo>
                <a:lnTo>
                  <a:pt x="76" y="20"/>
                </a:lnTo>
                <a:lnTo>
                  <a:pt x="76" y="10"/>
                </a:lnTo>
                <a:lnTo>
                  <a:pt x="82" y="0"/>
                </a:lnTo>
                <a:lnTo>
                  <a:pt x="90" y="2"/>
                </a:lnTo>
                <a:lnTo>
                  <a:pt x="96" y="12"/>
                </a:lnTo>
                <a:lnTo>
                  <a:pt x="104" y="18"/>
                </a:lnTo>
                <a:lnTo>
                  <a:pt x="102" y="42"/>
                </a:lnTo>
                <a:lnTo>
                  <a:pt x="94" y="52"/>
                </a:lnTo>
                <a:lnTo>
                  <a:pt x="86" y="64"/>
                </a:lnTo>
                <a:lnTo>
                  <a:pt x="86" y="68"/>
                </a:lnTo>
                <a:lnTo>
                  <a:pt x="106" y="74"/>
                </a:lnTo>
                <a:lnTo>
                  <a:pt x="106" y="88"/>
                </a:lnTo>
                <a:lnTo>
                  <a:pt x="116" y="92"/>
                </a:lnTo>
                <a:lnTo>
                  <a:pt x="116" y="108"/>
                </a:lnTo>
                <a:lnTo>
                  <a:pt x="124" y="110"/>
                </a:lnTo>
                <a:lnTo>
                  <a:pt x="124" y="116"/>
                </a:lnTo>
                <a:lnTo>
                  <a:pt x="132" y="116"/>
                </a:lnTo>
                <a:lnTo>
                  <a:pt x="134" y="126"/>
                </a:lnTo>
                <a:lnTo>
                  <a:pt x="116" y="136"/>
                </a:lnTo>
                <a:lnTo>
                  <a:pt x="106" y="144"/>
                </a:lnTo>
                <a:lnTo>
                  <a:pt x="88" y="146"/>
                </a:lnTo>
                <a:lnTo>
                  <a:pt x="88" y="158"/>
                </a:lnTo>
                <a:lnTo>
                  <a:pt x="86" y="162"/>
                </a:lnTo>
                <a:lnTo>
                  <a:pt x="84" y="168"/>
                </a:lnTo>
                <a:lnTo>
                  <a:pt x="86" y="178"/>
                </a:lnTo>
                <a:lnTo>
                  <a:pt x="88" y="184"/>
                </a:lnTo>
                <a:lnTo>
                  <a:pt x="98" y="192"/>
                </a:lnTo>
                <a:lnTo>
                  <a:pt x="104" y="208"/>
                </a:lnTo>
                <a:lnTo>
                  <a:pt x="100" y="218"/>
                </a:lnTo>
                <a:lnTo>
                  <a:pt x="96" y="228"/>
                </a:lnTo>
                <a:lnTo>
                  <a:pt x="102" y="236"/>
                </a:lnTo>
                <a:lnTo>
                  <a:pt x="110" y="248"/>
                </a:lnTo>
                <a:lnTo>
                  <a:pt x="110" y="264"/>
                </a:lnTo>
                <a:lnTo>
                  <a:pt x="116" y="274"/>
                </a:lnTo>
                <a:lnTo>
                  <a:pt x="112" y="286"/>
                </a:lnTo>
                <a:lnTo>
                  <a:pt x="100" y="296"/>
                </a:lnTo>
                <a:lnTo>
                  <a:pt x="98" y="288"/>
                </a:lnTo>
                <a:lnTo>
                  <a:pt x="100" y="280"/>
                </a:lnTo>
                <a:lnTo>
                  <a:pt x="100" y="270"/>
                </a:lnTo>
                <a:lnTo>
                  <a:pt x="100" y="256"/>
                </a:lnTo>
                <a:lnTo>
                  <a:pt x="98" y="250"/>
                </a:lnTo>
                <a:lnTo>
                  <a:pt x="90" y="230"/>
                </a:lnTo>
                <a:lnTo>
                  <a:pt x="90" y="214"/>
                </a:lnTo>
                <a:lnTo>
                  <a:pt x="84" y="200"/>
                </a:lnTo>
                <a:lnTo>
                  <a:pt x="74" y="188"/>
                </a:lnTo>
                <a:lnTo>
                  <a:pt x="68" y="200"/>
                </a:lnTo>
                <a:lnTo>
                  <a:pt x="56" y="204"/>
                </a:lnTo>
                <a:lnTo>
                  <a:pt x="54" y="212"/>
                </a:lnTo>
                <a:lnTo>
                  <a:pt x="42" y="212"/>
                </a:lnTo>
                <a:lnTo>
                  <a:pt x="36" y="204"/>
                </a:lnTo>
                <a:lnTo>
                  <a:pt x="36" y="190"/>
                </a:lnTo>
                <a:lnTo>
                  <a:pt x="38" y="176"/>
                </a:lnTo>
                <a:lnTo>
                  <a:pt x="34" y="166"/>
                </a:lnTo>
                <a:lnTo>
                  <a:pt x="26" y="158"/>
                </a:lnTo>
                <a:lnTo>
                  <a:pt x="14" y="138"/>
                </a:lnTo>
                <a:lnTo>
                  <a:pt x="0" y="12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38" name="Freeform 234">
            <a:extLst>
              <a:ext uri="{FF2B5EF4-FFF2-40B4-BE49-F238E27FC236}">
                <a16:creationId xmlns:a16="http://schemas.microsoft.com/office/drawing/2014/main" id="{D84B26F8-0180-4F99-B274-5CE3C7145ADF}"/>
              </a:ext>
            </a:extLst>
          </p:cNvPr>
          <p:cNvSpPr>
            <a:spLocks/>
          </p:cNvSpPr>
          <p:nvPr/>
        </p:nvSpPr>
        <p:spPr bwMode="gray">
          <a:xfrm>
            <a:off x="8814637" y="4189980"/>
            <a:ext cx="256321" cy="475718"/>
          </a:xfrm>
          <a:custGeom>
            <a:avLst/>
            <a:gdLst>
              <a:gd name="T0" fmla="*/ 20 w 130"/>
              <a:gd name="T1" fmla="*/ 198 h 240"/>
              <a:gd name="T2" fmla="*/ 14 w 130"/>
              <a:gd name="T3" fmla="*/ 174 h 240"/>
              <a:gd name="T4" fmla="*/ 28 w 130"/>
              <a:gd name="T5" fmla="*/ 152 h 240"/>
              <a:gd name="T6" fmla="*/ 26 w 130"/>
              <a:gd name="T7" fmla="*/ 130 h 240"/>
              <a:gd name="T8" fmla="*/ 18 w 130"/>
              <a:gd name="T9" fmla="*/ 102 h 240"/>
              <a:gd name="T10" fmla="*/ 20 w 130"/>
              <a:gd name="T11" fmla="*/ 74 h 240"/>
              <a:gd name="T12" fmla="*/ 4 w 130"/>
              <a:gd name="T13" fmla="*/ 50 h 240"/>
              <a:gd name="T14" fmla="*/ 4 w 130"/>
              <a:gd name="T15" fmla="*/ 24 h 240"/>
              <a:gd name="T16" fmla="*/ 22 w 130"/>
              <a:gd name="T17" fmla="*/ 10 h 240"/>
              <a:gd name="T18" fmla="*/ 48 w 130"/>
              <a:gd name="T19" fmla="*/ 6 h 240"/>
              <a:gd name="T20" fmla="*/ 56 w 130"/>
              <a:gd name="T21" fmla="*/ 16 h 240"/>
              <a:gd name="T22" fmla="*/ 56 w 130"/>
              <a:gd name="T23" fmla="*/ 34 h 240"/>
              <a:gd name="T24" fmla="*/ 68 w 130"/>
              <a:gd name="T25" fmla="*/ 42 h 240"/>
              <a:gd name="T26" fmla="*/ 88 w 130"/>
              <a:gd name="T27" fmla="*/ 40 h 240"/>
              <a:gd name="T28" fmla="*/ 116 w 130"/>
              <a:gd name="T29" fmla="*/ 50 h 240"/>
              <a:gd name="T30" fmla="*/ 130 w 130"/>
              <a:gd name="T31" fmla="*/ 76 h 240"/>
              <a:gd name="T32" fmla="*/ 126 w 130"/>
              <a:gd name="T33" fmla="*/ 98 h 240"/>
              <a:gd name="T34" fmla="*/ 78 w 130"/>
              <a:gd name="T35" fmla="*/ 112 h 240"/>
              <a:gd name="T36" fmla="*/ 82 w 130"/>
              <a:gd name="T37" fmla="*/ 130 h 240"/>
              <a:gd name="T38" fmla="*/ 84 w 130"/>
              <a:gd name="T39" fmla="*/ 144 h 240"/>
              <a:gd name="T40" fmla="*/ 56 w 130"/>
              <a:gd name="T41" fmla="*/ 126 h 240"/>
              <a:gd name="T42" fmla="*/ 44 w 130"/>
              <a:gd name="T43" fmla="*/ 116 h 240"/>
              <a:gd name="T44" fmla="*/ 40 w 130"/>
              <a:gd name="T45" fmla="*/ 132 h 240"/>
              <a:gd name="T46" fmla="*/ 32 w 130"/>
              <a:gd name="T47" fmla="*/ 154 h 240"/>
              <a:gd name="T48" fmla="*/ 24 w 130"/>
              <a:gd name="T49" fmla="*/ 178 h 240"/>
              <a:gd name="T50" fmla="*/ 40 w 130"/>
              <a:gd name="T51" fmla="*/ 186 h 240"/>
              <a:gd name="T52" fmla="*/ 46 w 130"/>
              <a:gd name="T53" fmla="*/ 210 h 240"/>
              <a:gd name="T54" fmla="*/ 64 w 130"/>
              <a:gd name="T55" fmla="*/ 222 h 240"/>
              <a:gd name="T56" fmla="*/ 68 w 130"/>
              <a:gd name="T57" fmla="*/ 234 h 240"/>
              <a:gd name="T58" fmla="*/ 56 w 130"/>
              <a:gd name="T59" fmla="*/ 238 h 240"/>
              <a:gd name="T60" fmla="*/ 52 w 130"/>
              <a:gd name="T61" fmla="*/ 226 h 240"/>
              <a:gd name="T62" fmla="*/ 34 w 130"/>
              <a:gd name="T63" fmla="*/ 2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40">
                <a:moveTo>
                  <a:pt x="34" y="214"/>
                </a:moveTo>
                <a:lnTo>
                  <a:pt x="20" y="198"/>
                </a:lnTo>
                <a:lnTo>
                  <a:pt x="12" y="194"/>
                </a:lnTo>
                <a:lnTo>
                  <a:pt x="14" y="174"/>
                </a:lnTo>
                <a:lnTo>
                  <a:pt x="16" y="162"/>
                </a:lnTo>
                <a:lnTo>
                  <a:pt x="28" y="152"/>
                </a:lnTo>
                <a:lnTo>
                  <a:pt x="32" y="140"/>
                </a:lnTo>
                <a:lnTo>
                  <a:pt x="26" y="130"/>
                </a:lnTo>
                <a:lnTo>
                  <a:pt x="26" y="114"/>
                </a:lnTo>
                <a:lnTo>
                  <a:pt x="18" y="102"/>
                </a:lnTo>
                <a:lnTo>
                  <a:pt x="12" y="94"/>
                </a:lnTo>
                <a:lnTo>
                  <a:pt x="20" y="74"/>
                </a:lnTo>
                <a:lnTo>
                  <a:pt x="14" y="58"/>
                </a:lnTo>
                <a:lnTo>
                  <a:pt x="4" y="50"/>
                </a:lnTo>
                <a:lnTo>
                  <a:pt x="0" y="30"/>
                </a:lnTo>
                <a:lnTo>
                  <a:pt x="4" y="24"/>
                </a:lnTo>
                <a:lnTo>
                  <a:pt x="4" y="12"/>
                </a:lnTo>
                <a:lnTo>
                  <a:pt x="22" y="10"/>
                </a:lnTo>
                <a:lnTo>
                  <a:pt x="36" y="0"/>
                </a:lnTo>
                <a:lnTo>
                  <a:pt x="48" y="6"/>
                </a:lnTo>
                <a:lnTo>
                  <a:pt x="48" y="14"/>
                </a:lnTo>
                <a:lnTo>
                  <a:pt x="56" y="16"/>
                </a:lnTo>
                <a:lnTo>
                  <a:pt x="60" y="30"/>
                </a:lnTo>
                <a:lnTo>
                  <a:pt x="56" y="34"/>
                </a:lnTo>
                <a:lnTo>
                  <a:pt x="56" y="48"/>
                </a:lnTo>
                <a:lnTo>
                  <a:pt x="68" y="42"/>
                </a:lnTo>
                <a:lnTo>
                  <a:pt x="76" y="36"/>
                </a:lnTo>
                <a:lnTo>
                  <a:pt x="88" y="40"/>
                </a:lnTo>
                <a:lnTo>
                  <a:pt x="100" y="32"/>
                </a:lnTo>
                <a:lnTo>
                  <a:pt x="116" y="50"/>
                </a:lnTo>
                <a:lnTo>
                  <a:pt x="120" y="66"/>
                </a:lnTo>
                <a:lnTo>
                  <a:pt x="130" y="76"/>
                </a:lnTo>
                <a:lnTo>
                  <a:pt x="130" y="86"/>
                </a:lnTo>
                <a:lnTo>
                  <a:pt x="126" y="98"/>
                </a:lnTo>
                <a:lnTo>
                  <a:pt x="86" y="100"/>
                </a:lnTo>
                <a:lnTo>
                  <a:pt x="78" y="112"/>
                </a:lnTo>
                <a:lnTo>
                  <a:pt x="78" y="120"/>
                </a:lnTo>
                <a:lnTo>
                  <a:pt x="82" y="130"/>
                </a:lnTo>
                <a:lnTo>
                  <a:pt x="86" y="140"/>
                </a:lnTo>
                <a:lnTo>
                  <a:pt x="84" y="144"/>
                </a:lnTo>
                <a:lnTo>
                  <a:pt x="72" y="128"/>
                </a:lnTo>
                <a:lnTo>
                  <a:pt x="56" y="126"/>
                </a:lnTo>
                <a:lnTo>
                  <a:pt x="56" y="116"/>
                </a:lnTo>
                <a:lnTo>
                  <a:pt x="44" y="116"/>
                </a:lnTo>
                <a:lnTo>
                  <a:pt x="40" y="120"/>
                </a:lnTo>
                <a:lnTo>
                  <a:pt x="40" y="132"/>
                </a:lnTo>
                <a:lnTo>
                  <a:pt x="38" y="140"/>
                </a:lnTo>
                <a:lnTo>
                  <a:pt x="32" y="154"/>
                </a:lnTo>
                <a:lnTo>
                  <a:pt x="28" y="162"/>
                </a:lnTo>
                <a:lnTo>
                  <a:pt x="24" y="178"/>
                </a:lnTo>
                <a:lnTo>
                  <a:pt x="30" y="182"/>
                </a:lnTo>
                <a:lnTo>
                  <a:pt x="40" y="186"/>
                </a:lnTo>
                <a:lnTo>
                  <a:pt x="42" y="192"/>
                </a:lnTo>
                <a:lnTo>
                  <a:pt x="46" y="210"/>
                </a:lnTo>
                <a:lnTo>
                  <a:pt x="52" y="218"/>
                </a:lnTo>
                <a:lnTo>
                  <a:pt x="64" y="222"/>
                </a:lnTo>
                <a:lnTo>
                  <a:pt x="72" y="230"/>
                </a:lnTo>
                <a:lnTo>
                  <a:pt x="68" y="234"/>
                </a:lnTo>
                <a:lnTo>
                  <a:pt x="66" y="240"/>
                </a:lnTo>
                <a:lnTo>
                  <a:pt x="56" y="238"/>
                </a:lnTo>
                <a:lnTo>
                  <a:pt x="58" y="230"/>
                </a:lnTo>
                <a:lnTo>
                  <a:pt x="52" y="226"/>
                </a:lnTo>
                <a:lnTo>
                  <a:pt x="42" y="224"/>
                </a:lnTo>
                <a:lnTo>
                  <a:pt x="34" y="214"/>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1039" name="Freeform 235">
            <a:extLst>
              <a:ext uri="{FF2B5EF4-FFF2-40B4-BE49-F238E27FC236}">
                <a16:creationId xmlns:a16="http://schemas.microsoft.com/office/drawing/2014/main" id="{795A2B88-C08F-4E4B-B343-EC51D597C977}"/>
              </a:ext>
            </a:extLst>
          </p:cNvPr>
          <p:cNvSpPr>
            <a:spLocks/>
          </p:cNvSpPr>
          <p:nvPr/>
        </p:nvSpPr>
        <p:spPr bwMode="gray">
          <a:xfrm>
            <a:off x="8897448" y="4633982"/>
            <a:ext cx="126189" cy="162537"/>
          </a:xfrm>
          <a:custGeom>
            <a:avLst/>
            <a:gdLst>
              <a:gd name="T0" fmla="*/ 0 w 64"/>
              <a:gd name="T1" fmla="*/ 0 h 82"/>
              <a:gd name="T2" fmla="*/ 10 w 64"/>
              <a:gd name="T3" fmla="*/ 2 h 82"/>
              <a:gd name="T4" fmla="*/ 16 w 64"/>
              <a:gd name="T5" fmla="*/ 6 h 82"/>
              <a:gd name="T6" fmla="*/ 14 w 64"/>
              <a:gd name="T7" fmla="*/ 14 h 82"/>
              <a:gd name="T8" fmla="*/ 24 w 64"/>
              <a:gd name="T9" fmla="*/ 16 h 82"/>
              <a:gd name="T10" fmla="*/ 26 w 64"/>
              <a:gd name="T11" fmla="*/ 10 h 82"/>
              <a:gd name="T12" fmla="*/ 30 w 64"/>
              <a:gd name="T13" fmla="*/ 6 h 82"/>
              <a:gd name="T14" fmla="*/ 40 w 64"/>
              <a:gd name="T15" fmla="*/ 14 h 82"/>
              <a:gd name="T16" fmla="*/ 52 w 64"/>
              <a:gd name="T17" fmla="*/ 30 h 82"/>
              <a:gd name="T18" fmla="*/ 52 w 64"/>
              <a:gd name="T19" fmla="*/ 40 h 82"/>
              <a:gd name="T20" fmla="*/ 54 w 64"/>
              <a:gd name="T21" fmla="*/ 62 h 82"/>
              <a:gd name="T22" fmla="*/ 60 w 64"/>
              <a:gd name="T23" fmla="*/ 70 h 82"/>
              <a:gd name="T24" fmla="*/ 64 w 64"/>
              <a:gd name="T25" fmla="*/ 78 h 82"/>
              <a:gd name="T26" fmla="*/ 64 w 64"/>
              <a:gd name="T27" fmla="*/ 82 h 82"/>
              <a:gd name="T28" fmla="*/ 54 w 64"/>
              <a:gd name="T29" fmla="*/ 82 h 82"/>
              <a:gd name="T30" fmla="*/ 36 w 64"/>
              <a:gd name="T31" fmla="*/ 72 h 82"/>
              <a:gd name="T32" fmla="*/ 16 w 64"/>
              <a:gd name="T33" fmla="*/ 60 h 82"/>
              <a:gd name="T34" fmla="*/ 18 w 64"/>
              <a:gd name="T35" fmla="*/ 52 h 82"/>
              <a:gd name="T36" fmla="*/ 10 w 64"/>
              <a:gd name="T37" fmla="*/ 42 h 82"/>
              <a:gd name="T38" fmla="*/ 4 w 64"/>
              <a:gd name="T39" fmla="*/ 26 h 82"/>
              <a:gd name="T40" fmla="*/ 4 w 64"/>
              <a:gd name="T41" fmla="*/ 10 h 82"/>
              <a:gd name="T42" fmla="*/ 0 w 64"/>
              <a:gd name="T4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82">
                <a:moveTo>
                  <a:pt x="0" y="0"/>
                </a:moveTo>
                <a:lnTo>
                  <a:pt x="10" y="2"/>
                </a:lnTo>
                <a:lnTo>
                  <a:pt x="16" y="6"/>
                </a:lnTo>
                <a:lnTo>
                  <a:pt x="14" y="14"/>
                </a:lnTo>
                <a:lnTo>
                  <a:pt x="24" y="16"/>
                </a:lnTo>
                <a:lnTo>
                  <a:pt x="26" y="10"/>
                </a:lnTo>
                <a:lnTo>
                  <a:pt x="30" y="6"/>
                </a:lnTo>
                <a:lnTo>
                  <a:pt x="40" y="14"/>
                </a:lnTo>
                <a:lnTo>
                  <a:pt x="52" y="30"/>
                </a:lnTo>
                <a:lnTo>
                  <a:pt x="52" y="40"/>
                </a:lnTo>
                <a:lnTo>
                  <a:pt x="54" y="62"/>
                </a:lnTo>
                <a:lnTo>
                  <a:pt x="60" y="70"/>
                </a:lnTo>
                <a:lnTo>
                  <a:pt x="64" y="78"/>
                </a:lnTo>
                <a:lnTo>
                  <a:pt x="64" y="82"/>
                </a:lnTo>
                <a:lnTo>
                  <a:pt x="54" y="82"/>
                </a:lnTo>
                <a:lnTo>
                  <a:pt x="36" y="72"/>
                </a:lnTo>
                <a:lnTo>
                  <a:pt x="16" y="60"/>
                </a:lnTo>
                <a:lnTo>
                  <a:pt x="18" y="52"/>
                </a:lnTo>
                <a:lnTo>
                  <a:pt x="10" y="42"/>
                </a:lnTo>
                <a:lnTo>
                  <a:pt x="4" y="26"/>
                </a:lnTo>
                <a:lnTo>
                  <a:pt x="4" y="10"/>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0" name="Freeform 236">
            <a:extLst>
              <a:ext uri="{FF2B5EF4-FFF2-40B4-BE49-F238E27FC236}">
                <a16:creationId xmlns:a16="http://schemas.microsoft.com/office/drawing/2014/main" id="{09ED6093-94B8-4462-93DC-C3715D36D057}"/>
              </a:ext>
            </a:extLst>
          </p:cNvPr>
          <p:cNvSpPr>
            <a:spLocks/>
          </p:cNvSpPr>
          <p:nvPr/>
        </p:nvSpPr>
        <p:spPr bwMode="gray">
          <a:xfrm>
            <a:off x="9197147" y="4626054"/>
            <a:ext cx="303643" cy="186323"/>
          </a:xfrm>
          <a:custGeom>
            <a:avLst/>
            <a:gdLst>
              <a:gd name="T0" fmla="*/ 0 w 154"/>
              <a:gd name="T1" fmla="*/ 84 h 94"/>
              <a:gd name="T2" fmla="*/ 10 w 154"/>
              <a:gd name="T3" fmla="*/ 94 h 94"/>
              <a:gd name="T4" fmla="*/ 22 w 154"/>
              <a:gd name="T5" fmla="*/ 94 h 94"/>
              <a:gd name="T6" fmla="*/ 30 w 154"/>
              <a:gd name="T7" fmla="*/ 92 h 94"/>
              <a:gd name="T8" fmla="*/ 44 w 154"/>
              <a:gd name="T9" fmla="*/ 86 h 94"/>
              <a:gd name="T10" fmla="*/ 52 w 154"/>
              <a:gd name="T11" fmla="*/ 84 h 94"/>
              <a:gd name="T12" fmla="*/ 60 w 154"/>
              <a:gd name="T13" fmla="*/ 92 h 94"/>
              <a:gd name="T14" fmla="*/ 72 w 154"/>
              <a:gd name="T15" fmla="*/ 86 h 94"/>
              <a:gd name="T16" fmla="*/ 84 w 154"/>
              <a:gd name="T17" fmla="*/ 74 h 94"/>
              <a:gd name="T18" fmla="*/ 94 w 154"/>
              <a:gd name="T19" fmla="*/ 56 h 94"/>
              <a:gd name="T20" fmla="*/ 96 w 154"/>
              <a:gd name="T21" fmla="*/ 44 h 94"/>
              <a:gd name="T22" fmla="*/ 102 w 154"/>
              <a:gd name="T23" fmla="*/ 40 h 94"/>
              <a:gd name="T24" fmla="*/ 118 w 154"/>
              <a:gd name="T25" fmla="*/ 38 h 94"/>
              <a:gd name="T26" fmla="*/ 126 w 154"/>
              <a:gd name="T27" fmla="*/ 44 h 94"/>
              <a:gd name="T28" fmla="*/ 138 w 154"/>
              <a:gd name="T29" fmla="*/ 44 h 94"/>
              <a:gd name="T30" fmla="*/ 142 w 154"/>
              <a:gd name="T31" fmla="*/ 40 h 94"/>
              <a:gd name="T32" fmla="*/ 134 w 154"/>
              <a:gd name="T33" fmla="*/ 34 h 94"/>
              <a:gd name="T34" fmla="*/ 140 w 154"/>
              <a:gd name="T35" fmla="*/ 30 h 94"/>
              <a:gd name="T36" fmla="*/ 148 w 154"/>
              <a:gd name="T37" fmla="*/ 30 h 94"/>
              <a:gd name="T38" fmla="*/ 154 w 154"/>
              <a:gd name="T39" fmla="*/ 28 h 94"/>
              <a:gd name="T40" fmla="*/ 140 w 154"/>
              <a:gd name="T41" fmla="*/ 20 h 94"/>
              <a:gd name="T42" fmla="*/ 132 w 154"/>
              <a:gd name="T43" fmla="*/ 16 h 94"/>
              <a:gd name="T44" fmla="*/ 124 w 154"/>
              <a:gd name="T45" fmla="*/ 8 h 94"/>
              <a:gd name="T46" fmla="*/ 120 w 154"/>
              <a:gd name="T47" fmla="*/ 2 h 94"/>
              <a:gd name="T48" fmla="*/ 110 w 154"/>
              <a:gd name="T49" fmla="*/ 0 h 94"/>
              <a:gd name="T50" fmla="*/ 102 w 154"/>
              <a:gd name="T51" fmla="*/ 10 h 94"/>
              <a:gd name="T52" fmla="*/ 96 w 154"/>
              <a:gd name="T53" fmla="*/ 18 h 94"/>
              <a:gd name="T54" fmla="*/ 92 w 154"/>
              <a:gd name="T55" fmla="*/ 22 h 94"/>
              <a:gd name="T56" fmla="*/ 88 w 154"/>
              <a:gd name="T57" fmla="*/ 28 h 94"/>
              <a:gd name="T58" fmla="*/ 98 w 154"/>
              <a:gd name="T59" fmla="*/ 36 h 94"/>
              <a:gd name="T60" fmla="*/ 94 w 154"/>
              <a:gd name="T61" fmla="*/ 40 h 94"/>
              <a:gd name="T62" fmla="*/ 88 w 154"/>
              <a:gd name="T63" fmla="*/ 36 h 94"/>
              <a:gd name="T64" fmla="*/ 84 w 154"/>
              <a:gd name="T65" fmla="*/ 38 h 94"/>
              <a:gd name="T66" fmla="*/ 82 w 154"/>
              <a:gd name="T67" fmla="*/ 46 h 94"/>
              <a:gd name="T68" fmla="*/ 76 w 154"/>
              <a:gd name="T69" fmla="*/ 46 h 94"/>
              <a:gd name="T70" fmla="*/ 68 w 154"/>
              <a:gd name="T71" fmla="*/ 40 h 94"/>
              <a:gd name="T72" fmla="*/ 60 w 154"/>
              <a:gd name="T73" fmla="*/ 54 h 94"/>
              <a:gd name="T74" fmla="*/ 52 w 154"/>
              <a:gd name="T75" fmla="*/ 64 h 94"/>
              <a:gd name="T76" fmla="*/ 40 w 154"/>
              <a:gd name="T77" fmla="*/ 62 h 94"/>
              <a:gd name="T78" fmla="*/ 28 w 154"/>
              <a:gd name="T79" fmla="*/ 66 h 94"/>
              <a:gd name="T80" fmla="*/ 22 w 154"/>
              <a:gd name="T81" fmla="*/ 78 h 94"/>
              <a:gd name="T82" fmla="*/ 26 w 154"/>
              <a:gd name="T83" fmla="*/ 84 h 94"/>
              <a:gd name="T84" fmla="*/ 28 w 154"/>
              <a:gd name="T85" fmla="*/ 88 h 94"/>
              <a:gd name="T86" fmla="*/ 20 w 154"/>
              <a:gd name="T87" fmla="*/ 92 h 94"/>
              <a:gd name="T88" fmla="*/ 14 w 154"/>
              <a:gd name="T89" fmla="*/ 84 h 94"/>
              <a:gd name="T90" fmla="*/ 10 w 154"/>
              <a:gd name="T91" fmla="*/ 80 h 94"/>
              <a:gd name="T92" fmla="*/ 0 w 154"/>
              <a:gd name="T93" fmla="*/ 8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94">
                <a:moveTo>
                  <a:pt x="0" y="84"/>
                </a:moveTo>
                <a:lnTo>
                  <a:pt x="10" y="94"/>
                </a:lnTo>
                <a:lnTo>
                  <a:pt x="22" y="94"/>
                </a:lnTo>
                <a:lnTo>
                  <a:pt x="30" y="92"/>
                </a:lnTo>
                <a:lnTo>
                  <a:pt x="44" y="86"/>
                </a:lnTo>
                <a:lnTo>
                  <a:pt x="52" y="84"/>
                </a:lnTo>
                <a:lnTo>
                  <a:pt x="60" y="92"/>
                </a:lnTo>
                <a:lnTo>
                  <a:pt x="72" y="86"/>
                </a:lnTo>
                <a:lnTo>
                  <a:pt x="84" y="74"/>
                </a:lnTo>
                <a:lnTo>
                  <a:pt x="94" y="56"/>
                </a:lnTo>
                <a:lnTo>
                  <a:pt x="96" y="44"/>
                </a:lnTo>
                <a:lnTo>
                  <a:pt x="102" y="40"/>
                </a:lnTo>
                <a:lnTo>
                  <a:pt x="118" y="38"/>
                </a:lnTo>
                <a:lnTo>
                  <a:pt x="126" y="44"/>
                </a:lnTo>
                <a:lnTo>
                  <a:pt x="138" y="44"/>
                </a:lnTo>
                <a:lnTo>
                  <a:pt x="142" y="40"/>
                </a:lnTo>
                <a:lnTo>
                  <a:pt x="134" y="34"/>
                </a:lnTo>
                <a:lnTo>
                  <a:pt x="140" y="30"/>
                </a:lnTo>
                <a:lnTo>
                  <a:pt x="148" y="30"/>
                </a:lnTo>
                <a:lnTo>
                  <a:pt x="154" y="28"/>
                </a:lnTo>
                <a:lnTo>
                  <a:pt x="140" y="20"/>
                </a:lnTo>
                <a:lnTo>
                  <a:pt x="132" y="16"/>
                </a:lnTo>
                <a:lnTo>
                  <a:pt x="124" y="8"/>
                </a:lnTo>
                <a:lnTo>
                  <a:pt x="120" y="2"/>
                </a:lnTo>
                <a:lnTo>
                  <a:pt x="110" y="0"/>
                </a:lnTo>
                <a:lnTo>
                  <a:pt x="102" y="10"/>
                </a:lnTo>
                <a:lnTo>
                  <a:pt x="96" y="18"/>
                </a:lnTo>
                <a:lnTo>
                  <a:pt x="92" y="22"/>
                </a:lnTo>
                <a:lnTo>
                  <a:pt x="88" y="28"/>
                </a:lnTo>
                <a:lnTo>
                  <a:pt x="98" y="36"/>
                </a:lnTo>
                <a:lnTo>
                  <a:pt x="94" y="40"/>
                </a:lnTo>
                <a:lnTo>
                  <a:pt x="88" y="36"/>
                </a:lnTo>
                <a:lnTo>
                  <a:pt x="84" y="38"/>
                </a:lnTo>
                <a:lnTo>
                  <a:pt x="82" y="46"/>
                </a:lnTo>
                <a:lnTo>
                  <a:pt x="76" y="46"/>
                </a:lnTo>
                <a:lnTo>
                  <a:pt x="68" y="40"/>
                </a:lnTo>
                <a:lnTo>
                  <a:pt x="60" y="54"/>
                </a:lnTo>
                <a:lnTo>
                  <a:pt x="52" y="64"/>
                </a:lnTo>
                <a:lnTo>
                  <a:pt x="40" y="62"/>
                </a:lnTo>
                <a:lnTo>
                  <a:pt x="28" y="66"/>
                </a:lnTo>
                <a:lnTo>
                  <a:pt x="22" y="78"/>
                </a:lnTo>
                <a:lnTo>
                  <a:pt x="26" y="84"/>
                </a:lnTo>
                <a:lnTo>
                  <a:pt x="28" y="88"/>
                </a:lnTo>
                <a:lnTo>
                  <a:pt x="20" y="92"/>
                </a:lnTo>
                <a:lnTo>
                  <a:pt x="14" y="84"/>
                </a:lnTo>
                <a:lnTo>
                  <a:pt x="10" y="80"/>
                </a:lnTo>
                <a:lnTo>
                  <a:pt x="0" y="8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1" name="Freeform 237">
            <a:extLst>
              <a:ext uri="{FF2B5EF4-FFF2-40B4-BE49-F238E27FC236}">
                <a16:creationId xmlns:a16="http://schemas.microsoft.com/office/drawing/2014/main" id="{B767C1F7-7DAB-42B2-AD34-21D25075128B}"/>
              </a:ext>
            </a:extLst>
          </p:cNvPr>
          <p:cNvSpPr>
            <a:spLocks/>
          </p:cNvSpPr>
          <p:nvPr/>
        </p:nvSpPr>
        <p:spPr bwMode="gray">
          <a:xfrm>
            <a:off x="9169543" y="4701377"/>
            <a:ext cx="315471" cy="265610"/>
          </a:xfrm>
          <a:custGeom>
            <a:avLst/>
            <a:gdLst>
              <a:gd name="T0" fmla="*/ 14 w 160"/>
              <a:gd name="T1" fmla="*/ 46 h 134"/>
              <a:gd name="T2" fmla="*/ 24 w 160"/>
              <a:gd name="T3" fmla="*/ 56 h 134"/>
              <a:gd name="T4" fmla="*/ 36 w 160"/>
              <a:gd name="T5" fmla="*/ 56 h 134"/>
              <a:gd name="T6" fmla="*/ 44 w 160"/>
              <a:gd name="T7" fmla="*/ 54 h 134"/>
              <a:gd name="T8" fmla="*/ 66 w 160"/>
              <a:gd name="T9" fmla="*/ 46 h 134"/>
              <a:gd name="T10" fmla="*/ 74 w 160"/>
              <a:gd name="T11" fmla="*/ 54 h 134"/>
              <a:gd name="T12" fmla="*/ 86 w 160"/>
              <a:gd name="T13" fmla="*/ 48 h 134"/>
              <a:gd name="T14" fmla="*/ 98 w 160"/>
              <a:gd name="T15" fmla="*/ 36 h 134"/>
              <a:gd name="T16" fmla="*/ 108 w 160"/>
              <a:gd name="T17" fmla="*/ 18 h 134"/>
              <a:gd name="T18" fmla="*/ 110 w 160"/>
              <a:gd name="T19" fmla="*/ 6 h 134"/>
              <a:gd name="T20" fmla="*/ 116 w 160"/>
              <a:gd name="T21" fmla="*/ 2 h 134"/>
              <a:gd name="T22" fmla="*/ 132 w 160"/>
              <a:gd name="T23" fmla="*/ 0 h 134"/>
              <a:gd name="T24" fmla="*/ 140 w 160"/>
              <a:gd name="T25" fmla="*/ 6 h 134"/>
              <a:gd name="T26" fmla="*/ 138 w 160"/>
              <a:gd name="T27" fmla="*/ 14 h 134"/>
              <a:gd name="T28" fmla="*/ 132 w 160"/>
              <a:gd name="T29" fmla="*/ 16 h 134"/>
              <a:gd name="T30" fmla="*/ 140 w 160"/>
              <a:gd name="T31" fmla="*/ 26 h 134"/>
              <a:gd name="T32" fmla="*/ 146 w 160"/>
              <a:gd name="T33" fmla="*/ 42 h 134"/>
              <a:gd name="T34" fmla="*/ 150 w 160"/>
              <a:gd name="T35" fmla="*/ 48 h 134"/>
              <a:gd name="T36" fmla="*/ 160 w 160"/>
              <a:gd name="T37" fmla="*/ 56 h 134"/>
              <a:gd name="T38" fmla="*/ 156 w 160"/>
              <a:gd name="T39" fmla="*/ 60 h 134"/>
              <a:gd name="T40" fmla="*/ 144 w 160"/>
              <a:gd name="T41" fmla="*/ 58 h 134"/>
              <a:gd name="T42" fmla="*/ 138 w 160"/>
              <a:gd name="T43" fmla="*/ 64 h 134"/>
              <a:gd name="T44" fmla="*/ 136 w 160"/>
              <a:gd name="T45" fmla="*/ 84 h 134"/>
              <a:gd name="T46" fmla="*/ 120 w 160"/>
              <a:gd name="T47" fmla="*/ 96 h 134"/>
              <a:gd name="T48" fmla="*/ 122 w 160"/>
              <a:gd name="T49" fmla="*/ 112 h 134"/>
              <a:gd name="T50" fmla="*/ 120 w 160"/>
              <a:gd name="T51" fmla="*/ 118 h 134"/>
              <a:gd name="T52" fmla="*/ 118 w 160"/>
              <a:gd name="T53" fmla="*/ 134 h 134"/>
              <a:gd name="T54" fmla="*/ 94 w 160"/>
              <a:gd name="T55" fmla="*/ 132 h 134"/>
              <a:gd name="T56" fmla="*/ 92 w 160"/>
              <a:gd name="T57" fmla="*/ 124 h 134"/>
              <a:gd name="T58" fmla="*/ 64 w 160"/>
              <a:gd name="T59" fmla="*/ 120 h 134"/>
              <a:gd name="T60" fmla="*/ 60 w 160"/>
              <a:gd name="T61" fmla="*/ 126 h 134"/>
              <a:gd name="T62" fmla="*/ 46 w 160"/>
              <a:gd name="T63" fmla="*/ 124 h 134"/>
              <a:gd name="T64" fmla="*/ 44 w 160"/>
              <a:gd name="T65" fmla="*/ 116 h 134"/>
              <a:gd name="T66" fmla="*/ 24 w 160"/>
              <a:gd name="T67" fmla="*/ 116 h 134"/>
              <a:gd name="T68" fmla="*/ 20 w 160"/>
              <a:gd name="T69" fmla="*/ 96 h 134"/>
              <a:gd name="T70" fmla="*/ 12 w 160"/>
              <a:gd name="T71" fmla="*/ 86 h 134"/>
              <a:gd name="T72" fmla="*/ 2 w 160"/>
              <a:gd name="T73" fmla="*/ 66 h 134"/>
              <a:gd name="T74" fmla="*/ 0 w 160"/>
              <a:gd name="T75" fmla="*/ 54 h 134"/>
              <a:gd name="T76" fmla="*/ 6 w 160"/>
              <a:gd name="T77" fmla="*/ 46 h 134"/>
              <a:gd name="T78" fmla="*/ 14 w 160"/>
              <a:gd name="T7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34">
                <a:moveTo>
                  <a:pt x="14" y="46"/>
                </a:moveTo>
                <a:lnTo>
                  <a:pt x="24" y="56"/>
                </a:lnTo>
                <a:lnTo>
                  <a:pt x="36" y="56"/>
                </a:lnTo>
                <a:lnTo>
                  <a:pt x="44" y="54"/>
                </a:lnTo>
                <a:lnTo>
                  <a:pt x="66" y="46"/>
                </a:lnTo>
                <a:lnTo>
                  <a:pt x="74" y="54"/>
                </a:lnTo>
                <a:lnTo>
                  <a:pt x="86" y="48"/>
                </a:lnTo>
                <a:lnTo>
                  <a:pt x="98" y="36"/>
                </a:lnTo>
                <a:lnTo>
                  <a:pt x="108" y="18"/>
                </a:lnTo>
                <a:lnTo>
                  <a:pt x="110" y="6"/>
                </a:lnTo>
                <a:lnTo>
                  <a:pt x="116" y="2"/>
                </a:lnTo>
                <a:lnTo>
                  <a:pt x="132" y="0"/>
                </a:lnTo>
                <a:lnTo>
                  <a:pt x="140" y="6"/>
                </a:lnTo>
                <a:lnTo>
                  <a:pt x="138" y="14"/>
                </a:lnTo>
                <a:lnTo>
                  <a:pt x="132" y="16"/>
                </a:lnTo>
                <a:lnTo>
                  <a:pt x="140" y="26"/>
                </a:lnTo>
                <a:lnTo>
                  <a:pt x="146" y="42"/>
                </a:lnTo>
                <a:lnTo>
                  <a:pt x="150" y="48"/>
                </a:lnTo>
                <a:lnTo>
                  <a:pt x="160" y="56"/>
                </a:lnTo>
                <a:lnTo>
                  <a:pt x="156" y="60"/>
                </a:lnTo>
                <a:lnTo>
                  <a:pt x="144" y="58"/>
                </a:lnTo>
                <a:lnTo>
                  <a:pt x="138" y="64"/>
                </a:lnTo>
                <a:lnTo>
                  <a:pt x="136" y="84"/>
                </a:lnTo>
                <a:lnTo>
                  <a:pt x="120" y="96"/>
                </a:lnTo>
                <a:lnTo>
                  <a:pt x="122" y="112"/>
                </a:lnTo>
                <a:lnTo>
                  <a:pt x="120" y="118"/>
                </a:lnTo>
                <a:lnTo>
                  <a:pt x="118" y="134"/>
                </a:lnTo>
                <a:lnTo>
                  <a:pt x="94" y="132"/>
                </a:lnTo>
                <a:lnTo>
                  <a:pt x="92" y="124"/>
                </a:lnTo>
                <a:lnTo>
                  <a:pt x="64" y="120"/>
                </a:lnTo>
                <a:lnTo>
                  <a:pt x="60" y="126"/>
                </a:lnTo>
                <a:lnTo>
                  <a:pt x="46" y="124"/>
                </a:lnTo>
                <a:lnTo>
                  <a:pt x="44" y="116"/>
                </a:lnTo>
                <a:lnTo>
                  <a:pt x="24" y="116"/>
                </a:lnTo>
                <a:lnTo>
                  <a:pt x="20" y="96"/>
                </a:lnTo>
                <a:lnTo>
                  <a:pt x="12" y="86"/>
                </a:lnTo>
                <a:lnTo>
                  <a:pt x="2" y="66"/>
                </a:lnTo>
                <a:lnTo>
                  <a:pt x="0" y="54"/>
                </a:lnTo>
                <a:lnTo>
                  <a:pt x="6" y="46"/>
                </a:lnTo>
                <a:lnTo>
                  <a:pt x="14" y="46"/>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1042" name="Freeform 238">
            <a:extLst>
              <a:ext uri="{FF2B5EF4-FFF2-40B4-BE49-F238E27FC236}">
                <a16:creationId xmlns:a16="http://schemas.microsoft.com/office/drawing/2014/main" id="{A7B9CD52-04B8-4B82-A5CE-8424A453AAB3}"/>
              </a:ext>
            </a:extLst>
          </p:cNvPr>
          <p:cNvSpPr>
            <a:spLocks/>
          </p:cNvSpPr>
          <p:nvPr/>
        </p:nvSpPr>
        <p:spPr bwMode="gray">
          <a:xfrm>
            <a:off x="8739712" y="4673626"/>
            <a:ext cx="339132" cy="348860"/>
          </a:xfrm>
          <a:custGeom>
            <a:avLst/>
            <a:gdLst>
              <a:gd name="T0" fmla="*/ 0 w 172"/>
              <a:gd name="T1" fmla="*/ 0 h 176"/>
              <a:gd name="T2" fmla="*/ 20 w 172"/>
              <a:gd name="T3" fmla="*/ 2 h 176"/>
              <a:gd name="T4" fmla="*/ 38 w 172"/>
              <a:gd name="T5" fmla="*/ 4 h 176"/>
              <a:gd name="T6" fmla="*/ 48 w 172"/>
              <a:gd name="T7" fmla="*/ 18 h 176"/>
              <a:gd name="T8" fmla="*/ 60 w 172"/>
              <a:gd name="T9" fmla="*/ 28 h 176"/>
              <a:gd name="T10" fmla="*/ 72 w 172"/>
              <a:gd name="T11" fmla="*/ 36 h 176"/>
              <a:gd name="T12" fmla="*/ 84 w 172"/>
              <a:gd name="T13" fmla="*/ 50 h 176"/>
              <a:gd name="T14" fmla="*/ 96 w 172"/>
              <a:gd name="T15" fmla="*/ 54 h 176"/>
              <a:gd name="T16" fmla="*/ 108 w 172"/>
              <a:gd name="T17" fmla="*/ 64 h 176"/>
              <a:gd name="T18" fmla="*/ 122 w 172"/>
              <a:gd name="T19" fmla="*/ 78 h 176"/>
              <a:gd name="T20" fmla="*/ 134 w 172"/>
              <a:gd name="T21" fmla="*/ 84 h 176"/>
              <a:gd name="T22" fmla="*/ 134 w 172"/>
              <a:gd name="T23" fmla="*/ 96 h 176"/>
              <a:gd name="T24" fmla="*/ 136 w 172"/>
              <a:gd name="T25" fmla="*/ 102 h 176"/>
              <a:gd name="T26" fmla="*/ 144 w 172"/>
              <a:gd name="T27" fmla="*/ 104 h 176"/>
              <a:gd name="T28" fmla="*/ 152 w 172"/>
              <a:gd name="T29" fmla="*/ 116 h 176"/>
              <a:gd name="T30" fmla="*/ 152 w 172"/>
              <a:gd name="T31" fmla="*/ 124 h 176"/>
              <a:gd name="T32" fmla="*/ 150 w 172"/>
              <a:gd name="T33" fmla="*/ 130 h 176"/>
              <a:gd name="T34" fmla="*/ 160 w 172"/>
              <a:gd name="T35" fmla="*/ 124 h 176"/>
              <a:gd name="T36" fmla="*/ 172 w 172"/>
              <a:gd name="T37" fmla="*/ 130 h 176"/>
              <a:gd name="T38" fmla="*/ 172 w 172"/>
              <a:gd name="T39" fmla="*/ 156 h 176"/>
              <a:gd name="T40" fmla="*/ 170 w 172"/>
              <a:gd name="T41" fmla="*/ 176 h 176"/>
              <a:gd name="T42" fmla="*/ 160 w 172"/>
              <a:gd name="T43" fmla="*/ 174 h 176"/>
              <a:gd name="T44" fmla="*/ 152 w 172"/>
              <a:gd name="T45" fmla="*/ 176 h 176"/>
              <a:gd name="T46" fmla="*/ 142 w 172"/>
              <a:gd name="T47" fmla="*/ 174 h 176"/>
              <a:gd name="T48" fmla="*/ 96 w 172"/>
              <a:gd name="T49" fmla="*/ 128 h 176"/>
              <a:gd name="T50" fmla="*/ 90 w 172"/>
              <a:gd name="T51" fmla="*/ 120 h 176"/>
              <a:gd name="T52" fmla="*/ 86 w 172"/>
              <a:gd name="T53" fmla="*/ 106 h 176"/>
              <a:gd name="T54" fmla="*/ 64 w 172"/>
              <a:gd name="T55" fmla="*/ 80 h 176"/>
              <a:gd name="T56" fmla="*/ 60 w 172"/>
              <a:gd name="T57" fmla="*/ 70 h 176"/>
              <a:gd name="T58" fmla="*/ 60 w 172"/>
              <a:gd name="T59" fmla="*/ 62 h 176"/>
              <a:gd name="T60" fmla="*/ 46 w 172"/>
              <a:gd name="T61" fmla="*/ 50 h 176"/>
              <a:gd name="T62" fmla="*/ 38 w 172"/>
              <a:gd name="T63" fmla="*/ 50 h 176"/>
              <a:gd name="T64" fmla="*/ 38 w 172"/>
              <a:gd name="T65" fmla="*/ 42 h 176"/>
              <a:gd name="T66" fmla="*/ 20 w 172"/>
              <a:gd name="T67" fmla="*/ 22 h 176"/>
              <a:gd name="T68" fmla="*/ 4 w 172"/>
              <a:gd name="T69" fmla="*/ 10 h 176"/>
              <a:gd name="T70" fmla="*/ 0 w 172"/>
              <a:gd name="T7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176">
                <a:moveTo>
                  <a:pt x="0" y="0"/>
                </a:moveTo>
                <a:lnTo>
                  <a:pt x="20" y="2"/>
                </a:lnTo>
                <a:lnTo>
                  <a:pt x="38" y="4"/>
                </a:lnTo>
                <a:lnTo>
                  <a:pt x="48" y="18"/>
                </a:lnTo>
                <a:lnTo>
                  <a:pt x="60" y="28"/>
                </a:lnTo>
                <a:lnTo>
                  <a:pt x="72" y="36"/>
                </a:lnTo>
                <a:lnTo>
                  <a:pt x="84" y="50"/>
                </a:lnTo>
                <a:lnTo>
                  <a:pt x="96" y="54"/>
                </a:lnTo>
                <a:lnTo>
                  <a:pt x="108" y="64"/>
                </a:lnTo>
                <a:lnTo>
                  <a:pt x="122" y="78"/>
                </a:lnTo>
                <a:lnTo>
                  <a:pt x="134" y="84"/>
                </a:lnTo>
                <a:lnTo>
                  <a:pt x="134" y="96"/>
                </a:lnTo>
                <a:lnTo>
                  <a:pt x="136" y="102"/>
                </a:lnTo>
                <a:lnTo>
                  <a:pt x="144" y="104"/>
                </a:lnTo>
                <a:lnTo>
                  <a:pt x="152" y="116"/>
                </a:lnTo>
                <a:lnTo>
                  <a:pt x="152" y="124"/>
                </a:lnTo>
                <a:lnTo>
                  <a:pt x="150" y="130"/>
                </a:lnTo>
                <a:lnTo>
                  <a:pt x="160" y="124"/>
                </a:lnTo>
                <a:lnTo>
                  <a:pt x="172" y="130"/>
                </a:lnTo>
                <a:lnTo>
                  <a:pt x="172" y="156"/>
                </a:lnTo>
                <a:lnTo>
                  <a:pt x="170" y="176"/>
                </a:lnTo>
                <a:lnTo>
                  <a:pt x="160" y="174"/>
                </a:lnTo>
                <a:lnTo>
                  <a:pt x="152" y="176"/>
                </a:lnTo>
                <a:lnTo>
                  <a:pt x="142" y="174"/>
                </a:lnTo>
                <a:lnTo>
                  <a:pt x="96" y="128"/>
                </a:lnTo>
                <a:lnTo>
                  <a:pt x="90" y="120"/>
                </a:lnTo>
                <a:lnTo>
                  <a:pt x="86" y="106"/>
                </a:lnTo>
                <a:lnTo>
                  <a:pt x="64" y="80"/>
                </a:lnTo>
                <a:lnTo>
                  <a:pt x="60" y="70"/>
                </a:lnTo>
                <a:lnTo>
                  <a:pt x="60" y="62"/>
                </a:lnTo>
                <a:lnTo>
                  <a:pt x="46" y="50"/>
                </a:lnTo>
                <a:lnTo>
                  <a:pt x="38" y="50"/>
                </a:lnTo>
                <a:lnTo>
                  <a:pt x="38" y="42"/>
                </a:lnTo>
                <a:lnTo>
                  <a:pt x="20" y="22"/>
                </a:lnTo>
                <a:lnTo>
                  <a:pt x="4" y="10"/>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3" name="Freeform 239">
            <a:extLst>
              <a:ext uri="{FF2B5EF4-FFF2-40B4-BE49-F238E27FC236}">
                <a16:creationId xmlns:a16="http://schemas.microsoft.com/office/drawing/2014/main" id="{A761F2E8-2BE5-420C-ADF5-1437C1764801}"/>
              </a:ext>
            </a:extLst>
          </p:cNvPr>
          <p:cNvSpPr>
            <a:spLocks/>
          </p:cNvSpPr>
          <p:nvPr/>
        </p:nvSpPr>
        <p:spPr bwMode="gray">
          <a:xfrm>
            <a:off x="9126165" y="4923379"/>
            <a:ext cx="31547" cy="27749"/>
          </a:xfrm>
          <a:custGeom>
            <a:avLst/>
            <a:gdLst>
              <a:gd name="T0" fmla="*/ 0 w 16"/>
              <a:gd name="T1" fmla="*/ 6 h 14"/>
              <a:gd name="T2" fmla="*/ 6 w 16"/>
              <a:gd name="T3" fmla="*/ 0 h 14"/>
              <a:gd name="T4" fmla="*/ 16 w 16"/>
              <a:gd name="T5" fmla="*/ 4 h 14"/>
              <a:gd name="T6" fmla="*/ 14 w 16"/>
              <a:gd name="T7" fmla="*/ 12 h 14"/>
              <a:gd name="T8" fmla="*/ 6 w 16"/>
              <a:gd name="T9" fmla="*/ 14 h 14"/>
              <a:gd name="T10" fmla="*/ 0 w 16"/>
              <a:gd name="T11" fmla="*/ 6 h 14"/>
            </a:gdLst>
            <a:ahLst/>
            <a:cxnLst>
              <a:cxn ang="0">
                <a:pos x="T0" y="T1"/>
              </a:cxn>
              <a:cxn ang="0">
                <a:pos x="T2" y="T3"/>
              </a:cxn>
              <a:cxn ang="0">
                <a:pos x="T4" y="T5"/>
              </a:cxn>
              <a:cxn ang="0">
                <a:pos x="T6" y="T7"/>
              </a:cxn>
              <a:cxn ang="0">
                <a:pos x="T8" y="T9"/>
              </a:cxn>
              <a:cxn ang="0">
                <a:pos x="T10" y="T11"/>
              </a:cxn>
            </a:cxnLst>
            <a:rect l="0" t="0" r="r" b="b"/>
            <a:pathLst>
              <a:path w="16" h="14">
                <a:moveTo>
                  <a:pt x="0" y="6"/>
                </a:moveTo>
                <a:lnTo>
                  <a:pt x="6" y="0"/>
                </a:lnTo>
                <a:lnTo>
                  <a:pt x="16" y="4"/>
                </a:lnTo>
                <a:lnTo>
                  <a:pt x="14" y="12"/>
                </a:lnTo>
                <a:lnTo>
                  <a:pt x="6" y="14"/>
                </a:lnTo>
                <a:lnTo>
                  <a:pt x="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4" name="Freeform 240">
            <a:extLst>
              <a:ext uri="{FF2B5EF4-FFF2-40B4-BE49-F238E27FC236}">
                <a16:creationId xmlns:a16="http://schemas.microsoft.com/office/drawing/2014/main" id="{5BE99C42-6EA5-4867-806E-C576B6BBEEC8}"/>
              </a:ext>
            </a:extLst>
          </p:cNvPr>
          <p:cNvSpPr>
            <a:spLocks/>
          </p:cNvSpPr>
          <p:nvPr/>
        </p:nvSpPr>
        <p:spPr bwMode="gray">
          <a:xfrm>
            <a:off x="9059128" y="4891662"/>
            <a:ext cx="51264" cy="55500"/>
          </a:xfrm>
          <a:custGeom>
            <a:avLst/>
            <a:gdLst>
              <a:gd name="T0" fmla="*/ 0 w 26"/>
              <a:gd name="T1" fmla="*/ 0 h 28"/>
              <a:gd name="T2" fmla="*/ 12 w 26"/>
              <a:gd name="T3" fmla="*/ 0 h 28"/>
              <a:gd name="T4" fmla="*/ 14 w 26"/>
              <a:gd name="T5" fmla="*/ 10 h 28"/>
              <a:gd name="T6" fmla="*/ 18 w 26"/>
              <a:gd name="T7" fmla="*/ 16 h 28"/>
              <a:gd name="T8" fmla="*/ 24 w 26"/>
              <a:gd name="T9" fmla="*/ 18 h 28"/>
              <a:gd name="T10" fmla="*/ 26 w 26"/>
              <a:gd name="T11" fmla="*/ 26 h 28"/>
              <a:gd name="T12" fmla="*/ 20 w 26"/>
              <a:gd name="T13" fmla="*/ 28 h 28"/>
              <a:gd name="T14" fmla="*/ 14 w 26"/>
              <a:gd name="T15" fmla="*/ 24 h 28"/>
              <a:gd name="T16" fmla="*/ 12 w 26"/>
              <a:gd name="T17" fmla="*/ 16 h 28"/>
              <a:gd name="T18" fmla="*/ 6 w 26"/>
              <a:gd name="T19" fmla="*/ 10 h 28"/>
              <a:gd name="T20" fmla="*/ 0 w 26"/>
              <a:gd name="T21" fmla="*/ 8 h 28"/>
              <a:gd name="T22" fmla="*/ 0 w 26"/>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8">
                <a:moveTo>
                  <a:pt x="0" y="0"/>
                </a:moveTo>
                <a:lnTo>
                  <a:pt x="12" y="0"/>
                </a:lnTo>
                <a:lnTo>
                  <a:pt x="14" y="10"/>
                </a:lnTo>
                <a:lnTo>
                  <a:pt x="18" y="16"/>
                </a:lnTo>
                <a:lnTo>
                  <a:pt x="24" y="18"/>
                </a:lnTo>
                <a:lnTo>
                  <a:pt x="26" y="26"/>
                </a:lnTo>
                <a:lnTo>
                  <a:pt x="20" y="28"/>
                </a:lnTo>
                <a:lnTo>
                  <a:pt x="14" y="24"/>
                </a:lnTo>
                <a:lnTo>
                  <a:pt x="12" y="16"/>
                </a:lnTo>
                <a:lnTo>
                  <a:pt x="6" y="10"/>
                </a:lnTo>
                <a:lnTo>
                  <a:pt x="0" y="8"/>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5" name="Freeform 241">
            <a:extLst>
              <a:ext uri="{FF2B5EF4-FFF2-40B4-BE49-F238E27FC236}">
                <a16:creationId xmlns:a16="http://schemas.microsoft.com/office/drawing/2014/main" id="{8961FA04-1EFC-46B1-A4F8-49CD117B45EF}"/>
              </a:ext>
            </a:extLst>
          </p:cNvPr>
          <p:cNvSpPr>
            <a:spLocks/>
          </p:cNvSpPr>
          <p:nvPr/>
        </p:nvSpPr>
        <p:spPr bwMode="gray">
          <a:xfrm>
            <a:off x="9067014" y="5034378"/>
            <a:ext cx="311529" cy="87216"/>
          </a:xfrm>
          <a:custGeom>
            <a:avLst/>
            <a:gdLst>
              <a:gd name="T0" fmla="*/ 8 w 158"/>
              <a:gd name="T1" fmla="*/ 2 h 44"/>
              <a:gd name="T2" fmla="*/ 28 w 158"/>
              <a:gd name="T3" fmla="*/ 0 h 44"/>
              <a:gd name="T4" fmla="*/ 46 w 158"/>
              <a:gd name="T5" fmla="*/ 10 h 44"/>
              <a:gd name="T6" fmla="*/ 56 w 158"/>
              <a:gd name="T7" fmla="*/ 14 h 44"/>
              <a:gd name="T8" fmla="*/ 74 w 158"/>
              <a:gd name="T9" fmla="*/ 14 h 44"/>
              <a:gd name="T10" fmla="*/ 84 w 158"/>
              <a:gd name="T11" fmla="*/ 10 h 44"/>
              <a:gd name="T12" fmla="*/ 100 w 158"/>
              <a:gd name="T13" fmla="*/ 10 h 44"/>
              <a:gd name="T14" fmla="*/ 112 w 158"/>
              <a:gd name="T15" fmla="*/ 18 h 44"/>
              <a:gd name="T16" fmla="*/ 114 w 158"/>
              <a:gd name="T17" fmla="*/ 24 h 44"/>
              <a:gd name="T18" fmla="*/ 134 w 158"/>
              <a:gd name="T19" fmla="*/ 26 h 44"/>
              <a:gd name="T20" fmla="*/ 142 w 158"/>
              <a:gd name="T21" fmla="*/ 26 h 44"/>
              <a:gd name="T22" fmla="*/ 144 w 158"/>
              <a:gd name="T23" fmla="*/ 32 h 44"/>
              <a:gd name="T24" fmla="*/ 154 w 158"/>
              <a:gd name="T25" fmla="*/ 36 h 44"/>
              <a:gd name="T26" fmla="*/ 158 w 158"/>
              <a:gd name="T27" fmla="*/ 42 h 44"/>
              <a:gd name="T28" fmla="*/ 144 w 158"/>
              <a:gd name="T29" fmla="*/ 44 h 44"/>
              <a:gd name="T30" fmla="*/ 126 w 158"/>
              <a:gd name="T31" fmla="*/ 40 h 44"/>
              <a:gd name="T32" fmla="*/ 116 w 158"/>
              <a:gd name="T33" fmla="*/ 38 h 44"/>
              <a:gd name="T34" fmla="*/ 108 w 158"/>
              <a:gd name="T35" fmla="*/ 38 h 44"/>
              <a:gd name="T36" fmla="*/ 78 w 158"/>
              <a:gd name="T37" fmla="*/ 36 h 44"/>
              <a:gd name="T38" fmla="*/ 68 w 158"/>
              <a:gd name="T39" fmla="*/ 28 h 44"/>
              <a:gd name="T40" fmla="*/ 36 w 158"/>
              <a:gd name="T41" fmla="*/ 28 h 44"/>
              <a:gd name="T42" fmla="*/ 26 w 158"/>
              <a:gd name="T43" fmla="*/ 24 h 44"/>
              <a:gd name="T44" fmla="*/ 14 w 158"/>
              <a:gd name="T45" fmla="*/ 20 h 44"/>
              <a:gd name="T46" fmla="*/ 10 w 158"/>
              <a:gd name="T47" fmla="*/ 16 h 44"/>
              <a:gd name="T48" fmla="*/ 0 w 158"/>
              <a:gd name="T49" fmla="*/ 10 h 44"/>
              <a:gd name="T50" fmla="*/ 8 w 158"/>
              <a:gd name="T51"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44">
                <a:moveTo>
                  <a:pt x="8" y="2"/>
                </a:moveTo>
                <a:lnTo>
                  <a:pt x="28" y="0"/>
                </a:lnTo>
                <a:lnTo>
                  <a:pt x="46" y="10"/>
                </a:lnTo>
                <a:lnTo>
                  <a:pt x="56" y="14"/>
                </a:lnTo>
                <a:lnTo>
                  <a:pt x="74" y="14"/>
                </a:lnTo>
                <a:lnTo>
                  <a:pt x="84" y="10"/>
                </a:lnTo>
                <a:lnTo>
                  <a:pt x="100" y="10"/>
                </a:lnTo>
                <a:lnTo>
                  <a:pt x="112" y="18"/>
                </a:lnTo>
                <a:lnTo>
                  <a:pt x="114" y="24"/>
                </a:lnTo>
                <a:lnTo>
                  <a:pt x="134" y="26"/>
                </a:lnTo>
                <a:lnTo>
                  <a:pt x="142" y="26"/>
                </a:lnTo>
                <a:lnTo>
                  <a:pt x="144" y="32"/>
                </a:lnTo>
                <a:lnTo>
                  <a:pt x="154" y="36"/>
                </a:lnTo>
                <a:lnTo>
                  <a:pt x="158" y="42"/>
                </a:lnTo>
                <a:lnTo>
                  <a:pt x="144" y="44"/>
                </a:lnTo>
                <a:lnTo>
                  <a:pt x="126" y="40"/>
                </a:lnTo>
                <a:lnTo>
                  <a:pt x="116" y="38"/>
                </a:lnTo>
                <a:lnTo>
                  <a:pt x="108" y="38"/>
                </a:lnTo>
                <a:lnTo>
                  <a:pt x="78" y="36"/>
                </a:lnTo>
                <a:lnTo>
                  <a:pt x="68" y="28"/>
                </a:lnTo>
                <a:lnTo>
                  <a:pt x="36" y="28"/>
                </a:lnTo>
                <a:lnTo>
                  <a:pt x="26" y="24"/>
                </a:lnTo>
                <a:lnTo>
                  <a:pt x="14" y="20"/>
                </a:lnTo>
                <a:lnTo>
                  <a:pt x="10" y="16"/>
                </a:lnTo>
                <a:lnTo>
                  <a:pt x="0" y="10"/>
                </a:lnTo>
                <a:lnTo>
                  <a:pt x="8"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6" name="Freeform 242">
            <a:extLst>
              <a:ext uri="{FF2B5EF4-FFF2-40B4-BE49-F238E27FC236}">
                <a16:creationId xmlns:a16="http://schemas.microsoft.com/office/drawing/2014/main" id="{B4A2F19A-32C8-4EEE-9701-A583C1DF2D34}"/>
              </a:ext>
            </a:extLst>
          </p:cNvPr>
          <p:cNvSpPr>
            <a:spLocks/>
          </p:cNvSpPr>
          <p:nvPr/>
        </p:nvSpPr>
        <p:spPr bwMode="gray">
          <a:xfrm>
            <a:off x="9634864" y="5101772"/>
            <a:ext cx="110415" cy="71358"/>
          </a:xfrm>
          <a:custGeom>
            <a:avLst/>
            <a:gdLst>
              <a:gd name="T0" fmla="*/ 0 w 56"/>
              <a:gd name="T1" fmla="*/ 36 h 36"/>
              <a:gd name="T2" fmla="*/ 18 w 56"/>
              <a:gd name="T3" fmla="*/ 28 h 36"/>
              <a:gd name="T4" fmla="*/ 30 w 56"/>
              <a:gd name="T5" fmla="*/ 18 h 36"/>
              <a:gd name="T6" fmla="*/ 54 w 56"/>
              <a:gd name="T7" fmla="*/ 8 h 36"/>
              <a:gd name="T8" fmla="*/ 56 w 56"/>
              <a:gd name="T9" fmla="*/ 2 h 36"/>
              <a:gd name="T10" fmla="*/ 38 w 56"/>
              <a:gd name="T11" fmla="*/ 0 h 36"/>
              <a:gd name="T12" fmla="*/ 24 w 56"/>
              <a:gd name="T13" fmla="*/ 8 h 36"/>
              <a:gd name="T14" fmla="*/ 14 w 56"/>
              <a:gd name="T15" fmla="*/ 16 h 36"/>
              <a:gd name="T16" fmla="*/ 8 w 56"/>
              <a:gd name="T17" fmla="*/ 18 h 36"/>
              <a:gd name="T18" fmla="*/ 2 w 56"/>
              <a:gd name="T19" fmla="*/ 22 h 36"/>
              <a:gd name="T20" fmla="*/ 0 w 5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6">
                <a:moveTo>
                  <a:pt x="0" y="36"/>
                </a:moveTo>
                <a:lnTo>
                  <a:pt x="18" y="28"/>
                </a:lnTo>
                <a:lnTo>
                  <a:pt x="30" y="18"/>
                </a:lnTo>
                <a:lnTo>
                  <a:pt x="54" y="8"/>
                </a:lnTo>
                <a:lnTo>
                  <a:pt x="56" y="2"/>
                </a:lnTo>
                <a:lnTo>
                  <a:pt x="38" y="0"/>
                </a:lnTo>
                <a:lnTo>
                  <a:pt x="24" y="8"/>
                </a:lnTo>
                <a:lnTo>
                  <a:pt x="14" y="16"/>
                </a:lnTo>
                <a:lnTo>
                  <a:pt x="8" y="18"/>
                </a:lnTo>
                <a:lnTo>
                  <a:pt x="2" y="22"/>
                </a:lnTo>
                <a:lnTo>
                  <a:pt x="0" y="3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7" name="Freeform 243">
            <a:extLst>
              <a:ext uri="{FF2B5EF4-FFF2-40B4-BE49-F238E27FC236}">
                <a16:creationId xmlns:a16="http://schemas.microsoft.com/office/drawing/2014/main" id="{56E587D7-D453-4BB6-BC8A-75D34EF9904B}"/>
              </a:ext>
            </a:extLst>
          </p:cNvPr>
          <p:cNvSpPr>
            <a:spLocks/>
          </p:cNvSpPr>
          <p:nvPr/>
        </p:nvSpPr>
        <p:spPr bwMode="gray">
          <a:xfrm>
            <a:off x="9488959" y="5137450"/>
            <a:ext cx="59151" cy="31714"/>
          </a:xfrm>
          <a:custGeom>
            <a:avLst/>
            <a:gdLst>
              <a:gd name="T0" fmla="*/ 2 w 30"/>
              <a:gd name="T1" fmla="*/ 0 h 16"/>
              <a:gd name="T2" fmla="*/ 14 w 30"/>
              <a:gd name="T3" fmla="*/ 0 h 16"/>
              <a:gd name="T4" fmla="*/ 24 w 30"/>
              <a:gd name="T5" fmla="*/ 6 h 16"/>
              <a:gd name="T6" fmla="*/ 30 w 30"/>
              <a:gd name="T7" fmla="*/ 12 h 16"/>
              <a:gd name="T8" fmla="*/ 26 w 30"/>
              <a:gd name="T9" fmla="*/ 16 h 16"/>
              <a:gd name="T10" fmla="*/ 14 w 30"/>
              <a:gd name="T11" fmla="*/ 14 h 16"/>
              <a:gd name="T12" fmla="*/ 4 w 30"/>
              <a:gd name="T13" fmla="*/ 8 h 16"/>
              <a:gd name="T14" fmla="*/ 0 w 30"/>
              <a:gd name="T15" fmla="*/ 4 h 16"/>
              <a:gd name="T16" fmla="*/ 2 w 30"/>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2" y="0"/>
                </a:moveTo>
                <a:lnTo>
                  <a:pt x="14" y="0"/>
                </a:lnTo>
                <a:lnTo>
                  <a:pt x="24" y="6"/>
                </a:lnTo>
                <a:lnTo>
                  <a:pt x="30" y="12"/>
                </a:lnTo>
                <a:lnTo>
                  <a:pt x="26" y="16"/>
                </a:lnTo>
                <a:lnTo>
                  <a:pt x="14" y="14"/>
                </a:lnTo>
                <a:lnTo>
                  <a:pt x="4" y="8"/>
                </a:lnTo>
                <a:lnTo>
                  <a:pt x="0" y="4"/>
                </a:lnTo>
                <a:lnTo>
                  <a:pt x="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8" name="Freeform 244">
            <a:extLst>
              <a:ext uri="{FF2B5EF4-FFF2-40B4-BE49-F238E27FC236}">
                <a16:creationId xmlns:a16="http://schemas.microsoft.com/office/drawing/2014/main" id="{94F42C81-9674-47DC-BC92-C4D0E53D9E96}"/>
              </a:ext>
            </a:extLst>
          </p:cNvPr>
          <p:cNvSpPr>
            <a:spLocks/>
          </p:cNvSpPr>
          <p:nvPr/>
        </p:nvSpPr>
        <p:spPr bwMode="gray">
          <a:xfrm>
            <a:off x="9516563" y="5101772"/>
            <a:ext cx="74924" cy="19822"/>
          </a:xfrm>
          <a:custGeom>
            <a:avLst/>
            <a:gdLst>
              <a:gd name="T0" fmla="*/ 0 w 38"/>
              <a:gd name="T1" fmla="*/ 10 h 10"/>
              <a:gd name="T2" fmla="*/ 18 w 38"/>
              <a:gd name="T3" fmla="*/ 10 h 10"/>
              <a:gd name="T4" fmla="*/ 38 w 38"/>
              <a:gd name="T5" fmla="*/ 10 h 10"/>
              <a:gd name="T6" fmla="*/ 38 w 38"/>
              <a:gd name="T7" fmla="*/ 4 h 10"/>
              <a:gd name="T8" fmla="*/ 24 w 38"/>
              <a:gd name="T9" fmla="*/ 4 h 10"/>
              <a:gd name="T10" fmla="*/ 18 w 38"/>
              <a:gd name="T11" fmla="*/ 2 h 10"/>
              <a:gd name="T12" fmla="*/ 8 w 38"/>
              <a:gd name="T13" fmla="*/ 0 h 10"/>
              <a:gd name="T14" fmla="*/ 4 w 38"/>
              <a:gd name="T15" fmla="*/ 2 h 10"/>
              <a:gd name="T16" fmla="*/ 0 w 3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0">
                <a:moveTo>
                  <a:pt x="0" y="10"/>
                </a:moveTo>
                <a:lnTo>
                  <a:pt x="18" y="10"/>
                </a:lnTo>
                <a:lnTo>
                  <a:pt x="38" y="10"/>
                </a:lnTo>
                <a:lnTo>
                  <a:pt x="38" y="4"/>
                </a:lnTo>
                <a:lnTo>
                  <a:pt x="24" y="4"/>
                </a:lnTo>
                <a:lnTo>
                  <a:pt x="18" y="2"/>
                </a:lnTo>
                <a:lnTo>
                  <a:pt x="8" y="0"/>
                </a:lnTo>
                <a:lnTo>
                  <a:pt x="4" y="2"/>
                </a:lnTo>
                <a:lnTo>
                  <a:pt x="0" y="1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49" name="Freeform 245">
            <a:extLst>
              <a:ext uri="{FF2B5EF4-FFF2-40B4-BE49-F238E27FC236}">
                <a16:creationId xmlns:a16="http://schemas.microsoft.com/office/drawing/2014/main" id="{9BC2F4BA-BA16-41EF-92F6-A3617A27805A}"/>
              </a:ext>
            </a:extLst>
          </p:cNvPr>
          <p:cNvSpPr>
            <a:spLocks/>
          </p:cNvSpPr>
          <p:nvPr/>
        </p:nvSpPr>
        <p:spPr bwMode="gray">
          <a:xfrm>
            <a:off x="9457411" y="5101772"/>
            <a:ext cx="39433" cy="19822"/>
          </a:xfrm>
          <a:custGeom>
            <a:avLst/>
            <a:gdLst>
              <a:gd name="T0" fmla="*/ 0 w 20"/>
              <a:gd name="T1" fmla="*/ 2 h 10"/>
              <a:gd name="T2" fmla="*/ 0 w 20"/>
              <a:gd name="T3" fmla="*/ 10 h 10"/>
              <a:gd name="T4" fmla="*/ 20 w 20"/>
              <a:gd name="T5" fmla="*/ 10 h 10"/>
              <a:gd name="T6" fmla="*/ 18 w 20"/>
              <a:gd name="T7" fmla="*/ 2 h 10"/>
              <a:gd name="T8" fmla="*/ 8 w 20"/>
              <a:gd name="T9" fmla="*/ 0 h 10"/>
              <a:gd name="T10" fmla="*/ 0 w 20"/>
              <a:gd name="T11" fmla="*/ 2 h 10"/>
            </a:gdLst>
            <a:ahLst/>
            <a:cxnLst>
              <a:cxn ang="0">
                <a:pos x="T0" y="T1"/>
              </a:cxn>
              <a:cxn ang="0">
                <a:pos x="T2" y="T3"/>
              </a:cxn>
              <a:cxn ang="0">
                <a:pos x="T4" y="T5"/>
              </a:cxn>
              <a:cxn ang="0">
                <a:pos x="T6" y="T7"/>
              </a:cxn>
              <a:cxn ang="0">
                <a:pos x="T8" y="T9"/>
              </a:cxn>
              <a:cxn ang="0">
                <a:pos x="T10" y="T11"/>
              </a:cxn>
            </a:cxnLst>
            <a:rect l="0" t="0" r="r" b="b"/>
            <a:pathLst>
              <a:path w="20" h="10">
                <a:moveTo>
                  <a:pt x="0" y="2"/>
                </a:moveTo>
                <a:lnTo>
                  <a:pt x="0" y="10"/>
                </a:lnTo>
                <a:lnTo>
                  <a:pt x="20" y="10"/>
                </a:lnTo>
                <a:lnTo>
                  <a:pt x="18" y="2"/>
                </a:lnTo>
                <a:lnTo>
                  <a:pt x="8" y="0"/>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0" name="Freeform 246">
            <a:extLst>
              <a:ext uri="{FF2B5EF4-FFF2-40B4-BE49-F238E27FC236}">
                <a16:creationId xmlns:a16="http://schemas.microsoft.com/office/drawing/2014/main" id="{0F0ACA33-EC51-4165-9504-37BA4BD46B12}"/>
              </a:ext>
            </a:extLst>
          </p:cNvPr>
          <p:cNvSpPr>
            <a:spLocks/>
          </p:cNvSpPr>
          <p:nvPr/>
        </p:nvSpPr>
        <p:spPr bwMode="gray">
          <a:xfrm>
            <a:off x="9394317" y="5101772"/>
            <a:ext cx="51264" cy="35678"/>
          </a:xfrm>
          <a:custGeom>
            <a:avLst/>
            <a:gdLst>
              <a:gd name="T0" fmla="*/ 2 w 26"/>
              <a:gd name="T1" fmla="*/ 0 h 18"/>
              <a:gd name="T2" fmla="*/ 14 w 26"/>
              <a:gd name="T3" fmla="*/ 2 h 18"/>
              <a:gd name="T4" fmla="*/ 26 w 26"/>
              <a:gd name="T5" fmla="*/ 4 h 18"/>
              <a:gd name="T6" fmla="*/ 26 w 26"/>
              <a:gd name="T7" fmla="*/ 10 h 18"/>
              <a:gd name="T8" fmla="*/ 24 w 26"/>
              <a:gd name="T9" fmla="*/ 18 h 18"/>
              <a:gd name="T10" fmla="*/ 12 w 26"/>
              <a:gd name="T11" fmla="*/ 14 h 18"/>
              <a:gd name="T12" fmla="*/ 0 w 26"/>
              <a:gd name="T13" fmla="*/ 10 h 18"/>
              <a:gd name="T14" fmla="*/ 2 w 2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 y="0"/>
                </a:moveTo>
                <a:lnTo>
                  <a:pt x="14" y="2"/>
                </a:lnTo>
                <a:lnTo>
                  <a:pt x="26" y="4"/>
                </a:lnTo>
                <a:lnTo>
                  <a:pt x="26" y="10"/>
                </a:lnTo>
                <a:lnTo>
                  <a:pt x="24" y="18"/>
                </a:lnTo>
                <a:lnTo>
                  <a:pt x="12" y="14"/>
                </a:lnTo>
                <a:lnTo>
                  <a:pt x="0" y="10"/>
                </a:lnTo>
                <a:lnTo>
                  <a:pt x="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1" name="Freeform 247">
            <a:extLst>
              <a:ext uri="{FF2B5EF4-FFF2-40B4-BE49-F238E27FC236}">
                <a16:creationId xmlns:a16="http://schemas.microsoft.com/office/drawing/2014/main" id="{8C8D9CB4-EFB9-4F87-9C76-8390E747C335}"/>
              </a:ext>
            </a:extLst>
          </p:cNvPr>
          <p:cNvSpPr>
            <a:spLocks/>
          </p:cNvSpPr>
          <p:nvPr/>
        </p:nvSpPr>
        <p:spPr bwMode="gray">
          <a:xfrm>
            <a:off x="9485014" y="4788590"/>
            <a:ext cx="193227" cy="233895"/>
          </a:xfrm>
          <a:custGeom>
            <a:avLst/>
            <a:gdLst>
              <a:gd name="T0" fmla="*/ 12 w 98"/>
              <a:gd name="T1" fmla="*/ 36 h 118"/>
              <a:gd name="T2" fmla="*/ 12 w 98"/>
              <a:gd name="T3" fmla="*/ 26 h 118"/>
              <a:gd name="T4" fmla="*/ 20 w 98"/>
              <a:gd name="T5" fmla="*/ 14 h 118"/>
              <a:gd name="T6" fmla="*/ 32 w 98"/>
              <a:gd name="T7" fmla="*/ 8 h 118"/>
              <a:gd name="T8" fmla="*/ 48 w 98"/>
              <a:gd name="T9" fmla="*/ 10 h 118"/>
              <a:gd name="T10" fmla="*/ 58 w 98"/>
              <a:gd name="T11" fmla="*/ 14 h 118"/>
              <a:gd name="T12" fmla="*/ 74 w 98"/>
              <a:gd name="T13" fmla="*/ 14 h 118"/>
              <a:gd name="T14" fmla="*/ 84 w 98"/>
              <a:gd name="T15" fmla="*/ 12 h 118"/>
              <a:gd name="T16" fmla="*/ 90 w 98"/>
              <a:gd name="T17" fmla="*/ 8 h 118"/>
              <a:gd name="T18" fmla="*/ 98 w 98"/>
              <a:gd name="T19" fmla="*/ 0 h 118"/>
              <a:gd name="T20" fmla="*/ 98 w 98"/>
              <a:gd name="T21" fmla="*/ 8 h 118"/>
              <a:gd name="T22" fmla="*/ 88 w 98"/>
              <a:gd name="T23" fmla="*/ 20 h 118"/>
              <a:gd name="T24" fmla="*/ 80 w 98"/>
              <a:gd name="T25" fmla="*/ 26 h 118"/>
              <a:gd name="T26" fmla="*/ 56 w 98"/>
              <a:gd name="T27" fmla="*/ 22 h 118"/>
              <a:gd name="T28" fmla="*/ 42 w 98"/>
              <a:gd name="T29" fmla="*/ 20 h 118"/>
              <a:gd name="T30" fmla="*/ 30 w 98"/>
              <a:gd name="T31" fmla="*/ 20 h 118"/>
              <a:gd name="T32" fmla="*/ 24 w 98"/>
              <a:gd name="T33" fmla="*/ 20 h 118"/>
              <a:gd name="T34" fmla="*/ 18 w 98"/>
              <a:gd name="T35" fmla="*/ 26 h 118"/>
              <a:gd name="T36" fmla="*/ 18 w 98"/>
              <a:gd name="T37" fmla="*/ 36 h 118"/>
              <a:gd name="T38" fmla="*/ 22 w 98"/>
              <a:gd name="T39" fmla="*/ 42 h 118"/>
              <a:gd name="T40" fmla="*/ 26 w 98"/>
              <a:gd name="T41" fmla="*/ 46 h 118"/>
              <a:gd name="T42" fmla="*/ 28 w 98"/>
              <a:gd name="T43" fmla="*/ 50 h 118"/>
              <a:gd name="T44" fmla="*/ 32 w 98"/>
              <a:gd name="T45" fmla="*/ 52 h 118"/>
              <a:gd name="T46" fmla="*/ 38 w 98"/>
              <a:gd name="T47" fmla="*/ 44 h 118"/>
              <a:gd name="T48" fmla="*/ 42 w 98"/>
              <a:gd name="T49" fmla="*/ 42 h 118"/>
              <a:gd name="T50" fmla="*/ 52 w 98"/>
              <a:gd name="T51" fmla="*/ 44 h 118"/>
              <a:gd name="T52" fmla="*/ 60 w 98"/>
              <a:gd name="T53" fmla="*/ 40 h 118"/>
              <a:gd name="T54" fmla="*/ 70 w 98"/>
              <a:gd name="T55" fmla="*/ 40 h 118"/>
              <a:gd name="T56" fmla="*/ 68 w 98"/>
              <a:gd name="T57" fmla="*/ 46 h 118"/>
              <a:gd name="T58" fmla="*/ 56 w 98"/>
              <a:gd name="T59" fmla="*/ 48 h 118"/>
              <a:gd name="T60" fmla="*/ 50 w 98"/>
              <a:gd name="T61" fmla="*/ 54 h 118"/>
              <a:gd name="T62" fmla="*/ 44 w 98"/>
              <a:gd name="T63" fmla="*/ 60 h 118"/>
              <a:gd name="T64" fmla="*/ 44 w 98"/>
              <a:gd name="T65" fmla="*/ 62 h 118"/>
              <a:gd name="T66" fmla="*/ 48 w 98"/>
              <a:gd name="T67" fmla="*/ 68 h 118"/>
              <a:gd name="T68" fmla="*/ 54 w 98"/>
              <a:gd name="T69" fmla="*/ 80 h 118"/>
              <a:gd name="T70" fmla="*/ 54 w 98"/>
              <a:gd name="T71" fmla="*/ 84 h 118"/>
              <a:gd name="T72" fmla="*/ 56 w 98"/>
              <a:gd name="T73" fmla="*/ 92 h 118"/>
              <a:gd name="T74" fmla="*/ 62 w 98"/>
              <a:gd name="T75" fmla="*/ 96 h 118"/>
              <a:gd name="T76" fmla="*/ 54 w 98"/>
              <a:gd name="T77" fmla="*/ 100 h 118"/>
              <a:gd name="T78" fmla="*/ 46 w 98"/>
              <a:gd name="T79" fmla="*/ 98 h 118"/>
              <a:gd name="T80" fmla="*/ 44 w 98"/>
              <a:gd name="T81" fmla="*/ 104 h 118"/>
              <a:gd name="T82" fmla="*/ 38 w 98"/>
              <a:gd name="T83" fmla="*/ 94 h 118"/>
              <a:gd name="T84" fmla="*/ 34 w 98"/>
              <a:gd name="T85" fmla="*/ 84 h 118"/>
              <a:gd name="T86" fmla="*/ 32 w 98"/>
              <a:gd name="T87" fmla="*/ 70 h 118"/>
              <a:gd name="T88" fmla="*/ 24 w 98"/>
              <a:gd name="T89" fmla="*/ 70 h 118"/>
              <a:gd name="T90" fmla="*/ 22 w 98"/>
              <a:gd name="T91" fmla="*/ 76 h 118"/>
              <a:gd name="T92" fmla="*/ 24 w 98"/>
              <a:gd name="T93" fmla="*/ 92 h 118"/>
              <a:gd name="T94" fmla="*/ 24 w 98"/>
              <a:gd name="T95" fmla="*/ 98 h 118"/>
              <a:gd name="T96" fmla="*/ 24 w 98"/>
              <a:gd name="T97" fmla="*/ 112 h 118"/>
              <a:gd name="T98" fmla="*/ 22 w 98"/>
              <a:gd name="T99" fmla="*/ 118 h 118"/>
              <a:gd name="T100" fmla="*/ 10 w 98"/>
              <a:gd name="T101" fmla="*/ 116 h 118"/>
              <a:gd name="T102" fmla="*/ 10 w 98"/>
              <a:gd name="T103" fmla="*/ 102 h 118"/>
              <a:gd name="T104" fmla="*/ 12 w 98"/>
              <a:gd name="T105" fmla="*/ 90 h 118"/>
              <a:gd name="T106" fmla="*/ 10 w 98"/>
              <a:gd name="T107" fmla="*/ 84 h 118"/>
              <a:gd name="T108" fmla="*/ 0 w 98"/>
              <a:gd name="T109" fmla="*/ 80 h 118"/>
              <a:gd name="T110" fmla="*/ 0 w 98"/>
              <a:gd name="T111" fmla="*/ 68 h 118"/>
              <a:gd name="T112" fmla="*/ 4 w 98"/>
              <a:gd name="T113" fmla="*/ 58 h 118"/>
              <a:gd name="T114" fmla="*/ 8 w 98"/>
              <a:gd name="T115" fmla="*/ 42 h 118"/>
              <a:gd name="T116" fmla="*/ 12 w 98"/>
              <a:gd name="T117" fmla="*/ 3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118">
                <a:moveTo>
                  <a:pt x="12" y="36"/>
                </a:moveTo>
                <a:lnTo>
                  <a:pt x="12" y="26"/>
                </a:lnTo>
                <a:lnTo>
                  <a:pt x="20" y="14"/>
                </a:lnTo>
                <a:lnTo>
                  <a:pt x="32" y="8"/>
                </a:lnTo>
                <a:lnTo>
                  <a:pt x="48" y="10"/>
                </a:lnTo>
                <a:lnTo>
                  <a:pt x="58" y="14"/>
                </a:lnTo>
                <a:lnTo>
                  <a:pt x="74" y="14"/>
                </a:lnTo>
                <a:lnTo>
                  <a:pt x="84" y="12"/>
                </a:lnTo>
                <a:lnTo>
                  <a:pt x="90" y="8"/>
                </a:lnTo>
                <a:lnTo>
                  <a:pt x="98" y="0"/>
                </a:lnTo>
                <a:lnTo>
                  <a:pt x="98" y="8"/>
                </a:lnTo>
                <a:lnTo>
                  <a:pt x="88" y="20"/>
                </a:lnTo>
                <a:lnTo>
                  <a:pt x="80" y="26"/>
                </a:lnTo>
                <a:lnTo>
                  <a:pt x="56" y="22"/>
                </a:lnTo>
                <a:lnTo>
                  <a:pt x="42" y="20"/>
                </a:lnTo>
                <a:lnTo>
                  <a:pt x="30" y="20"/>
                </a:lnTo>
                <a:lnTo>
                  <a:pt x="24" y="20"/>
                </a:lnTo>
                <a:lnTo>
                  <a:pt x="18" y="26"/>
                </a:lnTo>
                <a:lnTo>
                  <a:pt x="18" y="36"/>
                </a:lnTo>
                <a:lnTo>
                  <a:pt x="22" y="42"/>
                </a:lnTo>
                <a:lnTo>
                  <a:pt x="26" y="46"/>
                </a:lnTo>
                <a:lnTo>
                  <a:pt x="28" y="50"/>
                </a:lnTo>
                <a:lnTo>
                  <a:pt x="32" y="52"/>
                </a:lnTo>
                <a:lnTo>
                  <a:pt x="38" y="44"/>
                </a:lnTo>
                <a:lnTo>
                  <a:pt x="42" y="42"/>
                </a:lnTo>
                <a:lnTo>
                  <a:pt x="52" y="44"/>
                </a:lnTo>
                <a:lnTo>
                  <a:pt x="60" y="40"/>
                </a:lnTo>
                <a:lnTo>
                  <a:pt x="70" y="40"/>
                </a:lnTo>
                <a:lnTo>
                  <a:pt x="68" y="46"/>
                </a:lnTo>
                <a:lnTo>
                  <a:pt x="56" y="48"/>
                </a:lnTo>
                <a:lnTo>
                  <a:pt x="50" y="54"/>
                </a:lnTo>
                <a:lnTo>
                  <a:pt x="44" y="60"/>
                </a:lnTo>
                <a:lnTo>
                  <a:pt x="44" y="62"/>
                </a:lnTo>
                <a:lnTo>
                  <a:pt x="48" y="68"/>
                </a:lnTo>
                <a:lnTo>
                  <a:pt x="54" y="80"/>
                </a:lnTo>
                <a:lnTo>
                  <a:pt x="54" y="84"/>
                </a:lnTo>
                <a:lnTo>
                  <a:pt x="56" y="92"/>
                </a:lnTo>
                <a:lnTo>
                  <a:pt x="62" y="96"/>
                </a:lnTo>
                <a:lnTo>
                  <a:pt x="54" y="100"/>
                </a:lnTo>
                <a:lnTo>
                  <a:pt x="46" y="98"/>
                </a:lnTo>
                <a:lnTo>
                  <a:pt x="44" y="104"/>
                </a:lnTo>
                <a:lnTo>
                  <a:pt x="38" y="94"/>
                </a:lnTo>
                <a:lnTo>
                  <a:pt x="34" y="84"/>
                </a:lnTo>
                <a:lnTo>
                  <a:pt x="32" y="70"/>
                </a:lnTo>
                <a:lnTo>
                  <a:pt x="24" y="70"/>
                </a:lnTo>
                <a:lnTo>
                  <a:pt x="22" y="76"/>
                </a:lnTo>
                <a:lnTo>
                  <a:pt x="24" y="92"/>
                </a:lnTo>
                <a:lnTo>
                  <a:pt x="24" y="98"/>
                </a:lnTo>
                <a:lnTo>
                  <a:pt x="24" y="112"/>
                </a:lnTo>
                <a:lnTo>
                  <a:pt x="22" y="118"/>
                </a:lnTo>
                <a:lnTo>
                  <a:pt x="10" y="116"/>
                </a:lnTo>
                <a:lnTo>
                  <a:pt x="10" y="102"/>
                </a:lnTo>
                <a:lnTo>
                  <a:pt x="12" y="90"/>
                </a:lnTo>
                <a:lnTo>
                  <a:pt x="10" y="84"/>
                </a:lnTo>
                <a:lnTo>
                  <a:pt x="0" y="80"/>
                </a:lnTo>
                <a:lnTo>
                  <a:pt x="0" y="68"/>
                </a:lnTo>
                <a:lnTo>
                  <a:pt x="4" y="58"/>
                </a:lnTo>
                <a:lnTo>
                  <a:pt x="8" y="42"/>
                </a:lnTo>
                <a:lnTo>
                  <a:pt x="12" y="3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2" name="Freeform 248">
            <a:extLst>
              <a:ext uri="{FF2B5EF4-FFF2-40B4-BE49-F238E27FC236}">
                <a16:creationId xmlns:a16="http://schemas.microsoft.com/office/drawing/2014/main" id="{DE6EA49B-1B94-46E7-870D-54A292B4AED0}"/>
              </a:ext>
            </a:extLst>
          </p:cNvPr>
          <p:cNvSpPr>
            <a:spLocks/>
          </p:cNvSpPr>
          <p:nvPr/>
        </p:nvSpPr>
        <p:spPr bwMode="gray">
          <a:xfrm>
            <a:off x="9855695" y="4859948"/>
            <a:ext cx="319415" cy="269574"/>
          </a:xfrm>
          <a:custGeom>
            <a:avLst/>
            <a:gdLst>
              <a:gd name="T0" fmla="*/ 2 w 162"/>
              <a:gd name="T1" fmla="*/ 8 h 136"/>
              <a:gd name="T2" fmla="*/ 20 w 162"/>
              <a:gd name="T3" fmla="*/ 2 h 136"/>
              <a:gd name="T4" fmla="*/ 30 w 162"/>
              <a:gd name="T5" fmla="*/ 0 h 136"/>
              <a:gd name="T6" fmla="*/ 48 w 162"/>
              <a:gd name="T7" fmla="*/ 2 h 136"/>
              <a:gd name="T8" fmla="*/ 56 w 162"/>
              <a:gd name="T9" fmla="*/ 10 h 136"/>
              <a:gd name="T10" fmla="*/ 54 w 162"/>
              <a:gd name="T11" fmla="*/ 22 h 136"/>
              <a:gd name="T12" fmla="*/ 54 w 162"/>
              <a:gd name="T13" fmla="*/ 30 h 136"/>
              <a:gd name="T14" fmla="*/ 60 w 162"/>
              <a:gd name="T15" fmla="*/ 34 h 136"/>
              <a:gd name="T16" fmla="*/ 62 w 162"/>
              <a:gd name="T17" fmla="*/ 42 h 136"/>
              <a:gd name="T18" fmla="*/ 70 w 162"/>
              <a:gd name="T19" fmla="*/ 44 h 136"/>
              <a:gd name="T20" fmla="*/ 80 w 162"/>
              <a:gd name="T21" fmla="*/ 42 h 136"/>
              <a:gd name="T22" fmla="*/ 86 w 162"/>
              <a:gd name="T23" fmla="*/ 32 h 136"/>
              <a:gd name="T24" fmla="*/ 94 w 162"/>
              <a:gd name="T25" fmla="*/ 26 h 136"/>
              <a:gd name="T26" fmla="*/ 104 w 162"/>
              <a:gd name="T27" fmla="*/ 22 h 136"/>
              <a:gd name="T28" fmla="*/ 110 w 162"/>
              <a:gd name="T29" fmla="*/ 16 h 136"/>
              <a:gd name="T30" fmla="*/ 128 w 162"/>
              <a:gd name="T31" fmla="*/ 22 h 136"/>
              <a:gd name="T32" fmla="*/ 142 w 162"/>
              <a:gd name="T33" fmla="*/ 26 h 136"/>
              <a:gd name="T34" fmla="*/ 158 w 162"/>
              <a:gd name="T35" fmla="*/ 32 h 136"/>
              <a:gd name="T36" fmla="*/ 162 w 162"/>
              <a:gd name="T37" fmla="*/ 34 h 136"/>
              <a:gd name="T38" fmla="*/ 162 w 162"/>
              <a:gd name="T39" fmla="*/ 136 h 136"/>
              <a:gd name="T40" fmla="*/ 148 w 162"/>
              <a:gd name="T41" fmla="*/ 124 h 136"/>
              <a:gd name="T42" fmla="*/ 138 w 162"/>
              <a:gd name="T43" fmla="*/ 120 h 136"/>
              <a:gd name="T44" fmla="*/ 130 w 162"/>
              <a:gd name="T45" fmla="*/ 120 h 136"/>
              <a:gd name="T46" fmla="*/ 124 w 162"/>
              <a:gd name="T47" fmla="*/ 124 h 136"/>
              <a:gd name="T48" fmla="*/ 110 w 162"/>
              <a:gd name="T49" fmla="*/ 126 h 136"/>
              <a:gd name="T50" fmla="*/ 108 w 162"/>
              <a:gd name="T51" fmla="*/ 118 h 136"/>
              <a:gd name="T52" fmla="*/ 110 w 162"/>
              <a:gd name="T53" fmla="*/ 114 h 136"/>
              <a:gd name="T54" fmla="*/ 116 w 162"/>
              <a:gd name="T55" fmla="*/ 112 h 136"/>
              <a:gd name="T56" fmla="*/ 124 w 162"/>
              <a:gd name="T57" fmla="*/ 110 h 136"/>
              <a:gd name="T58" fmla="*/ 126 w 162"/>
              <a:gd name="T59" fmla="*/ 98 h 136"/>
              <a:gd name="T60" fmla="*/ 122 w 162"/>
              <a:gd name="T61" fmla="*/ 90 h 136"/>
              <a:gd name="T62" fmla="*/ 112 w 162"/>
              <a:gd name="T63" fmla="*/ 80 h 136"/>
              <a:gd name="T64" fmla="*/ 90 w 162"/>
              <a:gd name="T65" fmla="*/ 68 h 136"/>
              <a:gd name="T66" fmla="*/ 66 w 162"/>
              <a:gd name="T67" fmla="*/ 62 h 136"/>
              <a:gd name="T68" fmla="*/ 60 w 162"/>
              <a:gd name="T69" fmla="*/ 56 h 136"/>
              <a:gd name="T70" fmla="*/ 54 w 162"/>
              <a:gd name="T71" fmla="*/ 54 h 136"/>
              <a:gd name="T72" fmla="*/ 48 w 162"/>
              <a:gd name="T73" fmla="*/ 40 h 136"/>
              <a:gd name="T74" fmla="*/ 42 w 162"/>
              <a:gd name="T75" fmla="*/ 42 h 136"/>
              <a:gd name="T76" fmla="*/ 42 w 162"/>
              <a:gd name="T77" fmla="*/ 48 h 136"/>
              <a:gd name="T78" fmla="*/ 42 w 162"/>
              <a:gd name="T79" fmla="*/ 58 h 136"/>
              <a:gd name="T80" fmla="*/ 32 w 162"/>
              <a:gd name="T81" fmla="*/ 56 h 136"/>
              <a:gd name="T82" fmla="*/ 32 w 162"/>
              <a:gd name="T83" fmla="*/ 46 h 136"/>
              <a:gd name="T84" fmla="*/ 30 w 162"/>
              <a:gd name="T85" fmla="*/ 40 h 136"/>
              <a:gd name="T86" fmla="*/ 20 w 162"/>
              <a:gd name="T87" fmla="*/ 38 h 136"/>
              <a:gd name="T88" fmla="*/ 30 w 162"/>
              <a:gd name="T89" fmla="*/ 32 h 136"/>
              <a:gd name="T90" fmla="*/ 42 w 162"/>
              <a:gd name="T91" fmla="*/ 34 h 136"/>
              <a:gd name="T92" fmla="*/ 50 w 162"/>
              <a:gd name="T93" fmla="*/ 32 h 136"/>
              <a:gd name="T94" fmla="*/ 46 w 162"/>
              <a:gd name="T95" fmla="*/ 24 h 136"/>
              <a:gd name="T96" fmla="*/ 30 w 162"/>
              <a:gd name="T97" fmla="*/ 24 h 136"/>
              <a:gd name="T98" fmla="*/ 20 w 162"/>
              <a:gd name="T99" fmla="*/ 26 h 136"/>
              <a:gd name="T100" fmla="*/ 16 w 162"/>
              <a:gd name="T101" fmla="*/ 16 h 136"/>
              <a:gd name="T102" fmla="*/ 6 w 162"/>
              <a:gd name="T103" fmla="*/ 16 h 136"/>
              <a:gd name="T104" fmla="*/ 0 w 162"/>
              <a:gd name="T105" fmla="*/ 14 h 136"/>
              <a:gd name="T106" fmla="*/ 2 w 162"/>
              <a:gd name="T10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36">
                <a:moveTo>
                  <a:pt x="2" y="8"/>
                </a:moveTo>
                <a:lnTo>
                  <a:pt x="20" y="2"/>
                </a:lnTo>
                <a:lnTo>
                  <a:pt x="30" y="0"/>
                </a:lnTo>
                <a:lnTo>
                  <a:pt x="48" y="2"/>
                </a:lnTo>
                <a:lnTo>
                  <a:pt x="56" y="10"/>
                </a:lnTo>
                <a:lnTo>
                  <a:pt x="54" y="22"/>
                </a:lnTo>
                <a:lnTo>
                  <a:pt x="54" y="30"/>
                </a:lnTo>
                <a:lnTo>
                  <a:pt x="60" y="34"/>
                </a:lnTo>
                <a:lnTo>
                  <a:pt x="62" y="42"/>
                </a:lnTo>
                <a:lnTo>
                  <a:pt x="70" y="44"/>
                </a:lnTo>
                <a:lnTo>
                  <a:pt x="80" y="42"/>
                </a:lnTo>
                <a:lnTo>
                  <a:pt x="86" y="32"/>
                </a:lnTo>
                <a:lnTo>
                  <a:pt x="94" y="26"/>
                </a:lnTo>
                <a:lnTo>
                  <a:pt x="104" y="22"/>
                </a:lnTo>
                <a:lnTo>
                  <a:pt x="110" y="16"/>
                </a:lnTo>
                <a:lnTo>
                  <a:pt x="128" y="22"/>
                </a:lnTo>
                <a:lnTo>
                  <a:pt x="142" y="26"/>
                </a:lnTo>
                <a:lnTo>
                  <a:pt x="158" y="32"/>
                </a:lnTo>
                <a:lnTo>
                  <a:pt x="162" y="34"/>
                </a:lnTo>
                <a:lnTo>
                  <a:pt x="162" y="136"/>
                </a:lnTo>
                <a:lnTo>
                  <a:pt x="148" y="124"/>
                </a:lnTo>
                <a:lnTo>
                  <a:pt x="138" y="120"/>
                </a:lnTo>
                <a:lnTo>
                  <a:pt x="130" y="120"/>
                </a:lnTo>
                <a:lnTo>
                  <a:pt x="124" y="124"/>
                </a:lnTo>
                <a:lnTo>
                  <a:pt x="110" y="126"/>
                </a:lnTo>
                <a:lnTo>
                  <a:pt x="108" y="118"/>
                </a:lnTo>
                <a:lnTo>
                  <a:pt x="110" y="114"/>
                </a:lnTo>
                <a:lnTo>
                  <a:pt x="116" y="112"/>
                </a:lnTo>
                <a:lnTo>
                  <a:pt x="124" y="110"/>
                </a:lnTo>
                <a:lnTo>
                  <a:pt x="126" y="98"/>
                </a:lnTo>
                <a:lnTo>
                  <a:pt x="122" y="90"/>
                </a:lnTo>
                <a:lnTo>
                  <a:pt x="112" y="80"/>
                </a:lnTo>
                <a:lnTo>
                  <a:pt x="90" y="68"/>
                </a:lnTo>
                <a:lnTo>
                  <a:pt x="66" y="62"/>
                </a:lnTo>
                <a:lnTo>
                  <a:pt x="60" y="56"/>
                </a:lnTo>
                <a:lnTo>
                  <a:pt x="54" y="54"/>
                </a:lnTo>
                <a:lnTo>
                  <a:pt x="48" y="40"/>
                </a:lnTo>
                <a:lnTo>
                  <a:pt x="42" y="42"/>
                </a:lnTo>
                <a:lnTo>
                  <a:pt x="42" y="48"/>
                </a:lnTo>
                <a:lnTo>
                  <a:pt x="42" y="58"/>
                </a:lnTo>
                <a:lnTo>
                  <a:pt x="32" y="56"/>
                </a:lnTo>
                <a:lnTo>
                  <a:pt x="32" y="46"/>
                </a:lnTo>
                <a:lnTo>
                  <a:pt x="30" y="40"/>
                </a:lnTo>
                <a:lnTo>
                  <a:pt x="20" y="38"/>
                </a:lnTo>
                <a:lnTo>
                  <a:pt x="30" y="32"/>
                </a:lnTo>
                <a:lnTo>
                  <a:pt x="42" y="34"/>
                </a:lnTo>
                <a:lnTo>
                  <a:pt x="50" y="32"/>
                </a:lnTo>
                <a:lnTo>
                  <a:pt x="46" y="24"/>
                </a:lnTo>
                <a:lnTo>
                  <a:pt x="30" y="24"/>
                </a:lnTo>
                <a:lnTo>
                  <a:pt x="20" y="26"/>
                </a:lnTo>
                <a:lnTo>
                  <a:pt x="16" y="16"/>
                </a:lnTo>
                <a:lnTo>
                  <a:pt x="6" y="16"/>
                </a:lnTo>
                <a:lnTo>
                  <a:pt x="0" y="14"/>
                </a:lnTo>
                <a:lnTo>
                  <a:pt x="2" y="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3" name="Freeform 249">
            <a:extLst>
              <a:ext uri="{FF2B5EF4-FFF2-40B4-BE49-F238E27FC236}">
                <a16:creationId xmlns:a16="http://schemas.microsoft.com/office/drawing/2014/main" id="{1554F59E-8DA8-4190-A25F-BAA514A73400}"/>
              </a:ext>
            </a:extLst>
          </p:cNvPr>
          <p:cNvSpPr>
            <a:spLocks/>
          </p:cNvSpPr>
          <p:nvPr/>
        </p:nvSpPr>
        <p:spPr bwMode="gray">
          <a:xfrm>
            <a:off x="9764996" y="4931306"/>
            <a:ext cx="94642" cy="31714"/>
          </a:xfrm>
          <a:custGeom>
            <a:avLst/>
            <a:gdLst>
              <a:gd name="T0" fmla="*/ 4 w 48"/>
              <a:gd name="T1" fmla="*/ 2 h 16"/>
              <a:gd name="T2" fmla="*/ 20 w 48"/>
              <a:gd name="T3" fmla="*/ 0 h 16"/>
              <a:gd name="T4" fmla="*/ 38 w 48"/>
              <a:gd name="T5" fmla="*/ 2 h 16"/>
              <a:gd name="T6" fmla="*/ 48 w 48"/>
              <a:gd name="T7" fmla="*/ 10 h 16"/>
              <a:gd name="T8" fmla="*/ 46 w 48"/>
              <a:gd name="T9" fmla="*/ 16 h 16"/>
              <a:gd name="T10" fmla="*/ 34 w 48"/>
              <a:gd name="T11" fmla="*/ 12 h 16"/>
              <a:gd name="T12" fmla="*/ 24 w 48"/>
              <a:gd name="T13" fmla="*/ 10 h 16"/>
              <a:gd name="T14" fmla="*/ 12 w 48"/>
              <a:gd name="T15" fmla="*/ 10 h 16"/>
              <a:gd name="T16" fmla="*/ 8 w 48"/>
              <a:gd name="T17" fmla="*/ 14 h 16"/>
              <a:gd name="T18" fmla="*/ 2 w 48"/>
              <a:gd name="T19" fmla="*/ 14 h 16"/>
              <a:gd name="T20" fmla="*/ 0 w 48"/>
              <a:gd name="T21" fmla="*/ 6 h 16"/>
              <a:gd name="T22" fmla="*/ 4 w 48"/>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6">
                <a:moveTo>
                  <a:pt x="4" y="2"/>
                </a:moveTo>
                <a:lnTo>
                  <a:pt x="20" y="0"/>
                </a:lnTo>
                <a:lnTo>
                  <a:pt x="38" y="2"/>
                </a:lnTo>
                <a:lnTo>
                  <a:pt x="48" y="10"/>
                </a:lnTo>
                <a:lnTo>
                  <a:pt x="46" y="16"/>
                </a:lnTo>
                <a:lnTo>
                  <a:pt x="34" y="12"/>
                </a:lnTo>
                <a:lnTo>
                  <a:pt x="24" y="10"/>
                </a:lnTo>
                <a:lnTo>
                  <a:pt x="12" y="10"/>
                </a:lnTo>
                <a:lnTo>
                  <a:pt x="8" y="14"/>
                </a:lnTo>
                <a:lnTo>
                  <a:pt x="2" y="14"/>
                </a:lnTo>
                <a:lnTo>
                  <a:pt x="0" y="6"/>
                </a:lnTo>
                <a:lnTo>
                  <a:pt x="4"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4" name="Freeform 250">
            <a:extLst>
              <a:ext uri="{FF2B5EF4-FFF2-40B4-BE49-F238E27FC236}">
                <a16:creationId xmlns:a16="http://schemas.microsoft.com/office/drawing/2014/main" id="{BC94B13A-C8BC-414B-93E1-CA376B68D165}"/>
              </a:ext>
            </a:extLst>
          </p:cNvPr>
          <p:cNvSpPr>
            <a:spLocks/>
          </p:cNvSpPr>
          <p:nvPr/>
        </p:nvSpPr>
        <p:spPr bwMode="gray">
          <a:xfrm>
            <a:off x="9713732" y="4943200"/>
            <a:ext cx="35490" cy="19822"/>
          </a:xfrm>
          <a:custGeom>
            <a:avLst/>
            <a:gdLst>
              <a:gd name="T0" fmla="*/ 2 w 18"/>
              <a:gd name="T1" fmla="*/ 0 h 10"/>
              <a:gd name="T2" fmla="*/ 12 w 18"/>
              <a:gd name="T3" fmla="*/ 0 h 10"/>
              <a:gd name="T4" fmla="*/ 18 w 18"/>
              <a:gd name="T5" fmla="*/ 4 h 10"/>
              <a:gd name="T6" fmla="*/ 14 w 18"/>
              <a:gd name="T7" fmla="*/ 10 h 10"/>
              <a:gd name="T8" fmla="*/ 4 w 18"/>
              <a:gd name="T9" fmla="*/ 10 h 10"/>
              <a:gd name="T10" fmla="*/ 0 w 18"/>
              <a:gd name="T11" fmla="*/ 6 h 10"/>
              <a:gd name="T12" fmla="*/ 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2" y="0"/>
                </a:moveTo>
                <a:lnTo>
                  <a:pt x="12" y="0"/>
                </a:lnTo>
                <a:lnTo>
                  <a:pt x="18" y="4"/>
                </a:lnTo>
                <a:lnTo>
                  <a:pt x="14" y="10"/>
                </a:lnTo>
                <a:lnTo>
                  <a:pt x="4" y="10"/>
                </a:lnTo>
                <a:lnTo>
                  <a:pt x="0" y="6"/>
                </a:lnTo>
                <a:lnTo>
                  <a:pt x="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5" name="Freeform 251">
            <a:extLst>
              <a:ext uri="{FF2B5EF4-FFF2-40B4-BE49-F238E27FC236}">
                <a16:creationId xmlns:a16="http://schemas.microsoft.com/office/drawing/2014/main" id="{6A1F6E0B-24A8-4FDB-A55D-4F2745AE1EA9}"/>
              </a:ext>
            </a:extLst>
          </p:cNvPr>
          <p:cNvSpPr>
            <a:spLocks/>
          </p:cNvSpPr>
          <p:nvPr/>
        </p:nvSpPr>
        <p:spPr bwMode="gray">
          <a:xfrm>
            <a:off x="9753167" y="4780662"/>
            <a:ext cx="43377" cy="99107"/>
          </a:xfrm>
          <a:custGeom>
            <a:avLst/>
            <a:gdLst>
              <a:gd name="T0" fmla="*/ 0 w 22"/>
              <a:gd name="T1" fmla="*/ 0 h 50"/>
              <a:gd name="T2" fmla="*/ 6 w 22"/>
              <a:gd name="T3" fmla="*/ 2 h 50"/>
              <a:gd name="T4" fmla="*/ 8 w 22"/>
              <a:gd name="T5" fmla="*/ 10 h 50"/>
              <a:gd name="T6" fmla="*/ 8 w 22"/>
              <a:gd name="T7" fmla="*/ 14 h 50"/>
              <a:gd name="T8" fmla="*/ 14 w 22"/>
              <a:gd name="T9" fmla="*/ 6 h 50"/>
              <a:gd name="T10" fmla="*/ 20 w 22"/>
              <a:gd name="T11" fmla="*/ 4 h 50"/>
              <a:gd name="T12" fmla="*/ 22 w 22"/>
              <a:gd name="T13" fmla="*/ 14 h 50"/>
              <a:gd name="T14" fmla="*/ 16 w 22"/>
              <a:gd name="T15" fmla="*/ 16 h 50"/>
              <a:gd name="T16" fmla="*/ 14 w 22"/>
              <a:gd name="T17" fmla="*/ 20 h 50"/>
              <a:gd name="T18" fmla="*/ 18 w 22"/>
              <a:gd name="T19" fmla="*/ 22 h 50"/>
              <a:gd name="T20" fmla="*/ 20 w 22"/>
              <a:gd name="T21" fmla="*/ 26 h 50"/>
              <a:gd name="T22" fmla="*/ 8 w 22"/>
              <a:gd name="T23" fmla="*/ 26 h 50"/>
              <a:gd name="T24" fmla="*/ 8 w 22"/>
              <a:gd name="T25" fmla="*/ 30 h 50"/>
              <a:gd name="T26" fmla="*/ 10 w 22"/>
              <a:gd name="T27" fmla="*/ 38 h 50"/>
              <a:gd name="T28" fmla="*/ 16 w 22"/>
              <a:gd name="T29" fmla="*/ 44 h 50"/>
              <a:gd name="T30" fmla="*/ 18 w 22"/>
              <a:gd name="T31" fmla="*/ 46 h 50"/>
              <a:gd name="T32" fmla="*/ 18 w 22"/>
              <a:gd name="T33" fmla="*/ 48 h 50"/>
              <a:gd name="T34" fmla="*/ 16 w 22"/>
              <a:gd name="T35" fmla="*/ 50 h 50"/>
              <a:gd name="T36" fmla="*/ 12 w 22"/>
              <a:gd name="T37" fmla="*/ 50 h 50"/>
              <a:gd name="T38" fmla="*/ 8 w 22"/>
              <a:gd name="T39" fmla="*/ 48 h 50"/>
              <a:gd name="T40" fmla="*/ 6 w 22"/>
              <a:gd name="T41" fmla="*/ 46 h 50"/>
              <a:gd name="T42" fmla="*/ 2 w 22"/>
              <a:gd name="T43" fmla="*/ 32 h 50"/>
              <a:gd name="T44" fmla="*/ 0 w 22"/>
              <a:gd name="T45" fmla="*/ 22 h 50"/>
              <a:gd name="T46" fmla="*/ 2 w 22"/>
              <a:gd name="T47" fmla="*/ 12 h 50"/>
              <a:gd name="T48" fmla="*/ 0 w 22"/>
              <a:gd name="T4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0">
                <a:moveTo>
                  <a:pt x="0" y="0"/>
                </a:moveTo>
                <a:lnTo>
                  <a:pt x="6" y="2"/>
                </a:lnTo>
                <a:lnTo>
                  <a:pt x="8" y="10"/>
                </a:lnTo>
                <a:lnTo>
                  <a:pt x="8" y="14"/>
                </a:lnTo>
                <a:lnTo>
                  <a:pt x="14" y="6"/>
                </a:lnTo>
                <a:lnTo>
                  <a:pt x="20" y="4"/>
                </a:lnTo>
                <a:lnTo>
                  <a:pt x="22" y="14"/>
                </a:lnTo>
                <a:lnTo>
                  <a:pt x="16" y="16"/>
                </a:lnTo>
                <a:lnTo>
                  <a:pt x="14" y="20"/>
                </a:lnTo>
                <a:lnTo>
                  <a:pt x="18" y="22"/>
                </a:lnTo>
                <a:lnTo>
                  <a:pt x="20" y="26"/>
                </a:lnTo>
                <a:lnTo>
                  <a:pt x="8" y="26"/>
                </a:lnTo>
                <a:lnTo>
                  <a:pt x="8" y="30"/>
                </a:lnTo>
                <a:lnTo>
                  <a:pt x="10" y="38"/>
                </a:lnTo>
                <a:lnTo>
                  <a:pt x="16" y="44"/>
                </a:lnTo>
                <a:lnTo>
                  <a:pt x="18" y="46"/>
                </a:lnTo>
                <a:lnTo>
                  <a:pt x="18" y="48"/>
                </a:lnTo>
                <a:lnTo>
                  <a:pt x="16" y="50"/>
                </a:lnTo>
                <a:lnTo>
                  <a:pt x="12" y="50"/>
                </a:lnTo>
                <a:lnTo>
                  <a:pt x="8" y="48"/>
                </a:lnTo>
                <a:lnTo>
                  <a:pt x="6" y="46"/>
                </a:lnTo>
                <a:lnTo>
                  <a:pt x="2" y="32"/>
                </a:lnTo>
                <a:lnTo>
                  <a:pt x="0" y="22"/>
                </a:lnTo>
                <a:lnTo>
                  <a:pt x="2" y="1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6" name="Freeform 252">
            <a:extLst>
              <a:ext uri="{FF2B5EF4-FFF2-40B4-BE49-F238E27FC236}">
                <a16:creationId xmlns:a16="http://schemas.microsoft.com/office/drawing/2014/main" id="{2F90B3A9-638C-4879-8F4A-A84E22B03522}"/>
              </a:ext>
            </a:extLst>
          </p:cNvPr>
          <p:cNvSpPr>
            <a:spLocks/>
          </p:cNvSpPr>
          <p:nvPr/>
        </p:nvSpPr>
        <p:spPr bwMode="gray">
          <a:xfrm>
            <a:off x="10175109" y="4927342"/>
            <a:ext cx="303643" cy="257680"/>
          </a:xfrm>
          <a:custGeom>
            <a:avLst/>
            <a:gdLst>
              <a:gd name="T0" fmla="*/ 0 w 154"/>
              <a:gd name="T1" fmla="*/ 0 h 130"/>
              <a:gd name="T2" fmla="*/ 14 w 154"/>
              <a:gd name="T3" fmla="*/ 4 h 130"/>
              <a:gd name="T4" fmla="*/ 32 w 154"/>
              <a:gd name="T5" fmla="*/ 10 h 130"/>
              <a:gd name="T6" fmla="*/ 50 w 154"/>
              <a:gd name="T7" fmla="*/ 18 h 130"/>
              <a:gd name="T8" fmla="*/ 66 w 154"/>
              <a:gd name="T9" fmla="*/ 28 h 130"/>
              <a:gd name="T10" fmla="*/ 74 w 154"/>
              <a:gd name="T11" fmla="*/ 38 h 130"/>
              <a:gd name="T12" fmla="*/ 84 w 154"/>
              <a:gd name="T13" fmla="*/ 44 h 130"/>
              <a:gd name="T14" fmla="*/ 100 w 154"/>
              <a:gd name="T15" fmla="*/ 52 h 130"/>
              <a:gd name="T16" fmla="*/ 108 w 154"/>
              <a:gd name="T17" fmla="*/ 58 h 130"/>
              <a:gd name="T18" fmla="*/ 108 w 154"/>
              <a:gd name="T19" fmla="*/ 62 h 130"/>
              <a:gd name="T20" fmla="*/ 110 w 154"/>
              <a:gd name="T21" fmla="*/ 64 h 130"/>
              <a:gd name="T22" fmla="*/ 108 w 154"/>
              <a:gd name="T23" fmla="*/ 66 h 130"/>
              <a:gd name="T24" fmla="*/ 94 w 154"/>
              <a:gd name="T25" fmla="*/ 66 h 130"/>
              <a:gd name="T26" fmla="*/ 100 w 154"/>
              <a:gd name="T27" fmla="*/ 72 h 130"/>
              <a:gd name="T28" fmla="*/ 110 w 154"/>
              <a:gd name="T29" fmla="*/ 86 h 130"/>
              <a:gd name="T30" fmla="*/ 124 w 154"/>
              <a:gd name="T31" fmla="*/ 102 h 130"/>
              <a:gd name="T32" fmla="*/ 130 w 154"/>
              <a:gd name="T33" fmla="*/ 106 h 130"/>
              <a:gd name="T34" fmla="*/ 138 w 154"/>
              <a:gd name="T35" fmla="*/ 114 h 130"/>
              <a:gd name="T36" fmla="*/ 154 w 154"/>
              <a:gd name="T37" fmla="*/ 124 h 130"/>
              <a:gd name="T38" fmla="*/ 152 w 154"/>
              <a:gd name="T39" fmla="*/ 130 h 130"/>
              <a:gd name="T40" fmla="*/ 136 w 154"/>
              <a:gd name="T41" fmla="*/ 122 h 130"/>
              <a:gd name="T42" fmla="*/ 124 w 154"/>
              <a:gd name="T43" fmla="*/ 120 h 130"/>
              <a:gd name="T44" fmla="*/ 104 w 154"/>
              <a:gd name="T45" fmla="*/ 118 h 130"/>
              <a:gd name="T46" fmla="*/ 94 w 154"/>
              <a:gd name="T47" fmla="*/ 106 h 130"/>
              <a:gd name="T48" fmla="*/ 84 w 154"/>
              <a:gd name="T49" fmla="*/ 92 h 130"/>
              <a:gd name="T50" fmla="*/ 72 w 154"/>
              <a:gd name="T51" fmla="*/ 84 h 130"/>
              <a:gd name="T52" fmla="*/ 60 w 154"/>
              <a:gd name="T53" fmla="*/ 76 h 130"/>
              <a:gd name="T54" fmla="*/ 46 w 154"/>
              <a:gd name="T55" fmla="*/ 70 h 130"/>
              <a:gd name="T56" fmla="*/ 46 w 154"/>
              <a:gd name="T57" fmla="*/ 80 h 130"/>
              <a:gd name="T58" fmla="*/ 42 w 154"/>
              <a:gd name="T59" fmla="*/ 86 h 130"/>
              <a:gd name="T60" fmla="*/ 28 w 154"/>
              <a:gd name="T61" fmla="*/ 88 h 130"/>
              <a:gd name="T62" fmla="*/ 30 w 154"/>
              <a:gd name="T63" fmla="*/ 96 h 130"/>
              <a:gd name="T64" fmla="*/ 38 w 154"/>
              <a:gd name="T65" fmla="*/ 100 h 130"/>
              <a:gd name="T66" fmla="*/ 32 w 154"/>
              <a:gd name="T67" fmla="*/ 106 h 130"/>
              <a:gd name="T68" fmla="*/ 18 w 154"/>
              <a:gd name="T69" fmla="*/ 102 h 130"/>
              <a:gd name="T70" fmla="*/ 8 w 154"/>
              <a:gd name="T71" fmla="*/ 102 h 130"/>
              <a:gd name="T72" fmla="*/ 0 w 154"/>
              <a:gd name="T73" fmla="*/ 102 h 130"/>
              <a:gd name="T74" fmla="*/ 0 w 154"/>
              <a:gd name="T7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130">
                <a:moveTo>
                  <a:pt x="0" y="0"/>
                </a:moveTo>
                <a:lnTo>
                  <a:pt x="14" y="4"/>
                </a:lnTo>
                <a:lnTo>
                  <a:pt x="32" y="10"/>
                </a:lnTo>
                <a:lnTo>
                  <a:pt x="50" y="18"/>
                </a:lnTo>
                <a:lnTo>
                  <a:pt x="66" y="28"/>
                </a:lnTo>
                <a:lnTo>
                  <a:pt x="74" y="38"/>
                </a:lnTo>
                <a:lnTo>
                  <a:pt x="84" y="44"/>
                </a:lnTo>
                <a:lnTo>
                  <a:pt x="100" y="52"/>
                </a:lnTo>
                <a:lnTo>
                  <a:pt x="108" y="58"/>
                </a:lnTo>
                <a:lnTo>
                  <a:pt x="108" y="62"/>
                </a:lnTo>
                <a:lnTo>
                  <a:pt x="110" y="64"/>
                </a:lnTo>
                <a:lnTo>
                  <a:pt x="108" y="66"/>
                </a:lnTo>
                <a:lnTo>
                  <a:pt x="94" y="66"/>
                </a:lnTo>
                <a:lnTo>
                  <a:pt x="100" y="72"/>
                </a:lnTo>
                <a:lnTo>
                  <a:pt x="110" y="86"/>
                </a:lnTo>
                <a:lnTo>
                  <a:pt x="124" y="102"/>
                </a:lnTo>
                <a:lnTo>
                  <a:pt x="130" y="106"/>
                </a:lnTo>
                <a:lnTo>
                  <a:pt x="138" y="114"/>
                </a:lnTo>
                <a:lnTo>
                  <a:pt x="154" y="124"/>
                </a:lnTo>
                <a:lnTo>
                  <a:pt x="152" y="130"/>
                </a:lnTo>
                <a:lnTo>
                  <a:pt x="136" y="122"/>
                </a:lnTo>
                <a:lnTo>
                  <a:pt x="124" y="120"/>
                </a:lnTo>
                <a:lnTo>
                  <a:pt x="104" y="118"/>
                </a:lnTo>
                <a:lnTo>
                  <a:pt x="94" y="106"/>
                </a:lnTo>
                <a:lnTo>
                  <a:pt x="84" y="92"/>
                </a:lnTo>
                <a:lnTo>
                  <a:pt x="72" y="84"/>
                </a:lnTo>
                <a:lnTo>
                  <a:pt x="60" y="76"/>
                </a:lnTo>
                <a:lnTo>
                  <a:pt x="46" y="70"/>
                </a:lnTo>
                <a:lnTo>
                  <a:pt x="46" y="80"/>
                </a:lnTo>
                <a:lnTo>
                  <a:pt x="42" y="86"/>
                </a:lnTo>
                <a:lnTo>
                  <a:pt x="28" y="88"/>
                </a:lnTo>
                <a:lnTo>
                  <a:pt x="30" y="96"/>
                </a:lnTo>
                <a:lnTo>
                  <a:pt x="38" y="100"/>
                </a:lnTo>
                <a:lnTo>
                  <a:pt x="32" y="106"/>
                </a:lnTo>
                <a:lnTo>
                  <a:pt x="18" y="102"/>
                </a:lnTo>
                <a:lnTo>
                  <a:pt x="8" y="102"/>
                </a:lnTo>
                <a:lnTo>
                  <a:pt x="0" y="10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7" name="Freeform 253">
            <a:extLst>
              <a:ext uri="{FF2B5EF4-FFF2-40B4-BE49-F238E27FC236}">
                <a16:creationId xmlns:a16="http://schemas.microsoft.com/office/drawing/2014/main" id="{E0410A98-C4FB-418B-B08E-114922B5C475}"/>
              </a:ext>
            </a:extLst>
          </p:cNvPr>
          <p:cNvSpPr>
            <a:spLocks/>
          </p:cNvSpPr>
          <p:nvPr/>
        </p:nvSpPr>
        <p:spPr bwMode="gray">
          <a:xfrm>
            <a:off x="10419601" y="4974914"/>
            <a:ext cx="114358" cy="71358"/>
          </a:xfrm>
          <a:custGeom>
            <a:avLst/>
            <a:gdLst>
              <a:gd name="T0" fmla="*/ 0 w 58"/>
              <a:gd name="T1" fmla="*/ 22 h 36"/>
              <a:gd name="T2" fmla="*/ 14 w 58"/>
              <a:gd name="T3" fmla="*/ 22 h 36"/>
              <a:gd name="T4" fmla="*/ 34 w 58"/>
              <a:gd name="T5" fmla="*/ 22 h 36"/>
              <a:gd name="T6" fmla="*/ 40 w 58"/>
              <a:gd name="T7" fmla="*/ 16 h 36"/>
              <a:gd name="T8" fmla="*/ 50 w 58"/>
              <a:gd name="T9" fmla="*/ 6 h 36"/>
              <a:gd name="T10" fmla="*/ 56 w 58"/>
              <a:gd name="T11" fmla="*/ 0 h 36"/>
              <a:gd name="T12" fmla="*/ 58 w 58"/>
              <a:gd name="T13" fmla="*/ 10 h 36"/>
              <a:gd name="T14" fmla="*/ 54 w 58"/>
              <a:gd name="T15" fmla="*/ 18 h 36"/>
              <a:gd name="T16" fmla="*/ 46 w 58"/>
              <a:gd name="T17" fmla="*/ 22 h 36"/>
              <a:gd name="T18" fmla="*/ 38 w 58"/>
              <a:gd name="T19" fmla="*/ 28 h 36"/>
              <a:gd name="T20" fmla="*/ 32 w 58"/>
              <a:gd name="T21" fmla="*/ 34 h 36"/>
              <a:gd name="T22" fmla="*/ 20 w 58"/>
              <a:gd name="T23" fmla="*/ 36 h 36"/>
              <a:gd name="T24" fmla="*/ 6 w 58"/>
              <a:gd name="T25" fmla="*/ 32 h 36"/>
              <a:gd name="T26" fmla="*/ 0 w 58"/>
              <a:gd name="T27" fmla="*/ 28 h 36"/>
              <a:gd name="T28" fmla="*/ 0 w 58"/>
              <a:gd name="T29"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6">
                <a:moveTo>
                  <a:pt x="0" y="22"/>
                </a:moveTo>
                <a:lnTo>
                  <a:pt x="14" y="22"/>
                </a:lnTo>
                <a:lnTo>
                  <a:pt x="34" y="22"/>
                </a:lnTo>
                <a:lnTo>
                  <a:pt x="40" y="16"/>
                </a:lnTo>
                <a:lnTo>
                  <a:pt x="50" y="6"/>
                </a:lnTo>
                <a:lnTo>
                  <a:pt x="56" y="0"/>
                </a:lnTo>
                <a:lnTo>
                  <a:pt x="58" y="10"/>
                </a:lnTo>
                <a:lnTo>
                  <a:pt x="54" y="18"/>
                </a:lnTo>
                <a:lnTo>
                  <a:pt x="46" y="22"/>
                </a:lnTo>
                <a:lnTo>
                  <a:pt x="38" y="28"/>
                </a:lnTo>
                <a:lnTo>
                  <a:pt x="32" y="34"/>
                </a:lnTo>
                <a:lnTo>
                  <a:pt x="20" y="36"/>
                </a:lnTo>
                <a:lnTo>
                  <a:pt x="6" y="32"/>
                </a:lnTo>
                <a:lnTo>
                  <a:pt x="0" y="28"/>
                </a:lnTo>
                <a:lnTo>
                  <a:pt x="0" y="2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8" name="Freeform 254">
            <a:extLst>
              <a:ext uri="{FF2B5EF4-FFF2-40B4-BE49-F238E27FC236}">
                <a16:creationId xmlns:a16="http://schemas.microsoft.com/office/drawing/2014/main" id="{F1A840CC-8702-46DC-8A27-F4805B7D7FFE}"/>
              </a:ext>
            </a:extLst>
          </p:cNvPr>
          <p:cNvSpPr>
            <a:spLocks/>
          </p:cNvSpPr>
          <p:nvPr/>
        </p:nvSpPr>
        <p:spPr bwMode="gray">
          <a:xfrm>
            <a:off x="10600997" y="5010592"/>
            <a:ext cx="43377" cy="55500"/>
          </a:xfrm>
          <a:custGeom>
            <a:avLst/>
            <a:gdLst>
              <a:gd name="T0" fmla="*/ 0 w 22"/>
              <a:gd name="T1" fmla="*/ 0 h 28"/>
              <a:gd name="T2" fmla="*/ 10 w 22"/>
              <a:gd name="T3" fmla="*/ 6 h 28"/>
              <a:gd name="T4" fmla="*/ 20 w 22"/>
              <a:gd name="T5" fmla="*/ 16 h 28"/>
              <a:gd name="T6" fmla="*/ 22 w 22"/>
              <a:gd name="T7" fmla="*/ 28 h 28"/>
              <a:gd name="T8" fmla="*/ 12 w 22"/>
              <a:gd name="T9" fmla="*/ 22 h 28"/>
              <a:gd name="T10" fmla="*/ 8 w 22"/>
              <a:gd name="T11" fmla="*/ 14 h 28"/>
              <a:gd name="T12" fmla="*/ 2 w 22"/>
              <a:gd name="T13" fmla="*/ 8 h 28"/>
              <a:gd name="T14" fmla="*/ 0 w 2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8">
                <a:moveTo>
                  <a:pt x="0" y="0"/>
                </a:moveTo>
                <a:lnTo>
                  <a:pt x="10" y="6"/>
                </a:lnTo>
                <a:lnTo>
                  <a:pt x="20" y="16"/>
                </a:lnTo>
                <a:lnTo>
                  <a:pt x="22" y="28"/>
                </a:lnTo>
                <a:lnTo>
                  <a:pt x="12" y="22"/>
                </a:lnTo>
                <a:lnTo>
                  <a:pt x="8" y="14"/>
                </a:lnTo>
                <a:lnTo>
                  <a:pt x="2" y="8"/>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59" name="Freeform 255">
            <a:extLst>
              <a:ext uri="{FF2B5EF4-FFF2-40B4-BE49-F238E27FC236}">
                <a16:creationId xmlns:a16="http://schemas.microsoft.com/office/drawing/2014/main" id="{52CB19D8-E065-4313-9C90-D18370C6B71E}"/>
              </a:ext>
            </a:extLst>
          </p:cNvPr>
          <p:cNvSpPr>
            <a:spLocks/>
          </p:cNvSpPr>
          <p:nvPr/>
        </p:nvSpPr>
        <p:spPr bwMode="gray">
          <a:xfrm>
            <a:off x="10754789" y="5137450"/>
            <a:ext cx="39433" cy="23786"/>
          </a:xfrm>
          <a:custGeom>
            <a:avLst/>
            <a:gdLst>
              <a:gd name="T0" fmla="*/ 4 w 20"/>
              <a:gd name="T1" fmla="*/ 0 h 12"/>
              <a:gd name="T2" fmla="*/ 10 w 20"/>
              <a:gd name="T3" fmla="*/ 0 h 12"/>
              <a:gd name="T4" fmla="*/ 20 w 20"/>
              <a:gd name="T5" fmla="*/ 8 h 12"/>
              <a:gd name="T6" fmla="*/ 20 w 20"/>
              <a:gd name="T7" fmla="*/ 10 h 12"/>
              <a:gd name="T8" fmla="*/ 20 w 20"/>
              <a:gd name="T9" fmla="*/ 12 h 12"/>
              <a:gd name="T10" fmla="*/ 18 w 20"/>
              <a:gd name="T11" fmla="*/ 12 h 12"/>
              <a:gd name="T12" fmla="*/ 4 w 20"/>
              <a:gd name="T13" fmla="*/ 10 h 12"/>
              <a:gd name="T14" fmla="*/ 0 w 20"/>
              <a:gd name="T15" fmla="*/ 4 h 12"/>
              <a:gd name="T16" fmla="*/ 4 w 2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2">
                <a:moveTo>
                  <a:pt x="4" y="0"/>
                </a:moveTo>
                <a:lnTo>
                  <a:pt x="10" y="0"/>
                </a:lnTo>
                <a:lnTo>
                  <a:pt x="20" y="8"/>
                </a:lnTo>
                <a:lnTo>
                  <a:pt x="20" y="10"/>
                </a:lnTo>
                <a:lnTo>
                  <a:pt x="20" y="12"/>
                </a:lnTo>
                <a:lnTo>
                  <a:pt x="18" y="12"/>
                </a:lnTo>
                <a:lnTo>
                  <a:pt x="4" y="10"/>
                </a:lnTo>
                <a:lnTo>
                  <a:pt x="0" y="4"/>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0" name="Freeform 256">
            <a:extLst>
              <a:ext uri="{FF2B5EF4-FFF2-40B4-BE49-F238E27FC236}">
                <a16:creationId xmlns:a16="http://schemas.microsoft.com/office/drawing/2014/main" id="{F57E21A9-3F15-4499-8AC4-70F0F2DA0441}"/>
              </a:ext>
            </a:extLst>
          </p:cNvPr>
          <p:cNvSpPr>
            <a:spLocks/>
          </p:cNvSpPr>
          <p:nvPr/>
        </p:nvSpPr>
        <p:spPr bwMode="gray">
          <a:xfrm>
            <a:off x="10786337" y="5105736"/>
            <a:ext cx="31547" cy="39644"/>
          </a:xfrm>
          <a:custGeom>
            <a:avLst/>
            <a:gdLst>
              <a:gd name="T0" fmla="*/ 0 w 16"/>
              <a:gd name="T1" fmla="*/ 0 h 20"/>
              <a:gd name="T2" fmla="*/ 2 w 16"/>
              <a:gd name="T3" fmla="*/ 8 h 20"/>
              <a:gd name="T4" fmla="*/ 6 w 16"/>
              <a:gd name="T5" fmla="*/ 18 h 20"/>
              <a:gd name="T6" fmla="*/ 16 w 16"/>
              <a:gd name="T7" fmla="*/ 20 h 20"/>
              <a:gd name="T8" fmla="*/ 14 w 16"/>
              <a:gd name="T9" fmla="*/ 8 h 20"/>
              <a:gd name="T10" fmla="*/ 8 w 16"/>
              <a:gd name="T11" fmla="*/ 4 h 20"/>
              <a:gd name="T12" fmla="*/ 0 w 1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0" y="0"/>
                </a:moveTo>
                <a:lnTo>
                  <a:pt x="2" y="8"/>
                </a:lnTo>
                <a:lnTo>
                  <a:pt x="6" y="18"/>
                </a:lnTo>
                <a:lnTo>
                  <a:pt x="16" y="20"/>
                </a:lnTo>
                <a:lnTo>
                  <a:pt x="14" y="8"/>
                </a:lnTo>
                <a:lnTo>
                  <a:pt x="8" y="4"/>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1" name="Freeform 257">
            <a:extLst>
              <a:ext uri="{FF2B5EF4-FFF2-40B4-BE49-F238E27FC236}">
                <a16:creationId xmlns:a16="http://schemas.microsoft.com/office/drawing/2014/main" id="{97A717C9-52AC-4116-B546-EFD2669D8B98}"/>
              </a:ext>
            </a:extLst>
          </p:cNvPr>
          <p:cNvSpPr>
            <a:spLocks/>
          </p:cNvSpPr>
          <p:nvPr/>
        </p:nvSpPr>
        <p:spPr bwMode="gray">
          <a:xfrm>
            <a:off x="10813941" y="5169166"/>
            <a:ext cx="27603" cy="19822"/>
          </a:xfrm>
          <a:custGeom>
            <a:avLst/>
            <a:gdLst>
              <a:gd name="T0" fmla="*/ 0 w 14"/>
              <a:gd name="T1" fmla="*/ 2 h 10"/>
              <a:gd name="T2" fmla="*/ 6 w 14"/>
              <a:gd name="T3" fmla="*/ 0 h 10"/>
              <a:gd name="T4" fmla="*/ 14 w 14"/>
              <a:gd name="T5" fmla="*/ 4 h 10"/>
              <a:gd name="T6" fmla="*/ 14 w 14"/>
              <a:gd name="T7" fmla="*/ 10 h 10"/>
              <a:gd name="T8" fmla="*/ 6 w 14"/>
              <a:gd name="T9" fmla="*/ 8 h 10"/>
              <a:gd name="T10" fmla="*/ 0 w 14"/>
              <a:gd name="T11" fmla="*/ 2 h 10"/>
            </a:gdLst>
            <a:ahLst/>
            <a:cxnLst>
              <a:cxn ang="0">
                <a:pos x="T0" y="T1"/>
              </a:cxn>
              <a:cxn ang="0">
                <a:pos x="T2" y="T3"/>
              </a:cxn>
              <a:cxn ang="0">
                <a:pos x="T4" y="T5"/>
              </a:cxn>
              <a:cxn ang="0">
                <a:pos x="T6" y="T7"/>
              </a:cxn>
              <a:cxn ang="0">
                <a:pos x="T8" y="T9"/>
              </a:cxn>
              <a:cxn ang="0">
                <a:pos x="T10" y="T11"/>
              </a:cxn>
            </a:cxnLst>
            <a:rect l="0" t="0" r="r" b="b"/>
            <a:pathLst>
              <a:path w="14" h="10">
                <a:moveTo>
                  <a:pt x="0" y="2"/>
                </a:moveTo>
                <a:lnTo>
                  <a:pt x="6" y="0"/>
                </a:lnTo>
                <a:lnTo>
                  <a:pt x="14" y="4"/>
                </a:lnTo>
                <a:lnTo>
                  <a:pt x="14" y="10"/>
                </a:lnTo>
                <a:lnTo>
                  <a:pt x="6" y="8"/>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2" name="Freeform 258">
            <a:extLst>
              <a:ext uri="{FF2B5EF4-FFF2-40B4-BE49-F238E27FC236}">
                <a16:creationId xmlns:a16="http://schemas.microsoft.com/office/drawing/2014/main" id="{BBCAA4E1-3A88-4EF5-8497-CF7DF9DC42BD}"/>
              </a:ext>
            </a:extLst>
          </p:cNvPr>
          <p:cNvSpPr>
            <a:spLocks/>
          </p:cNvSpPr>
          <p:nvPr/>
        </p:nvSpPr>
        <p:spPr bwMode="gray">
          <a:xfrm>
            <a:off x="10900694" y="5490274"/>
            <a:ext cx="86756" cy="71358"/>
          </a:xfrm>
          <a:custGeom>
            <a:avLst/>
            <a:gdLst>
              <a:gd name="T0" fmla="*/ 0 w 44"/>
              <a:gd name="T1" fmla="*/ 0 h 36"/>
              <a:gd name="T2" fmla="*/ 14 w 44"/>
              <a:gd name="T3" fmla="*/ 6 h 36"/>
              <a:gd name="T4" fmla="*/ 24 w 44"/>
              <a:gd name="T5" fmla="*/ 18 h 36"/>
              <a:gd name="T6" fmla="*/ 34 w 44"/>
              <a:gd name="T7" fmla="*/ 24 h 36"/>
              <a:gd name="T8" fmla="*/ 44 w 44"/>
              <a:gd name="T9" fmla="*/ 32 h 36"/>
              <a:gd name="T10" fmla="*/ 42 w 44"/>
              <a:gd name="T11" fmla="*/ 36 h 36"/>
              <a:gd name="T12" fmla="*/ 30 w 44"/>
              <a:gd name="T13" fmla="*/ 28 h 36"/>
              <a:gd name="T14" fmla="*/ 20 w 44"/>
              <a:gd name="T15" fmla="*/ 20 h 36"/>
              <a:gd name="T16" fmla="*/ 10 w 44"/>
              <a:gd name="T17" fmla="*/ 12 h 36"/>
              <a:gd name="T18" fmla="*/ 2 w 44"/>
              <a:gd name="T19" fmla="*/ 8 h 36"/>
              <a:gd name="T20" fmla="*/ 0 w 44"/>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6">
                <a:moveTo>
                  <a:pt x="0" y="0"/>
                </a:moveTo>
                <a:lnTo>
                  <a:pt x="14" y="6"/>
                </a:lnTo>
                <a:lnTo>
                  <a:pt x="24" y="18"/>
                </a:lnTo>
                <a:lnTo>
                  <a:pt x="34" y="24"/>
                </a:lnTo>
                <a:lnTo>
                  <a:pt x="44" y="32"/>
                </a:lnTo>
                <a:lnTo>
                  <a:pt x="42" y="36"/>
                </a:lnTo>
                <a:lnTo>
                  <a:pt x="30" y="28"/>
                </a:lnTo>
                <a:lnTo>
                  <a:pt x="20" y="20"/>
                </a:lnTo>
                <a:lnTo>
                  <a:pt x="10" y="12"/>
                </a:lnTo>
                <a:lnTo>
                  <a:pt x="2" y="8"/>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3" name="Freeform 259">
            <a:extLst>
              <a:ext uri="{FF2B5EF4-FFF2-40B4-BE49-F238E27FC236}">
                <a16:creationId xmlns:a16="http://schemas.microsoft.com/office/drawing/2014/main" id="{ED958DC3-8FEE-436D-ACFB-1D4910777340}"/>
              </a:ext>
            </a:extLst>
          </p:cNvPr>
          <p:cNvSpPr>
            <a:spLocks/>
          </p:cNvSpPr>
          <p:nvPr/>
        </p:nvSpPr>
        <p:spPr bwMode="gray">
          <a:xfrm>
            <a:off x="11172789" y="5965992"/>
            <a:ext cx="173509" cy="269574"/>
          </a:xfrm>
          <a:custGeom>
            <a:avLst/>
            <a:gdLst>
              <a:gd name="T0" fmla="*/ 20 w 88"/>
              <a:gd name="T1" fmla="*/ 98 h 136"/>
              <a:gd name="T2" fmla="*/ 14 w 88"/>
              <a:gd name="T3" fmla="*/ 90 h 136"/>
              <a:gd name="T4" fmla="*/ 22 w 88"/>
              <a:gd name="T5" fmla="*/ 84 h 136"/>
              <a:gd name="T6" fmla="*/ 28 w 88"/>
              <a:gd name="T7" fmla="*/ 80 h 136"/>
              <a:gd name="T8" fmla="*/ 28 w 88"/>
              <a:gd name="T9" fmla="*/ 62 h 136"/>
              <a:gd name="T10" fmla="*/ 30 w 88"/>
              <a:gd name="T11" fmla="*/ 46 h 136"/>
              <a:gd name="T12" fmla="*/ 20 w 88"/>
              <a:gd name="T13" fmla="*/ 34 h 136"/>
              <a:gd name="T14" fmla="*/ 8 w 88"/>
              <a:gd name="T15" fmla="*/ 26 h 136"/>
              <a:gd name="T16" fmla="*/ 2 w 88"/>
              <a:gd name="T17" fmla="*/ 10 h 136"/>
              <a:gd name="T18" fmla="*/ 0 w 88"/>
              <a:gd name="T19" fmla="*/ 0 h 136"/>
              <a:gd name="T20" fmla="*/ 10 w 88"/>
              <a:gd name="T21" fmla="*/ 10 h 136"/>
              <a:gd name="T22" fmla="*/ 22 w 88"/>
              <a:gd name="T23" fmla="*/ 18 h 136"/>
              <a:gd name="T24" fmla="*/ 30 w 88"/>
              <a:gd name="T25" fmla="*/ 26 h 136"/>
              <a:gd name="T26" fmla="*/ 28 w 88"/>
              <a:gd name="T27" fmla="*/ 34 h 136"/>
              <a:gd name="T28" fmla="*/ 34 w 88"/>
              <a:gd name="T29" fmla="*/ 44 h 136"/>
              <a:gd name="T30" fmla="*/ 38 w 88"/>
              <a:gd name="T31" fmla="*/ 52 h 136"/>
              <a:gd name="T32" fmla="*/ 44 w 88"/>
              <a:gd name="T33" fmla="*/ 46 h 136"/>
              <a:gd name="T34" fmla="*/ 46 w 88"/>
              <a:gd name="T35" fmla="*/ 52 h 136"/>
              <a:gd name="T36" fmla="*/ 52 w 88"/>
              <a:gd name="T37" fmla="*/ 60 h 136"/>
              <a:gd name="T38" fmla="*/ 64 w 88"/>
              <a:gd name="T39" fmla="*/ 68 h 136"/>
              <a:gd name="T40" fmla="*/ 76 w 88"/>
              <a:gd name="T41" fmla="*/ 66 h 136"/>
              <a:gd name="T42" fmla="*/ 82 w 88"/>
              <a:gd name="T43" fmla="*/ 60 h 136"/>
              <a:gd name="T44" fmla="*/ 88 w 88"/>
              <a:gd name="T45" fmla="*/ 62 h 136"/>
              <a:gd name="T46" fmla="*/ 88 w 88"/>
              <a:gd name="T47" fmla="*/ 74 h 136"/>
              <a:gd name="T48" fmla="*/ 80 w 88"/>
              <a:gd name="T49" fmla="*/ 80 h 136"/>
              <a:gd name="T50" fmla="*/ 80 w 88"/>
              <a:gd name="T51" fmla="*/ 88 h 136"/>
              <a:gd name="T52" fmla="*/ 64 w 88"/>
              <a:gd name="T53" fmla="*/ 90 h 136"/>
              <a:gd name="T54" fmla="*/ 64 w 88"/>
              <a:gd name="T55" fmla="*/ 98 h 136"/>
              <a:gd name="T56" fmla="*/ 64 w 88"/>
              <a:gd name="T57" fmla="*/ 106 h 136"/>
              <a:gd name="T58" fmla="*/ 58 w 88"/>
              <a:gd name="T59" fmla="*/ 114 h 136"/>
              <a:gd name="T60" fmla="*/ 50 w 88"/>
              <a:gd name="T61" fmla="*/ 126 h 136"/>
              <a:gd name="T62" fmla="*/ 40 w 88"/>
              <a:gd name="T63" fmla="*/ 136 h 136"/>
              <a:gd name="T64" fmla="*/ 32 w 88"/>
              <a:gd name="T65" fmla="*/ 134 h 136"/>
              <a:gd name="T66" fmla="*/ 30 w 88"/>
              <a:gd name="T67" fmla="*/ 122 h 136"/>
              <a:gd name="T68" fmla="*/ 36 w 88"/>
              <a:gd name="T69" fmla="*/ 116 h 136"/>
              <a:gd name="T70" fmla="*/ 36 w 88"/>
              <a:gd name="T71" fmla="*/ 108 h 136"/>
              <a:gd name="T72" fmla="*/ 30 w 88"/>
              <a:gd name="T73" fmla="*/ 100 h 136"/>
              <a:gd name="T74" fmla="*/ 20 w 88"/>
              <a:gd name="T75" fmla="*/ 9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36">
                <a:moveTo>
                  <a:pt x="20" y="98"/>
                </a:moveTo>
                <a:lnTo>
                  <a:pt x="14" y="90"/>
                </a:lnTo>
                <a:lnTo>
                  <a:pt x="22" y="84"/>
                </a:lnTo>
                <a:lnTo>
                  <a:pt x="28" y="80"/>
                </a:lnTo>
                <a:lnTo>
                  <a:pt x="28" y="62"/>
                </a:lnTo>
                <a:lnTo>
                  <a:pt x="30" y="46"/>
                </a:lnTo>
                <a:lnTo>
                  <a:pt x="20" y="34"/>
                </a:lnTo>
                <a:lnTo>
                  <a:pt x="8" y="26"/>
                </a:lnTo>
                <a:lnTo>
                  <a:pt x="2" y="10"/>
                </a:lnTo>
                <a:lnTo>
                  <a:pt x="0" y="0"/>
                </a:lnTo>
                <a:lnTo>
                  <a:pt x="10" y="10"/>
                </a:lnTo>
                <a:lnTo>
                  <a:pt x="22" y="18"/>
                </a:lnTo>
                <a:lnTo>
                  <a:pt x="30" y="26"/>
                </a:lnTo>
                <a:lnTo>
                  <a:pt x="28" y="34"/>
                </a:lnTo>
                <a:lnTo>
                  <a:pt x="34" y="44"/>
                </a:lnTo>
                <a:lnTo>
                  <a:pt x="38" y="52"/>
                </a:lnTo>
                <a:lnTo>
                  <a:pt x="44" y="46"/>
                </a:lnTo>
                <a:lnTo>
                  <a:pt x="46" y="52"/>
                </a:lnTo>
                <a:lnTo>
                  <a:pt x="52" y="60"/>
                </a:lnTo>
                <a:lnTo>
                  <a:pt x="64" y="68"/>
                </a:lnTo>
                <a:lnTo>
                  <a:pt x="76" y="66"/>
                </a:lnTo>
                <a:lnTo>
                  <a:pt x="82" y="60"/>
                </a:lnTo>
                <a:lnTo>
                  <a:pt x="88" y="62"/>
                </a:lnTo>
                <a:lnTo>
                  <a:pt x="88" y="74"/>
                </a:lnTo>
                <a:lnTo>
                  <a:pt x="80" y="80"/>
                </a:lnTo>
                <a:lnTo>
                  <a:pt x="80" y="88"/>
                </a:lnTo>
                <a:lnTo>
                  <a:pt x="64" y="90"/>
                </a:lnTo>
                <a:lnTo>
                  <a:pt x="64" y="98"/>
                </a:lnTo>
                <a:lnTo>
                  <a:pt x="64" y="106"/>
                </a:lnTo>
                <a:lnTo>
                  <a:pt x="58" y="114"/>
                </a:lnTo>
                <a:lnTo>
                  <a:pt x="50" y="126"/>
                </a:lnTo>
                <a:lnTo>
                  <a:pt x="40" y="136"/>
                </a:lnTo>
                <a:lnTo>
                  <a:pt x="32" y="134"/>
                </a:lnTo>
                <a:lnTo>
                  <a:pt x="30" y="122"/>
                </a:lnTo>
                <a:lnTo>
                  <a:pt x="36" y="116"/>
                </a:lnTo>
                <a:lnTo>
                  <a:pt x="36" y="108"/>
                </a:lnTo>
                <a:lnTo>
                  <a:pt x="30" y="100"/>
                </a:lnTo>
                <a:lnTo>
                  <a:pt x="20" y="9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4" name="Freeform 260">
            <a:extLst>
              <a:ext uri="{FF2B5EF4-FFF2-40B4-BE49-F238E27FC236}">
                <a16:creationId xmlns:a16="http://schemas.microsoft.com/office/drawing/2014/main" id="{479C8C8B-F836-445B-9768-81304840FCE2}"/>
              </a:ext>
            </a:extLst>
          </p:cNvPr>
          <p:cNvSpPr>
            <a:spLocks/>
          </p:cNvSpPr>
          <p:nvPr/>
        </p:nvSpPr>
        <p:spPr bwMode="gray">
          <a:xfrm>
            <a:off x="10975620" y="6195921"/>
            <a:ext cx="240548" cy="229930"/>
          </a:xfrm>
          <a:custGeom>
            <a:avLst/>
            <a:gdLst>
              <a:gd name="T0" fmla="*/ 92 w 122"/>
              <a:gd name="T1" fmla="*/ 0 h 116"/>
              <a:gd name="T2" fmla="*/ 100 w 122"/>
              <a:gd name="T3" fmla="*/ 2 h 116"/>
              <a:gd name="T4" fmla="*/ 106 w 122"/>
              <a:gd name="T5" fmla="*/ 10 h 116"/>
              <a:gd name="T6" fmla="*/ 116 w 122"/>
              <a:gd name="T7" fmla="*/ 10 h 116"/>
              <a:gd name="T8" fmla="*/ 122 w 122"/>
              <a:gd name="T9" fmla="*/ 10 h 116"/>
              <a:gd name="T10" fmla="*/ 122 w 122"/>
              <a:gd name="T11" fmla="*/ 20 h 116"/>
              <a:gd name="T12" fmla="*/ 116 w 122"/>
              <a:gd name="T13" fmla="*/ 30 h 116"/>
              <a:gd name="T14" fmla="*/ 110 w 122"/>
              <a:gd name="T15" fmla="*/ 38 h 116"/>
              <a:gd name="T16" fmla="*/ 100 w 122"/>
              <a:gd name="T17" fmla="*/ 46 h 116"/>
              <a:gd name="T18" fmla="*/ 100 w 122"/>
              <a:gd name="T19" fmla="*/ 60 h 116"/>
              <a:gd name="T20" fmla="*/ 90 w 122"/>
              <a:gd name="T21" fmla="*/ 62 h 116"/>
              <a:gd name="T22" fmla="*/ 80 w 122"/>
              <a:gd name="T23" fmla="*/ 66 h 116"/>
              <a:gd name="T24" fmla="*/ 74 w 122"/>
              <a:gd name="T25" fmla="*/ 74 h 116"/>
              <a:gd name="T26" fmla="*/ 70 w 122"/>
              <a:gd name="T27" fmla="*/ 90 h 116"/>
              <a:gd name="T28" fmla="*/ 58 w 122"/>
              <a:gd name="T29" fmla="*/ 104 h 116"/>
              <a:gd name="T30" fmla="*/ 48 w 122"/>
              <a:gd name="T31" fmla="*/ 114 h 116"/>
              <a:gd name="T32" fmla="*/ 30 w 122"/>
              <a:gd name="T33" fmla="*/ 116 h 116"/>
              <a:gd name="T34" fmla="*/ 22 w 122"/>
              <a:gd name="T35" fmla="*/ 110 h 116"/>
              <a:gd name="T36" fmla="*/ 16 w 122"/>
              <a:gd name="T37" fmla="*/ 108 h 116"/>
              <a:gd name="T38" fmla="*/ 0 w 122"/>
              <a:gd name="T39" fmla="*/ 106 h 116"/>
              <a:gd name="T40" fmla="*/ 4 w 122"/>
              <a:gd name="T41" fmla="*/ 92 h 116"/>
              <a:gd name="T42" fmla="*/ 14 w 122"/>
              <a:gd name="T43" fmla="*/ 80 h 116"/>
              <a:gd name="T44" fmla="*/ 30 w 122"/>
              <a:gd name="T45" fmla="*/ 64 h 116"/>
              <a:gd name="T46" fmla="*/ 38 w 122"/>
              <a:gd name="T47" fmla="*/ 64 h 116"/>
              <a:gd name="T48" fmla="*/ 48 w 122"/>
              <a:gd name="T49" fmla="*/ 52 h 116"/>
              <a:gd name="T50" fmla="*/ 60 w 122"/>
              <a:gd name="T51" fmla="*/ 52 h 116"/>
              <a:gd name="T52" fmla="*/ 72 w 122"/>
              <a:gd name="T53" fmla="*/ 36 h 116"/>
              <a:gd name="T54" fmla="*/ 78 w 122"/>
              <a:gd name="T55" fmla="*/ 26 h 116"/>
              <a:gd name="T56" fmla="*/ 88 w 122"/>
              <a:gd name="T57" fmla="*/ 20 h 116"/>
              <a:gd name="T58" fmla="*/ 88 w 122"/>
              <a:gd name="T59" fmla="*/ 10 h 116"/>
              <a:gd name="T60" fmla="*/ 92 w 122"/>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2" h="116">
                <a:moveTo>
                  <a:pt x="92" y="0"/>
                </a:moveTo>
                <a:lnTo>
                  <a:pt x="100" y="2"/>
                </a:lnTo>
                <a:lnTo>
                  <a:pt x="106" y="10"/>
                </a:lnTo>
                <a:lnTo>
                  <a:pt x="116" y="10"/>
                </a:lnTo>
                <a:lnTo>
                  <a:pt x="122" y="10"/>
                </a:lnTo>
                <a:lnTo>
                  <a:pt x="122" y="20"/>
                </a:lnTo>
                <a:lnTo>
                  <a:pt x="116" y="30"/>
                </a:lnTo>
                <a:lnTo>
                  <a:pt x="110" y="38"/>
                </a:lnTo>
                <a:lnTo>
                  <a:pt x="100" y="46"/>
                </a:lnTo>
                <a:lnTo>
                  <a:pt x="100" y="60"/>
                </a:lnTo>
                <a:lnTo>
                  <a:pt x="90" y="62"/>
                </a:lnTo>
                <a:lnTo>
                  <a:pt x="80" y="66"/>
                </a:lnTo>
                <a:lnTo>
                  <a:pt x="74" y="74"/>
                </a:lnTo>
                <a:lnTo>
                  <a:pt x="70" y="90"/>
                </a:lnTo>
                <a:lnTo>
                  <a:pt x="58" y="104"/>
                </a:lnTo>
                <a:lnTo>
                  <a:pt x="48" y="114"/>
                </a:lnTo>
                <a:lnTo>
                  <a:pt x="30" y="116"/>
                </a:lnTo>
                <a:lnTo>
                  <a:pt x="22" y="110"/>
                </a:lnTo>
                <a:lnTo>
                  <a:pt x="16" y="108"/>
                </a:lnTo>
                <a:lnTo>
                  <a:pt x="0" y="106"/>
                </a:lnTo>
                <a:lnTo>
                  <a:pt x="4" y="92"/>
                </a:lnTo>
                <a:lnTo>
                  <a:pt x="14" y="80"/>
                </a:lnTo>
                <a:lnTo>
                  <a:pt x="30" y="64"/>
                </a:lnTo>
                <a:lnTo>
                  <a:pt x="38" y="64"/>
                </a:lnTo>
                <a:lnTo>
                  <a:pt x="48" y="52"/>
                </a:lnTo>
                <a:lnTo>
                  <a:pt x="60" y="52"/>
                </a:lnTo>
                <a:lnTo>
                  <a:pt x="72" y="36"/>
                </a:lnTo>
                <a:lnTo>
                  <a:pt x="78" y="26"/>
                </a:lnTo>
                <a:lnTo>
                  <a:pt x="88" y="20"/>
                </a:lnTo>
                <a:lnTo>
                  <a:pt x="88" y="10"/>
                </a:lnTo>
                <a:lnTo>
                  <a:pt x="9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5" name="Freeform 261">
            <a:extLst>
              <a:ext uri="{FF2B5EF4-FFF2-40B4-BE49-F238E27FC236}">
                <a16:creationId xmlns:a16="http://schemas.microsoft.com/office/drawing/2014/main" id="{25FC5D20-3CB4-4CF8-8F87-E3305836130A}"/>
              </a:ext>
            </a:extLst>
          </p:cNvPr>
          <p:cNvSpPr>
            <a:spLocks/>
          </p:cNvSpPr>
          <p:nvPr/>
        </p:nvSpPr>
        <p:spPr bwMode="gray">
          <a:xfrm>
            <a:off x="10289468" y="6195921"/>
            <a:ext cx="114358" cy="114966"/>
          </a:xfrm>
          <a:custGeom>
            <a:avLst/>
            <a:gdLst>
              <a:gd name="T0" fmla="*/ 2 w 58"/>
              <a:gd name="T1" fmla="*/ 0 h 58"/>
              <a:gd name="T2" fmla="*/ 12 w 58"/>
              <a:gd name="T3" fmla="*/ 6 h 58"/>
              <a:gd name="T4" fmla="*/ 26 w 58"/>
              <a:gd name="T5" fmla="*/ 12 h 58"/>
              <a:gd name="T6" fmla="*/ 40 w 58"/>
              <a:gd name="T7" fmla="*/ 10 h 58"/>
              <a:gd name="T8" fmla="*/ 52 w 58"/>
              <a:gd name="T9" fmla="*/ 8 h 58"/>
              <a:gd name="T10" fmla="*/ 58 w 58"/>
              <a:gd name="T11" fmla="*/ 10 h 58"/>
              <a:gd name="T12" fmla="*/ 58 w 58"/>
              <a:gd name="T13" fmla="*/ 26 h 58"/>
              <a:gd name="T14" fmla="*/ 54 w 58"/>
              <a:gd name="T15" fmla="*/ 34 h 58"/>
              <a:gd name="T16" fmla="*/ 52 w 58"/>
              <a:gd name="T17" fmla="*/ 42 h 58"/>
              <a:gd name="T18" fmla="*/ 48 w 58"/>
              <a:gd name="T19" fmla="*/ 46 h 58"/>
              <a:gd name="T20" fmla="*/ 42 w 58"/>
              <a:gd name="T21" fmla="*/ 46 h 58"/>
              <a:gd name="T22" fmla="*/ 40 w 58"/>
              <a:gd name="T23" fmla="*/ 50 h 58"/>
              <a:gd name="T24" fmla="*/ 32 w 58"/>
              <a:gd name="T25" fmla="*/ 58 h 58"/>
              <a:gd name="T26" fmla="*/ 24 w 58"/>
              <a:gd name="T27" fmla="*/ 56 h 58"/>
              <a:gd name="T28" fmla="*/ 16 w 58"/>
              <a:gd name="T29" fmla="*/ 48 h 58"/>
              <a:gd name="T30" fmla="*/ 10 w 58"/>
              <a:gd name="T31" fmla="*/ 40 h 58"/>
              <a:gd name="T32" fmla="*/ 12 w 58"/>
              <a:gd name="T33" fmla="*/ 26 h 58"/>
              <a:gd name="T34" fmla="*/ 8 w 58"/>
              <a:gd name="T35" fmla="*/ 18 h 58"/>
              <a:gd name="T36" fmla="*/ 0 w 58"/>
              <a:gd name="T37" fmla="*/ 12 h 58"/>
              <a:gd name="T38" fmla="*/ 2 w 58"/>
              <a:gd name="T3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8">
                <a:moveTo>
                  <a:pt x="2" y="0"/>
                </a:moveTo>
                <a:lnTo>
                  <a:pt x="12" y="6"/>
                </a:lnTo>
                <a:lnTo>
                  <a:pt x="26" y="12"/>
                </a:lnTo>
                <a:lnTo>
                  <a:pt x="40" y="10"/>
                </a:lnTo>
                <a:lnTo>
                  <a:pt x="52" y="8"/>
                </a:lnTo>
                <a:lnTo>
                  <a:pt x="58" y="10"/>
                </a:lnTo>
                <a:lnTo>
                  <a:pt x="58" y="26"/>
                </a:lnTo>
                <a:lnTo>
                  <a:pt x="54" y="34"/>
                </a:lnTo>
                <a:lnTo>
                  <a:pt x="52" y="42"/>
                </a:lnTo>
                <a:lnTo>
                  <a:pt x="48" y="46"/>
                </a:lnTo>
                <a:lnTo>
                  <a:pt x="42" y="46"/>
                </a:lnTo>
                <a:lnTo>
                  <a:pt x="40" y="50"/>
                </a:lnTo>
                <a:lnTo>
                  <a:pt x="32" y="58"/>
                </a:lnTo>
                <a:lnTo>
                  <a:pt x="24" y="56"/>
                </a:lnTo>
                <a:lnTo>
                  <a:pt x="16" y="48"/>
                </a:lnTo>
                <a:lnTo>
                  <a:pt x="10" y="40"/>
                </a:lnTo>
                <a:lnTo>
                  <a:pt x="12" y="26"/>
                </a:lnTo>
                <a:lnTo>
                  <a:pt x="8" y="18"/>
                </a:lnTo>
                <a:lnTo>
                  <a:pt x="0" y="12"/>
                </a:lnTo>
                <a:lnTo>
                  <a:pt x="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6" name="Freeform 262">
            <a:extLst>
              <a:ext uri="{FF2B5EF4-FFF2-40B4-BE49-F238E27FC236}">
                <a16:creationId xmlns:a16="http://schemas.microsoft.com/office/drawing/2014/main" id="{9A5F8F53-E341-41F6-A222-DEA152F88DDF}"/>
              </a:ext>
            </a:extLst>
          </p:cNvPr>
          <p:cNvSpPr>
            <a:spLocks/>
          </p:cNvSpPr>
          <p:nvPr/>
        </p:nvSpPr>
        <p:spPr bwMode="gray">
          <a:xfrm>
            <a:off x="9303619" y="5188986"/>
            <a:ext cx="1261888" cy="943506"/>
          </a:xfrm>
          <a:custGeom>
            <a:avLst/>
            <a:gdLst>
              <a:gd name="T0" fmla="*/ 308 w 640"/>
              <a:gd name="T1" fmla="*/ 18 h 476"/>
              <a:gd name="T2" fmla="*/ 308 w 640"/>
              <a:gd name="T3" fmla="*/ 4 h 476"/>
              <a:gd name="T4" fmla="*/ 340 w 640"/>
              <a:gd name="T5" fmla="*/ 18 h 476"/>
              <a:gd name="T6" fmla="*/ 362 w 640"/>
              <a:gd name="T7" fmla="*/ 22 h 476"/>
              <a:gd name="T8" fmla="*/ 372 w 640"/>
              <a:gd name="T9" fmla="*/ 30 h 476"/>
              <a:gd name="T10" fmla="*/ 352 w 640"/>
              <a:gd name="T11" fmla="*/ 54 h 476"/>
              <a:gd name="T12" fmla="*/ 372 w 640"/>
              <a:gd name="T13" fmla="*/ 78 h 476"/>
              <a:gd name="T14" fmla="*/ 416 w 640"/>
              <a:gd name="T15" fmla="*/ 102 h 476"/>
              <a:gd name="T16" fmla="*/ 450 w 640"/>
              <a:gd name="T17" fmla="*/ 84 h 476"/>
              <a:gd name="T18" fmla="*/ 456 w 640"/>
              <a:gd name="T19" fmla="*/ 22 h 476"/>
              <a:gd name="T20" fmla="*/ 470 w 640"/>
              <a:gd name="T21" fmla="*/ 6 h 476"/>
              <a:gd name="T22" fmla="*/ 484 w 640"/>
              <a:gd name="T23" fmla="*/ 54 h 476"/>
              <a:gd name="T24" fmla="*/ 510 w 640"/>
              <a:gd name="T25" fmla="*/ 72 h 476"/>
              <a:gd name="T26" fmla="*/ 522 w 640"/>
              <a:gd name="T27" fmla="*/ 102 h 476"/>
              <a:gd name="T28" fmla="*/ 532 w 640"/>
              <a:gd name="T29" fmla="*/ 134 h 476"/>
              <a:gd name="T30" fmla="*/ 568 w 640"/>
              <a:gd name="T31" fmla="*/ 162 h 476"/>
              <a:gd name="T32" fmla="*/ 582 w 640"/>
              <a:gd name="T33" fmla="*/ 188 h 476"/>
              <a:gd name="T34" fmla="*/ 612 w 640"/>
              <a:gd name="T35" fmla="*/ 214 h 476"/>
              <a:gd name="T36" fmla="*/ 634 w 640"/>
              <a:gd name="T37" fmla="*/ 254 h 476"/>
              <a:gd name="T38" fmla="*/ 640 w 640"/>
              <a:gd name="T39" fmla="*/ 300 h 476"/>
              <a:gd name="T40" fmla="*/ 624 w 640"/>
              <a:gd name="T41" fmla="*/ 358 h 476"/>
              <a:gd name="T42" fmla="*/ 596 w 640"/>
              <a:gd name="T43" fmla="*/ 402 h 476"/>
              <a:gd name="T44" fmla="*/ 582 w 640"/>
              <a:gd name="T45" fmla="*/ 450 h 476"/>
              <a:gd name="T46" fmla="*/ 550 w 640"/>
              <a:gd name="T47" fmla="*/ 452 h 476"/>
              <a:gd name="T48" fmla="*/ 532 w 640"/>
              <a:gd name="T49" fmla="*/ 474 h 476"/>
              <a:gd name="T50" fmla="*/ 516 w 640"/>
              <a:gd name="T51" fmla="*/ 468 h 476"/>
              <a:gd name="T52" fmla="*/ 500 w 640"/>
              <a:gd name="T53" fmla="*/ 460 h 476"/>
              <a:gd name="T54" fmla="*/ 462 w 640"/>
              <a:gd name="T55" fmla="*/ 464 h 476"/>
              <a:gd name="T56" fmla="*/ 430 w 640"/>
              <a:gd name="T57" fmla="*/ 452 h 476"/>
              <a:gd name="T58" fmla="*/ 418 w 640"/>
              <a:gd name="T59" fmla="*/ 424 h 476"/>
              <a:gd name="T60" fmla="*/ 400 w 640"/>
              <a:gd name="T61" fmla="*/ 408 h 476"/>
              <a:gd name="T62" fmla="*/ 390 w 640"/>
              <a:gd name="T63" fmla="*/ 402 h 476"/>
              <a:gd name="T64" fmla="*/ 392 w 640"/>
              <a:gd name="T65" fmla="*/ 382 h 476"/>
              <a:gd name="T66" fmla="*/ 382 w 640"/>
              <a:gd name="T67" fmla="*/ 376 h 476"/>
              <a:gd name="T68" fmla="*/ 360 w 640"/>
              <a:gd name="T69" fmla="*/ 402 h 476"/>
              <a:gd name="T70" fmla="*/ 340 w 640"/>
              <a:gd name="T71" fmla="*/ 372 h 476"/>
              <a:gd name="T72" fmla="*/ 298 w 640"/>
              <a:gd name="T73" fmla="*/ 350 h 476"/>
              <a:gd name="T74" fmla="*/ 228 w 640"/>
              <a:gd name="T75" fmla="*/ 356 h 476"/>
              <a:gd name="T76" fmla="*/ 172 w 640"/>
              <a:gd name="T77" fmla="*/ 372 h 476"/>
              <a:gd name="T78" fmla="*/ 108 w 640"/>
              <a:gd name="T79" fmla="*/ 386 h 476"/>
              <a:gd name="T80" fmla="*/ 80 w 640"/>
              <a:gd name="T81" fmla="*/ 406 h 476"/>
              <a:gd name="T82" fmla="*/ 30 w 640"/>
              <a:gd name="T83" fmla="*/ 394 h 476"/>
              <a:gd name="T84" fmla="*/ 40 w 640"/>
              <a:gd name="T85" fmla="*/ 356 h 476"/>
              <a:gd name="T86" fmla="*/ 30 w 640"/>
              <a:gd name="T87" fmla="*/ 310 h 476"/>
              <a:gd name="T88" fmla="*/ 4 w 640"/>
              <a:gd name="T89" fmla="*/ 254 h 476"/>
              <a:gd name="T90" fmla="*/ 10 w 640"/>
              <a:gd name="T91" fmla="*/ 254 h 476"/>
              <a:gd name="T92" fmla="*/ 12 w 640"/>
              <a:gd name="T93" fmla="*/ 238 h 476"/>
              <a:gd name="T94" fmla="*/ 12 w 640"/>
              <a:gd name="T95" fmla="*/ 188 h 476"/>
              <a:gd name="T96" fmla="*/ 24 w 640"/>
              <a:gd name="T97" fmla="*/ 178 h 476"/>
              <a:gd name="T98" fmla="*/ 62 w 640"/>
              <a:gd name="T99" fmla="*/ 158 h 476"/>
              <a:gd name="T100" fmla="*/ 122 w 640"/>
              <a:gd name="T101" fmla="*/ 144 h 476"/>
              <a:gd name="T102" fmla="*/ 146 w 640"/>
              <a:gd name="T103" fmla="*/ 98 h 476"/>
              <a:gd name="T104" fmla="*/ 164 w 640"/>
              <a:gd name="T105" fmla="*/ 102 h 476"/>
              <a:gd name="T106" fmla="*/ 176 w 640"/>
              <a:gd name="T107" fmla="*/ 88 h 476"/>
              <a:gd name="T108" fmla="*/ 192 w 640"/>
              <a:gd name="T109" fmla="*/ 66 h 476"/>
              <a:gd name="T110" fmla="*/ 220 w 640"/>
              <a:gd name="T111" fmla="*/ 48 h 476"/>
              <a:gd name="T112" fmla="*/ 242 w 640"/>
              <a:gd name="T113" fmla="*/ 66 h 476"/>
              <a:gd name="T114" fmla="*/ 256 w 640"/>
              <a:gd name="T115" fmla="*/ 52 h 476"/>
              <a:gd name="T116" fmla="*/ 282 w 640"/>
              <a:gd name="T117" fmla="*/ 2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0" h="476">
                <a:moveTo>
                  <a:pt x="286" y="20"/>
                </a:moveTo>
                <a:lnTo>
                  <a:pt x="296" y="22"/>
                </a:lnTo>
                <a:lnTo>
                  <a:pt x="308" y="18"/>
                </a:lnTo>
                <a:lnTo>
                  <a:pt x="310" y="12"/>
                </a:lnTo>
                <a:lnTo>
                  <a:pt x="302" y="6"/>
                </a:lnTo>
                <a:lnTo>
                  <a:pt x="308" y="4"/>
                </a:lnTo>
                <a:lnTo>
                  <a:pt x="322" y="10"/>
                </a:lnTo>
                <a:lnTo>
                  <a:pt x="330" y="14"/>
                </a:lnTo>
                <a:lnTo>
                  <a:pt x="340" y="18"/>
                </a:lnTo>
                <a:lnTo>
                  <a:pt x="348" y="20"/>
                </a:lnTo>
                <a:lnTo>
                  <a:pt x="354" y="22"/>
                </a:lnTo>
                <a:lnTo>
                  <a:pt x="362" y="22"/>
                </a:lnTo>
                <a:lnTo>
                  <a:pt x="372" y="18"/>
                </a:lnTo>
                <a:lnTo>
                  <a:pt x="380" y="22"/>
                </a:lnTo>
                <a:lnTo>
                  <a:pt x="372" y="30"/>
                </a:lnTo>
                <a:lnTo>
                  <a:pt x="366" y="40"/>
                </a:lnTo>
                <a:lnTo>
                  <a:pt x="360" y="48"/>
                </a:lnTo>
                <a:lnTo>
                  <a:pt x="352" y="54"/>
                </a:lnTo>
                <a:lnTo>
                  <a:pt x="352" y="62"/>
                </a:lnTo>
                <a:lnTo>
                  <a:pt x="358" y="68"/>
                </a:lnTo>
                <a:lnTo>
                  <a:pt x="372" y="78"/>
                </a:lnTo>
                <a:lnTo>
                  <a:pt x="388" y="84"/>
                </a:lnTo>
                <a:lnTo>
                  <a:pt x="404" y="96"/>
                </a:lnTo>
                <a:lnTo>
                  <a:pt x="416" y="102"/>
                </a:lnTo>
                <a:lnTo>
                  <a:pt x="432" y="112"/>
                </a:lnTo>
                <a:lnTo>
                  <a:pt x="442" y="100"/>
                </a:lnTo>
                <a:lnTo>
                  <a:pt x="450" y="84"/>
                </a:lnTo>
                <a:lnTo>
                  <a:pt x="452" y="66"/>
                </a:lnTo>
                <a:lnTo>
                  <a:pt x="450" y="40"/>
                </a:lnTo>
                <a:lnTo>
                  <a:pt x="456" y="22"/>
                </a:lnTo>
                <a:lnTo>
                  <a:pt x="460" y="10"/>
                </a:lnTo>
                <a:lnTo>
                  <a:pt x="464" y="0"/>
                </a:lnTo>
                <a:lnTo>
                  <a:pt x="470" y="6"/>
                </a:lnTo>
                <a:lnTo>
                  <a:pt x="478" y="20"/>
                </a:lnTo>
                <a:lnTo>
                  <a:pt x="482" y="32"/>
                </a:lnTo>
                <a:lnTo>
                  <a:pt x="484" y="54"/>
                </a:lnTo>
                <a:lnTo>
                  <a:pt x="494" y="58"/>
                </a:lnTo>
                <a:lnTo>
                  <a:pt x="506" y="62"/>
                </a:lnTo>
                <a:lnTo>
                  <a:pt x="510" y="72"/>
                </a:lnTo>
                <a:lnTo>
                  <a:pt x="512" y="82"/>
                </a:lnTo>
                <a:lnTo>
                  <a:pt x="512" y="96"/>
                </a:lnTo>
                <a:lnTo>
                  <a:pt x="522" y="102"/>
                </a:lnTo>
                <a:lnTo>
                  <a:pt x="526" y="112"/>
                </a:lnTo>
                <a:lnTo>
                  <a:pt x="526" y="124"/>
                </a:lnTo>
                <a:lnTo>
                  <a:pt x="532" y="134"/>
                </a:lnTo>
                <a:lnTo>
                  <a:pt x="544" y="138"/>
                </a:lnTo>
                <a:lnTo>
                  <a:pt x="558" y="148"/>
                </a:lnTo>
                <a:lnTo>
                  <a:pt x="568" y="162"/>
                </a:lnTo>
                <a:lnTo>
                  <a:pt x="578" y="172"/>
                </a:lnTo>
                <a:lnTo>
                  <a:pt x="578" y="182"/>
                </a:lnTo>
                <a:lnTo>
                  <a:pt x="582" y="188"/>
                </a:lnTo>
                <a:lnTo>
                  <a:pt x="594" y="188"/>
                </a:lnTo>
                <a:lnTo>
                  <a:pt x="598" y="204"/>
                </a:lnTo>
                <a:lnTo>
                  <a:pt x="612" y="214"/>
                </a:lnTo>
                <a:lnTo>
                  <a:pt x="624" y="228"/>
                </a:lnTo>
                <a:lnTo>
                  <a:pt x="630" y="242"/>
                </a:lnTo>
                <a:lnTo>
                  <a:pt x="634" y="254"/>
                </a:lnTo>
                <a:lnTo>
                  <a:pt x="636" y="270"/>
                </a:lnTo>
                <a:lnTo>
                  <a:pt x="638" y="282"/>
                </a:lnTo>
                <a:lnTo>
                  <a:pt x="640" y="300"/>
                </a:lnTo>
                <a:lnTo>
                  <a:pt x="634" y="322"/>
                </a:lnTo>
                <a:lnTo>
                  <a:pt x="632" y="340"/>
                </a:lnTo>
                <a:lnTo>
                  <a:pt x="624" y="358"/>
                </a:lnTo>
                <a:lnTo>
                  <a:pt x="612" y="368"/>
                </a:lnTo>
                <a:lnTo>
                  <a:pt x="606" y="380"/>
                </a:lnTo>
                <a:lnTo>
                  <a:pt x="596" y="402"/>
                </a:lnTo>
                <a:lnTo>
                  <a:pt x="590" y="418"/>
                </a:lnTo>
                <a:lnTo>
                  <a:pt x="582" y="432"/>
                </a:lnTo>
                <a:lnTo>
                  <a:pt x="582" y="450"/>
                </a:lnTo>
                <a:lnTo>
                  <a:pt x="576" y="454"/>
                </a:lnTo>
                <a:lnTo>
                  <a:pt x="566" y="454"/>
                </a:lnTo>
                <a:lnTo>
                  <a:pt x="550" y="452"/>
                </a:lnTo>
                <a:lnTo>
                  <a:pt x="546" y="464"/>
                </a:lnTo>
                <a:lnTo>
                  <a:pt x="534" y="472"/>
                </a:lnTo>
                <a:lnTo>
                  <a:pt x="532" y="474"/>
                </a:lnTo>
                <a:lnTo>
                  <a:pt x="526" y="476"/>
                </a:lnTo>
                <a:lnTo>
                  <a:pt x="520" y="472"/>
                </a:lnTo>
                <a:lnTo>
                  <a:pt x="516" y="468"/>
                </a:lnTo>
                <a:lnTo>
                  <a:pt x="510" y="462"/>
                </a:lnTo>
                <a:lnTo>
                  <a:pt x="506" y="458"/>
                </a:lnTo>
                <a:lnTo>
                  <a:pt x="500" y="460"/>
                </a:lnTo>
                <a:lnTo>
                  <a:pt x="486" y="474"/>
                </a:lnTo>
                <a:lnTo>
                  <a:pt x="474" y="470"/>
                </a:lnTo>
                <a:lnTo>
                  <a:pt x="462" y="464"/>
                </a:lnTo>
                <a:lnTo>
                  <a:pt x="450" y="464"/>
                </a:lnTo>
                <a:lnTo>
                  <a:pt x="438" y="462"/>
                </a:lnTo>
                <a:lnTo>
                  <a:pt x="430" y="452"/>
                </a:lnTo>
                <a:lnTo>
                  <a:pt x="424" y="444"/>
                </a:lnTo>
                <a:lnTo>
                  <a:pt x="426" y="434"/>
                </a:lnTo>
                <a:lnTo>
                  <a:pt x="418" y="424"/>
                </a:lnTo>
                <a:lnTo>
                  <a:pt x="410" y="416"/>
                </a:lnTo>
                <a:lnTo>
                  <a:pt x="402" y="416"/>
                </a:lnTo>
                <a:lnTo>
                  <a:pt x="400" y="408"/>
                </a:lnTo>
                <a:lnTo>
                  <a:pt x="406" y="398"/>
                </a:lnTo>
                <a:lnTo>
                  <a:pt x="398" y="394"/>
                </a:lnTo>
                <a:lnTo>
                  <a:pt x="390" y="402"/>
                </a:lnTo>
                <a:lnTo>
                  <a:pt x="380" y="408"/>
                </a:lnTo>
                <a:lnTo>
                  <a:pt x="386" y="388"/>
                </a:lnTo>
                <a:lnTo>
                  <a:pt x="392" y="382"/>
                </a:lnTo>
                <a:lnTo>
                  <a:pt x="394" y="376"/>
                </a:lnTo>
                <a:lnTo>
                  <a:pt x="390" y="366"/>
                </a:lnTo>
                <a:lnTo>
                  <a:pt x="382" y="376"/>
                </a:lnTo>
                <a:lnTo>
                  <a:pt x="376" y="386"/>
                </a:lnTo>
                <a:lnTo>
                  <a:pt x="366" y="394"/>
                </a:lnTo>
                <a:lnTo>
                  <a:pt x="360" y="402"/>
                </a:lnTo>
                <a:lnTo>
                  <a:pt x="352" y="398"/>
                </a:lnTo>
                <a:lnTo>
                  <a:pt x="350" y="386"/>
                </a:lnTo>
                <a:lnTo>
                  <a:pt x="340" y="372"/>
                </a:lnTo>
                <a:lnTo>
                  <a:pt x="334" y="364"/>
                </a:lnTo>
                <a:lnTo>
                  <a:pt x="328" y="358"/>
                </a:lnTo>
                <a:lnTo>
                  <a:pt x="298" y="350"/>
                </a:lnTo>
                <a:lnTo>
                  <a:pt x="258" y="344"/>
                </a:lnTo>
                <a:lnTo>
                  <a:pt x="246" y="348"/>
                </a:lnTo>
                <a:lnTo>
                  <a:pt x="228" y="356"/>
                </a:lnTo>
                <a:lnTo>
                  <a:pt x="200" y="358"/>
                </a:lnTo>
                <a:lnTo>
                  <a:pt x="184" y="368"/>
                </a:lnTo>
                <a:lnTo>
                  <a:pt x="172" y="372"/>
                </a:lnTo>
                <a:lnTo>
                  <a:pt x="170" y="380"/>
                </a:lnTo>
                <a:lnTo>
                  <a:pt x="164" y="386"/>
                </a:lnTo>
                <a:lnTo>
                  <a:pt x="108" y="386"/>
                </a:lnTo>
                <a:lnTo>
                  <a:pt x="100" y="394"/>
                </a:lnTo>
                <a:lnTo>
                  <a:pt x="90" y="394"/>
                </a:lnTo>
                <a:lnTo>
                  <a:pt x="80" y="406"/>
                </a:lnTo>
                <a:lnTo>
                  <a:pt x="54" y="408"/>
                </a:lnTo>
                <a:lnTo>
                  <a:pt x="42" y="400"/>
                </a:lnTo>
                <a:lnTo>
                  <a:pt x="30" y="394"/>
                </a:lnTo>
                <a:lnTo>
                  <a:pt x="28" y="384"/>
                </a:lnTo>
                <a:lnTo>
                  <a:pt x="40" y="378"/>
                </a:lnTo>
                <a:lnTo>
                  <a:pt x="40" y="356"/>
                </a:lnTo>
                <a:lnTo>
                  <a:pt x="40" y="342"/>
                </a:lnTo>
                <a:lnTo>
                  <a:pt x="30" y="328"/>
                </a:lnTo>
                <a:lnTo>
                  <a:pt x="30" y="310"/>
                </a:lnTo>
                <a:lnTo>
                  <a:pt x="18" y="280"/>
                </a:lnTo>
                <a:lnTo>
                  <a:pt x="10" y="264"/>
                </a:lnTo>
                <a:lnTo>
                  <a:pt x="4" y="254"/>
                </a:lnTo>
                <a:lnTo>
                  <a:pt x="0" y="246"/>
                </a:lnTo>
                <a:lnTo>
                  <a:pt x="6" y="248"/>
                </a:lnTo>
                <a:lnTo>
                  <a:pt x="10" y="254"/>
                </a:lnTo>
                <a:lnTo>
                  <a:pt x="18" y="254"/>
                </a:lnTo>
                <a:lnTo>
                  <a:pt x="20" y="244"/>
                </a:lnTo>
                <a:lnTo>
                  <a:pt x="12" y="238"/>
                </a:lnTo>
                <a:lnTo>
                  <a:pt x="6" y="218"/>
                </a:lnTo>
                <a:lnTo>
                  <a:pt x="6" y="204"/>
                </a:lnTo>
                <a:lnTo>
                  <a:pt x="12" y="188"/>
                </a:lnTo>
                <a:lnTo>
                  <a:pt x="14" y="180"/>
                </a:lnTo>
                <a:lnTo>
                  <a:pt x="20" y="186"/>
                </a:lnTo>
                <a:lnTo>
                  <a:pt x="24" y="178"/>
                </a:lnTo>
                <a:lnTo>
                  <a:pt x="34" y="178"/>
                </a:lnTo>
                <a:lnTo>
                  <a:pt x="48" y="162"/>
                </a:lnTo>
                <a:lnTo>
                  <a:pt x="62" y="158"/>
                </a:lnTo>
                <a:lnTo>
                  <a:pt x="86" y="154"/>
                </a:lnTo>
                <a:lnTo>
                  <a:pt x="110" y="146"/>
                </a:lnTo>
                <a:lnTo>
                  <a:pt x="122" y="144"/>
                </a:lnTo>
                <a:lnTo>
                  <a:pt x="144" y="118"/>
                </a:lnTo>
                <a:lnTo>
                  <a:pt x="142" y="106"/>
                </a:lnTo>
                <a:lnTo>
                  <a:pt x="146" y="98"/>
                </a:lnTo>
                <a:lnTo>
                  <a:pt x="156" y="92"/>
                </a:lnTo>
                <a:lnTo>
                  <a:pt x="160" y="98"/>
                </a:lnTo>
                <a:lnTo>
                  <a:pt x="164" y="102"/>
                </a:lnTo>
                <a:lnTo>
                  <a:pt x="168" y="96"/>
                </a:lnTo>
                <a:lnTo>
                  <a:pt x="168" y="84"/>
                </a:lnTo>
                <a:lnTo>
                  <a:pt x="176" y="88"/>
                </a:lnTo>
                <a:lnTo>
                  <a:pt x="180" y="84"/>
                </a:lnTo>
                <a:lnTo>
                  <a:pt x="182" y="72"/>
                </a:lnTo>
                <a:lnTo>
                  <a:pt x="192" y="66"/>
                </a:lnTo>
                <a:lnTo>
                  <a:pt x="198" y="60"/>
                </a:lnTo>
                <a:lnTo>
                  <a:pt x="204" y="60"/>
                </a:lnTo>
                <a:lnTo>
                  <a:pt x="220" y="48"/>
                </a:lnTo>
                <a:lnTo>
                  <a:pt x="230" y="54"/>
                </a:lnTo>
                <a:lnTo>
                  <a:pt x="236" y="60"/>
                </a:lnTo>
                <a:lnTo>
                  <a:pt x="242" y="66"/>
                </a:lnTo>
                <a:lnTo>
                  <a:pt x="254" y="64"/>
                </a:lnTo>
                <a:lnTo>
                  <a:pt x="262" y="62"/>
                </a:lnTo>
                <a:lnTo>
                  <a:pt x="256" y="52"/>
                </a:lnTo>
                <a:lnTo>
                  <a:pt x="268" y="40"/>
                </a:lnTo>
                <a:lnTo>
                  <a:pt x="274" y="28"/>
                </a:lnTo>
                <a:lnTo>
                  <a:pt x="282" y="24"/>
                </a:lnTo>
                <a:lnTo>
                  <a:pt x="286" y="2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7" name="Freeform 263">
            <a:extLst>
              <a:ext uri="{FF2B5EF4-FFF2-40B4-BE49-F238E27FC236}">
                <a16:creationId xmlns:a16="http://schemas.microsoft.com/office/drawing/2014/main" id="{3A9CBD27-833F-48A2-8DAB-C1E960AC9CE0}"/>
              </a:ext>
            </a:extLst>
          </p:cNvPr>
          <p:cNvSpPr>
            <a:spLocks/>
          </p:cNvSpPr>
          <p:nvPr/>
        </p:nvSpPr>
        <p:spPr bwMode="gray">
          <a:xfrm>
            <a:off x="9512618" y="4257373"/>
            <a:ext cx="138018" cy="190288"/>
          </a:xfrm>
          <a:custGeom>
            <a:avLst/>
            <a:gdLst>
              <a:gd name="T0" fmla="*/ 4 w 70"/>
              <a:gd name="T1" fmla="*/ 58 h 96"/>
              <a:gd name="T2" fmla="*/ 14 w 70"/>
              <a:gd name="T3" fmla="*/ 64 h 96"/>
              <a:gd name="T4" fmla="*/ 16 w 70"/>
              <a:gd name="T5" fmla="*/ 76 h 96"/>
              <a:gd name="T6" fmla="*/ 24 w 70"/>
              <a:gd name="T7" fmla="*/ 78 h 96"/>
              <a:gd name="T8" fmla="*/ 30 w 70"/>
              <a:gd name="T9" fmla="*/ 72 h 96"/>
              <a:gd name="T10" fmla="*/ 38 w 70"/>
              <a:gd name="T11" fmla="*/ 74 h 96"/>
              <a:gd name="T12" fmla="*/ 40 w 70"/>
              <a:gd name="T13" fmla="*/ 82 h 96"/>
              <a:gd name="T14" fmla="*/ 48 w 70"/>
              <a:gd name="T15" fmla="*/ 80 h 96"/>
              <a:gd name="T16" fmla="*/ 52 w 70"/>
              <a:gd name="T17" fmla="*/ 84 h 96"/>
              <a:gd name="T18" fmla="*/ 62 w 70"/>
              <a:gd name="T19" fmla="*/ 90 h 96"/>
              <a:gd name="T20" fmla="*/ 66 w 70"/>
              <a:gd name="T21" fmla="*/ 96 h 96"/>
              <a:gd name="T22" fmla="*/ 70 w 70"/>
              <a:gd name="T23" fmla="*/ 90 h 96"/>
              <a:gd name="T24" fmla="*/ 62 w 70"/>
              <a:gd name="T25" fmla="*/ 84 h 96"/>
              <a:gd name="T26" fmla="*/ 62 w 70"/>
              <a:gd name="T27" fmla="*/ 78 h 96"/>
              <a:gd name="T28" fmla="*/ 58 w 70"/>
              <a:gd name="T29" fmla="*/ 72 h 96"/>
              <a:gd name="T30" fmla="*/ 50 w 70"/>
              <a:gd name="T31" fmla="*/ 72 h 96"/>
              <a:gd name="T32" fmla="*/ 46 w 70"/>
              <a:gd name="T33" fmla="*/ 68 h 96"/>
              <a:gd name="T34" fmla="*/ 40 w 70"/>
              <a:gd name="T35" fmla="*/ 70 h 96"/>
              <a:gd name="T36" fmla="*/ 32 w 70"/>
              <a:gd name="T37" fmla="*/ 66 h 96"/>
              <a:gd name="T38" fmla="*/ 28 w 70"/>
              <a:gd name="T39" fmla="*/ 62 h 96"/>
              <a:gd name="T40" fmla="*/ 26 w 70"/>
              <a:gd name="T41" fmla="*/ 54 h 96"/>
              <a:gd name="T42" fmla="*/ 28 w 70"/>
              <a:gd name="T43" fmla="*/ 42 h 96"/>
              <a:gd name="T44" fmla="*/ 34 w 70"/>
              <a:gd name="T45" fmla="*/ 40 h 96"/>
              <a:gd name="T46" fmla="*/ 40 w 70"/>
              <a:gd name="T47" fmla="*/ 26 h 96"/>
              <a:gd name="T48" fmla="*/ 38 w 70"/>
              <a:gd name="T49" fmla="*/ 14 h 96"/>
              <a:gd name="T50" fmla="*/ 38 w 70"/>
              <a:gd name="T51" fmla="*/ 4 h 96"/>
              <a:gd name="T52" fmla="*/ 28 w 70"/>
              <a:gd name="T53" fmla="*/ 2 h 96"/>
              <a:gd name="T54" fmla="*/ 12 w 70"/>
              <a:gd name="T55" fmla="*/ 0 h 96"/>
              <a:gd name="T56" fmla="*/ 10 w 70"/>
              <a:gd name="T57" fmla="*/ 16 h 96"/>
              <a:gd name="T58" fmla="*/ 10 w 70"/>
              <a:gd name="T59" fmla="*/ 28 h 96"/>
              <a:gd name="T60" fmla="*/ 12 w 70"/>
              <a:gd name="T61" fmla="*/ 36 h 96"/>
              <a:gd name="T62" fmla="*/ 0 w 70"/>
              <a:gd name="T63" fmla="*/ 38 h 96"/>
              <a:gd name="T64" fmla="*/ 2 w 70"/>
              <a:gd name="T65" fmla="*/ 44 h 96"/>
              <a:gd name="T66" fmla="*/ 4 w 70"/>
              <a:gd name="T67" fmla="*/ 48 h 96"/>
              <a:gd name="T68" fmla="*/ 4 w 70"/>
              <a:gd name="T6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96">
                <a:moveTo>
                  <a:pt x="4" y="58"/>
                </a:moveTo>
                <a:lnTo>
                  <a:pt x="14" y="64"/>
                </a:lnTo>
                <a:lnTo>
                  <a:pt x="16" y="76"/>
                </a:lnTo>
                <a:lnTo>
                  <a:pt x="24" y="78"/>
                </a:lnTo>
                <a:lnTo>
                  <a:pt x="30" y="72"/>
                </a:lnTo>
                <a:lnTo>
                  <a:pt x="38" y="74"/>
                </a:lnTo>
                <a:lnTo>
                  <a:pt x="40" y="82"/>
                </a:lnTo>
                <a:lnTo>
                  <a:pt x="48" y="80"/>
                </a:lnTo>
                <a:lnTo>
                  <a:pt x="52" y="84"/>
                </a:lnTo>
                <a:lnTo>
                  <a:pt x="62" y="90"/>
                </a:lnTo>
                <a:lnTo>
                  <a:pt x="66" y="96"/>
                </a:lnTo>
                <a:lnTo>
                  <a:pt x="70" y="90"/>
                </a:lnTo>
                <a:lnTo>
                  <a:pt x="62" y="84"/>
                </a:lnTo>
                <a:lnTo>
                  <a:pt x="62" y="78"/>
                </a:lnTo>
                <a:lnTo>
                  <a:pt x="58" y="72"/>
                </a:lnTo>
                <a:lnTo>
                  <a:pt x="50" y="72"/>
                </a:lnTo>
                <a:lnTo>
                  <a:pt x="46" y="68"/>
                </a:lnTo>
                <a:lnTo>
                  <a:pt x="40" y="70"/>
                </a:lnTo>
                <a:lnTo>
                  <a:pt x="32" y="66"/>
                </a:lnTo>
                <a:lnTo>
                  <a:pt x="28" y="62"/>
                </a:lnTo>
                <a:lnTo>
                  <a:pt x="26" y="54"/>
                </a:lnTo>
                <a:lnTo>
                  <a:pt x="28" y="42"/>
                </a:lnTo>
                <a:lnTo>
                  <a:pt x="34" y="40"/>
                </a:lnTo>
                <a:lnTo>
                  <a:pt x="40" y="26"/>
                </a:lnTo>
                <a:lnTo>
                  <a:pt x="38" y="14"/>
                </a:lnTo>
                <a:lnTo>
                  <a:pt x="38" y="4"/>
                </a:lnTo>
                <a:lnTo>
                  <a:pt x="28" y="2"/>
                </a:lnTo>
                <a:lnTo>
                  <a:pt x="12" y="0"/>
                </a:lnTo>
                <a:lnTo>
                  <a:pt x="10" y="16"/>
                </a:lnTo>
                <a:lnTo>
                  <a:pt x="10" y="28"/>
                </a:lnTo>
                <a:lnTo>
                  <a:pt x="12" y="36"/>
                </a:lnTo>
                <a:lnTo>
                  <a:pt x="0" y="38"/>
                </a:lnTo>
                <a:lnTo>
                  <a:pt x="2" y="44"/>
                </a:lnTo>
                <a:lnTo>
                  <a:pt x="4" y="48"/>
                </a:lnTo>
                <a:lnTo>
                  <a:pt x="4" y="5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8" name="Freeform 264">
            <a:extLst>
              <a:ext uri="{FF2B5EF4-FFF2-40B4-BE49-F238E27FC236}">
                <a16:creationId xmlns:a16="http://schemas.microsoft.com/office/drawing/2014/main" id="{3C508CF2-6D86-46B4-9496-458E89C8A651}"/>
              </a:ext>
            </a:extLst>
          </p:cNvPr>
          <p:cNvSpPr>
            <a:spLocks/>
          </p:cNvSpPr>
          <p:nvPr/>
        </p:nvSpPr>
        <p:spPr bwMode="gray">
          <a:xfrm>
            <a:off x="9429808" y="4491268"/>
            <a:ext cx="82810" cy="91180"/>
          </a:xfrm>
          <a:custGeom>
            <a:avLst/>
            <a:gdLst>
              <a:gd name="T0" fmla="*/ 0 w 42"/>
              <a:gd name="T1" fmla="*/ 46 h 46"/>
              <a:gd name="T2" fmla="*/ 8 w 42"/>
              <a:gd name="T3" fmla="*/ 34 h 46"/>
              <a:gd name="T4" fmla="*/ 20 w 42"/>
              <a:gd name="T5" fmla="*/ 20 h 46"/>
              <a:gd name="T6" fmla="*/ 32 w 42"/>
              <a:gd name="T7" fmla="*/ 10 h 46"/>
              <a:gd name="T8" fmla="*/ 36 w 42"/>
              <a:gd name="T9" fmla="*/ 0 h 46"/>
              <a:gd name="T10" fmla="*/ 38 w 42"/>
              <a:gd name="T11" fmla="*/ 6 h 46"/>
              <a:gd name="T12" fmla="*/ 42 w 42"/>
              <a:gd name="T13" fmla="*/ 12 h 46"/>
              <a:gd name="T14" fmla="*/ 32 w 42"/>
              <a:gd name="T15" fmla="*/ 16 h 46"/>
              <a:gd name="T16" fmla="*/ 20 w 42"/>
              <a:gd name="T17" fmla="*/ 30 h 46"/>
              <a:gd name="T18" fmla="*/ 14 w 42"/>
              <a:gd name="T19" fmla="*/ 38 h 46"/>
              <a:gd name="T20" fmla="*/ 0 w 42"/>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6">
                <a:moveTo>
                  <a:pt x="0" y="46"/>
                </a:moveTo>
                <a:lnTo>
                  <a:pt x="8" y="34"/>
                </a:lnTo>
                <a:lnTo>
                  <a:pt x="20" y="20"/>
                </a:lnTo>
                <a:lnTo>
                  <a:pt x="32" y="10"/>
                </a:lnTo>
                <a:lnTo>
                  <a:pt x="36" y="0"/>
                </a:lnTo>
                <a:lnTo>
                  <a:pt x="38" y="6"/>
                </a:lnTo>
                <a:lnTo>
                  <a:pt x="42" y="12"/>
                </a:lnTo>
                <a:lnTo>
                  <a:pt x="32" y="16"/>
                </a:lnTo>
                <a:lnTo>
                  <a:pt x="20" y="30"/>
                </a:lnTo>
                <a:lnTo>
                  <a:pt x="14" y="38"/>
                </a:lnTo>
                <a:lnTo>
                  <a:pt x="0" y="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69" name="Freeform 265">
            <a:extLst>
              <a:ext uri="{FF2B5EF4-FFF2-40B4-BE49-F238E27FC236}">
                <a16:creationId xmlns:a16="http://schemas.microsoft.com/office/drawing/2014/main" id="{9E54D144-E973-43CC-971E-3BBEA67B02ED}"/>
              </a:ext>
            </a:extLst>
          </p:cNvPr>
          <p:cNvSpPr>
            <a:spLocks/>
          </p:cNvSpPr>
          <p:nvPr/>
        </p:nvSpPr>
        <p:spPr bwMode="gray">
          <a:xfrm>
            <a:off x="9575713" y="4538840"/>
            <a:ext cx="145905" cy="118930"/>
          </a:xfrm>
          <a:custGeom>
            <a:avLst/>
            <a:gdLst>
              <a:gd name="T0" fmla="*/ 58 w 74"/>
              <a:gd name="T1" fmla="*/ 58 h 60"/>
              <a:gd name="T2" fmla="*/ 40 w 74"/>
              <a:gd name="T3" fmla="*/ 60 h 60"/>
              <a:gd name="T4" fmla="*/ 34 w 74"/>
              <a:gd name="T5" fmla="*/ 48 h 60"/>
              <a:gd name="T6" fmla="*/ 34 w 74"/>
              <a:gd name="T7" fmla="*/ 38 h 60"/>
              <a:gd name="T8" fmla="*/ 40 w 74"/>
              <a:gd name="T9" fmla="*/ 36 h 60"/>
              <a:gd name="T10" fmla="*/ 32 w 74"/>
              <a:gd name="T11" fmla="*/ 30 h 60"/>
              <a:gd name="T12" fmla="*/ 24 w 74"/>
              <a:gd name="T13" fmla="*/ 32 h 60"/>
              <a:gd name="T14" fmla="*/ 18 w 74"/>
              <a:gd name="T15" fmla="*/ 34 h 60"/>
              <a:gd name="T16" fmla="*/ 12 w 74"/>
              <a:gd name="T17" fmla="*/ 36 h 60"/>
              <a:gd name="T18" fmla="*/ 8 w 74"/>
              <a:gd name="T19" fmla="*/ 44 h 60"/>
              <a:gd name="T20" fmla="*/ 4 w 74"/>
              <a:gd name="T21" fmla="*/ 50 h 60"/>
              <a:gd name="T22" fmla="*/ 0 w 74"/>
              <a:gd name="T23" fmla="*/ 38 h 60"/>
              <a:gd name="T24" fmla="*/ 4 w 74"/>
              <a:gd name="T25" fmla="*/ 28 h 60"/>
              <a:gd name="T26" fmla="*/ 14 w 74"/>
              <a:gd name="T27" fmla="*/ 24 h 60"/>
              <a:gd name="T28" fmla="*/ 22 w 74"/>
              <a:gd name="T29" fmla="*/ 20 h 60"/>
              <a:gd name="T30" fmla="*/ 26 w 74"/>
              <a:gd name="T31" fmla="*/ 14 h 60"/>
              <a:gd name="T32" fmla="*/ 32 w 74"/>
              <a:gd name="T33" fmla="*/ 22 h 60"/>
              <a:gd name="T34" fmla="*/ 36 w 74"/>
              <a:gd name="T35" fmla="*/ 24 h 60"/>
              <a:gd name="T36" fmla="*/ 42 w 74"/>
              <a:gd name="T37" fmla="*/ 18 h 60"/>
              <a:gd name="T38" fmla="*/ 50 w 74"/>
              <a:gd name="T39" fmla="*/ 8 h 60"/>
              <a:gd name="T40" fmla="*/ 54 w 74"/>
              <a:gd name="T41" fmla="*/ 10 h 60"/>
              <a:gd name="T42" fmla="*/ 58 w 74"/>
              <a:gd name="T43" fmla="*/ 10 h 60"/>
              <a:gd name="T44" fmla="*/ 58 w 74"/>
              <a:gd name="T45" fmla="*/ 4 h 60"/>
              <a:gd name="T46" fmla="*/ 62 w 74"/>
              <a:gd name="T47" fmla="*/ 0 h 60"/>
              <a:gd name="T48" fmla="*/ 68 w 74"/>
              <a:gd name="T49" fmla="*/ 6 h 60"/>
              <a:gd name="T50" fmla="*/ 72 w 74"/>
              <a:gd name="T51" fmla="*/ 14 h 60"/>
              <a:gd name="T52" fmla="*/ 74 w 74"/>
              <a:gd name="T53" fmla="*/ 28 h 60"/>
              <a:gd name="T54" fmla="*/ 74 w 74"/>
              <a:gd name="T55" fmla="*/ 42 h 60"/>
              <a:gd name="T56" fmla="*/ 66 w 74"/>
              <a:gd name="T57" fmla="*/ 44 h 60"/>
              <a:gd name="T58" fmla="*/ 64 w 74"/>
              <a:gd name="T59" fmla="*/ 36 h 60"/>
              <a:gd name="T60" fmla="*/ 58 w 74"/>
              <a:gd name="T61" fmla="*/ 42 h 60"/>
              <a:gd name="T62" fmla="*/ 54 w 74"/>
              <a:gd name="T63" fmla="*/ 46 h 60"/>
              <a:gd name="T64" fmla="*/ 58 w 74"/>
              <a:gd name="T65"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0">
                <a:moveTo>
                  <a:pt x="58" y="58"/>
                </a:moveTo>
                <a:lnTo>
                  <a:pt x="40" y="60"/>
                </a:lnTo>
                <a:lnTo>
                  <a:pt x="34" y="48"/>
                </a:lnTo>
                <a:lnTo>
                  <a:pt x="34" y="38"/>
                </a:lnTo>
                <a:lnTo>
                  <a:pt x="40" y="36"/>
                </a:lnTo>
                <a:lnTo>
                  <a:pt x="32" y="30"/>
                </a:lnTo>
                <a:lnTo>
                  <a:pt x="24" y="32"/>
                </a:lnTo>
                <a:lnTo>
                  <a:pt x="18" y="34"/>
                </a:lnTo>
                <a:lnTo>
                  <a:pt x="12" y="36"/>
                </a:lnTo>
                <a:lnTo>
                  <a:pt x="8" y="44"/>
                </a:lnTo>
                <a:lnTo>
                  <a:pt x="4" y="50"/>
                </a:lnTo>
                <a:lnTo>
                  <a:pt x="0" y="38"/>
                </a:lnTo>
                <a:lnTo>
                  <a:pt x="4" y="28"/>
                </a:lnTo>
                <a:lnTo>
                  <a:pt x="14" y="24"/>
                </a:lnTo>
                <a:lnTo>
                  <a:pt x="22" y="20"/>
                </a:lnTo>
                <a:lnTo>
                  <a:pt x="26" y="14"/>
                </a:lnTo>
                <a:lnTo>
                  <a:pt x="32" y="22"/>
                </a:lnTo>
                <a:lnTo>
                  <a:pt x="36" y="24"/>
                </a:lnTo>
                <a:lnTo>
                  <a:pt x="42" y="18"/>
                </a:lnTo>
                <a:lnTo>
                  <a:pt x="50" y="8"/>
                </a:lnTo>
                <a:lnTo>
                  <a:pt x="54" y="10"/>
                </a:lnTo>
                <a:lnTo>
                  <a:pt x="58" y="10"/>
                </a:lnTo>
                <a:lnTo>
                  <a:pt x="58" y="4"/>
                </a:lnTo>
                <a:lnTo>
                  <a:pt x="62" y="0"/>
                </a:lnTo>
                <a:lnTo>
                  <a:pt x="68" y="6"/>
                </a:lnTo>
                <a:lnTo>
                  <a:pt x="72" y="14"/>
                </a:lnTo>
                <a:lnTo>
                  <a:pt x="74" y="28"/>
                </a:lnTo>
                <a:lnTo>
                  <a:pt x="74" y="42"/>
                </a:lnTo>
                <a:lnTo>
                  <a:pt x="66" y="44"/>
                </a:lnTo>
                <a:lnTo>
                  <a:pt x="64" y="36"/>
                </a:lnTo>
                <a:lnTo>
                  <a:pt x="58" y="42"/>
                </a:lnTo>
                <a:lnTo>
                  <a:pt x="54" y="46"/>
                </a:lnTo>
                <a:lnTo>
                  <a:pt x="58" y="5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0" name="Freeform 266">
            <a:extLst>
              <a:ext uri="{FF2B5EF4-FFF2-40B4-BE49-F238E27FC236}">
                <a16:creationId xmlns:a16="http://schemas.microsoft.com/office/drawing/2014/main" id="{00E2E0B0-1CEF-4A97-BC0F-D2E1476C4051}"/>
              </a:ext>
            </a:extLst>
          </p:cNvPr>
          <p:cNvSpPr>
            <a:spLocks/>
          </p:cNvSpPr>
          <p:nvPr/>
        </p:nvSpPr>
        <p:spPr bwMode="gray">
          <a:xfrm>
            <a:off x="9654582" y="4447660"/>
            <a:ext cx="35490" cy="43608"/>
          </a:xfrm>
          <a:custGeom>
            <a:avLst/>
            <a:gdLst>
              <a:gd name="T0" fmla="*/ 0 w 18"/>
              <a:gd name="T1" fmla="*/ 4 h 22"/>
              <a:gd name="T2" fmla="*/ 12 w 18"/>
              <a:gd name="T3" fmla="*/ 0 h 22"/>
              <a:gd name="T4" fmla="*/ 18 w 18"/>
              <a:gd name="T5" fmla="*/ 2 h 22"/>
              <a:gd name="T6" fmla="*/ 18 w 18"/>
              <a:gd name="T7" fmla="*/ 16 h 22"/>
              <a:gd name="T8" fmla="*/ 18 w 18"/>
              <a:gd name="T9" fmla="*/ 22 h 22"/>
              <a:gd name="T10" fmla="*/ 10 w 18"/>
              <a:gd name="T11" fmla="*/ 18 h 22"/>
              <a:gd name="T12" fmla="*/ 4 w 18"/>
              <a:gd name="T13" fmla="*/ 12 h 22"/>
              <a:gd name="T14" fmla="*/ 0 w 18"/>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4"/>
                </a:moveTo>
                <a:lnTo>
                  <a:pt x="12" y="0"/>
                </a:lnTo>
                <a:lnTo>
                  <a:pt x="18" y="2"/>
                </a:lnTo>
                <a:lnTo>
                  <a:pt x="18" y="16"/>
                </a:lnTo>
                <a:lnTo>
                  <a:pt x="18" y="22"/>
                </a:lnTo>
                <a:lnTo>
                  <a:pt x="10" y="18"/>
                </a:lnTo>
                <a:lnTo>
                  <a:pt x="4" y="12"/>
                </a:lnTo>
                <a:lnTo>
                  <a:pt x="0"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1" name="Freeform 267">
            <a:extLst>
              <a:ext uri="{FF2B5EF4-FFF2-40B4-BE49-F238E27FC236}">
                <a16:creationId xmlns:a16="http://schemas.microsoft.com/office/drawing/2014/main" id="{1B9A24AF-23D2-4C71-A534-DD94E7AA384D}"/>
              </a:ext>
            </a:extLst>
          </p:cNvPr>
          <p:cNvSpPr>
            <a:spLocks/>
          </p:cNvSpPr>
          <p:nvPr/>
        </p:nvSpPr>
        <p:spPr bwMode="gray">
          <a:xfrm>
            <a:off x="9528392" y="4415945"/>
            <a:ext cx="39433" cy="47572"/>
          </a:xfrm>
          <a:custGeom>
            <a:avLst/>
            <a:gdLst>
              <a:gd name="T0" fmla="*/ 0 w 20"/>
              <a:gd name="T1" fmla="*/ 0 h 24"/>
              <a:gd name="T2" fmla="*/ 10 w 20"/>
              <a:gd name="T3" fmla="*/ 2 h 24"/>
              <a:gd name="T4" fmla="*/ 20 w 20"/>
              <a:gd name="T5" fmla="*/ 10 h 24"/>
              <a:gd name="T6" fmla="*/ 18 w 20"/>
              <a:gd name="T7" fmla="*/ 22 h 24"/>
              <a:gd name="T8" fmla="*/ 12 w 20"/>
              <a:gd name="T9" fmla="*/ 24 h 24"/>
              <a:gd name="T10" fmla="*/ 6 w 20"/>
              <a:gd name="T11" fmla="*/ 10 h 24"/>
              <a:gd name="T12" fmla="*/ 2 w 20"/>
              <a:gd name="T13" fmla="*/ 6 h 24"/>
              <a:gd name="T14" fmla="*/ 0 w 2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0" y="0"/>
                </a:moveTo>
                <a:lnTo>
                  <a:pt x="10" y="2"/>
                </a:lnTo>
                <a:lnTo>
                  <a:pt x="20" y="10"/>
                </a:lnTo>
                <a:lnTo>
                  <a:pt x="18" y="22"/>
                </a:lnTo>
                <a:lnTo>
                  <a:pt x="12" y="24"/>
                </a:lnTo>
                <a:lnTo>
                  <a:pt x="6" y="10"/>
                </a:lnTo>
                <a:lnTo>
                  <a:pt x="2" y="6"/>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2" name="Freeform 268">
            <a:extLst>
              <a:ext uri="{FF2B5EF4-FFF2-40B4-BE49-F238E27FC236}">
                <a16:creationId xmlns:a16="http://schemas.microsoft.com/office/drawing/2014/main" id="{7825ADB8-FDDB-4E5D-A356-7F0CA05B6318}"/>
              </a:ext>
            </a:extLst>
          </p:cNvPr>
          <p:cNvSpPr>
            <a:spLocks/>
          </p:cNvSpPr>
          <p:nvPr/>
        </p:nvSpPr>
        <p:spPr bwMode="gray">
          <a:xfrm>
            <a:off x="9579657" y="4475409"/>
            <a:ext cx="43377" cy="39644"/>
          </a:xfrm>
          <a:custGeom>
            <a:avLst/>
            <a:gdLst>
              <a:gd name="T0" fmla="*/ 0 w 22"/>
              <a:gd name="T1" fmla="*/ 0 h 20"/>
              <a:gd name="T2" fmla="*/ 0 w 22"/>
              <a:gd name="T3" fmla="*/ 10 h 20"/>
              <a:gd name="T4" fmla="*/ 0 w 22"/>
              <a:gd name="T5" fmla="*/ 20 h 20"/>
              <a:gd name="T6" fmla="*/ 6 w 22"/>
              <a:gd name="T7" fmla="*/ 16 h 20"/>
              <a:gd name="T8" fmla="*/ 18 w 22"/>
              <a:gd name="T9" fmla="*/ 8 h 20"/>
              <a:gd name="T10" fmla="*/ 22 w 22"/>
              <a:gd name="T11" fmla="*/ 2 h 20"/>
              <a:gd name="T12" fmla="*/ 14 w 22"/>
              <a:gd name="T13" fmla="*/ 0 h 20"/>
              <a:gd name="T14" fmla="*/ 8 w 22"/>
              <a:gd name="T15" fmla="*/ 2 h 20"/>
              <a:gd name="T16" fmla="*/ 0 w 22"/>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0"/>
                </a:moveTo>
                <a:lnTo>
                  <a:pt x="0" y="10"/>
                </a:lnTo>
                <a:lnTo>
                  <a:pt x="0" y="20"/>
                </a:lnTo>
                <a:lnTo>
                  <a:pt x="6" y="16"/>
                </a:lnTo>
                <a:lnTo>
                  <a:pt x="18" y="8"/>
                </a:lnTo>
                <a:lnTo>
                  <a:pt x="22" y="2"/>
                </a:lnTo>
                <a:lnTo>
                  <a:pt x="14" y="0"/>
                </a:lnTo>
                <a:lnTo>
                  <a:pt x="8" y="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3" name="Freeform 269">
            <a:extLst>
              <a:ext uri="{FF2B5EF4-FFF2-40B4-BE49-F238E27FC236}">
                <a16:creationId xmlns:a16="http://schemas.microsoft.com/office/drawing/2014/main" id="{0BA46C19-70B7-4172-8864-980A400F63AF}"/>
              </a:ext>
            </a:extLst>
          </p:cNvPr>
          <p:cNvSpPr>
            <a:spLocks/>
          </p:cNvSpPr>
          <p:nvPr/>
        </p:nvSpPr>
        <p:spPr bwMode="gray">
          <a:xfrm>
            <a:off x="9591487" y="4499195"/>
            <a:ext cx="47321" cy="55500"/>
          </a:xfrm>
          <a:custGeom>
            <a:avLst/>
            <a:gdLst>
              <a:gd name="T0" fmla="*/ 0 w 24"/>
              <a:gd name="T1" fmla="*/ 18 h 28"/>
              <a:gd name="T2" fmla="*/ 6 w 24"/>
              <a:gd name="T3" fmla="*/ 26 h 28"/>
              <a:gd name="T4" fmla="*/ 14 w 24"/>
              <a:gd name="T5" fmla="*/ 28 h 28"/>
              <a:gd name="T6" fmla="*/ 14 w 24"/>
              <a:gd name="T7" fmla="*/ 16 h 28"/>
              <a:gd name="T8" fmla="*/ 18 w 24"/>
              <a:gd name="T9" fmla="*/ 12 h 28"/>
              <a:gd name="T10" fmla="*/ 24 w 24"/>
              <a:gd name="T11" fmla="*/ 8 h 28"/>
              <a:gd name="T12" fmla="*/ 22 w 24"/>
              <a:gd name="T13" fmla="*/ 4 h 28"/>
              <a:gd name="T14" fmla="*/ 16 w 24"/>
              <a:gd name="T15" fmla="*/ 0 h 28"/>
              <a:gd name="T16" fmla="*/ 10 w 24"/>
              <a:gd name="T17" fmla="*/ 2 h 28"/>
              <a:gd name="T18" fmla="*/ 8 w 24"/>
              <a:gd name="T19" fmla="*/ 10 h 28"/>
              <a:gd name="T20" fmla="*/ 4 w 24"/>
              <a:gd name="T21" fmla="*/ 16 h 28"/>
              <a:gd name="T22" fmla="*/ 0 w 24"/>
              <a:gd name="T23"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8">
                <a:moveTo>
                  <a:pt x="0" y="18"/>
                </a:moveTo>
                <a:lnTo>
                  <a:pt x="6" y="26"/>
                </a:lnTo>
                <a:lnTo>
                  <a:pt x="14" y="28"/>
                </a:lnTo>
                <a:lnTo>
                  <a:pt x="14" y="16"/>
                </a:lnTo>
                <a:lnTo>
                  <a:pt x="18" y="12"/>
                </a:lnTo>
                <a:lnTo>
                  <a:pt x="24" y="8"/>
                </a:lnTo>
                <a:lnTo>
                  <a:pt x="22" y="4"/>
                </a:lnTo>
                <a:lnTo>
                  <a:pt x="16" y="0"/>
                </a:lnTo>
                <a:lnTo>
                  <a:pt x="10" y="2"/>
                </a:lnTo>
                <a:lnTo>
                  <a:pt x="8" y="10"/>
                </a:lnTo>
                <a:lnTo>
                  <a:pt x="4" y="16"/>
                </a:lnTo>
                <a:lnTo>
                  <a:pt x="0" y="1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4" name="Freeform 270">
            <a:extLst>
              <a:ext uri="{FF2B5EF4-FFF2-40B4-BE49-F238E27FC236}">
                <a16:creationId xmlns:a16="http://schemas.microsoft.com/office/drawing/2014/main" id="{9FEF3060-3C44-42A5-B4E9-AFFCA6884AD2}"/>
              </a:ext>
            </a:extLst>
          </p:cNvPr>
          <p:cNvSpPr>
            <a:spLocks/>
          </p:cNvSpPr>
          <p:nvPr/>
        </p:nvSpPr>
        <p:spPr bwMode="gray">
          <a:xfrm>
            <a:off x="9520506" y="4035373"/>
            <a:ext cx="59151" cy="107036"/>
          </a:xfrm>
          <a:custGeom>
            <a:avLst/>
            <a:gdLst>
              <a:gd name="T0" fmla="*/ 30 w 30"/>
              <a:gd name="T1" fmla="*/ 4 h 54"/>
              <a:gd name="T2" fmla="*/ 26 w 30"/>
              <a:gd name="T3" fmla="*/ 18 h 54"/>
              <a:gd name="T4" fmla="*/ 22 w 30"/>
              <a:gd name="T5" fmla="*/ 28 h 54"/>
              <a:gd name="T6" fmla="*/ 20 w 30"/>
              <a:gd name="T7" fmla="*/ 36 h 54"/>
              <a:gd name="T8" fmla="*/ 16 w 30"/>
              <a:gd name="T9" fmla="*/ 48 h 54"/>
              <a:gd name="T10" fmla="*/ 10 w 30"/>
              <a:gd name="T11" fmla="*/ 54 h 54"/>
              <a:gd name="T12" fmla="*/ 4 w 30"/>
              <a:gd name="T13" fmla="*/ 42 h 54"/>
              <a:gd name="T14" fmla="*/ 0 w 30"/>
              <a:gd name="T15" fmla="*/ 26 h 54"/>
              <a:gd name="T16" fmla="*/ 8 w 30"/>
              <a:gd name="T17" fmla="*/ 12 h 54"/>
              <a:gd name="T18" fmla="*/ 18 w 30"/>
              <a:gd name="T19" fmla="*/ 4 h 54"/>
              <a:gd name="T20" fmla="*/ 22 w 30"/>
              <a:gd name="T21" fmla="*/ 0 h 54"/>
              <a:gd name="T22" fmla="*/ 30 w 30"/>
              <a:gd name="T23"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54">
                <a:moveTo>
                  <a:pt x="30" y="4"/>
                </a:moveTo>
                <a:lnTo>
                  <a:pt x="26" y="18"/>
                </a:lnTo>
                <a:lnTo>
                  <a:pt x="22" y="28"/>
                </a:lnTo>
                <a:lnTo>
                  <a:pt x="20" y="36"/>
                </a:lnTo>
                <a:lnTo>
                  <a:pt x="16" y="48"/>
                </a:lnTo>
                <a:lnTo>
                  <a:pt x="10" y="54"/>
                </a:lnTo>
                <a:lnTo>
                  <a:pt x="4" y="42"/>
                </a:lnTo>
                <a:lnTo>
                  <a:pt x="0" y="26"/>
                </a:lnTo>
                <a:lnTo>
                  <a:pt x="8" y="12"/>
                </a:lnTo>
                <a:lnTo>
                  <a:pt x="18" y="4"/>
                </a:lnTo>
                <a:lnTo>
                  <a:pt x="22" y="0"/>
                </a:lnTo>
                <a:lnTo>
                  <a:pt x="30"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5" name="Freeform 271">
            <a:extLst>
              <a:ext uri="{FF2B5EF4-FFF2-40B4-BE49-F238E27FC236}">
                <a16:creationId xmlns:a16="http://schemas.microsoft.com/office/drawing/2014/main" id="{4AC7AA7F-0A29-4B6B-8CEE-B359B52333F1}"/>
              </a:ext>
            </a:extLst>
          </p:cNvPr>
          <p:cNvSpPr>
            <a:spLocks/>
          </p:cNvSpPr>
          <p:nvPr/>
        </p:nvSpPr>
        <p:spPr bwMode="gray">
          <a:xfrm>
            <a:off x="9161655" y="4205837"/>
            <a:ext cx="74924" cy="59464"/>
          </a:xfrm>
          <a:custGeom>
            <a:avLst/>
            <a:gdLst>
              <a:gd name="T0" fmla="*/ 10 w 38"/>
              <a:gd name="T1" fmla="*/ 6 h 30"/>
              <a:gd name="T2" fmla="*/ 20 w 38"/>
              <a:gd name="T3" fmla="*/ 0 h 30"/>
              <a:gd name="T4" fmla="*/ 30 w 38"/>
              <a:gd name="T5" fmla="*/ 0 h 30"/>
              <a:gd name="T6" fmla="*/ 38 w 38"/>
              <a:gd name="T7" fmla="*/ 2 h 30"/>
              <a:gd name="T8" fmla="*/ 34 w 38"/>
              <a:gd name="T9" fmla="*/ 8 h 30"/>
              <a:gd name="T10" fmla="*/ 30 w 38"/>
              <a:gd name="T11" fmla="*/ 14 h 30"/>
              <a:gd name="T12" fmla="*/ 30 w 38"/>
              <a:gd name="T13" fmla="*/ 24 h 30"/>
              <a:gd name="T14" fmla="*/ 22 w 38"/>
              <a:gd name="T15" fmla="*/ 26 h 30"/>
              <a:gd name="T16" fmla="*/ 16 w 38"/>
              <a:gd name="T17" fmla="*/ 30 h 30"/>
              <a:gd name="T18" fmla="*/ 6 w 38"/>
              <a:gd name="T19" fmla="*/ 28 h 30"/>
              <a:gd name="T20" fmla="*/ 0 w 38"/>
              <a:gd name="T21" fmla="*/ 20 h 30"/>
              <a:gd name="T22" fmla="*/ 0 w 38"/>
              <a:gd name="T23" fmla="*/ 10 h 30"/>
              <a:gd name="T24" fmla="*/ 10 w 38"/>
              <a:gd name="T2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10" y="6"/>
                </a:moveTo>
                <a:lnTo>
                  <a:pt x="20" y="0"/>
                </a:lnTo>
                <a:lnTo>
                  <a:pt x="30" y="0"/>
                </a:lnTo>
                <a:lnTo>
                  <a:pt x="38" y="2"/>
                </a:lnTo>
                <a:lnTo>
                  <a:pt x="34" y="8"/>
                </a:lnTo>
                <a:lnTo>
                  <a:pt x="30" y="14"/>
                </a:lnTo>
                <a:lnTo>
                  <a:pt x="30" y="24"/>
                </a:lnTo>
                <a:lnTo>
                  <a:pt x="22" y="26"/>
                </a:lnTo>
                <a:lnTo>
                  <a:pt x="16" y="30"/>
                </a:lnTo>
                <a:lnTo>
                  <a:pt x="6" y="28"/>
                </a:lnTo>
                <a:lnTo>
                  <a:pt x="0" y="20"/>
                </a:lnTo>
                <a:lnTo>
                  <a:pt x="0" y="10"/>
                </a:lnTo>
                <a:lnTo>
                  <a:pt x="1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6" name="Freeform 272">
            <a:extLst>
              <a:ext uri="{FF2B5EF4-FFF2-40B4-BE49-F238E27FC236}">
                <a16:creationId xmlns:a16="http://schemas.microsoft.com/office/drawing/2014/main" id="{5F40695D-93CA-4CA5-9BDF-E3407E19C233}"/>
              </a:ext>
            </a:extLst>
          </p:cNvPr>
          <p:cNvSpPr>
            <a:spLocks/>
          </p:cNvSpPr>
          <p:nvPr/>
        </p:nvSpPr>
        <p:spPr bwMode="gray">
          <a:xfrm>
            <a:off x="10139620" y="3309902"/>
            <a:ext cx="181397" cy="154607"/>
          </a:xfrm>
          <a:custGeom>
            <a:avLst/>
            <a:gdLst>
              <a:gd name="T0" fmla="*/ 30 w 92"/>
              <a:gd name="T1" fmla="*/ 0 h 78"/>
              <a:gd name="T2" fmla="*/ 38 w 92"/>
              <a:gd name="T3" fmla="*/ 6 h 78"/>
              <a:gd name="T4" fmla="*/ 48 w 92"/>
              <a:gd name="T5" fmla="*/ 16 h 78"/>
              <a:gd name="T6" fmla="*/ 66 w 92"/>
              <a:gd name="T7" fmla="*/ 26 h 78"/>
              <a:gd name="T8" fmla="*/ 76 w 92"/>
              <a:gd name="T9" fmla="*/ 30 h 78"/>
              <a:gd name="T10" fmla="*/ 84 w 92"/>
              <a:gd name="T11" fmla="*/ 24 h 78"/>
              <a:gd name="T12" fmla="*/ 90 w 92"/>
              <a:gd name="T13" fmla="*/ 24 h 78"/>
              <a:gd name="T14" fmla="*/ 84 w 92"/>
              <a:gd name="T15" fmla="*/ 30 h 78"/>
              <a:gd name="T16" fmla="*/ 88 w 92"/>
              <a:gd name="T17" fmla="*/ 36 h 78"/>
              <a:gd name="T18" fmla="*/ 92 w 92"/>
              <a:gd name="T19" fmla="*/ 40 h 78"/>
              <a:gd name="T20" fmla="*/ 84 w 92"/>
              <a:gd name="T21" fmla="*/ 46 h 78"/>
              <a:gd name="T22" fmla="*/ 80 w 92"/>
              <a:gd name="T23" fmla="*/ 48 h 78"/>
              <a:gd name="T24" fmla="*/ 74 w 92"/>
              <a:gd name="T25" fmla="*/ 46 h 78"/>
              <a:gd name="T26" fmla="*/ 68 w 92"/>
              <a:gd name="T27" fmla="*/ 48 h 78"/>
              <a:gd name="T28" fmla="*/ 58 w 92"/>
              <a:gd name="T29" fmla="*/ 52 h 78"/>
              <a:gd name="T30" fmla="*/ 52 w 92"/>
              <a:gd name="T31" fmla="*/ 60 h 78"/>
              <a:gd name="T32" fmla="*/ 52 w 92"/>
              <a:gd name="T33" fmla="*/ 66 h 78"/>
              <a:gd name="T34" fmla="*/ 44 w 92"/>
              <a:gd name="T35" fmla="*/ 62 h 78"/>
              <a:gd name="T36" fmla="*/ 36 w 92"/>
              <a:gd name="T37" fmla="*/ 56 h 78"/>
              <a:gd name="T38" fmla="*/ 28 w 92"/>
              <a:gd name="T39" fmla="*/ 54 h 78"/>
              <a:gd name="T40" fmla="*/ 24 w 92"/>
              <a:gd name="T41" fmla="*/ 56 h 78"/>
              <a:gd name="T42" fmla="*/ 22 w 92"/>
              <a:gd name="T43" fmla="*/ 60 h 78"/>
              <a:gd name="T44" fmla="*/ 16 w 92"/>
              <a:gd name="T45" fmla="*/ 56 h 78"/>
              <a:gd name="T46" fmla="*/ 10 w 92"/>
              <a:gd name="T47" fmla="*/ 54 h 78"/>
              <a:gd name="T48" fmla="*/ 8 w 92"/>
              <a:gd name="T49" fmla="*/ 58 h 78"/>
              <a:gd name="T50" fmla="*/ 10 w 92"/>
              <a:gd name="T51" fmla="*/ 64 h 78"/>
              <a:gd name="T52" fmla="*/ 16 w 92"/>
              <a:gd name="T53" fmla="*/ 66 h 78"/>
              <a:gd name="T54" fmla="*/ 14 w 92"/>
              <a:gd name="T55" fmla="*/ 72 h 78"/>
              <a:gd name="T56" fmla="*/ 8 w 92"/>
              <a:gd name="T57" fmla="*/ 74 h 78"/>
              <a:gd name="T58" fmla="*/ 2 w 92"/>
              <a:gd name="T59" fmla="*/ 78 h 78"/>
              <a:gd name="T60" fmla="*/ 2 w 92"/>
              <a:gd name="T61" fmla="*/ 68 h 78"/>
              <a:gd name="T62" fmla="*/ 0 w 92"/>
              <a:gd name="T63" fmla="*/ 60 h 78"/>
              <a:gd name="T64" fmla="*/ 0 w 92"/>
              <a:gd name="T65" fmla="*/ 52 h 78"/>
              <a:gd name="T66" fmla="*/ 6 w 92"/>
              <a:gd name="T67" fmla="*/ 50 h 78"/>
              <a:gd name="T68" fmla="*/ 10 w 92"/>
              <a:gd name="T69" fmla="*/ 44 h 78"/>
              <a:gd name="T70" fmla="*/ 10 w 92"/>
              <a:gd name="T71" fmla="*/ 38 h 78"/>
              <a:gd name="T72" fmla="*/ 16 w 92"/>
              <a:gd name="T73" fmla="*/ 38 h 78"/>
              <a:gd name="T74" fmla="*/ 22 w 92"/>
              <a:gd name="T75" fmla="*/ 42 h 78"/>
              <a:gd name="T76" fmla="*/ 28 w 92"/>
              <a:gd name="T77" fmla="*/ 40 h 78"/>
              <a:gd name="T78" fmla="*/ 30 w 92"/>
              <a:gd name="T79" fmla="*/ 16 h 78"/>
              <a:gd name="T80" fmla="*/ 30 w 92"/>
              <a:gd name="T8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78">
                <a:moveTo>
                  <a:pt x="30" y="0"/>
                </a:moveTo>
                <a:lnTo>
                  <a:pt x="38" y="6"/>
                </a:lnTo>
                <a:lnTo>
                  <a:pt x="48" y="16"/>
                </a:lnTo>
                <a:lnTo>
                  <a:pt x="66" y="26"/>
                </a:lnTo>
                <a:lnTo>
                  <a:pt x="76" y="30"/>
                </a:lnTo>
                <a:lnTo>
                  <a:pt x="84" y="24"/>
                </a:lnTo>
                <a:lnTo>
                  <a:pt x="90" y="24"/>
                </a:lnTo>
                <a:lnTo>
                  <a:pt x="84" y="30"/>
                </a:lnTo>
                <a:lnTo>
                  <a:pt x="88" y="36"/>
                </a:lnTo>
                <a:lnTo>
                  <a:pt x="92" y="40"/>
                </a:lnTo>
                <a:lnTo>
                  <a:pt x="84" y="46"/>
                </a:lnTo>
                <a:lnTo>
                  <a:pt x="80" y="48"/>
                </a:lnTo>
                <a:lnTo>
                  <a:pt x="74" y="46"/>
                </a:lnTo>
                <a:lnTo>
                  <a:pt x="68" y="48"/>
                </a:lnTo>
                <a:lnTo>
                  <a:pt x="58" y="52"/>
                </a:lnTo>
                <a:lnTo>
                  <a:pt x="52" y="60"/>
                </a:lnTo>
                <a:lnTo>
                  <a:pt x="52" y="66"/>
                </a:lnTo>
                <a:lnTo>
                  <a:pt x="44" y="62"/>
                </a:lnTo>
                <a:lnTo>
                  <a:pt x="36" y="56"/>
                </a:lnTo>
                <a:lnTo>
                  <a:pt x="28" y="54"/>
                </a:lnTo>
                <a:lnTo>
                  <a:pt x="24" y="56"/>
                </a:lnTo>
                <a:lnTo>
                  <a:pt x="22" y="60"/>
                </a:lnTo>
                <a:lnTo>
                  <a:pt x="16" y="56"/>
                </a:lnTo>
                <a:lnTo>
                  <a:pt x="10" y="54"/>
                </a:lnTo>
                <a:lnTo>
                  <a:pt x="8" y="58"/>
                </a:lnTo>
                <a:lnTo>
                  <a:pt x="10" y="64"/>
                </a:lnTo>
                <a:lnTo>
                  <a:pt x="16" y="66"/>
                </a:lnTo>
                <a:lnTo>
                  <a:pt x="14" y="72"/>
                </a:lnTo>
                <a:lnTo>
                  <a:pt x="8" y="74"/>
                </a:lnTo>
                <a:lnTo>
                  <a:pt x="2" y="78"/>
                </a:lnTo>
                <a:lnTo>
                  <a:pt x="2" y="68"/>
                </a:lnTo>
                <a:lnTo>
                  <a:pt x="0" y="60"/>
                </a:lnTo>
                <a:lnTo>
                  <a:pt x="0" y="52"/>
                </a:lnTo>
                <a:lnTo>
                  <a:pt x="6" y="50"/>
                </a:lnTo>
                <a:lnTo>
                  <a:pt x="10" y="44"/>
                </a:lnTo>
                <a:lnTo>
                  <a:pt x="10" y="38"/>
                </a:lnTo>
                <a:lnTo>
                  <a:pt x="16" y="38"/>
                </a:lnTo>
                <a:lnTo>
                  <a:pt x="22" y="42"/>
                </a:lnTo>
                <a:lnTo>
                  <a:pt x="28" y="40"/>
                </a:lnTo>
                <a:lnTo>
                  <a:pt x="30" y="16"/>
                </a:lnTo>
                <a:lnTo>
                  <a:pt x="3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7" name="Freeform 273">
            <a:extLst>
              <a:ext uri="{FF2B5EF4-FFF2-40B4-BE49-F238E27FC236}">
                <a16:creationId xmlns:a16="http://schemas.microsoft.com/office/drawing/2014/main" id="{26DBAA84-17F3-4E07-9F61-013C92F32322}"/>
              </a:ext>
            </a:extLst>
          </p:cNvPr>
          <p:cNvSpPr>
            <a:spLocks/>
          </p:cNvSpPr>
          <p:nvPr/>
        </p:nvSpPr>
        <p:spPr bwMode="gray">
          <a:xfrm>
            <a:off x="9899071" y="3722190"/>
            <a:ext cx="78868" cy="51535"/>
          </a:xfrm>
          <a:custGeom>
            <a:avLst/>
            <a:gdLst>
              <a:gd name="T0" fmla="*/ 30 w 40"/>
              <a:gd name="T1" fmla="*/ 16 h 26"/>
              <a:gd name="T2" fmla="*/ 24 w 40"/>
              <a:gd name="T3" fmla="*/ 14 h 26"/>
              <a:gd name="T4" fmla="*/ 18 w 40"/>
              <a:gd name="T5" fmla="*/ 18 h 26"/>
              <a:gd name="T6" fmla="*/ 14 w 40"/>
              <a:gd name="T7" fmla="*/ 26 h 26"/>
              <a:gd name="T8" fmla="*/ 6 w 40"/>
              <a:gd name="T9" fmla="*/ 24 h 26"/>
              <a:gd name="T10" fmla="*/ 6 w 40"/>
              <a:gd name="T11" fmla="*/ 18 h 26"/>
              <a:gd name="T12" fmla="*/ 0 w 40"/>
              <a:gd name="T13" fmla="*/ 14 h 26"/>
              <a:gd name="T14" fmla="*/ 8 w 40"/>
              <a:gd name="T15" fmla="*/ 8 h 26"/>
              <a:gd name="T16" fmla="*/ 16 w 40"/>
              <a:gd name="T17" fmla="*/ 8 h 26"/>
              <a:gd name="T18" fmla="*/ 24 w 40"/>
              <a:gd name="T19" fmla="*/ 6 h 26"/>
              <a:gd name="T20" fmla="*/ 28 w 40"/>
              <a:gd name="T21" fmla="*/ 0 h 26"/>
              <a:gd name="T22" fmla="*/ 36 w 40"/>
              <a:gd name="T23" fmla="*/ 0 h 26"/>
              <a:gd name="T24" fmla="*/ 40 w 40"/>
              <a:gd name="T25" fmla="*/ 6 h 26"/>
              <a:gd name="T26" fmla="*/ 38 w 40"/>
              <a:gd name="T27" fmla="*/ 8 h 26"/>
              <a:gd name="T28" fmla="*/ 34 w 40"/>
              <a:gd name="T29" fmla="*/ 14 h 26"/>
              <a:gd name="T30" fmla="*/ 30 w 40"/>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6">
                <a:moveTo>
                  <a:pt x="30" y="16"/>
                </a:moveTo>
                <a:lnTo>
                  <a:pt x="24" y="14"/>
                </a:lnTo>
                <a:lnTo>
                  <a:pt x="18" y="18"/>
                </a:lnTo>
                <a:lnTo>
                  <a:pt x="14" y="26"/>
                </a:lnTo>
                <a:lnTo>
                  <a:pt x="6" y="24"/>
                </a:lnTo>
                <a:lnTo>
                  <a:pt x="6" y="18"/>
                </a:lnTo>
                <a:lnTo>
                  <a:pt x="0" y="14"/>
                </a:lnTo>
                <a:lnTo>
                  <a:pt x="8" y="8"/>
                </a:lnTo>
                <a:lnTo>
                  <a:pt x="16" y="8"/>
                </a:lnTo>
                <a:lnTo>
                  <a:pt x="24" y="6"/>
                </a:lnTo>
                <a:lnTo>
                  <a:pt x="28" y="0"/>
                </a:lnTo>
                <a:lnTo>
                  <a:pt x="36" y="0"/>
                </a:lnTo>
                <a:lnTo>
                  <a:pt x="40" y="6"/>
                </a:lnTo>
                <a:lnTo>
                  <a:pt x="38" y="8"/>
                </a:lnTo>
                <a:lnTo>
                  <a:pt x="34" y="14"/>
                </a:lnTo>
                <a:lnTo>
                  <a:pt x="30" y="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8" name="Freeform 274">
            <a:extLst>
              <a:ext uri="{FF2B5EF4-FFF2-40B4-BE49-F238E27FC236}">
                <a16:creationId xmlns:a16="http://schemas.microsoft.com/office/drawing/2014/main" id="{61DCF822-5651-46F5-BE99-9EA75FCB5CCC}"/>
              </a:ext>
            </a:extLst>
          </p:cNvPr>
          <p:cNvSpPr>
            <a:spLocks/>
          </p:cNvSpPr>
          <p:nvPr/>
        </p:nvSpPr>
        <p:spPr bwMode="gray">
          <a:xfrm>
            <a:off x="9816261" y="3734083"/>
            <a:ext cx="74924" cy="99107"/>
          </a:xfrm>
          <a:custGeom>
            <a:avLst/>
            <a:gdLst>
              <a:gd name="T0" fmla="*/ 4 w 38"/>
              <a:gd name="T1" fmla="*/ 12 h 50"/>
              <a:gd name="T2" fmla="*/ 10 w 38"/>
              <a:gd name="T3" fmla="*/ 8 h 50"/>
              <a:gd name="T4" fmla="*/ 16 w 38"/>
              <a:gd name="T5" fmla="*/ 0 h 50"/>
              <a:gd name="T6" fmla="*/ 24 w 38"/>
              <a:gd name="T7" fmla="*/ 0 h 50"/>
              <a:gd name="T8" fmla="*/ 28 w 38"/>
              <a:gd name="T9" fmla="*/ 6 h 50"/>
              <a:gd name="T10" fmla="*/ 34 w 38"/>
              <a:gd name="T11" fmla="*/ 10 h 50"/>
              <a:gd name="T12" fmla="*/ 38 w 38"/>
              <a:gd name="T13" fmla="*/ 16 h 50"/>
              <a:gd name="T14" fmla="*/ 36 w 38"/>
              <a:gd name="T15" fmla="*/ 24 h 50"/>
              <a:gd name="T16" fmla="*/ 32 w 38"/>
              <a:gd name="T17" fmla="*/ 26 h 50"/>
              <a:gd name="T18" fmla="*/ 30 w 38"/>
              <a:gd name="T19" fmla="*/ 32 h 50"/>
              <a:gd name="T20" fmla="*/ 30 w 38"/>
              <a:gd name="T21" fmla="*/ 40 h 50"/>
              <a:gd name="T22" fmla="*/ 26 w 38"/>
              <a:gd name="T23" fmla="*/ 50 h 50"/>
              <a:gd name="T24" fmla="*/ 18 w 38"/>
              <a:gd name="T25" fmla="*/ 48 h 50"/>
              <a:gd name="T26" fmla="*/ 18 w 38"/>
              <a:gd name="T27" fmla="*/ 44 h 50"/>
              <a:gd name="T28" fmla="*/ 20 w 38"/>
              <a:gd name="T29" fmla="*/ 36 h 50"/>
              <a:gd name="T30" fmla="*/ 12 w 38"/>
              <a:gd name="T31" fmla="*/ 36 h 50"/>
              <a:gd name="T32" fmla="*/ 14 w 38"/>
              <a:gd name="T33" fmla="*/ 30 h 50"/>
              <a:gd name="T34" fmla="*/ 18 w 38"/>
              <a:gd name="T35" fmla="*/ 24 h 50"/>
              <a:gd name="T36" fmla="*/ 18 w 38"/>
              <a:gd name="T37" fmla="*/ 20 h 50"/>
              <a:gd name="T38" fmla="*/ 16 w 38"/>
              <a:gd name="T39" fmla="*/ 14 h 50"/>
              <a:gd name="T40" fmla="*/ 8 w 38"/>
              <a:gd name="T41" fmla="*/ 16 h 50"/>
              <a:gd name="T42" fmla="*/ 0 w 38"/>
              <a:gd name="T43" fmla="*/ 18 h 50"/>
              <a:gd name="T44" fmla="*/ 4 w 38"/>
              <a:gd name="T4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50">
                <a:moveTo>
                  <a:pt x="4" y="12"/>
                </a:moveTo>
                <a:lnTo>
                  <a:pt x="10" y="8"/>
                </a:lnTo>
                <a:lnTo>
                  <a:pt x="16" y="0"/>
                </a:lnTo>
                <a:lnTo>
                  <a:pt x="24" y="0"/>
                </a:lnTo>
                <a:lnTo>
                  <a:pt x="28" y="6"/>
                </a:lnTo>
                <a:lnTo>
                  <a:pt x="34" y="10"/>
                </a:lnTo>
                <a:lnTo>
                  <a:pt x="38" y="16"/>
                </a:lnTo>
                <a:lnTo>
                  <a:pt x="36" y="24"/>
                </a:lnTo>
                <a:lnTo>
                  <a:pt x="32" y="26"/>
                </a:lnTo>
                <a:lnTo>
                  <a:pt x="30" y="32"/>
                </a:lnTo>
                <a:lnTo>
                  <a:pt x="30" y="40"/>
                </a:lnTo>
                <a:lnTo>
                  <a:pt x="26" y="50"/>
                </a:lnTo>
                <a:lnTo>
                  <a:pt x="18" y="48"/>
                </a:lnTo>
                <a:lnTo>
                  <a:pt x="18" y="44"/>
                </a:lnTo>
                <a:lnTo>
                  <a:pt x="20" y="36"/>
                </a:lnTo>
                <a:lnTo>
                  <a:pt x="12" y="36"/>
                </a:lnTo>
                <a:lnTo>
                  <a:pt x="14" y="30"/>
                </a:lnTo>
                <a:lnTo>
                  <a:pt x="18" y="24"/>
                </a:lnTo>
                <a:lnTo>
                  <a:pt x="18" y="20"/>
                </a:lnTo>
                <a:lnTo>
                  <a:pt x="16" y="14"/>
                </a:lnTo>
                <a:lnTo>
                  <a:pt x="8" y="16"/>
                </a:lnTo>
                <a:lnTo>
                  <a:pt x="0" y="18"/>
                </a:lnTo>
                <a:lnTo>
                  <a:pt x="4" y="1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79" name="Freeform 275">
            <a:extLst>
              <a:ext uri="{FF2B5EF4-FFF2-40B4-BE49-F238E27FC236}">
                <a16:creationId xmlns:a16="http://schemas.microsoft.com/office/drawing/2014/main" id="{8BAFB575-C98E-4D40-8A00-3CF2B1F63C48}"/>
              </a:ext>
            </a:extLst>
          </p:cNvPr>
          <p:cNvSpPr>
            <a:spLocks/>
          </p:cNvSpPr>
          <p:nvPr/>
        </p:nvSpPr>
        <p:spPr bwMode="gray">
          <a:xfrm>
            <a:off x="9863580" y="3456581"/>
            <a:ext cx="343076" cy="293360"/>
          </a:xfrm>
          <a:custGeom>
            <a:avLst/>
            <a:gdLst>
              <a:gd name="T0" fmla="*/ 12 w 174"/>
              <a:gd name="T1" fmla="*/ 128 h 148"/>
              <a:gd name="T2" fmla="*/ 32 w 174"/>
              <a:gd name="T3" fmla="*/ 112 h 148"/>
              <a:gd name="T4" fmla="*/ 60 w 174"/>
              <a:gd name="T5" fmla="*/ 110 h 148"/>
              <a:gd name="T6" fmla="*/ 80 w 174"/>
              <a:gd name="T7" fmla="*/ 100 h 148"/>
              <a:gd name="T8" fmla="*/ 92 w 174"/>
              <a:gd name="T9" fmla="*/ 82 h 148"/>
              <a:gd name="T10" fmla="*/ 100 w 174"/>
              <a:gd name="T11" fmla="*/ 80 h 148"/>
              <a:gd name="T12" fmla="*/ 110 w 174"/>
              <a:gd name="T13" fmla="*/ 82 h 148"/>
              <a:gd name="T14" fmla="*/ 140 w 174"/>
              <a:gd name="T15" fmla="*/ 52 h 148"/>
              <a:gd name="T16" fmla="*/ 144 w 174"/>
              <a:gd name="T17" fmla="*/ 30 h 148"/>
              <a:gd name="T18" fmla="*/ 146 w 174"/>
              <a:gd name="T19" fmla="*/ 10 h 148"/>
              <a:gd name="T20" fmla="*/ 160 w 174"/>
              <a:gd name="T21" fmla="*/ 12 h 148"/>
              <a:gd name="T22" fmla="*/ 158 w 174"/>
              <a:gd name="T23" fmla="*/ 2 h 148"/>
              <a:gd name="T24" fmla="*/ 166 w 174"/>
              <a:gd name="T25" fmla="*/ 10 h 148"/>
              <a:gd name="T26" fmla="*/ 172 w 174"/>
              <a:gd name="T27" fmla="*/ 28 h 148"/>
              <a:gd name="T28" fmla="*/ 168 w 174"/>
              <a:gd name="T29" fmla="*/ 48 h 148"/>
              <a:gd name="T30" fmla="*/ 158 w 174"/>
              <a:gd name="T31" fmla="*/ 66 h 148"/>
              <a:gd name="T32" fmla="*/ 154 w 174"/>
              <a:gd name="T33" fmla="*/ 86 h 148"/>
              <a:gd name="T34" fmla="*/ 152 w 174"/>
              <a:gd name="T35" fmla="*/ 98 h 148"/>
              <a:gd name="T36" fmla="*/ 152 w 174"/>
              <a:gd name="T37" fmla="*/ 108 h 148"/>
              <a:gd name="T38" fmla="*/ 148 w 174"/>
              <a:gd name="T39" fmla="*/ 118 h 148"/>
              <a:gd name="T40" fmla="*/ 138 w 174"/>
              <a:gd name="T41" fmla="*/ 116 h 148"/>
              <a:gd name="T42" fmla="*/ 126 w 174"/>
              <a:gd name="T43" fmla="*/ 116 h 148"/>
              <a:gd name="T44" fmla="*/ 126 w 174"/>
              <a:gd name="T45" fmla="*/ 128 h 148"/>
              <a:gd name="T46" fmla="*/ 116 w 174"/>
              <a:gd name="T47" fmla="*/ 126 h 148"/>
              <a:gd name="T48" fmla="*/ 102 w 174"/>
              <a:gd name="T49" fmla="*/ 126 h 148"/>
              <a:gd name="T50" fmla="*/ 90 w 174"/>
              <a:gd name="T51" fmla="*/ 122 h 148"/>
              <a:gd name="T52" fmla="*/ 92 w 174"/>
              <a:gd name="T53" fmla="*/ 132 h 148"/>
              <a:gd name="T54" fmla="*/ 80 w 174"/>
              <a:gd name="T55" fmla="*/ 144 h 148"/>
              <a:gd name="T56" fmla="*/ 68 w 174"/>
              <a:gd name="T57" fmla="*/ 140 h 148"/>
              <a:gd name="T58" fmla="*/ 70 w 174"/>
              <a:gd name="T59" fmla="*/ 130 h 148"/>
              <a:gd name="T60" fmla="*/ 56 w 174"/>
              <a:gd name="T61" fmla="*/ 124 h 148"/>
              <a:gd name="T62" fmla="*/ 38 w 174"/>
              <a:gd name="T63" fmla="*/ 130 h 148"/>
              <a:gd name="T64" fmla="*/ 18 w 174"/>
              <a:gd name="T65" fmla="*/ 134 h 148"/>
              <a:gd name="T66" fmla="*/ 2 w 174"/>
              <a:gd name="T67"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4" h="148">
                <a:moveTo>
                  <a:pt x="0" y="134"/>
                </a:moveTo>
                <a:lnTo>
                  <a:pt x="12" y="128"/>
                </a:lnTo>
                <a:lnTo>
                  <a:pt x="26" y="118"/>
                </a:lnTo>
                <a:lnTo>
                  <a:pt x="32" y="112"/>
                </a:lnTo>
                <a:lnTo>
                  <a:pt x="44" y="110"/>
                </a:lnTo>
                <a:lnTo>
                  <a:pt x="60" y="110"/>
                </a:lnTo>
                <a:lnTo>
                  <a:pt x="76" y="110"/>
                </a:lnTo>
                <a:lnTo>
                  <a:pt x="80" y="100"/>
                </a:lnTo>
                <a:lnTo>
                  <a:pt x="88" y="90"/>
                </a:lnTo>
                <a:lnTo>
                  <a:pt x="92" y="82"/>
                </a:lnTo>
                <a:lnTo>
                  <a:pt x="98" y="74"/>
                </a:lnTo>
                <a:lnTo>
                  <a:pt x="100" y="80"/>
                </a:lnTo>
                <a:lnTo>
                  <a:pt x="100" y="86"/>
                </a:lnTo>
                <a:lnTo>
                  <a:pt x="110" y="82"/>
                </a:lnTo>
                <a:lnTo>
                  <a:pt x="126" y="72"/>
                </a:lnTo>
                <a:lnTo>
                  <a:pt x="140" y="52"/>
                </a:lnTo>
                <a:lnTo>
                  <a:pt x="146" y="36"/>
                </a:lnTo>
                <a:lnTo>
                  <a:pt x="144" y="30"/>
                </a:lnTo>
                <a:lnTo>
                  <a:pt x="142" y="18"/>
                </a:lnTo>
                <a:lnTo>
                  <a:pt x="146" y="10"/>
                </a:lnTo>
                <a:lnTo>
                  <a:pt x="150" y="8"/>
                </a:lnTo>
                <a:lnTo>
                  <a:pt x="160" y="12"/>
                </a:lnTo>
                <a:lnTo>
                  <a:pt x="162" y="6"/>
                </a:lnTo>
                <a:lnTo>
                  <a:pt x="158" y="2"/>
                </a:lnTo>
                <a:lnTo>
                  <a:pt x="164" y="0"/>
                </a:lnTo>
                <a:lnTo>
                  <a:pt x="166" y="10"/>
                </a:lnTo>
                <a:lnTo>
                  <a:pt x="166" y="18"/>
                </a:lnTo>
                <a:lnTo>
                  <a:pt x="172" y="28"/>
                </a:lnTo>
                <a:lnTo>
                  <a:pt x="174" y="36"/>
                </a:lnTo>
                <a:lnTo>
                  <a:pt x="168" y="48"/>
                </a:lnTo>
                <a:lnTo>
                  <a:pt x="160" y="58"/>
                </a:lnTo>
                <a:lnTo>
                  <a:pt x="158" y="66"/>
                </a:lnTo>
                <a:lnTo>
                  <a:pt x="158" y="80"/>
                </a:lnTo>
                <a:lnTo>
                  <a:pt x="154" y="86"/>
                </a:lnTo>
                <a:lnTo>
                  <a:pt x="152" y="96"/>
                </a:lnTo>
                <a:lnTo>
                  <a:pt x="152" y="98"/>
                </a:lnTo>
                <a:lnTo>
                  <a:pt x="152" y="102"/>
                </a:lnTo>
                <a:lnTo>
                  <a:pt x="152" y="108"/>
                </a:lnTo>
                <a:lnTo>
                  <a:pt x="152" y="110"/>
                </a:lnTo>
                <a:lnTo>
                  <a:pt x="148" y="118"/>
                </a:lnTo>
                <a:lnTo>
                  <a:pt x="142" y="122"/>
                </a:lnTo>
                <a:lnTo>
                  <a:pt x="138" y="116"/>
                </a:lnTo>
                <a:lnTo>
                  <a:pt x="132" y="114"/>
                </a:lnTo>
                <a:lnTo>
                  <a:pt x="126" y="116"/>
                </a:lnTo>
                <a:lnTo>
                  <a:pt x="128" y="124"/>
                </a:lnTo>
                <a:lnTo>
                  <a:pt x="126" y="128"/>
                </a:lnTo>
                <a:lnTo>
                  <a:pt x="118" y="122"/>
                </a:lnTo>
                <a:lnTo>
                  <a:pt x="116" y="126"/>
                </a:lnTo>
                <a:lnTo>
                  <a:pt x="110" y="126"/>
                </a:lnTo>
                <a:lnTo>
                  <a:pt x="102" y="126"/>
                </a:lnTo>
                <a:lnTo>
                  <a:pt x="92" y="126"/>
                </a:lnTo>
                <a:lnTo>
                  <a:pt x="90" y="122"/>
                </a:lnTo>
                <a:lnTo>
                  <a:pt x="88" y="126"/>
                </a:lnTo>
                <a:lnTo>
                  <a:pt x="92" y="132"/>
                </a:lnTo>
                <a:lnTo>
                  <a:pt x="84" y="136"/>
                </a:lnTo>
                <a:lnTo>
                  <a:pt x="80" y="144"/>
                </a:lnTo>
                <a:lnTo>
                  <a:pt x="74" y="148"/>
                </a:lnTo>
                <a:lnTo>
                  <a:pt x="68" y="140"/>
                </a:lnTo>
                <a:lnTo>
                  <a:pt x="62" y="136"/>
                </a:lnTo>
                <a:lnTo>
                  <a:pt x="70" y="130"/>
                </a:lnTo>
                <a:lnTo>
                  <a:pt x="72" y="124"/>
                </a:lnTo>
                <a:lnTo>
                  <a:pt x="56" y="124"/>
                </a:lnTo>
                <a:lnTo>
                  <a:pt x="50" y="128"/>
                </a:lnTo>
                <a:lnTo>
                  <a:pt x="38" y="130"/>
                </a:lnTo>
                <a:lnTo>
                  <a:pt x="28" y="134"/>
                </a:lnTo>
                <a:lnTo>
                  <a:pt x="18" y="134"/>
                </a:lnTo>
                <a:lnTo>
                  <a:pt x="10" y="140"/>
                </a:lnTo>
                <a:lnTo>
                  <a:pt x="2" y="138"/>
                </a:lnTo>
                <a:lnTo>
                  <a:pt x="0" y="13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0" name="Freeform 276">
            <a:extLst>
              <a:ext uri="{FF2B5EF4-FFF2-40B4-BE49-F238E27FC236}">
                <a16:creationId xmlns:a16="http://schemas.microsoft.com/office/drawing/2014/main" id="{7E4B6F32-8913-42E1-8939-A9FE2CE89F5C}"/>
              </a:ext>
            </a:extLst>
          </p:cNvPr>
          <p:cNvSpPr>
            <a:spLocks/>
          </p:cNvSpPr>
          <p:nvPr/>
        </p:nvSpPr>
        <p:spPr bwMode="gray">
          <a:xfrm>
            <a:off x="9717676" y="3571547"/>
            <a:ext cx="98584" cy="142716"/>
          </a:xfrm>
          <a:custGeom>
            <a:avLst/>
            <a:gdLst>
              <a:gd name="T0" fmla="*/ 2 w 50"/>
              <a:gd name="T1" fmla="*/ 32 h 72"/>
              <a:gd name="T2" fmla="*/ 2 w 50"/>
              <a:gd name="T3" fmla="*/ 28 h 72"/>
              <a:gd name="T4" fmla="*/ 8 w 50"/>
              <a:gd name="T5" fmla="*/ 30 h 72"/>
              <a:gd name="T6" fmla="*/ 12 w 50"/>
              <a:gd name="T7" fmla="*/ 28 h 72"/>
              <a:gd name="T8" fmla="*/ 10 w 50"/>
              <a:gd name="T9" fmla="*/ 22 h 72"/>
              <a:gd name="T10" fmla="*/ 6 w 50"/>
              <a:gd name="T11" fmla="*/ 20 h 72"/>
              <a:gd name="T12" fmla="*/ 10 w 50"/>
              <a:gd name="T13" fmla="*/ 6 h 72"/>
              <a:gd name="T14" fmla="*/ 20 w 50"/>
              <a:gd name="T15" fmla="*/ 2 h 72"/>
              <a:gd name="T16" fmla="*/ 30 w 50"/>
              <a:gd name="T17" fmla="*/ 0 h 72"/>
              <a:gd name="T18" fmla="*/ 38 w 50"/>
              <a:gd name="T19" fmla="*/ 8 h 72"/>
              <a:gd name="T20" fmla="*/ 44 w 50"/>
              <a:gd name="T21" fmla="*/ 18 h 72"/>
              <a:gd name="T22" fmla="*/ 48 w 50"/>
              <a:gd name="T23" fmla="*/ 30 h 72"/>
              <a:gd name="T24" fmla="*/ 50 w 50"/>
              <a:gd name="T25" fmla="*/ 40 h 72"/>
              <a:gd name="T26" fmla="*/ 48 w 50"/>
              <a:gd name="T27" fmla="*/ 54 h 72"/>
              <a:gd name="T28" fmla="*/ 50 w 50"/>
              <a:gd name="T29" fmla="*/ 54 h 72"/>
              <a:gd name="T30" fmla="*/ 50 w 50"/>
              <a:gd name="T31" fmla="*/ 56 h 72"/>
              <a:gd name="T32" fmla="*/ 46 w 50"/>
              <a:gd name="T33" fmla="*/ 58 h 72"/>
              <a:gd name="T34" fmla="*/ 38 w 50"/>
              <a:gd name="T35" fmla="*/ 62 h 72"/>
              <a:gd name="T36" fmla="*/ 34 w 50"/>
              <a:gd name="T37" fmla="*/ 64 h 72"/>
              <a:gd name="T38" fmla="*/ 28 w 50"/>
              <a:gd name="T39" fmla="*/ 60 h 72"/>
              <a:gd name="T40" fmla="*/ 24 w 50"/>
              <a:gd name="T41" fmla="*/ 64 h 72"/>
              <a:gd name="T42" fmla="*/ 16 w 50"/>
              <a:gd name="T43" fmla="*/ 70 h 72"/>
              <a:gd name="T44" fmla="*/ 12 w 50"/>
              <a:gd name="T45" fmla="*/ 68 h 72"/>
              <a:gd name="T46" fmla="*/ 2 w 50"/>
              <a:gd name="T47" fmla="*/ 72 h 72"/>
              <a:gd name="T48" fmla="*/ 0 w 50"/>
              <a:gd name="T49" fmla="*/ 66 h 72"/>
              <a:gd name="T50" fmla="*/ 2 w 50"/>
              <a:gd name="T51" fmla="*/ 58 h 72"/>
              <a:gd name="T52" fmla="*/ 2 w 50"/>
              <a:gd name="T53" fmla="*/ 48 h 72"/>
              <a:gd name="T54" fmla="*/ 6 w 50"/>
              <a:gd name="T55" fmla="*/ 46 h 72"/>
              <a:gd name="T56" fmla="*/ 6 w 50"/>
              <a:gd name="T57" fmla="*/ 38 h 72"/>
              <a:gd name="T58" fmla="*/ 2 w 50"/>
              <a:gd name="T59"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72">
                <a:moveTo>
                  <a:pt x="2" y="32"/>
                </a:moveTo>
                <a:lnTo>
                  <a:pt x="2" y="28"/>
                </a:lnTo>
                <a:lnTo>
                  <a:pt x="8" y="30"/>
                </a:lnTo>
                <a:lnTo>
                  <a:pt x="12" y="28"/>
                </a:lnTo>
                <a:lnTo>
                  <a:pt x="10" y="22"/>
                </a:lnTo>
                <a:lnTo>
                  <a:pt x="6" y="20"/>
                </a:lnTo>
                <a:lnTo>
                  <a:pt x="10" y="6"/>
                </a:lnTo>
                <a:lnTo>
                  <a:pt x="20" y="2"/>
                </a:lnTo>
                <a:lnTo>
                  <a:pt x="30" y="0"/>
                </a:lnTo>
                <a:lnTo>
                  <a:pt x="38" y="8"/>
                </a:lnTo>
                <a:lnTo>
                  <a:pt x="44" y="18"/>
                </a:lnTo>
                <a:lnTo>
                  <a:pt x="48" y="30"/>
                </a:lnTo>
                <a:lnTo>
                  <a:pt x="50" y="40"/>
                </a:lnTo>
                <a:lnTo>
                  <a:pt x="48" y="54"/>
                </a:lnTo>
                <a:lnTo>
                  <a:pt x="50" y="54"/>
                </a:lnTo>
                <a:lnTo>
                  <a:pt x="50" y="56"/>
                </a:lnTo>
                <a:lnTo>
                  <a:pt x="46" y="58"/>
                </a:lnTo>
                <a:lnTo>
                  <a:pt x="38" y="62"/>
                </a:lnTo>
                <a:lnTo>
                  <a:pt x="34" y="64"/>
                </a:lnTo>
                <a:lnTo>
                  <a:pt x="28" y="60"/>
                </a:lnTo>
                <a:lnTo>
                  <a:pt x="24" y="64"/>
                </a:lnTo>
                <a:lnTo>
                  <a:pt x="16" y="70"/>
                </a:lnTo>
                <a:lnTo>
                  <a:pt x="12" y="68"/>
                </a:lnTo>
                <a:lnTo>
                  <a:pt x="2" y="72"/>
                </a:lnTo>
                <a:lnTo>
                  <a:pt x="0" y="66"/>
                </a:lnTo>
                <a:lnTo>
                  <a:pt x="2" y="58"/>
                </a:lnTo>
                <a:lnTo>
                  <a:pt x="2" y="48"/>
                </a:lnTo>
                <a:lnTo>
                  <a:pt x="6" y="46"/>
                </a:lnTo>
                <a:lnTo>
                  <a:pt x="6" y="38"/>
                </a:lnTo>
                <a:lnTo>
                  <a:pt x="2" y="3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1" name="Freeform 277">
            <a:extLst>
              <a:ext uri="{FF2B5EF4-FFF2-40B4-BE49-F238E27FC236}">
                <a16:creationId xmlns:a16="http://schemas.microsoft.com/office/drawing/2014/main" id="{C9CFEB17-BC38-43F4-9413-2FFFF43DF6E7}"/>
              </a:ext>
            </a:extLst>
          </p:cNvPr>
          <p:cNvSpPr>
            <a:spLocks/>
          </p:cNvSpPr>
          <p:nvPr/>
        </p:nvSpPr>
        <p:spPr bwMode="gray">
          <a:xfrm>
            <a:off x="9658524" y="3405046"/>
            <a:ext cx="193227" cy="190288"/>
          </a:xfrm>
          <a:custGeom>
            <a:avLst/>
            <a:gdLst>
              <a:gd name="T0" fmla="*/ 24 w 98"/>
              <a:gd name="T1" fmla="*/ 92 h 96"/>
              <a:gd name="T2" fmla="*/ 12 w 98"/>
              <a:gd name="T3" fmla="*/ 94 h 96"/>
              <a:gd name="T4" fmla="*/ 8 w 98"/>
              <a:gd name="T5" fmla="*/ 88 h 96"/>
              <a:gd name="T6" fmla="*/ 12 w 98"/>
              <a:gd name="T7" fmla="*/ 80 h 96"/>
              <a:gd name="T8" fmla="*/ 12 w 98"/>
              <a:gd name="T9" fmla="*/ 70 h 96"/>
              <a:gd name="T10" fmla="*/ 16 w 98"/>
              <a:gd name="T11" fmla="*/ 60 h 96"/>
              <a:gd name="T12" fmla="*/ 6 w 98"/>
              <a:gd name="T13" fmla="*/ 60 h 96"/>
              <a:gd name="T14" fmla="*/ 0 w 98"/>
              <a:gd name="T15" fmla="*/ 56 h 96"/>
              <a:gd name="T16" fmla="*/ 6 w 98"/>
              <a:gd name="T17" fmla="*/ 48 h 96"/>
              <a:gd name="T18" fmla="*/ 22 w 98"/>
              <a:gd name="T19" fmla="*/ 38 h 96"/>
              <a:gd name="T20" fmla="*/ 28 w 98"/>
              <a:gd name="T21" fmla="*/ 32 h 96"/>
              <a:gd name="T22" fmla="*/ 36 w 98"/>
              <a:gd name="T23" fmla="*/ 24 h 96"/>
              <a:gd name="T24" fmla="*/ 40 w 98"/>
              <a:gd name="T25" fmla="*/ 22 h 96"/>
              <a:gd name="T26" fmla="*/ 50 w 98"/>
              <a:gd name="T27" fmla="*/ 26 h 96"/>
              <a:gd name="T28" fmla="*/ 60 w 98"/>
              <a:gd name="T29" fmla="*/ 24 h 96"/>
              <a:gd name="T30" fmla="*/ 62 w 98"/>
              <a:gd name="T31" fmla="*/ 16 h 96"/>
              <a:gd name="T32" fmla="*/ 72 w 98"/>
              <a:gd name="T33" fmla="*/ 16 h 96"/>
              <a:gd name="T34" fmla="*/ 80 w 98"/>
              <a:gd name="T35" fmla="*/ 10 h 96"/>
              <a:gd name="T36" fmla="*/ 82 w 98"/>
              <a:gd name="T37" fmla="*/ 4 h 96"/>
              <a:gd name="T38" fmla="*/ 88 w 98"/>
              <a:gd name="T39" fmla="*/ 0 h 96"/>
              <a:gd name="T40" fmla="*/ 98 w 98"/>
              <a:gd name="T41" fmla="*/ 8 h 96"/>
              <a:gd name="T42" fmla="*/ 92 w 98"/>
              <a:gd name="T43" fmla="*/ 12 h 96"/>
              <a:gd name="T44" fmla="*/ 84 w 98"/>
              <a:gd name="T45" fmla="*/ 18 h 96"/>
              <a:gd name="T46" fmla="*/ 80 w 98"/>
              <a:gd name="T47" fmla="*/ 28 h 96"/>
              <a:gd name="T48" fmla="*/ 78 w 98"/>
              <a:gd name="T49" fmla="*/ 38 h 96"/>
              <a:gd name="T50" fmla="*/ 76 w 98"/>
              <a:gd name="T51" fmla="*/ 42 h 96"/>
              <a:gd name="T52" fmla="*/ 68 w 98"/>
              <a:gd name="T53" fmla="*/ 46 h 96"/>
              <a:gd name="T54" fmla="*/ 52 w 98"/>
              <a:gd name="T55" fmla="*/ 52 h 96"/>
              <a:gd name="T56" fmla="*/ 48 w 98"/>
              <a:gd name="T57" fmla="*/ 58 h 96"/>
              <a:gd name="T58" fmla="*/ 48 w 98"/>
              <a:gd name="T59" fmla="*/ 66 h 96"/>
              <a:gd name="T60" fmla="*/ 52 w 98"/>
              <a:gd name="T61" fmla="*/ 76 h 96"/>
              <a:gd name="T62" fmla="*/ 56 w 98"/>
              <a:gd name="T63" fmla="*/ 80 h 96"/>
              <a:gd name="T64" fmla="*/ 60 w 98"/>
              <a:gd name="T65" fmla="*/ 84 h 96"/>
              <a:gd name="T66" fmla="*/ 50 w 98"/>
              <a:gd name="T67" fmla="*/ 86 h 96"/>
              <a:gd name="T68" fmla="*/ 40 w 98"/>
              <a:gd name="T69" fmla="*/ 90 h 96"/>
              <a:gd name="T70" fmla="*/ 36 w 98"/>
              <a:gd name="T71" fmla="*/ 96 h 96"/>
              <a:gd name="T72" fmla="*/ 24 w 98"/>
              <a:gd name="T73"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96">
                <a:moveTo>
                  <a:pt x="24" y="92"/>
                </a:moveTo>
                <a:lnTo>
                  <a:pt x="12" y="94"/>
                </a:lnTo>
                <a:lnTo>
                  <a:pt x="8" y="88"/>
                </a:lnTo>
                <a:lnTo>
                  <a:pt x="12" y="80"/>
                </a:lnTo>
                <a:lnTo>
                  <a:pt x="12" y="70"/>
                </a:lnTo>
                <a:lnTo>
                  <a:pt x="16" y="60"/>
                </a:lnTo>
                <a:lnTo>
                  <a:pt x="6" y="60"/>
                </a:lnTo>
                <a:lnTo>
                  <a:pt x="0" y="56"/>
                </a:lnTo>
                <a:lnTo>
                  <a:pt x="6" y="48"/>
                </a:lnTo>
                <a:lnTo>
                  <a:pt x="22" y="38"/>
                </a:lnTo>
                <a:lnTo>
                  <a:pt x="28" y="32"/>
                </a:lnTo>
                <a:lnTo>
                  <a:pt x="36" y="24"/>
                </a:lnTo>
                <a:lnTo>
                  <a:pt x="40" y="22"/>
                </a:lnTo>
                <a:lnTo>
                  <a:pt x="50" y="26"/>
                </a:lnTo>
                <a:lnTo>
                  <a:pt x="60" y="24"/>
                </a:lnTo>
                <a:lnTo>
                  <a:pt x="62" y="16"/>
                </a:lnTo>
                <a:lnTo>
                  <a:pt x="72" y="16"/>
                </a:lnTo>
                <a:lnTo>
                  <a:pt x="80" y="10"/>
                </a:lnTo>
                <a:lnTo>
                  <a:pt x="82" y="4"/>
                </a:lnTo>
                <a:lnTo>
                  <a:pt x="88" y="0"/>
                </a:lnTo>
                <a:lnTo>
                  <a:pt x="98" y="8"/>
                </a:lnTo>
                <a:lnTo>
                  <a:pt x="92" y="12"/>
                </a:lnTo>
                <a:lnTo>
                  <a:pt x="84" y="18"/>
                </a:lnTo>
                <a:lnTo>
                  <a:pt x="80" y="28"/>
                </a:lnTo>
                <a:lnTo>
                  <a:pt x="78" y="38"/>
                </a:lnTo>
                <a:lnTo>
                  <a:pt x="76" y="42"/>
                </a:lnTo>
                <a:lnTo>
                  <a:pt x="68" y="46"/>
                </a:lnTo>
                <a:lnTo>
                  <a:pt x="52" y="52"/>
                </a:lnTo>
                <a:lnTo>
                  <a:pt x="48" y="58"/>
                </a:lnTo>
                <a:lnTo>
                  <a:pt x="48" y="66"/>
                </a:lnTo>
                <a:lnTo>
                  <a:pt x="52" y="76"/>
                </a:lnTo>
                <a:lnTo>
                  <a:pt x="56" y="80"/>
                </a:lnTo>
                <a:lnTo>
                  <a:pt x="60" y="84"/>
                </a:lnTo>
                <a:lnTo>
                  <a:pt x="50" y="86"/>
                </a:lnTo>
                <a:lnTo>
                  <a:pt x="40" y="90"/>
                </a:lnTo>
                <a:lnTo>
                  <a:pt x="36" y="96"/>
                </a:lnTo>
                <a:lnTo>
                  <a:pt x="24" y="9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2" name="Freeform 278">
            <a:extLst>
              <a:ext uri="{FF2B5EF4-FFF2-40B4-BE49-F238E27FC236}">
                <a16:creationId xmlns:a16="http://schemas.microsoft.com/office/drawing/2014/main" id="{D8C262C0-2452-40C1-B72F-DF70760347C7}"/>
              </a:ext>
            </a:extLst>
          </p:cNvPr>
          <p:cNvSpPr>
            <a:spLocks/>
          </p:cNvSpPr>
          <p:nvPr/>
        </p:nvSpPr>
        <p:spPr bwMode="gray">
          <a:xfrm>
            <a:off x="8065392" y="2976900"/>
            <a:ext cx="1916491" cy="1213080"/>
          </a:xfrm>
          <a:custGeom>
            <a:avLst/>
            <a:gdLst>
              <a:gd name="T0" fmla="*/ 108 w 972"/>
              <a:gd name="T1" fmla="*/ 176 h 612"/>
              <a:gd name="T2" fmla="*/ 170 w 972"/>
              <a:gd name="T3" fmla="*/ 134 h 612"/>
              <a:gd name="T4" fmla="*/ 210 w 972"/>
              <a:gd name="T5" fmla="*/ 104 h 612"/>
              <a:gd name="T6" fmla="*/ 258 w 972"/>
              <a:gd name="T7" fmla="*/ 116 h 612"/>
              <a:gd name="T8" fmla="*/ 278 w 972"/>
              <a:gd name="T9" fmla="*/ 170 h 612"/>
              <a:gd name="T10" fmla="*/ 358 w 972"/>
              <a:gd name="T11" fmla="*/ 212 h 612"/>
              <a:gd name="T12" fmla="*/ 506 w 972"/>
              <a:gd name="T13" fmla="*/ 240 h 612"/>
              <a:gd name="T14" fmla="*/ 608 w 972"/>
              <a:gd name="T15" fmla="*/ 200 h 612"/>
              <a:gd name="T16" fmla="*/ 654 w 972"/>
              <a:gd name="T17" fmla="*/ 164 h 612"/>
              <a:gd name="T18" fmla="*/ 736 w 972"/>
              <a:gd name="T19" fmla="*/ 144 h 612"/>
              <a:gd name="T20" fmla="*/ 668 w 972"/>
              <a:gd name="T21" fmla="*/ 116 h 612"/>
              <a:gd name="T22" fmla="*/ 714 w 972"/>
              <a:gd name="T23" fmla="*/ 76 h 612"/>
              <a:gd name="T24" fmla="*/ 750 w 972"/>
              <a:gd name="T25" fmla="*/ 20 h 612"/>
              <a:gd name="T26" fmla="*/ 798 w 972"/>
              <a:gd name="T27" fmla="*/ 0 h 612"/>
              <a:gd name="T28" fmla="*/ 856 w 972"/>
              <a:gd name="T29" fmla="*/ 68 h 612"/>
              <a:gd name="T30" fmla="*/ 908 w 972"/>
              <a:gd name="T31" fmla="*/ 100 h 612"/>
              <a:gd name="T32" fmla="*/ 970 w 972"/>
              <a:gd name="T33" fmla="*/ 110 h 612"/>
              <a:gd name="T34" fmla="*/ 934 w 972"/>
              <a:gd name="T35" fmla="*/ 174 h 612"/>
              <a:gd name="T36" fmla="*/ 896 w 972"/>
              <a:gd name="T37" fmla="*/ 216 h 612"/>
              <a:gd name="T38" fmla="*/ 848 w 972"/>
              <a:gd name="T39" fmla="*/ 238 h 612"/>
              <a:gd name="T40" fmla="*/ 798 w 972"/>
              <a:gd name="T41" fmla="*/ 274 h 612"/>
              <a:gd name="T42" fmla="*/ 772 w 972"/>
              <a:gd name="T43" fmla="*/ 266 h 612"/>
              <a:gd name="T44" fmla="*/ 724 w 972"/>
              <a:gd name="T45" fmla="*/ 286 h 612"/>
              <a:gd name="T46" fmla="*/ 720 w 972"/>
              <a:gd name="T47" fmla="*/ 316 h 612"/>
              <a:gd name="T48" fmla="*/ 758 w 972"/>
              <a:gd name="T49" fmla="*/ 316 h 612"/>
              <a:gd name="T50" fmla="*/ 752 w 972"/>
              <a:gd name="T51" fmla="*/ 334 h 612"/>
              <a:gd name="T52" fmla="*/ 736 w 972"/>
              <a:gd name="T53" fmla="*/ 372 h 612"/>
              <a:gd name="T54" fmla="*/ 766 w 972"/>
              <a:gd name="T55" fmla="*/ 422 h 612"/>
              <a:gd name="T56" fmla="*/ 760 w 972"/>
              <a:gd name="T57" fmla="*/ 438 h 612"/>
              <a:gd name="T58" fmla="*/ 766 w 972"/>
              <a:gd name="T59" fmla="*/ 450 h 612"/>
              <a:gd name="T60" fmla="*/ 714 w 972"/>
              <a:gd name="T61" fmla="*/ 542 h 612"/>
              <a:gd name="T62" fmla="*/ 638 w 972"/>
              <a:gd name="T63" fmla="*/ 568 h 612"/>
              <a:gd name="T64" fmla="*/ 586 w 972"/>
              <a:gd name="T65" fmla="*/ 596 h 612"/>
              <a:gd name="T66" fmla="*/ 576 w 972"/>
              <a:gd name="T67" fmla="*/ 594 h 612"/>
              <a:gd name="T68" fmla="*/ 528 w 972"/>
              <a:gd name="T69" fmla="*/ 590 h 612"/>
              <a:gd name="T70" fmla="*/ 492 w 972"/>
              <a:gd name="T71" fmla="*/ 576 h 612"/>
              <a:gd name="T72" fmla="*/ 450 w 972"/>
              <a:gd name="T73" fmla="*/ 590 h 612"/>
              <a:gd name="T74" fmla="*/ 420 w 972"/>
              <a:gd name="T75" fmla="*/ 594 h 612"/>
              <a:gd name="T76" fmla="*/ 402 w 972"/>
              <a:gd name="T77" fmla="*/ 552 h 612"/>
              <a:gd name="T78" fmla="*/ 392 w 972"/>
              <a:gd name="T79" fmla="*/ 490 h 612"/>
              <a:gd name="T80" fmla="*/ 352 w 972"/>
              <a:gd name="T81" fmla="*/ 464 h 612"/>
              <a:gd name="T82" fmla="*/ 292 w 972"/>
              <a:gd name="T83" fmla="*/ 488 h 612"/>
              <a:gd name="T84" fmla="*/ 230 w 972"/>
              <a:gd name="T85" fmla="*/ 488 h 612"/>
              <a:gd name="T86" fmla="*/ 146 w 972"/>
              <a:gd name="T87" fmla="*/ 456 h 612"/>
              <a:gd name="T88" fmla="*/ 80 w 972"/>
              <a:gd name="T89" fmla="*/ 418 h 612"/>
              <a:gd name="T90" fmla="*/ 84 w 972"/>
              <a:gd name="T91" fmla="*/ 380 h 612"/>
              <a:gd name="T92" fmla="*/ 70 w 972"/>
              <a:gd name="T93" fmla="*/ 352 h 612"/>
              <a:gd name="T94" fmla="*/ 20 w 972"/>
              <a:gd name="T95" fmla="*/ 318 h 612"/>
              <a:gd name="T96" fmla="*/ 2 w 972"/>
              <a:gd name="T97" fmla="*/ 284 h 612"/>
              <a:gd name="T98" fmla="*/ 32 w 972"/>
              <a:gd name="T99" fmla="*/ 266 h 612"/>
              <a:gd name="T100" fmla="*/ 102 w 972"/>
              <a:gd name="T101" fmla="*/ 232 h 612"/>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26 w 10000"/>
              <a:gd name="connsiteY233" fmla="*/ 5621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27 w 10000"/>
              <a:gd name="connsiteY207" fmla="*/ 7948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10000" h="10000">
                <a:moveTo>
                  <a:pt x="1111" y="3725"/>
                </a:moveTo>
                <a:lnTo>
                  <a:pt x="1111" y="3562"/>
                </a:lnTo>
                <a:cubicBezTo>
                  <a:pt x="1138" y="3518"/>
                  <a:pt x="1166" y="3475"/>
                  <a:pt x="1193" y="3431"/>
                </a:cubicBezTo>
                <a:cubicBezTo>
                  <a:pt x="1173" y="3344"/>
                  <a:pt x="1152" y="3257"/>
                  <a:pt x="1132" y="3170"/>
                </a:cubicBezTo>
                <a:lnTo>
                  <a:pt x="1111" y="2876"/>
                </a:lnTo>
                <a:cubicBezTo>
                  <a:pt x="1152" y="2843"/>
                  <a:pt x="1194" y="2811"/>
                  <a:pt x="1235" y="2778"/>
                </a:cubicBezTo>
                <a:lnTo>
                  <a:pt x="1420" y="2778"/>
                </a:lnTo>
                <a:cubicBezTo>
                  <a:pt x="1434" y="2702"/>
                  <a:pt x="1447" y="2625"/>
                  <a:pt x="1461" y="2549"/>
                </a:cubicBezTo>
                <a:cubicBezTo>
                  <a:pt x="1495" y="2418"/>
                  <a:pt x="1530" y="2288"/>
                  <a:pt x="1564" y="2157"/>
                </a:cubicBezTo>
                <a:lnTo>
                  <a:pt x="1749" y="2190"/>
                </a:lnTo>
                <a:lnTo>
                  <a:pt x="1893" y="2190"/>
                </a:lnTo>
                <a:lnTo>
                  <a:pt x="1996" y="2157"/>
                </a:lnTo>
                <a:lnTo>
                  <a:pt x="1996" y="1928"/>
                </a:lnTo>
                <a:cubicBezTo>
                  <a:pt x="2010" y="1852"/>
                  <a:pt x="2023" y="1775"/>
                  <a:pt x="2037" y="1699"/>
                </a:cubicBezTo>
                <a:lnTo>
                  <a:pt x="2160" y="1699"/>
                </a:lnTo>
                <a:cubicBezTo>
                  <a:pt x="2167" y="1645"/>
                  <a:pt x="2174" y="1590"/>
                  <a:pt x="2181" y="1536"/>
                </a:cubicBezTo>
                <a:lnTo>
                  <a:pt x="2346" y="1536"/>
                </a:lnTo>
                <a:cubicBezTo>
                  <a:pt x="2360" y="1590"/>
                  <a:pt x="2373" y="1645"/>
                  <a:pt x="2387" y="1699"/>
                </a:cubicBezTo>
                <a:cubicBezTo>
                  <a:pt x="2421" y="1754"/>
                  <a:pt x="2456" y="1808"/>
                  <a:pt x="2490" y="1863"/>
                </a:cubicBezTo>
                <a:lnTo>
                  <a:pt x="2654" y="1895"/>
                </a:lnTo>
                <a:lnTo>
                  <a:pt x="2798" y="2124"/>
                </a:lnTo>
                <a:cubicBezTo>
                  <a:pt x="2826" y="2189"/>
                  <a:pt x="2853" y="2255"/>
                  <a:pt x="2881" y="2320"/>
                </a:cubicBezTo>
                <a:lnTo>
                  <a:pt x="2881" y="2451"/>
                </a:lnTo>
                <a:cubicBezTo>
                  <a:pt x="2860" y="2495"/>
                  <a:pt x="2840" y="2538"/>
                  <a:pt x="2819" y="2582"/>
                </a:cubicBezTo>
                <a:cubicBezTo>
                  <a:pt x="2833" y="2647"/>
                  <a:pt x="2846" y="2713"/>
                  <a:pt x="2860" y="2778"/>
                </a:cubicBezTo>
                <a:cubicBezTo>
                  <a:pt x="2887" y="2800"/>
                  <a:pt x="2915" y="2821"/>
                  <a:pt x="2942" y="2843"/>
                </a:cubicBezTo>
                <a:lnTo>
                  <a:pt x="3292" y="2876"/>
                </a:lnTo>
                <a:lnTo>
                  <a:pt x="3395" y="3039"/>
                </a:lnTo>
                <a:lnTo>
                  <a:pt x="3621" y="3235"/>
                </a:lnTo>
                <a:cubicBezTo>
                  <a:pt x="3642" y="3311"/>
                  <a:pt x="3662" y="3388"/>
                  <a:pt x="3683" y="3464"/>
                </a:cubicBezTo>
                <a:cubicBezTo>
                  <a:pt x="3704" y="3508"/>
                  <a:pt x="3724" y="3551"/>
                  <a:pt x="3745" y="3595"/>
                </a:cubicBezTo>
                <a:lnTo>
                  <a:pt x="4300" y="3627"/>
                </a:lnTo>
                <a:lnTo>
                  <a:pt x="4588" y="3660"/>
                </a:lnTo>
                <a:lnTo>
                  <a:pt x="4835" y="3856"/>
                </a:lnTo>
                <a:lnTo>
                  <a:pt x="5206" y="3922"/>
                </a:lnTo>
                <a:lnTo>
                  <a:pt x="5432" y="3693"/>
                </a:lnTo>
                <a:lnTo>
                  <a:pt x="5885" y="3693"/>
                </a:lnTo>
                <a:lnTo>
                  <a:pt x="6070" y="3529"/>
                </a:lnTo>
                <a:lnTo>
                  <a:pt x="6070" y="3431"/>
                </a:lnTo>
                <a:cubicBezTo>
                  <a:pt x="6132" y="3377"/>
                  <a:pt x="6193" y="3322"/>
                  <a:pt x="6255" y="3268"/>
                </a:cubicBezTo>
                <a:cubicBezTo>
                  <a:pt x="6234" y="3203"/>
                  <a:pt x="6214" y="3137"/>
                  <a:pt x="6193" y="3072"/>
                </a:cubicBezTo>
                <a:cubicBezTo>
                  <a:pt x="6214" y="3007"/>
                  <a:pt x="6234" y="2941"/>
                  <a:pt x="6255" y="2876"/>
                </a:cubicBezTo>
                <a:lnTo>
                  <a:pt x="6399" y="2876"/>
                </a:lnTo>
                <a:lnTo>
                  <a:pt x="6584" y="2908"/>
                </a:lnTo>
                <a:lnTo>
                  <a:pt x="6728" y="2680"/>
                </a:lnTo>
                <a:lnTo>
                  <a:pt x="6893" y="2680"/>
                </a:lnTo>
                <a:cubicBezTo>
                  <a:pt x="6955" y="2604"/>
                  <a:pt x="7016" y="2527"/>
                  <a:pt x="7078" y="2451"/>
                </a:cubicBezTo>
                <a:lnTo>
                  <a:pt x="7284" y="2320"/>
                </a:lnTo>
                <a:lnTo>
                  <a:pt x="7407" y="2320"/>
                </a:lnTo>
                <a:lnTo>
                  <a:pt x="7572" y="2353"/>
                </a:lnTo>
                <a:cubicBezTo>
                  <a:pt x="7565" y="2299"/>
                  <a:pt x="7558" y="2244"/>
                  <a:pt x="7551" y="2190"/>
                </a:cubicBezTo>
                <a:lnTo>
                  <a:pt x="7346" y="1863"/>
                </a:lnTo>
                <a:lnTo>
                  <a:pt x="7243" y="1830"/>
                </a:lnTo>
                <a:lnTo>
                  <a:pt x="7160" y="1928"/>
                </a:lnTo>
                <a:lnTo>
                  <a:pt x="6872" y="1895"/>
                </a:lnTo>
                <a:lnTo>
                  <a:pt x="6914" y="1667"/>
                </a:lnTo>
                <a:cubicBezTo>
                  <a:pt x="6941" y="1569"/>
                  <a:pt x="6969" y="1471"/>
                  <a:pt x="6996" y="1373"/>
                </a:cubicBezTo>
                <a:cubicBezTo>
                  <a:pt x="7017" y="1329"/>
                  <a:pt x="7037" y="1286"/>
                  <a:pt x="7058" y="1242"/>
                </a:cubicBezTo>
                <a:cubicBezTo>
                  <a:pt x="7120" y="1296"/>
                  <a:pt x="7181" y="1351"/>
                  <a:pt x="7243" y="1405"/>
                </a:cubicBezTo>
                <a:lnTo>
                  <a:pt x="7346" y="1242"/>
                </a:lnTo>
                <a:lnTo>
                  <a:pt x="7469" y="1209"/>
                </a:lnTo>
                <a:cubicBezTo>
                  <a:pt x="7483" y="1122"/>
                  <a:pt x="7496" y="1035"/>
                  <a:pt x="7510" y="948"/>
                </a:cubicBezTo>
                <a:cubicBezTo>
                  <a:pt x="7544" y="850"/>
                  <a:pt x="7579" y="752"/>
                  <a:pt x="7613" y="654"/>
                </a:cubicBezTo>
                <a:cubicBezTo>
                  <a:pt x="7647" y="621"/>
                  <a:pt x="7682" y="589"/>
                  <a:pt x="7716" y="556"/>
                </a:cubicBezTo>
                <a:lnTo>
                  <a:pt x="7716" y="327"/>
                </a:lnTo>
                <a:lnTo>
                  <a:pt x="7593" y="294"/>
                </a:lnTo>
                <a:cubicBezTo>
                  <a:pt x="7600" y="250"/>
                  <a:pt x="7606" y="207"/>
                  <a:pt x="7613" y="163"/>
                </a:cubicBezTo>
                <a:lnTo>
                  <a:pt x="7757" y="65"/>
                </a:lnTo>
                <a:lnTo>
                  <a:pt x="8025" y="33"/>
                </a:lnTo>
                <a:lnTo>
                  <a:pt x="8210" y="0"/>
                </a:lnTo>
                <a:lnTo>
                  <a:pt x="8374" y="98"/>
                </a:lnTo>
                <a:cubicBezTo>
                  <a:pt x="8422" y="131"/>
                  <a:pt x="8471" y="163"/>
                  <a:pt x="8519" y="196"/>
                </a:cubicBezTo>
                <a:lnTo>
                  <a:pt x="8642" y="523"/>
                </a:lnTo>
                <a:cubicBezTo>
                  <a:pt x="8669" y="632"/>
                  <a:pt x="8697" y="741"/>
                  <a:pt x="8724" y="850"/>
                </a:cubicBezTo>
                <a:cubicBezTo>
                  <a:pt x="8752" y="937"/>
                  <a:pt x="8779" y="1024"/>
                  <a:pt x="8807" y="1111"/>
                </a:cubicBezTo>
                <a:cubicBezTo>
                  <a:pt x="8827" y="1198"/>
                  <a:pt x="8848" y="1286"/>
                  <a:pt x="8868" y="1373"/>
                </a:cubicBezTo>
                <a:lnTo>
                  <a:pt x="9033" y="1373"/>
                </a:lnTo>
                <a:cubicBezTo>
                  <a:pt x="9067" y="1406"/>
                  <a:pt x="9102" y="1438"/>
                  <a:pt x="9136" y="1471"/>
                </a:cubicBezTo>
                <a:lnTo>
                  <a:pt x="9280" y="1601"/>
                </a:lnTo>
                <a:lnTo>
                  <a:pt x="9342" y="1634"/>
                </a:lnTo>
                <a:cubicBezTo>
                  <a:pt x="9356" y="1743"/>
                  <a:pt x="9369" y="1852"/>
                  <a:pt x="9383" y="1961"/>
                </a:cubicBezTo>
                <a:lnTo>
                  <a:pt x="9609" y="1993"/>
                </a:lnTo>
                <a:cubicBezTo>
                  <a:pt x="9630" y="1950"/>
                  <a:pt x="9650" y="1906"/>
                  <a:pt x="9671" y="1863"/>
                </a:cubicBezTo>
                <a:lnTo>
                  <a:pt x="9815" y="1830"/>
                </a:lnTo>
                <a:lnTo>
                  <a:pt x="9979" y="1797"/>
                </a:lnTo>
                <a:cubicBezTo>
                  <a:pt x="9986" y="1873"/>
                  <a:pt x="9993" y="1950"/>
                  <a:pt x="10000" y="2026"/>
                </a:cubicBezTo>
                <a:lnTo>
                  <a:pt x="9918" y="2092"/>
                </a:lnTo>
                <a:cubicBezTo>
                  <a:pt x="9897" y="2212"/>
                  <a:pt x="9877" y="2331"/>
                  <a:pt x="9856" y="2451"/>
                </a:cubicBezTo>
                <a:lnTo>
                  <a:pt x="9733" y="2810"/>
                </a:lnTo>
                <a:lnTo>
                  <a:pt x="9609" y="2843"/>
                </a:lnTo>
                <a:lnTo>
                  <a:pt x="9547" y="2745"/>
                </a:lnTo>
                <a:lnTo>
                  <a:pt x="9403" y="2908"/>
                </a:lnTo>
                <a:lnTo>
                  <a:pt x="9403" y="3497"/>
                </a:lnTo>
                <a:cubicBezTo>
                  <a:pt x="9376" y="3551"/>
                  <a:pt x="9348" y="3606"/>
                  <a:pt x="9321" y="3660"/>
                </a:cubicBezTo>
                <a:cubicBezTo>
                  <a:pt x="9287" y="3616"/>
                  <a:pt x="9252" y="3573"/>
                  <a:pt x="9218" y="3529"/>
                </a:cubicBezTo>
                <a:lnTo>
                  <a:pt x="9053" y="3791"/>
                </a:lnTo>
                <a:lnTo>
                  <a:pt x="8951" y="3791"/>
                </a:lnTo>
                <a:cubicBezTo>
                  <a:pt x="8944" y="3835"/>
                  <a:pt x="8937" y="3878"/>
                  <a:pt x="8930" y="3922"/>
                </a:cubicBezTo>
                <a:cubicBezTo>
                  <a:pt x="8896" y="3933"/>
                  <a:pt x="8861" y="3943"/>
                  <a:pt x="8827" y="3954"/>
                </a:cubicBezTo>
                <a:cubicBezTo>
                  <a:pt x="8793" y="3932"/>
                  <a:pt x="8758" y="3911"/>
                  <a:pt x="8724" y="3889"/>
                </a:cubicBezTo>
                <a:cubicBezTo>
                  <a:pt x="8710" y="3900"/>
                  <a:pt x="8697" y="3911"/>
                  <a:pt x="8683" y="3922"/>
                </a:cubicBezTo>
                <a:lnTo>
                  <a:pt x="8539" y="4150"/>
                </a:lnTo>
                <a:lnTo>
                  <a:pt x="8416" y="4281"/>
                </a:lnTo>
                <a:lnTo>
                  <a:pt x="8313" y="4444"/>
                </a:lnTo>
                <a:lnTo>
                  <a:pt x="8210" y="4477"/>
                </a:lnTo>
                <a:lnTo>
                  <a:pt x="8107" y="4510"/>
                </a:lnTo>
                <a:lnTo>
                  <a:pt x="7819" y="4804"/>
                </a:lnTo>
                <a:cubicBezTo>
                  <a:pt x="7812" y="4739"/>
                  <a:pt x="7805" y="4673"/>
                  <a:pt x="7798" y="4608"/>
                </a:cubicBezTo>
                <a:cubicBezTo>
                  <a:pt x="7812" y="4553"/>
                  <a:pt x="7826" y="4499"/>
                  <a:pt x="7840" y="4444"/>
                </a:cubicBezTo>
                <a:lnTo>
                  <a:pt x="7942" y="4346"/>
                </a:lnTo>
                <a:cubicBezTo>
                  <a:pt x="7935" y="4292"/>
                  <a:pt x="7929" y="4237"/>
                  <a:pt x="7922" y="4183"/>
                </a:cubicBezTo>
                <a:lnTo>
                  <a:pt x="7840" y="4183"/>
                </a:lnTo>
                <a:lnTo>
                  <a:pt x="7716" y="4216"/>
                </a:lnTo>
                <a:lnTo>
                  <a:pt x="7490" y="4510"/>
                </a:lnTo>
                <a:cubicBezTo>
                  <a:pt x="7476" y="4564"/>
                  <a:pt x="7463" y="4619"/>
                  <a:pt x="7449" y="4673"/>
                </a:cubicBezTo>
                <a:lnTo>
                  <a:pt x="7243" y="4673"/>
                </a:lnTo>
                <a:cubicBezTo>
                  <a:pt x="7229" y="4717"/>
                  <a:pt x="7216" y="4760"/>
                  <a:pt x="7202" y="4804"/>
                </a:cubicBezTo>
                <a:cubicBezTo>
                  <a:pt x="7222" y="4880"/>
                  <a:pt x="7243" y="4957"/>
                  <a:pt x="7263" y="5033"/>
                </a:cubicBezTo>
                <a:lnTo>
                  <a:pt x="7407" y="5065"/>
                </a:lnTo>
                <a:lnTo>
                  <a:pt x="7407" y="5163"/>
                </a:lnTo>
                <a:cubicBezTo>
                  <a:pt x="7414" y="5207"/>
                  <a:pt x="7421" y="5250"/>
                  <a:pt x="7428" y="5294"/>
                </a:cubicBezTo>
                <a:lnTo>
                  <a:pt x="7551" y="5261"/>
                </a:lnTo>
                <a:cubicBezTo>
                  <a:pt x="7579" y="5218"/>
                  <a:pt x="7606" y="5174"/>
                  <a:pt x="7634" y="5131"/>
                </a:cubicBezTo>
                <a:lnTo>
                  <a:pt x="7716" y="5098"/>
                </a:lnTo>
                <a:cubicBezTo>
                  <a:pt x="7743" y="5120"/>
                  <a:pt x="7771" y="5141"/>
                  <a:pt x="7798" y="5163"/>
                </a:cubicBezTo>
                <a:lnTo>
                  <a:pt x="7963" y="5229"/>
                </a:lnTo>
                <a:cubicBezTo>
                  <a:pt x="7977" y="5272"/>
                  <a:pt x="7990" y="5316"/>
                  <a:pt x="8004" y="5359"/>
                </a:cubicBezTo>
                <a:lnTo>
                  <a:pt x="7942" y="5392"/>
                </a:lnTo>
                <a:lnTo>
                  <a:pt x="7819" y="5392"/>
                </a:lnTo>
                <a:lnTo>
                  <a:pt x="7737" y="5458"/>
                </a:lnTo>
                <a:cubicBezTo>
                  <a:pt x="7730" y="5491"/>
                  <a:pt x="7723" y="5523"/>
                  <a:pt x="7716" y="5556"/>
                </a:cubicBezTo>
                <a:cubicBezTo>
                  <a:pt x="7682" y="5578"/>
                  <a:pt x="7647" y="5599"/>
                  <a:pt x="7613" y="5621"/>
                </a:cubicBezTo>
                <a:cubicBezTo>
                  <a:pt x="7579" y="5697"/>
                  <a:pt x="7544" y="5774"/>
                  <a:pt x="7510" y="5850"/>
                </a:cubicBezTo>
                <a:cubicBezTo>
                  <a:pt x="7496" y="5904"/>
                  <a:pt x="7483" y="5959"/>
                  <a:pt x="7469" y="6013"/>
                </a:cubicBezTo>
                <a:cubicBezTo>
                  <a:pt x="7503" y="6035"/>
                  <a:pt x="7538" y="6056"/>
                  <a:pt x="7572" y="6078"/>
                </a:cubicBezTo>
                <a:lnTo>
                  <a:pt x="7634" y="6176"/>
                </a:lnTo>
                <a:cubicBezTo>
                  <a:pt x="7661" y="6285"/>
                  <a:pt x="7689" y="6394"/>
                  <a:pt x="7716" y="6503"/>
                </a:cubicBezTo>
                <a:cubicBezTo>
                  <a:pt x="7723" y="6547"/>
                  <a:pt x="7730" y="6590"/>
                  <a:pt x="7737" y="6634"/>
                </a:cubicBezTo>
                <a:cubicBezTo>
                  <a:pt x="7792" y="6699"/>
                  <a:pt x="7846" y="6765"/>
                  <a:pt x="7901" y="6830"/>
                </a:cubicBezTo>
                <a:cubicBezTo>
                  <a:pt x="7894" y="6852"/>
                  <a:pt x="7888" y="6873"/>
                  <a:pt x="7881" y="6895"/>
                </a:cubicBezTo>
                <a:cubicBezTo>
                  <a:pt x="7847" y="6873"/>
                  <a:pt x="7812" y="6852"/>
                  <a:pt x="7778" y="6830"/>
                </a:cubicBezTo>
                <a:cubicBezTo>
                  <a:pt x="7764" y="6874"/>
                  <a:pt x="7751" y="6917"/>
                  <a:pt x="7737" y="6961"/>
                </a:cubicBezTo>
                <a:lnTo>
                  <a:pt x="7860" y="7026"/>
                </a:lnTo>
                <a:cubicBezTo>
                  <a:pt x="7874" y="7059"/>
                  <a:pt x="7887" y="7091"/>
                  <a:pt x="7901" y="7124"/>
                </a:cubicBezTo>
                <a:lnTo>
                  <a:pt x="7819" y="7157"/>
                </a:lnTo>
                <a:lnTo>
                  <a:pt x="7716" y="7190"/>
                </a:lnTo>
                <a:lnTo>
                  <a:pt x="7654" y="7255"/>
                </a:lnTo>
                <a:cubicBezTo>
                  <a:pt x="7647" y="7266"/>
                  <a:pt x="7641" y="7277"/>
                  <a:pt x="7634" y="7288"/>
                </a:cubicBezTo>
                <a:lnTo>
                  <a:pt x="7778" y="7320"/>
                </a:lnTo>
                <a:lnTo>
                  <a:pt x="7881" y="7353"/>
                </a:lnTo>
                <a:lnTo>
                  <a:pt x="7881" y="7549"/>
                </a:lnTo>
                <a:cubicBezTo>
                  <a:pt x="7853" y="7647"/>
                  <a:pt x="7826" y="7745"/>
                  <a:pt x="7798" y="7843"/>
                </a:cubicBezTo>
                <a:cubicBezTo>
                  <a:pt x="7730" y="7974"/>
                  <a:pt x="7661" y="8104"/>
                  <a:pt x="7593" y="8235"/>
                </a:cubicBezTo>
                <a:lnTo>
                  <a:pt x="7449" y="8562"/>
                </a:lnTo>
                <a:cubicBezTo>
                  <a:pt x="7415" y="8660"/>
                  <a:pt x="7380" y="8758"/>
                  <a:pt x="7346" y="8856"/>
                </a:cubicBezTo>
                <a:lnTo>
                  <a:pt x="7119" y="9150"/>
                </a:lnTo>
                <a:lnTo>
                  <a:pt x="6975" y="9346"/>
                </a:lnTo>
                <a:lnTo>
                  <a:pt x="6749" y="9412"/>
                </a:lnTo>
                <a:lnTo>
                  <a:pt x="6626" y="9412"/>
                </a:lnTo>
                <a:cubicBezTo>
                  <a:pt x="6605" y="9368"/>
                  <a:pt x="6585" y="9325"/>
                  <a:pt x="6564" y="9281"/>
                </a:cubicBezTo>
                <a:lnTo>
                  <a:pt x="6502" y="9314"/>
                </a:lnTo>
                <a:lnTo>
                  <a:pt x="6502" y="9542"/>
                </a:lnTo>
                <a:lnTo>
                  <a:pt x="6358" y="9608"/>
                </a:lnTo>
                <a:lnTo>
                  <a:pt x="6152" y="9706"/>
                </a:lnTo>
                <a:lnTo>
                  <a:pt x="6029" y="9739"/>
                </a:lnTo>
                <a:cubicBezTo>
                  <a:pt x="6015" y="9782"/>
                  <a:pt x="6002" y="9826"/>
                  <a:pt x="5988" y="9869"/>
                </a:cubicBezTo>
                <a:cubicBezTo>
                  <a:pt x="5995" y="9913"/>
                  <a:pt x="6001" y="9956"/>
                  <a:pt x="6008" y="10000"/>
                </a:cubicBezTo>
                <a:cubicBezTo>
                  <a:pt x="5981" y="9978"/>
                  <a:pt x="5953" y="9957"/>
                  <a:pt x="5926" y="9935"/>
                </a:cubicBezTo>
                <a:lnTo>
                  <a:pt x="5926" y="9804"/>
                </a:lnTo>
                <a:lnTo>
                  <a:pt x="5926" y="9706"/>
                </a:lnTo>
                <a:lnTo>
                  <a:pt x="5823" y="9706"/>
                </a:lnTo>
                <a:cubicBezTo>
                  <a:pt x="5789" y="9684"/>
                  <a:pt x="5754" y="9663"/>
                  <a:pt x="5720" y="9641"/>
                </a:cubicBezTo>
                <a:cubicBezTo>
                  <a:pt x="5686" y="9663"/>
                  <a:pt x="5651" y="9684"/>
                  <a:pt x="5617" y="9706"/>
                </a:cubicBezTo>
                <a:lnTo>
                  <a:pt x="5514" y="9706"/>
                </a:lnTo>
                <a:cubicBezTo>
                  <a:pt x="5487" y="9684"/>
                  <a:pt x="5459" y="9663"/>
                  <a:pt x="5432" y="9641"/>
                </a:cubicBezTo>
                <a:cubicBezTo>
                  <a:pt x="5425" y="9554"/>
                  <a:pt x="5419" y="9466"/>
                  <a:pt x="5412" y="9379"/>
                </a:cubicBezTo>
                <a:lnTo>
                  <a:pt x="5288" y="9346"/>
                </a:lnTo>
                <a:lnTo>
                  <a:pt x="5226" y="9281"/>
                </a:lnTo>
                <a:lnTo>
                  <a:pt x="5144" y="9281"/>
                </a:lnTo>
                <a:cubicBezTo>
                  <a:pt x="5117" y="9325"/>
                  <a:pt x="5089" y="9368"/>
                  <a:pt x="5062" y="9412"/>
                </a:cubicBezTo>
                <a:lnTo>
                  <a:pt x="4712" y="9412"/>
                </a:lnTo>
                <a:cubicBezTo>
                  <a:pt x="4705" y="9434"/>
                  <a:pt x="4698" y="9455"/>
                  <a:pt x="4691" y="9477"/>
                </a:cubicBezTo>
                <a:lnTo>
                  <a:pt x="4568" y="9477"/>
                </a:lnTo>
                <a:lnTo>
                  <a:pt x="4568" y="9608"/>
                </a:lnTo>
                <a:lnTo>
                  <a:pt x="4630" y="9641"/>
                </a:lnTo>
                <a:cubicBezTo>
                  <a:pt x="4623" y="9684"/>
                  <a:pt x="4616" y="9728"/>
                  <a:pt x="4609" y="9771"/>
                </a:cubicBezTo>
                <a:lnTo>
                  <a:pt x="4527" y="9771"/>
                </a:lnTo>
                <a:cubicBezTo>
                  <a:pt x="4513" y="9749"/>
                  <a:pt x="4500" y="9728"/>
                  <a:pt x="4486" y="9706"/>
                </a:cubicBezTo>
                <a:lnTo>
                  <a:pt x="4403" y="9706"/>
                </a:lnTo>
                <a:lnTo>
                  <a:pt x="4321" y="9706"/>
                </a:lnTo>
                <a:lnTo>
                  <a:pt x="4321" y="9608"/>
                </a:lnTo>
                <a:lnTo>
                  <a:pt x="4239" y="9575"/>
                </a:lnTo>
                <a:lnTo>
                  <a:pt x="4239" y="9314"/>
                </a:lnTo>
                <a:lnTo>
                  <a:pt x="4136" y="9248"/>
                </a:lnTo>
                <a:lnTo>
                  <a:pt x="4136" y="9020"/>
                </a:lnTo>
                <a:lnTo>
                  <a:pt x="3930" y="8922"/>
                </a:lnTo>
                <a:lnTo>
                  <a:pt x="3930" y="8856"/>
                </a:lnTo>
                <a:lnTo>
                  <a:pt x="4095" y="8497"/>
                </a:lnTo>
                <a:cubicBezTo>
                  <a:pt x="4102" y="8366"/>
                  <a:pt x="4108" y="8236"/>
                  <a:pt x="4115" y="8105"/>
                </a:cubicBezTo>
                <a:cubicBezTo>
                  <a:pt x="4088" y="8072"/>
                  <a:pt x="4060" y="8040"/>
                  <a:pt x="4033" y="8007"/>
                </a:cubicBezTo>
                <a:cubicBezTo>
                  <a:pt x="4012" y="7952"/>
                  <a:pt x="3992" y="7898"/>
                  <a:pt x="3971" y="7843"/>
                </a:cubicBezTo>
                <a:lnTo>
                  <a:pt x="3889" y="7810"/>
                </a:lnTo>
                <a:lnTo>
                  <a:pt x="3724" y="7778"/>
                </a:lnTo>
                <a:lnTo>
                  <a:pt x="3724" y="7549"/>
                </a:lnTo>
                <a:lnTo>
                  <a:pt x="3621" y="7582"/>
                </a:lnTo>
                <a:lnTo>
                  <a:pt x="3395" y="7582"/>
                </a:lnTo>
                <a:cubicBezTo>
                  <a:pt x="3374" y="7625"/>
                  <a:pt x="3354" y="7669"/>
                  <a:pt x="3333" y="7712"/>
                </a:cubicBezTo>
                <a:cubicBezTo>
                  <a:pt x="3298" y="7791"/>
                  <a:pt x="3262" y="7869"/>
                  <a:pt x="3227" y="7948"/>
                </a:cubicBezTo>
                <a:cubicBezTo>
                  <a:pt x="3193" y="8024"/>
                  <a:pt x="3141" y="7865"/>
                  <a:pt x="3107" y="7941"/>
                </a:cubicBezTo>
                <a:lnTo>
                  <a:pt x="3004" y="7974"/>
                </a:lnTo>
                <a:lnTo>
                  <a:pt x="2860" y="7941"/>
                </a:lnTo>
                <a:lnTo>
                  <a:pt x="2737" y="7876"/>
                </a:lnTo>
                <a:lnTo>
                  <a:pt x="2634" y="7876"/>
                </a:lnTo>
                <a:lnTo>
                  <a:pt x="2572" y="7974"/>
                </a:lnTo>
                <a:lnTo>
                  <a:pt x="2366" y="7974"/>
                </a:lnTo>
                <a:lnTo>
                  <a:pt x="2140" y="7941"/>
                </a:lnTo>
                <a:lnTo>
                  <a:pt x="1975" y="7908"/>
                </a:lnTo>
                <a:cubicBezTo>
                  <a:pt x="1913" y="7843"/>
                  <a:pt x="1852" y="7777"/>
                  <a:pt x="1790" y="7712"/>
                </a:cubicBezTo>
                <a:lnTo>
                  <a:pt x="1667" y="7582"/>
                </a:lnTo>
                <a:lnTo>
                  <a:pt x="1502" y="7451"/>
                </a:lnTo>
                <a:lnTo>
                  <a:pt x="1358" y="7222"/>
                </a:lnTo>
                <a:lnTo>
                  <a:pt x="1214" y="7320"/>
                </a:lnTo>
                <a:lnTo>
                  <a:pt x="1091" y="7157"/>
                </a:lnTo>
                <a:lnTo>
                  <a:pt x="823" y="6961"/>
                </a:lnTo>
                <a:lnTo>
                  <a:pt x="823" y="6830"/>
                </a:lnTo>
                <a:cubicBezTo>
                  <a:pt x="837" y="6776"/>
                  <a:pt x="850" y="6721"/>
                  <a:pt x="864" y="6667"/>
                </a:cubicBezTo>
                <a:lnTo>
                  <a:pt x="967" y="6634"/>
                </a:lnTo>
                <a:cubicBezTo>
                  <a:pt x="974" y="6590"/>
                  <a:pt x="981" y="6547"/>
                  <a:pt x="988" y="6503"/>
                </a:cubicBezTo>
                <a:lnTo>
                  <a:pt x="864" y="6373"/>
                </a:lnTo>
                <a:lnTo>
                  <a:pt x="864" y="6209"/>
                </a:lnTo>
                <a:lnTo>
                  <a:pt x="1029" y="6078"/>
                </a:lnTo>
                <a:lnTo>
                  <a:pt x="1111" y="5948"/>
                </a:lnTo>
                <a:lnTo>
                  <a:pt x="1111" y="5817"/>
                </a:lnTo>
                <a:cubicBezTo>
                  <a:pt x="1049" y="5752"/>
                  <a:pt x="1038" y="5738"/>
                  <a:pt x="976" y="5673"/>
                </a:cubicBezTo>
                <a:lnTo>
                  <a:pt x="803" y="5778"/>
                </a:lnTo>
                <a:lnTo>
                  <a:pt x="597" y="5719"/>
                </a:lnTo>
                <a:lnTo>
                  <a:pt x="391" y="5588"/>
                </a:lnTo>
                <a:lnTo>
                  <a:pt x="391" y="5425"/>
                </a:lnTo>
                <a:lnTo>
                  <a:pt x="206" y="5327"/>
                </a:lnTo>
                <a:lnTo>
                  <a:pt x="206" y="5196"/>
                </a:lnTo>
                <a:lnTo>
                  <a:pt x="206" y="4869"/>
                </a:lnTo>
                <a:lnTo>
                  <a:pt x="82" y="4902"/>
                </a:lnTo>
                <a:lnTo>
                  <a:pt x="21" y="4869"/>
                </a:lnTo>
                <a:cubicBezTo>
                  <a:pt x="14" y="4826"/>
                  <a:pt x="7" y="4782"/>
                  <a:pt x="0" y="4739"/>
                </a:cubicBezTo>
                <a:cubicBezTo>
                  <a:pt x="7" y="4706"/>
                  <a:pt x="14" y="4674"/>
                  <a:pt x="21" y="4641"/>
                </a:cubicBezTo>
                <a:cubicBezTo>
                  <a:pt x="28" y="4586"/>
                  <a:pt x="34" y="4532"/>
                  <a:pt x="41" y="4477"/>
                </a:cubicBezTo>
                <a:cubicBezTo>
                  <a:pt x="82" y="4433"/>
                  <a:pt x="124" y="4390"/>
                  <a:pt x="165" y="4346"/>
                </a:cubicBezTo>
                <a:cubicBezTo>
                  <a:pt x="172" y="4313"/>
                  <a:pt x="178" y="4281"/>
                  <a:pt x="185" y="4248"/>
                </a:cubicBezTo>
                <a:lnTo>
                  <a:pt x="329" y="4248"/>
                </a:lnTo>
                <a:lnTo>
                  <a:pt x="329" y="4346"/>
                </a:lnTo>
                <a:lnTo>
                  <a:pt x="494" y="4281"/>
                </a:lnTo>
                <a:cubicBezTo>
                  <a:pt x="508" y="4227"/>
                  <a:pt x="521" y="4172"/>
                  <a:pt x="535" y="4118"/>
                </a:cubicBezTo>
                <a:lnTo>
                  <a:pt x="741" y="4118"/>
                </a:lnTo>
                <a:cubicBezTo>
                  <a:pt x="755" y="4074"/>
                  <a:pt x="768" y="4031"/>
                  <a:pt x="782" y="3987"/>
                </a:cubicBezTo>
                <a:lnTo>
                  <a:pt x="1049" y="3791"/>
                </a:lnTo>
                <a:cubicBezTo>
                  <a:pt x="1070" y="3769"/>
                  <a:pt x="1090" y="3747"/>
                  <a:pt x="1111" y="3725"/>
                </a:cubicBez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dirty="0"/>
          </a:p>
        </p:txBody>
      </p:sp>
      <p:sp>
        <p:nvSpPr>
          <p:cNvPr id="1083" name="Freeform 279">
            <a:extLst>
              <a:ext uri="{FF2B5EF4-FFF2-40B4-BE49-F238E27FC236}">
                <a16:creationId xmlns:a16="http://schemas.microsoft.com/office/drawing/2014/main" id="{105A863C-8D22-43B3-B764-1FEE2CD38656}"/>
              </a:ext>
            </a:extLst>
          </p:cNvPr>
          <p:cNvSpPr>
            <a:spLocks/>
          </p:cNvSpPr>
          <p:nvPr/>
        </p:nvSpPr>
        <p:spPr bwMode="gray">
          <a:xfrm>
            <a:off x="8885619" y="4126549"/>
            <a:ext cx="244490" cy="269574"/>
          </a:xfrm>
          <a:custGeom>
            <a:avLst/>
            <a:gdLst>
              <a:gd name="T0" fmla="*/ 12 w 124"/>
              <a:gd name="T1" fmla="*/ 14 h 136"/>
              <a:gd name="T2" fmla="*/ 20 w 124"/>
              <a:gd name="T3" fmla="*/ 14 h 136"/>
              <a:gd name="T4" fmla="*/ 24 w 124"/>
              <a:gd name="T5" fmla="*/ 18 h 136"/>
              <a:gd name="T6" fmla="*/ 32 w 124"/>
              <a:gd name="T7" fmla="*/ 18 h 136"/>
              <a:gd name="T8" fmla="*/ 34 w 124"/>
              <a:gd name="T9" fmla="*/ 10 h 136"/>
              <a:gd name="T10" fmla="*/ 28 w 124"/>
              <a:gd name="T11" fmla="*/ 8 h 136"/>
              <a:gd name="T12" fmla="*/ 28 w 124"/>
              <a:gd name="T13" fmla="*/ 0 h 136"/>
              <a:gd name="T14" fmla="*/ 40 w 124"/>
              <a:gd name="T15" fmla="*/ 0 h 136"/>
              <a:gd name="T16" fmla="*/ 40 w 124"/>
              <a:gd name="T17" fmla="*/ 4 h 136"/>
              <a:gd name="T18" fmla="*/ 50 w 124"/>
              <a:gd name="T19" fmla="*/ 14 h 136"/>
              <a:gd name="T20" fmla="*/ 52 w 124"/>
              <a:gd name="T21" fmla="*/ 24 h 136"/>
              <a:gd name="T22" fmla="*/ 52 w 124"/>
              <a:gd name="T23" fmla="*/ 28 h 136"/>
              <a:gd name="T24" fmla="*/ 74 w 124"/>
              <a:gd name="T25" fmla="*/ 26 h 136"/>
              <a:gd name="T26" fmla="*/ 80 w 124"/>
              <a:gd name="T27" fmla="*/ 36 h 136"/>
              <a:gd name="T28" fmla="*/ 82 w 124"/>
              <a:gd name="T29" fmla="*/ 46 h 136"/>
              <a:gd name="T30" fmla="*/ 68 w 124"/>
              <a:gd name="T31" fmla="*/ 46 h 136"/>
              <a:gd name="T32" fmla="*/ 68 w 124"/>
              <a:gd name="T33" fmla="*/ 56 h 136"/>
              <a:gd name="T34" fmla="*/ 76 w 124"/>
              <a:gd name="T35" fmla="*/ 60 h 136"/>
              <a:gd name="T36" fmla="*/ 100 w 124"/>
              <a:gd name="T37" fmla="*/ 84 h 136"/>
              <a:gd name="T38" fmla="*/ 120 w 124"/>
              <a:gd name="T39" fmla="*/ 106 h 136"/>
              <a:gd name="T40" fmla="*/ 124 w 124"/>
              <a:gd name="T41" fmla="*/ 120 h 136"/>
              <a:gd name="T42" fmla="*/ 122 w 124"/>
              <a:gd name="T43" fmla="*/ 134 h 136"/>
              <a:gd name="T44" fmla="*/ 112 w 124"/>
              <a:gd name="T45" fmla="*/ 134 h 136"/>
              <a:gd name="T46" fmla="*/ 110 w 124"/>
              <a:gd name="T47" fmla="*/ 128 h 136"/>
              <a:gd name="T48" fmla="*/ 104 w 124"/>
              <a:gd name="T49" fmla="*/ 128 h 136"/>
              <a:gd name="T50" fmla="*/ 102 w 124"/>
              <a:gd name="T51" fmla="*/ 136 h 136"/>
              <a:gd name="T52" fmla="*/ 90 w 124"/>
              <a:gd name="T53" fmla="*/ 136 h 136"/>
              <a:gd name="T54" fmla="*/ 90 w 124"/>
              <a:gd name="T55" fmla="*/ 130 h 136"/>
              <a:gd name="T56" fmla="*/ 94 w 124"/>
              <a:gd name="T57" fmla="*/ 118 h 136"/>
              <a:gd name="T58" fmla="*/ 94 w 124"/>
              <a:gd name="T59" fmla="*/ 108 h 136"/>
              <a:gd name="T60" fmla="*/ 84 w 124"/>
              <a:gd name="T61" fmla="*/ 98 h 136"/>
              <a:gd name="T62" fmla="*/ 80 w 124"/>
              <a:gd name="T63" fmla="*/ 82 h 136"/>
              <a:gd name="T64" fmla="*/ 64 w 124"/>
              <a:gd name="T65" fmla="*/ 64 h 136"/>
              <a:gd name="T66" fmla="*/ 52 w 124"/>
              <a:gd name="T67" fmla="*/ 72 h 136"/>
              <a:gd name="T68" fmla="*/ 40 w 124"/>
              <a:gd name="T69" fmla="*/ 68 h 136"/>
              <a:gd name="T70" fmla="*/ 20 w 124"/>
              <a:gd name="T71" fmla="*/ 80 h 136"/>
              <a:gd name="T72" fmla="*/ 20 w 124"/>
              <a:gd name="T73" fmla="*/ 66 h 136"/>
              <a:gd name="T74" fmla="*/ 24 w 124"/>
              <a:gd name="T75" fmla="*/ 62 h 136"/>
              <a:gd name="T76" fmla="*/ 20 w 124"/>
              <a:gd name="T77" fmla="*/ 48 h 136"/>
              <a:gd name="T78" fmla="*/ 12 w 124"/>
              <a:gd name="T79" fmla="*/ 46 h 136"/>
              <a:gd name="T80" fmla="*/ 12 w 124"/>
              <a:gd name="T81" fmla="*/ 38 h 136"/>
              <a:gd name="T82" fmla="*/ 0 w 124"/>
              <a:gd name="T83" fmla="*/ 32 h 136"/>
              <a:gd name="T84" fmla="*/ 14 w 124"/>
              <a:gd name="T85" fmla="*/ 24 h 136"/>
              <a:gd name="T86" fmla="*/ 12 w 124"/>
              <a:gd name="T87"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36">
                <a:moveTo>
                  <a:pt x="12" y="14"/>
                </a:moveTo>
                <a:lnTo>
                  <a:pt x="20" y="14"/>
                </a:lnTo>
                <a:lnTo>
                  <a:pt x="24" y="18"/>
                </a:lnTo>
                <a:lnTo>
                  <a:pt x="32" y="18"/>
                </a:lnTo>
                <a:lnTo>
                  <a:pt x="34" y="10"/>
                </a:lnTo>
                <a:lnTo>
                  <a:pt x="28" y="8"/>
                </a:lnTo>
                <a:lnTo>
                  <a:pt x="28" y="0"/>
                </a:lnTo>
                <a:lnTo>
                  <a:pt x="40" y="0"/>
                </a:lnTo>
                <a:lnTo>
                  <a:pt x="40" y="4"/>
                </a:lnTo>
                <a:lnTo>
                  <a:pt x="50" y="14"/>
                </a:lnTo>
                <a:lnTo>
                  <a:pt x="52" y="24"/>
                </a:lnTo>
                <a:lnTo>
                  <a:pt x="52" y="28"/>
                </a:lnTo>
                <a:lnTo>
                  <a:pt x="74" y="26"/>
                </a:lnTo>
                <a:lnTo>
                  <a:pt x="80" y="36"/>
                </a:lnTo>
                <a:lnTo>
                  <a:pt x="82" y="46"/>
                </a:lnTo>
                <a:lnTo>
                  <a:pt x="68" y="46"/>
                </a:lnTo>
                <a:lnTo>
                  <a:pt x="68" y="56"/>
                </a:lnTo>
                <a:lnTo>
                  <a:pt x="76" y="60"/>
                </a:lnTo>
                <a:lnTo>
                  <a:pt x="100" y="84"/>
                </a:lnTo>
                <a:lnTo>
                  <a:pt x="120" y="106"/>
                </a:lnTo>
                <a:lnTo>
                  <a:pt x="124" y="120"/>
                </a:lnTo>
                <a:lnTo>
                  <a:pt x="122" y="134"/>
                </a:lnTo>
                <a:lnTo>
                  <a:pt x="112" y="134"/>
                </a:lnTo>
                <a:lnTo>
                  <a:pt x="110" y="128"/>
                </a:lnTo>
                <a:lnTo>
                  <a:pt x="104" y="128"/>
                </a:lnTo>
                <a:lnTo>
                  <a:pt x="102" y="136"/>
                </a:lnTo>
                <a:lnTo>
                  <a:pt x="90" y="136"/>
                </a:lnTo>
                <a:lnTo>
                  <a:pt x="90" y="130"/>
                </a:lnTo>
                <a:lnTo>
                  <a:pt x="94" y="118"/>
                </a:lnTo>
                <a:lnTo>
                  <a:pt x="94" y="108"/>
                </a:lnTo>
                <a:lnTo>
                  <a:pt x="84" y="98"/>
                </a:lnTo>
                <a:lnTo>
                  <a:pt x="80" y="82"/>
                </a:lnTo>
                <a:lnTo>
                  <a:pt x="64" y="64"/>
                </a:lnTo>
                <a:lnTo>
                  <a:pt x="52" y="72"/>
                </a:lnTo>
                <a:lnTo>
                  <a:pt x="40" y="68"/>
                </a:lnTo>
                <a:lnTo>
                  <a:pt x="20" y="80"/>
                </a:lnTo>
                <a:lnTo>
                  <a:pt x="20" y="66"/>
                </a:lnTo>
                <a:lnTo>
                  <a:pt x="24" y="62"/>
                </a:lnTo>
                <a:lnTo>
                  <a:pt x="20" y="48"/>
                </a:lnTo>
                <a:lnTo>
                  <a:pt x="12" y="46"/>
                </a:lnTo>
                <a:lnTo>
                  <a:pt x="12" y="38"/>
                </a:lnTo>
                <a:lnTo>
                  <a:pt x="0" y="32"/>
                </a:lnTo>
                <a:lnTo>
                  <a:pt x="14" y="24"/>
                </a:lnTo>
                <a:lnTo>
                  <a:pt x="12" y="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4" name="Freeform 280">
            <a:extLst>
              <a:ext uri="{FF2B5EF4-FFF2-40B4-BE49-F238E27FC236}">
                <a16:creationId xmlns:a16="http://schemas.microsoft.com/office/drawing/2014/main" id="{C47BF211-175F-48F7-9952-6F81EF2D502D}"/>
              </a:ext>
            </a:extLst>
          </p:cNvPr>
          <p:cNvSpPr>
            <a:spLocks/>
          </p:cNvSpPr>
          <p:nvPr/>
        </p:nvSpPr>
        <p:spPr bwMode="gray">
          <a:xfrm>
            <a:off x="8514938" y="3040329"/>
            <a:ext cx="1001624" cy="412288"/>
          </a:xfrm>
          <a:custGeom>
            <a:avLst/>
            <a:gdLst>
              <a:gd name="T0" fmla="*/ 8 w 508"/>
              <a:gd name="T1" fmla="*/ 54 h 208"/>
              <a:gd name="T2" fmla="*/ 30 w 508"/>
              <a:gd name="T3" fmla="*/ 44 h 208"/>
              <a:gd name="T4" fmla="*/ 80 w 508"/>
              <a:gd name="T5" fmla="*/ 28 h 208"/>
              <a:gd name="T6" fmla="*/ 112 w 508"/>
              <a:gd name="T7" fmla="*/ 44 h 208"/>
              <a:gd name="T8" fmla="*/ 152 w 508"/>
              <a:gd name="T9" fmla="*/ 50 h 208"/>
              <a:gd name="T10" fmla="*/ 166 w 508"/>
              <a:gd name="T11" fmla="*/ 32 h 208"/>
              <a:gd name="T12" fmla="*/ 168 w 508"/>
              <a:gd name="T13" fmla="*/ 4 h 208"/>
              <a:gd name="T14" fmla="*/ 186 w 508"/>
              <a:gd name="T15" fmla="*/ 2 h 208"/>
              <a:gd name="T16" fmla="*/ 224 w 508"/>
              <a:gd name="T17" fmla="*/ 14 h 208"/>
              <a:gd name="T18" fmla="*/ 236 w 508"/>
              <a:gd name="T19" fmla="*/ 36 h 208"/>
              <a:gd name="T20" fmla="*/ 276 w 508"/>
              <a:gd name="T21" fmla="*/ 32 h 208"/>
              <a:gd name="T22" fmla="*/ 306 w 508"/>
              <a:gd name="T23" fmla="*/ 42 h 208"/>
              <a:gd name="T24" fmla="*/ 322 w 508"/>
              <a:gd name="T25" fmla="*/ 52 h 208"/>
              <a:gd name="T26" fmla="*/ 350 w 508"/>
              <a:gd name="T27" fmla="*/ 60 h 208"/>
              <a:gd name="T28" fmla="*/ 398 w 508"/>
              <a:gd name="T29" fmla="*/ 52 h 208"/>
              <a:gd name="T30" fmla="*/ 416 w 508"/>
              <a:gd name="T31" fmla="*/ 38 h 208"/>
              <a:gd name="T32" fmla="*/ 434 w 508"/>
              <a:gd name="T33" fmla="*/ 42 h 208"/>
              <a:gd name="T34" fmla="*/ 458 w 508"/>
              <a:gd name="T35" fmla="*/ 44 h 208"/>
              <a:gd name="T36" fmla="*/ 448 w 508"/>
              <a:gd name="T37" fmla="*/ 60 h 208"/>
              <a:gd name="T38" fmla="*/ 468 w 508"/>
              <a:gd name="T39" fmla="*/ 86 h 208"/>
              <a:gd name="T40" fmla="*/ 486 w 508"/>
              <a:gd name="T41" fmla="*/ 82 h 208"/>
              <a:gd name="T42" fmla="*/ 508 w 508"/>
              <a:gd name="T43" fmla="*/ 112 h 208"/>
              <a:gd name="T44" fmla="*/ 480 w 508"/>
              <a:gd name="T45" fmla="*/ 110 h 208"/>
              <a:gd name="T46" fmla="*/ 442 w 508"/>
              <a:gd name="T47" fmla="*/ 132 h 208"/>
              <a:gd name="T48" fmla="*/ 412 w 508"/>
              <a:gd name="T49" fmla="*/ 146 h 208"/>
              <a:gd name="T50" fmla="*/ 380 w 508"/>
              <a:gd name="T51" fmla="*/ 144 h 208"/>
              <a:gd name="T52" fmla="*/ 380 w 508"/>
              <a:gd name="T53" fmla="*/ 168 h 208"/>
              <a:gd name="T54" fmla="*/ 362 w 508"/>
              <a:gd name="T55" fmla="*/ 184 h 208"/>
              <a:gd name="T56" fmla="*/ 300 w 508"/>
              <a:gd name="T57" fmla="*/ 194 h 208"/>
              <a:gd name="T58" fmla="*/ 242 w 508"/>
              <a:gd name="T59" fmla="*/ 204 h 208"/>
              <a:gd name="T60" fmla="*/ 190 w 508"/>
              <a:gd name="T61" fmla="*/ 190 h 208"/>
              <a:gd name="T62" fmla="*/ 130 w 508"/>
              <a:gd name="T63" fmla="*/ 178 h 208"/>
              <a:gd name="T64" fmla="*/ 102 w 508"/>
              <a:gd name="T65" fmla="*/ 154 h 208"/>
              <a:gd name="T66" fmla="*/ 58 w 508"/>
              <a:gd name="T67" fmla="*/ 142 h 208"/>
              <a:gd name="T68" fmla="*/ 46 w 508"/>
              <a:gd name="T69" fmla="*/ 126 h 208"/>
              <a:gd name="T70" fmla="*/ 52 w 508"/>
              <a:gd name="T71" fmla="*/ 110 h 208"/>
              <a:gd name="T72" fmla="*/ 30 w 508"/>
              <a:gd name="T73" fmla="*/ 84 h 208"/>
              <a:gd name="T74" fmla="*/ 4 w 508"/>
              <a:gd name="T75" fmla="*/ 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8" h="208">
                <a:moveTo>
                  <a:pt x="0" y="62"/>
                </a:moveTo>
                <a:lnTo>
                  <a:pt x="8" y="54"/>
                </a:lnTo>
                <a:lnTo>
                  <a:pt x="22" y="52"/>
                </a:lnTo>
                <a:lnTo>
                  <a:pt x="30" y="44"/>
                </a:lnTo>
                <a:lnTo>
                  <a:pt x="64" y="26"/>
                </a:lnTo>
                <a:lnTo>
                  <a:pt x="80" y="28"/>
                </a:lnTo>
                <a:lnTo>
                  <a:pt x="102" y="32"/>
                </a:lnTo>
                <a:lnTo>
                  <a:pt x="112" y="44"/>
                </a:lnTo>
                <a:lnTo>
                  <a:pt x="144" y="44"/>
                </a:lnTo>
                <a:lnTo>
                  <a:pt x="152" y="50"/>
                </a:lnTo>
                <a:lnTo>
                  <a:pt x="164" y="40"/>
                </a:lnTo>
                <a:lnTo>
                  <a:pt x="166" y="32"/>
                </a:lnTo>
                <a:lnTo>
                  <a:pt x="154" y="18"/>
                </a:lnTo>
                <a:lnTo>
                  <a:pt x="168" y="4"/>
                </a:lnTo>
                <a:lnTo>
                  <a:pt x="172" y="0"/>
                </a:lnTo>
                <a:lnTo>
                  <a:pt x="186" y="2"/>
                </a:lnTo>
                <a:lnTo>
                  <a:pt x="200" y="6"/>
                </a:lnTo>
                <a:lnTo>
                  <a:pt x="224" y="14"/>
                </a:lnTo>
                <a:lnTo>
                  <a:pt x="226" y="24"/>
                </a:lnTo>
                <a:lnTo>
                  <a:pt x="236" y="36"/>
                </a:lnTo>
                <a:lnTo>
                  <a:pt x="262" y="40"/>
                </a:lnTo>
                <a:lnTo>
                  <a:pt x="276" y="32"/>
                </a:lnTo>
                <a:lnTo>
                  <a:pt x="300" y="36"/>
                </a:lnTo>
                <a:lnTo>
                  <a:pt x="306" y="42"/>
                </a:lnTo>
                <a:lnTo>
                  <a:pt x="316" y="44"/>
                </a:lnTo>
                <a:lnTo>
                  <a:pt x="322" y="52"/>
                </a:lnTo>
                <a:lnTo>
                  <a:pt x="328" y="58"/>
                </a:lnTo>
                <a:lnTo>
                  <a:pt x="350" y="60"/>
                </a:lnTo>
                <a:lnTo>
                  <a:pt x="368" y="58"/>
                </a:lnTo>
                <a:lnTo>
                  <a:pt x="398" y="52"/>
                </a:lnTo>
                <a:lnTo>
                  <a:pt x="408" y="44"/>
                </a:lnTo>
                <a:lnTo>
                  <a:pt x="416" y="38"/>
                </a:lnTo>
                <a:lnTo>
                  <a:pt x="426" y="36"/>
                </a:lnTo>
                <a:lnTo>
                  <a:pt x="434" y="42"/>
                </a:lnTo>
                <a:lnTo>
                  <a:pt x="442" y="42"/>
                </a:lnTo>
                <a:lnTo>
                  <a:pt x="458" y="44"/>
                </a:lnTo>
                <a:lnTo>
                  <a:pt x="452" y="52"/>
                </a:lnTo>
                <a:lnTo>
                  <a:pt x="448" y="60"/>
                </a:lnTo>
                <a:lnTo>
                  <a:pt x="440" y="84"/>
                </a:lnTo>
                <a:lnTo>
                  <a:pt x="468" y="86"/>
                </a:lnTo>
                <a:lnTo>
                  <a:pt x="476" y="80"/>
                </a:lnTo>
                <a:lnTo>
                  <a:pt x="486" y="82"/>
                </a:lnTo>
                <a:lnTo>
                  <a:pt x="506" y="102"/>
                </a:lnTo>
                <a:lnTo>
                  <a:pt x="508" y="112"/>
                </a:lnTo>
                <a:lnTo>
                  <a:pt x="494" y="110"/>
                </a:lnTo>
                <a:lnTo>
                  <a:pt x="480" y="110"/>
                </a:lnTo>
                <a:lnTo>
                  <a:pt x="460" y="118"/>
                </a:lnTo>
                <a:lnTo>
                  <a:pt x="442" y="132"/>
                </a:lnTo>
                <a:lnTo>
                  <a:pt x="426" y="132"/>
                </a:lnTo>
                <a:lnTo>
                  <a:pt x="412" y="146"/>
                </a:lnTo>
                <a:lnTo>
                  <a:pt x="394" y="144"/>
                </a:lnTo>
                <a:lnTo>
                  <a:pt x="380" y="144"/>
                </a:lnTo>
                <a:lnTo>
                  <a:pt x="374" y="156"/>
                </a:lnTo>
                <a:lnTo>
                  <a:pt x="380" y="168"/>
                </a:lnTo>
                <a:lnTo>
                  <a:pt x="362" y="178"/>
                </a:lnTo>
                <a:lnTo>
                  <a:pt x="362" y="184"/>
                </a:lnTo>
                <a:lnTo>
                  <a:pt x="344" y="194"/>
                </a:lnTo>
                <a:lnTo>
                  <a:pt x="300" y="194"/>
                </a:lnTo>
                <a:lnTo>
                  <a:pt x="278" y="208"/>
                </a:lnTo>
                <a:lnTo>
                  <a:pt x="242" y="204"/>
                </a:lnTo>
                <a:lnTo>
                  <a:pt x="218" y="192"/>
                </a:lnTo>
                <a:lnTo>
                  <a:pt x="190" y="190"/>
                </a:lnTo>
                <a:lnTo>
                  <a:pt x="136" y="188"/>
                </a:lnTo>
                <a:lnTo>
                  <a:pt x="130" y="178"/>
                </a:lnTo>
                <a:lnTo>
                  <a:pt x="124" y="166"/>
                </a:lnTo>
                <a:lnTo>
                  <a:pt x="102" y="154"/>
                </a:lnTo>
                <a:lnTo>
                  <a:pt x="92" y="144"/>
                </a:lnTo>
                <a:lnTo>
                  <a:pt x="58" y="142"/>
                </a:lnTo>
                <a:lnTo>
                  <a:pt x="50" y="138"/>
                </a:lnTo>
                <a:lnTo>
                  <a:pt x="46" y="126"/>
                </a:lnTo>
                <a:lnTo>
                  <a:pt x="52" y="118"/>
                </a:lnTo>
                <a:lnTo>
                  <a:pt x="52" y="110"/>
                </a:lnTo>
                <a:lnTo>
                  <a:pt x="44" y="98"/>
                </a:lnTo>
                <a:lnTo>
                  <a:pt x="30" y="84"/>
                </a:lnTo>
                <a:lnTo>
                  <a:pt x="14" y="82"/>
                </a:lnTo>
                <a:lnTo>
                  <a:pt x="4" y="72"/>
                </a:lnTo>
                <a:lnTo>
                  <a:pt x="0" y="6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5" name="Freeform 281">
            <a:extLst>
              <a:ext uri="{FF2B5EF4-FFF2-40B4-BE49-F238E27FC236}">
                <a16:creationId xmlns:a16="http://schemas.microsoft.com/office/drawing/2014/main" id="{039B6C79-388B-40BA-9D98-E11480FC036E}"/>
              </a:ext>
            </a:extLst>
          </p:cNvPr>
          <p:cNvSpPr>
            <a:spLocks/>
          </p:cNvSpPr>
          <p:nvPr/>
        </p:nvSpPr>
        <p:spPr bwMode="gray">
          <a:xfrm>
            <a:off x="9311505" y="4711286"/>
            <a:ext cx="51264" cy="41626"/>
          </a:xfrm>
          <a:custGeom>
            <a:avLst/>
            <a:gdLst>
              <a:gd name="T0" fmla="*/ 1 w 26"/>
              <a:gd name="T1" fmla="*/ 10 h 21"/>
              <a:gd name="T2" fmla="*/ 11 w 26"/>
              <a:gd name="T3" fmla="*/ 0 h 21"/>
              <a:gd name="T4" fmla="*/ 1 w 26"/>
              <a:gd name="T5" fmla="*/ 10 h 21"/>
            </a:gdLst>
            <a:ahLst/>
            <a:cxnLst>
              <a:cxn ang="0">
                <a:pos x="T0" y="T1"/>
              </a:cxn>
              <a:cxn ang="0">
                <a:pos x="T2" y="T3"/>
              </a:cxn>
              <a:cxn ang="0">
                <a:pos x="T4" y="T5"/>
              </a:cxn>
            </a:cxnLst>
            <a:rect l="0" t="0" r="r" b="b"/>
            <a:pathLst>
              <a:path w="26" h="21">
                <a:moveTo>
                  <a:pt x="1" y="10"/>
                </a:moveTo>
                <a:cubicBezTo>
                  <a:pt x="13" y="18"/>
                  <a:pt x="26" y="10"/>
                  <a:pt x="11" y="0"/>
                </a:cubicBezTo>
                <a:cubicBezTo>
                  <a:pt x="0" y="3"/>
                  <a:pt x="1" y="21"/>
                  <a:pt x="1" y="10"/>
                </a:cubicBezTo>
                <a:close/>
              </a:path>
            </a:pathLst>
          </a:custGeom>
          <a:solidFill>
            <a:schemeClr val="bg1">
              <a:lumMod val="75000"/>
            </a:schemeClr>
          </a:solid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6" name="Freeform 282">
            <a:extLst>
              <a:ext uri="{FF2B5EF4-FFF2-40B4-BE49-F238E27FC236}">
                <a16:creationId xmlns:a16="http://schemas.microsoft.com/office/drawing/2014/main" id="{2CB3F1D0-C8B1-46E4-B469-42918BD2063A}"/>
              </a:ext>
            </a:extLst>
          </p:cNvPr>
          <p:cNvSpPr>
            <a:spLocks/>
          </p:cNvSpPr>
          <p:nvPr/>
        </p:nvSpPr>
        <p:spPr bwMode="gray">
          <a:xfrm>
            <a:off x="8990119" y="4766788"/>
            <a:ext cx="35490" cy="31714"/>
          </a:xfrm>
          <a:custGeom>
            <a:avLst/>
            <a:gdLst>
              <a:gd name="T0" fmla="*/ 18 w 18"/>
              <a:gd name="T1" fmla="*/ 16 h 16"/>
              <a:gd name="T2" fmla="*/ 10 w 18"/>
              <a:gd name="T3" fmla="*/ 2 h 16"/>
              <a:gd name="T4" fmla="*/ 4 w 18"/>
              <a:gd name="T5" fmla="*/ 14 h 16"/>
              <a:gd name="T6" fmla="*/ 12 w 18"/>
              <a:gd name="T7" fmla="*/ 12 h 16"/>
              <a:gd name="T8" fmla="*/ 18 w 18"/>
              <a:gd name="T9" fmla="*/ 16 h 16"/>
            </a:gdLst>
            <a:ahLst/>
            <a:cxnLst>
              <a:cxn ang="0">
                <a:pos x="T0" y="T1"/>
              </a:cxn>
              <a:cxn ang="0">
                <a:pos x="T2" y="T3"/>
              </a:cxn>
              <a:cxn ang="0">
                <a:pos x="T4" y="T5"/>
              </a:cxn>
              <a:cxn ang="0">
                <a:pos x="T6" y="T7"/>
              </a:cxn>
              <a:cxn ang="0">
                <a:pos x="T8" y="T9"/>
              </a:cxn>
            </a:cxnLst>
            <a:rect l="0" t="0" r="r" b="b"/>
            <a:pathLst>
              <a:path w="18" h="16">
                <a:moveTo>
                  <a:pt x="18" y="16"/>
                </a:moveTo>
                <a:cubicBezTo>
                  <a:pt x="17" y="14"/>
                  <a:pt x="17" y="0"/>
                  <a:pt x="10" y="2"/>
                </a:cubicBezTo>
                <a:cubicBezTo>
                  <a:pt x="5" y="2"/>
                  <a:pt x="0" y="11"/>
                  <a:pt x="4" y="14"/>
                </a:cubicBezTo>
                <a:cubicBezTo>
                  <a:pt x="6" y="15"/>
                  <a:pt x="9" y="11"/>
                  <a:pt x="12" y="12"/>
                </a:cubicBezTo>
                <a:cubicBezTo>
                  <a:pt x="14" y="12"/>
                  <a:pt x="16" y="14"/>
                  <a:pt x="18" y="16"/>
                </a:cubicBezTo>
                <a:close/>
              </a:path>
            </a:pathLst>
          </a:custGeom>
          <a:solidFill>
            <a:schemeClr val="bg1">
              <a:lumMod val="75000"/>
            </a:schemeClr>
          </a:solid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1087" name="Rectangle 11">
            <a:extLst>
              <a:ext uri="{FF2B5EF4-FFF2-40B4-BE49-F238E27FC236}">
                <a16:creationId xmlns:a16="http://schemas.microsoft.com/office/drawing/2014/main" id="{A382AC5F-C33B-44D2-AC6C-A815B83CB5D9}"/>
              </a:ext>
            </a:extLst>
          </p:cNvPr>
          <p:cNvSpPr>
            <a:spLocks noChangeArrowheads="1"/>
          </p:cNvSpPr>
          <p:nvPr/>
        </p:nvSpPr>
        <p:spPr bwMode="auto">
          <a:xfrm>
            <a:off x="8524131" y="3990731"/>
            <a:ext cx="1788" cy="1788"/>
          </a:xfrm>
          <a:prstGeom prst="rect">
            <a:avLst/>
          </a:pr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88" name="Freeform 12">
            <a:extLst>
              <a:ext uri="{FF2B5EF4-FFF2-40B4-BE49-F238E27FC236}">
                <a16:creationId xmlns:a16="http://schemas.microsoft.com/office/drawing/2014/main" id="{C3823860-5D21-4AAD-931F-30F4DCF29C99}"/>
              </a:ext>
            </a:extLst>
          </p:cNvPr>
          <p:cNvSpPr>
            <a:spLocks/>
          </p:cNvSpPr>
          <p:nvPr/>
        </p:nvSpPr>
        <p:spPr bwMode="auto">
          <a:xfrm>
            <a:off x="7674994" y="3622474"/>
            <a:ext cx="452277" cy="455852"/>
          </a:xfrm>
          <a:custGeom>
            <a:avLst/>
            <a:gdLst>
              <a:gd name="T0" fmla="*/ 109 w 253"/>
              <a:gd name="T1" fmla="*/ 243 h 255"/>
              <a:gd name="T2" fmla="*/ 116 w 253"/>
              <a:gd name="T3" fmla="*/ 236 h 255"/>
              <a:gd name="T4" fmla="*/ 109 w 253"/>
              <a:gd name="T5" fmla="*/ 239 h 255"/>
              <a:gd name="T6" fmla="*/ 111 w 253"/>
              <a:gd name="T7" fmla="*/ 234 h 255"/>
              <a:gd name="T8" fmla="*/ 116 w 253"/>
              <a:gd name="T9" fmla="*/ 229 h 255"/>
              <a:gd name="T10" fmla="*/ 120 w 253"/>
              <a:gd name="T11" fmla="*/ 229 h 255"/>
              <a:gd name="T12" fmla="*/ 123 w 253"/>
              <a:gd name="T13" fmla="*/ 232 h 255"/>
              <a:gd name="T14" fmla="*/ 139 w 253"/>
              <a:gd name="T15" fmla="*/ 234 h 255"/>
              <a:gd name="T16" fmla="*/ 153 w 253"/>
              <a:gd name="T17" fmla="*/ 232 h 255"/>
              <a:gd name="T18" fmla="*/ 156 w 253"/>
              <a:gd name="T19" fmla="*/ 234 h 255"/>
              <a:gd name="T20" fmla="*/ 158 w 253"/>
              <a:gd name="T21" fmla="*/ 229 h 255"/>
              <a:gd name="T22" fmla="*/ 161 w 253"/>
              <a:gd name="T23" fmla="*/ 227 h 255"/>
              <a:gd name="T24" fmla="*/ 158 w 253"/>
              <a:gd name="T25" fmla="*/ 217 h 255"/>
              <a:gd name="T26" fmla="*/ 153 w 253"/>
              <a:gd name="T27" fmla="*/ 208 h 255"/>
              <a:gd name="T28" fmla="*/ 146 w 253"/>
              <a:gd name="T29" fmla="*/ 203 h 255"/>
              <a:gd name="T30" fmla="*/ 146 w 253"/>
              <a:gd name="T31" fmla="*/ 201 h 255"/>
              <a:gd name="T32" fmla="*/ 149 w 253"/>
              <a:gd name="T33" fmla="*/ 191 h 255"/>
              <a:gd name="T34" fmla="*/ 135 w 253"/>
              <a:gd name="T35" fmla="*/ 184 h 255"/>
              <a:gd name="T36" fmla="*/ 149 w 253"/>
              <a:gd name="T37" fmla="*/ 168 h 255"/>
              <a:gd name="T38" fmla="*/ 156 w 253"/>
              <a:gd name="T39" fmla="*/ 163 h 255"/>
              <a:gd name="T40" fmla="*/ 161 w 253"/>
              <a:gd name="T41" fmla="*/ 165 h 255"/>
              <a:gd name="T42" fmla="*/ 163 w 253"/>
              <a:gd name="T43" fmla="*/ 170 h 255"/>
              <a:gd name="T44" fmla="*/ 184 w 253"/>
              <a:gd name="T45" fmla="*/ 158 h 255"/>
              <a:gd name="T46" fmla="*/ 201 w 253"/>
              <a:gd name="T47" fmla="*/ 149 h 255"/>
              <a:gd name="T48" fmla="*/ 215 w 253"/>
              <a:gd name="T49" fmla="*/ 125 h 255"/>
              <a:gd name="T50" fmla="*/ 227 w 253"/>
              <a:gd name="T51" fmla="*/ 120 h 255"/>
              <a:gd name="T52" fmla="*/ 236 w 253"/>
              <a:gd name="T53" fmla="*/ 109 h 255"/>
              <a:gd name="T54" fmla="*/ 236 w 253"/>
              <a:gd name="T55" fmla="*/ 99 h 255"/>
              <a:gd name="T56" fmla="*/ 248 w 253"/>
              <a:gd name="T57" fmla="*/ 92 h 255"/>
              <a:gd name="T58" fmla="*/ 253 w 253"/>
              <a:gd name="T59" fmla="*/ 90 h 255"/>
              <a:gd name="T60" fmla="*/ 250 w 253"/>
              <a:gd name="T61" fmla="*/ 85 h 255"/>
              <a:gd name="T62" fmla="*/ 243 w 253"/>
              <a:gd name="T63" fmla="*/ 80 h 255"/>
              <a:gd name="T64" fmla="*/ 241 w 253"/>
              <a:gd name="T65" fmla="*/ 78 h 255"/>
              <a:gd name="T66" fmla="*/ 236 w 253"/>
              <a:gd name="T67" fmla="*/ 76 h 255"/>
              <a:gd name="T68" fmla="*/ 231 w 253"/>
              <a:gd name="T69" fmla="*/ 69 h 255"/>
              <a:gd name="T70" fmla="*/ 239 w 253"/>
              <a:gd name="T71" fmla="*/ 38 h 255"/>
              <a:gd name="T72" fmla="*/ 227 w 253"/>
              <a:gd name="T73" fmla="*/ 26 h 255"/>
              <a:gd name="T74" fmla="*/ 215 w 253"/>
              <a:gd name="T75" fmla="*/ 19 h 255"/>
              <a:gd name="T76" fmla="*/ 220 w 253"/>
              <a:gd name="T77" fmla="*/ 12 h 255"/>
              <a:gd name="T78" fmla="*/ 224 w 253"/>
              <a:gd name="T79" fmla="*/ 7 h 255"/>
              <a:gd name="T80" fmla="*/ 231 w 253"/>
              <a:gd name="T81" fmla="*/ 5 h 255"/>
              <a:gd name="T82" fmla="*/ 248 w 253"/>
              <a:gd name="T83" fmla="*/ 5 h 255"/>
              <a:gd name="T84" fmla="*/ 248 w 253"/>
              <a:gd name="T85" fmla="*/ 2 h 255"/>
              <a:gd name="T86" fmla="*/ 227 w 253"/>
              <a:gd name="T87" fmla="*/ 2 h 255"/>
              <a:gd name="T88" fmla="*/ 201 w 253"/>
              <a:gd name="T89" fmla="*/ 2 h 255"/>
              <a:gd name="T90" fmla="*/ 177 w 253"/>
              <a:gd name="T91" fmla="*/ 21 h 255"/>
              <a:gd name="T92" fmla="*/ 177 w 253"/>
              <a:gd name="T93" fmla="*/ 57 h 255"/>
              <a:gd name="T94" fmla="*/ 156 w 253"/>
              <a:gd name="T95" fmla="*/ 76 h 255"/>
              <a:gd name="T96" fmla="*/ 144 w 253"/>
              <a:gd name="T97" fmla="*/ 92 h 255"/>
              <a:gd name="T98" fmla="*/ 118 w 253"/>
              <a:gd name="T99" fmla="*/ 106 h 255"/>
              <a:gd name="T100" fmla="*/ 94 w 253"/>
              <a:gd name="T101" fmla="*/ 116 h 255"/>
              <a:gd name="T102" fmla="*/ 90 w 253"/>
              <a:gd name="T103" fmla="*/ 142 h 255"/>
              <a:gd name="T104" fmla="*/ 61 w 253"/>
              <a:gd name="T105" fmla="*/ 146 h 255"/>
              <a:gd name="T106" fmla="*/ 19 w 253"/>
              <a:gd name="T107" fmla="*/ 149 h 255"/>
              <a:gd name="T108" fmla="*/ 0 w 253"/>
              <a:gd name="T109" fmla="*/ 146 h 255"/>
              <a:gd name="T110" fmla="*/ 31 w 253"/>
              <a:gd name="T111" fmla="*/ 180 h 255"/>
              <a:gd name="T112" fmla="*/ 40 w 253"/>
              <a:gd name="T113" fmla="*/ 194 h 255"/>
              <a:gd name="T114" fmla="*/ 26 w 253"/>
              <a:gd name="T115" fmla="*/ 203 h 255"/>
              <a:gd name="T116" fmla="*/ 9 w 253"/>
              <a:gd name="T117" fmla="*/ 232 h 255"/>
              <a:gd name="T118" fmla="*/ 42 w 253"/>
              <a:gd name="T119" fmla="*/ 227 h 255"/>
              <a:gd name="T120" fmla="*/ 94 w 253"/>
              <a:gd name="T121" fmla="*/ 227 h 255"/>
              <a:gd name="T122" fmla="*/ 118 w 253"/>
              <a:gd name="T12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5">
                <a:moveTo>
                  <a:pt x="113" y="250"/>
                </a:moveTo>
                <a:lnTo>
                  <a:pt x="109" y="243"/>
                </a:lnTo>
                <a:lnTo>
                  <a:pt x="111" y="241"/>
                </a:lnTo>
                <a:lnTo>
                  <a:pt x="116" y="236"/>
                </a:lnTo>
                <a:lnTo>
                  <a:pt x="113" y="236"/>
                </a:lnTo>
                <a:lnTo>
                  <a:pt x="109" y="239"/>
                </a:lnTo>
                <a:lnTo>
                  <a:pt x="106" y="239"/>
                </a:lnTo>
                <a:lnTo>
                  <a:pt x="111" y="234"/>
                </a:lnTo>
                <a:lnTo>
                  <a:pt x="113" y="234"/>
                </a:lnTo>
                <a:lnTo>
                  <a:pt x="116" y="229"/>
                </a:lnTo>
                <a:lnTo>
                  <a:pt x="118" y="229"/>
                </a:lnTo>
                <a:lnTo>
                  <a:pt x="120" y="229"/>
                </a:lnTo>
                <a:lnTo>
                  <a:pt x="123" y="229"/>
                </a:lnTo>
                <a:lnTo>
                  <a:pt x="123" y="232"/>
                </a:lnTo>
                <a:lnTo>
                  <a:pt x="132" y="232"/>
                </a:lnTo>
                <a:lnTo>
                  <a:pt x="139" y="234"/>
                </a:lnTo>
                <a:lnTo>
                  <a:pt x="151" y="229"/>
                </a:lnTo>
                <a:lnTo>
                  <a:pt x="153" y="232"/>
                </a:lnTo>
                <a:lnTo>
                  <a:pt x="153" y="234"/>
                </a:lnTo>
                <a:lnTo>
                  <a:pt x="156" y="234"/>
                </a:lnTo>
                <a:lnTo>
                  <a:pt x="161" y="232"/>
                </a:lnTo>
                <a:lnTo>
                  <a:pt x="158" y="229"/>
                </a:lnTo>
                <a:lnTo>
                  <a:pt x="161" y="227"/>
                </a:lnTo>
                <a:lnTo>
                  <a:pt x="161" y="227"/>
                </a:lnTo>
                <a:lnTo>
                  <a:pt x="158" y="224"/>
                </a:lnTo>
                <a:lnTo>
                  <a:pt x="158" y="217"/>
                </a:lnTo>
                <a:lnTo>
                  <a:pt x="156" y="213"/>
                </a:lnTo>
                <a:lnTo>
                  <a:pt x="153" y="208"/>
                </a:lnTo>
                <a:lnTo>
                  <a:pt x="149" y="206"/>
                </a:lnTo>
                <a:lnTo>
                  <a:pt x="146" y="203"/>
                </a:lnTo>
                <a:lnTo>
                  <a:pt x="146" y="203"/>
                </a:lnTo>
                <a:lnTo>
                  <a:pt x="146" y="201"/>
                </a:lnTo>
                <a:lnTo>
                  <a:pt x="146" y="198"/>
                </a:lnTo>
                <a:lnTo>
                  <a:pt x="149" y="191"/>
                </a:lnTo>
                <a:lnTo>
                  <a:pt x="142" y="189"/>
                </a:lnTo>
                <a:lnTo>
                  <a:pt x="135" y="184"/>
                </a:lnTo>
                <a:lnTo>
                  <a:pt x="137" y="180"/>
                </a:lnTo>
                <a:lnTo>
                  <a:pt x="149" y="168"/>
                </a:lnTo>
                <a:lnTo>
                  <a:pt x="153" y="163"/>
                </a:lnTo>
                <a:lnTo>
                  <a:pt x="156" y="163"/>
                </a:lnTo>
                <a:lnTo>
                  <a:pt x="158" y="163"/>
                </a:lnTo>
                <a:lnTo>
                  <a:pt x="161" y="165"/>
                </a:lnTo>
                <a:lnTo>
                  <a:pt x="161" y="168"/>
                </a:lnTo>
                <a:lnTo>
                  <a:pt x="163" y="170"/>
                </a:lnTo>
                <a:lnTo>
                  <a:pt x="182" y="168"/>
                </a:lnTo>
                <a:lnTo>
                  <a:pt x="184" y="158"/>
                </a:lnTo>
                <a:lnTo>
                  <a:pt x="194" y="151"/>
                </a:lnTo>
                <a:lnTo>
                  <a:pt x="201" y="149"/>
                </a:lnTo>
                <a:lnTo>
                  <a:pt x="215" y="130"/>
                </a:lnTo>
                <a:lnTo>
                  <a:pt x="215" y="125"/>
                </a:lnTo>
                <a:lnTo>
                  <a:pt x="224" y="125"/>
                </a:lnTo>
                <a:lnTo>
                  <a:pt x="227" y="120"/>
                </a:lnTo>
                <a:lnTo>
                  <a:pt x="236" y="113"/>
                </a:lnTo>
                <a:lnTo>
                  <a:pt x="236" y="109"/>
                </a:lnTo>
                <a:lnTo>
                  <a:pt x="239" y="102"/>
                </a:lnTo>
                <a:lnTo>
                  <a:pt x="236" y="99"/>
                </a:lnTo>
                <a:lnTo>
                  <a:pt x="241" y="97"/>
                </a:lnTo>
                <a:lnTo>
                  <a:pt x="248" y="92"/>
                </a:lnTo>
                <a:lnTo>
                  <a:pt x="253" y="90"/>
                </a:lnTo>
                <a:lnTo>
                  <a:pt x="253" y="90"/>
                </a:lnTo>
                <a:lnTo>
                  <a:pt x="253" y="90"/>
                </a:lnTo>
                <a:lnTo>
                  <a:pt x="250" y="85"/>
                </a:lnTo>
                <a:lnTo>
                  <a:pt x="243" y="85"/>
                </a:lnTo>
                <a:lnTo>
                  <a:pt x="243" y="80"/>
                </a:lnTo>
                <a:lnTo>
                  <a:pt x="243" y="78"/>
                </a:lnTo>
                <a:lnTo>
                  <a:pt x="241" y="78"/>
                </a:lnTo>
                <a:lnTo>
                  <a:pt x="236" y="78"/>
                </a:lnTo>
                <a:lnTo>
                  <a:pt x="236" y="76"/>
                </a:lnTo>
                <a:lnTo>
                  <a:pt x="234" y="73"/>
                </a:lnTo>
                <a:lnTo>
                  <a:pt x="231" y="69"/>
                </a:lnTo>
                <a:lnTo>
                  <a:pt x="229" y="50"/>
                </a:lnTo>
                <a:lnTo>
                  <a:pt x="239" y="38"/>
                </a:lnTo>
                <a:lnTo>
                  <a:pt x="236" y="33"/>
                </a:lnTo>
                <a:lnTo>
                  <a:pt x="227" y="26"/>
                </a:lnTo>
                <a:lnTo>
                  <a:pt x="217" y="24"/>
                </a:lnTo>
                <a:lnTo>
                  <a:pt x="215" y="19"/>
                </a:lnTo>
                <a:lnTo>
                  <a:pt x="215" y="12"/>
                </a:lnTo>
                <a:lnTo>
                  <a:pt x="220" y="12"/>
                </a:lnTo>
                <a:lnTo>
                  <a:pt x="224" y="12"/>
                </a:lnTo>
                <a:lnTo>
                  <a:pt x="224" y="7"/>
                </a:lnTo>
                <a:lnTo>
                  <a:pt x="227" y="2"/>
                </a:lnTo>
                <a:lnTo>
                  <a:pt x="231" y="5"/>
                </a:lnTo>
                <a:lnTo>
                  <a:pt x="236" y="7"/>
                </a:lnTo>
                <a:lnTo>
                  <a:pt x="248" y="5"/>
                </a:lnTo>
                <a:lnTo>
                  <a:pt x="248" y="5"/>
                </a:lnTo>
                <a:lnTo>
                  <a:pt x="248" y="2"/>
                </a:lnTo>
                <a:lnTo>
                  <a:pt x="241" y="0"/>
                </a:lnTo>
                <a:lnTo>
                  <a:pt x="227" y="2"/>
                </a:lnTo>
                <a:lnTo>
                  <a:pt x="210" y="2"/>
                </a:lnTo>
                <a:lnTo>
                  <a:pt x="201" y="2"/>
                </a:lnTo>
                <a:lnTo>
                  <a:pt x="184" y="14"/>
                </a:lnTo>
                <a:lnTo>
                  <a:pt x="177" y="21"/>
                </a:lnTo>
                <a:lnTo>
                  <a:pt x="184" y="33"/>
                </a:lnTo>
                <a:lnTo>
                  <a:pt x="177" y="57"/>
                </a:lnTo>
                <a:lnTo>
                  <a:pt x="158" y="64"/>
                </a:lnTo>
                <a:lnTo>
                  <a:pt x="156" y="76"/>
                </a:lnTo>
                <a:lnTo>
                  <a:pt x="149" y="80"/>
                </a:lnTo>
                <a:lnTo>
                  <a:pt x="144" y="92"/>
                </a:lnTo>
                <a:lnTo>
                  <a:pt x="144" y="106"/>
                </a:lnTo>
                <a:lnTo>
                  <a:pt x="118" y="106"/>
                </a:lnTo>
                <a:lnTo>
                  <a:pt x="113" y="116"/>
                </a:lnTo>
                <a:lnTo>
                  <a:pt x="94" y="116"/>
                </a:lnTo>
                <a:lnTo>
                  <a:pt x="92" y="123"/>
                </a:lnTo>
                <a:lnTo>
                  <a:pt x="90" y="142"/>
                </a:lnTo>
                <a:lnTo>
                  <a:pt x="78" y="144"/>
                </a:lnTo>
                <a:lnTo>
                  <a:pt x="61" y="146"/>
                </a:lnTo>
                <a:lnTo>
                  <a:pt x="38" y="149"/>
                </a:lnTo>
                <a:lnTo>
                  <a:pt x="19" y="149"/>
                </a:lnTo>
                <a:lnTo>
                  <a:pt x="12" y="142"/>
                </a:lnTo>
                <a:lnTo>
                  <a:pt x="0" y="146"/>
                </a:lnTo>
                <a:lnTo>
                  <a:pt x="19" y="168"/>
                </a:lnTo>
                <a:lnTo>
                  <a:pt x="31" y="180"/>
                </a:lnTo>
                <a:lnTo>
                  <a:pt x="31" y="194"/>
                </a:lnTo>
                <a:lnTo>
                  <a:pt x="40" y="194"/>
                </a:lnTo>
                <a:lnTo>
                  <a:pt x="40" y="203"/>
                </a:lnTo>
                <a:lnTo>
                  <a:pt x="26" y="203"/>
                </a:lnTo>
                <a:lnTo>
                  <a:pt x="9" y="213"/>
                </a:lnTo>
                <a:lnTo>
                  <a:pt x="9" y="232"/>
                </a:lnTo>
                <a:lnTo>
                  <a:pt x="38" y="234"/>
                </a:lnTo>
                <a:lnTo>
                  <a:pt x="42" y="227"/>
                </a:lnTo>
                <a:lnTo>
                  <a:pt x="94" y="222"/>
                </a:lnTo>
                <a:lnTo>
                  <a:pt x="94" y="227"/>
                </a:lnTo>
                <a:lnTo>
                  <a:pt x="116" y="253"/>
                </a:lnTo>
                <a:lnTo>
                  <a:pt x="118" y="255"/>
                </a:lnTo>
                <a:lnTo>
                  <a:pt x="113" y="25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89" name="Freeform 13">
            <a:extLst>
              <a:ext uri="{FF2B5EF4-FFF2-40B4-BE49-F238E27FC236}">
                <a16:creationId xmlns:a16="http://schemas.microsoft.com/office/drawing/2014/main" id="{50101E2A-8D28-4B55-9E60-DEE26E65C74D}"/>
              </a:ext>
            </a:extLst>
          </p:cNvPr>
          <p:cNvSpPr>
            <a:spLocks/>
          </p:cNvSpPr>
          <p:nvPr/>
        </p:nvSpPr>
        <p:spPr bwMode="auto">
          <a:xfrm>
            <a:off x="8679657" y="4437645"/>
            <a:ext cx="8939" cy="21451"/>
          </a:xfrm>
          <a:custGeom>
            <a:avLst/>
            <a:gdLst>
              <a:gd name="T0" fmla="*/ 3 w 5"/>
              <a:gd name="T1" fmla="*/ 0 h 12"/>
              <a:gd name="T2" fmla="*/ 0 w 5"/>
              <a:gd name="T3" fmla="*/ 2 h 12"/>
              <a:gd name="T4" fmla="*/ 0 w 5"/>
              <a:gd name="T5" fmla="*/ 12 h 12"/>
              <a:gd name="T6" fmla="*/ 5 w 5"/>
              <a:gd name="T7" fmla="*/ 7 h 12"/>
              <a:gd name="T8" fmla="*/ 3 w 5"/>
              <a:gd name="T9" fmla="*/ 5 h 12"/>
              <a:gd name="T10" fmla="*/ 5 w 5"/>
              <a:gd name="T11" fmla="*/ 2 h 12"/>
              <a:gd name="T12" fmla="*/ 3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3" y="0"/>
                </a:moveTo>
                <a:lnTo>
                  <a:pt x="0" y="2"/>
                </a:lnTo>
                <a:lnTo>
                  <a:pt x="0" y="12"/>
                </a:lnTo>
                <a:lnTo>
                  <a:pt x="5" y="7"/>
                </a:lnTo>
                <a:lnTo>
                  <a:pt x="3" y="5"/>
                </a:lnTo>
                <a:lnTo>
                  <a:pt x="5" y="2"/>
                </a:lnTo>
                <a:lnTo>
                  <a:pt x="3"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0" name="Freeform 14">
            <a:extLst>
              <a:ext uri="{FF2B5EF4-FFF2-40B4-BE49-F238E27FC236}">
                <a16:creationId xmlns:a16="http://schemas.microsoft.com/office/drawing/2014/main" id="{D06D5451-B5C7-4C08-9D21-25113D033395}"/>
              </a:ext>
            </a:extLst>
          </p:cNvPr>
          <p:cNvSpPr>
            <a:spLocks/>
          </p:cNvSpPr>
          <p:nvPr/>
        </p:nvSpPr>
        <p:spPr bwMode="auto">
          <a:xfrm>
            <a:off x="8685020" y="4459098"/>
            <a:ext cx="3575" cy="21451"/>
          </a:xfrm>
          <a:custGeom>
            <a:avLst/>
            <a:gdLst>
              <a:gd name="T0" fmla="*/ 0 w 2"/>
              <a:gd name="T1" fmla="*/ 12 h 12"/>
              <a:gd name="T2" fmla="*/ 2 w 2"/>
              <a:gd name="T3" fmla="*/ 12 h 12"/>
              <a:gd name="T4" fmla="*/ 2 w 2"/>
              <a:gd name="T5" fmla="*/ 0 h 12"/>
              <a:gd name="T6" fmla="*/ 0 w 2"/>
              <a:gd name="T7" fmla="*/ 5 h 12"/>
              <a:gd name="T8" fmla="*/ 0 w 2"/>
              <a:gd name="T9" fmla="*/ 12 h 12"/>
            </a:gdLst>
            <a:ahLst/>
            <a:cxnLst>
              <a:cxn ang="0">
                <a:pos x="T0" y="T1"/>
              </a:cxn>
              <a:cxn ang="0">
                <a:pos x="T2" y="T3"/>
              </a:cxn>
              <a:cxn ang="0">
                <a:pos x="T4" y="T5"/>
              </a:cxn>
              <a:cxn ang="0">
                <a:pos x="T6" y="T7"/>
              </a:cxn>
              <a:cxn ang="0">
                <a:pos x="T8" y="T9"/>
              </a:cxn>
            </a:cxnLst>
            <a:rect l="0" t="0" r="r" b="b"/>
            <a:pathLst>
              <a:path w="2" h="12">
                <a:moveTo>
                  <a:pt x="0" y="12"/>
                </a:moveTo>
                <a:lnTo>
                  <a:pt x="2" y="12"/>
                </a:lnTo>
                <a:lnTo>
                  <a:pt x="2" y="0"/>
                </a:lnTo>
                <a:lnTo>
                  <a:pt x="0" y="5"/>
                </a:lnTo>
                <a:lnTo>
                  <a:pt x="0" y="1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1" name="Freeform 15">
            <a:extLst>
              <a:ext uri="{FF2B5EF4-FFF2-40B4-BE49-F238E27FC236}">
                <a16:creationId xmlns:a16="http://schemas.microsoft.com/office/drawing/2014/main" id="{C095E2D1-0132-4FF0-9812-F3975F0DD7A6}"/>
              </a:ext>
            </a:extLst>
          </p:cNvPr>
          <p:cNvSpPr>
            <a:spLocks/>
          </p:cNvSpPr>
          <p:nvPr/>
        </p:nvSpPr>
        <p:spPr bwMode="auto">
          <a:xfrm>
            <a:off x="8679657" y="4484124"/>
            <a:ext cx="5363" cy="21451"/>
          </a:xfrm>
          <a:custGeom>
            <a:avLst/>
            <a:gdLst>
              <a:gd name="T0" fmla="*/ 0 w 3"/>
              <a:gd name="T1" fmla="*/ 9 h 12"/>
              <a:gd name="T2" fmla="*/ 0 w 3"/>
              <a:gd name="T3" fmla="*/ 12 h 12"/>
              <a:gd name="T4" fmla="*/ 3 w 3"/>
              <a:gd name="T5" fmla="*/ 5 h 12"/>
              <a:gd name="T6" fmla="*/ 3 w 3"/>
              <a:gd name="T7" fmla="*/ 0 h 12"/>
              <a:gd name="T8" fmla="*/ 0 w 3"/>
              <a:gd name="T9" fmla="*/ 9 h 12"/>
            </a:gdLst>
            <a:ahLst/>
            <a:cxnLst>
              <a:cxn ang="0">
                <a:pos x="T0" y="T1"/>
              </a:cxn>
              <a:cxn ang="0">
                <a:pos x="T2" y="T3"/>
              </a:cxn>
              <a:cxn ang="0">
                <a:pos x="T4" y="T5"/>
              </a:cxn>
              <a:cxn ang="0">
                <a:pos x="T6" y="T7"/>
              </a:cxn>
              <a:cxn ang="0">
                <a:pos x="T8" y="T9"/>
              </a:cxn>
            </a:cxnLst>
            <a:rect l="0" t="0" r="r" b="b"/>
            <a:pathLst>
              <a:path w="3" h="12">
                <a:moveTo>
                  <a:pt x="0" y="9"/>
                </a:moveTo>
                <a:lnTo>
                  <a:pt x="0" y="12"/>
                </a:lnTo>
                <a:lnTo>
                  <a:pt x="3" y="5"/>
                </a:lnTo>
                <a:lnTo>
                  <a:pt x="3" y="0"/>
                </a:lnTo>
                <a:lnTo>
                  <a:pt x="0" y="9"/>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092" name="Freeform 16">
            <a:extLst>
              <a:ext uri="{FF2B5EF4-FFF2-40B4-BE49-F238E27FC236}">
                <a16:creationId xmlns:a16="http://schemas.microsoft.com/office/drawing/2014/main" id="{590231D7-7B00-44B9-BB4F-327E7946C202}"/>
              </a:ext>
            </a:extLst>
          </p:cNvPr>
          <p:cNvSpPr>
            <a:spLocks noEditPoints="1"/>
          </p:cNvSpPr>
          <p:nvPr/>
        </p:nvSpPr>
        <p:spPr bwMode="auto">
          <a:xfrm>
            <a:off x="7864486" y="3622474"/>
            <a:ext cx="950150" cy="988575"/>
          </a:xfrm>
          <a:custGeom>
            <a:avLst/>
            <a:gdLst>
              <a:gd name="T0" fmla="*/ 219 w 227"/>
              <a:gd name="T1" fmla="*/ 70 h 234"/>
              <a:gd name="T2" fmla="*/ 215 w 227"/>
              <a:gd name="T3" fmla="*/ 64 h 234"/>
              <a:gd name="T4" fmla="*/ 196 w 227"/>
              <a:gd name="T5" fmla="*/ 74 h 234"/>
              <a:gd name="T6" fmla="*/ 187 w 227"/>
              <a:gd name="T7" fmla="*/ 80 h 234"/>
              <a:gd name="T8" fmla="*/ 177 w 227"/>
              <a:gd name="T9" fmla="*/ 86 h 234"/>
              <a:gd name="T10" fmla="*/ 162 w 227"/>
              <a:gd name="T11" fmla="*/ 82 h 234"/>
              <a:gd name="T12" fmla="*/ 156 w 227"/>
              <a:gd name="T13" fmla="*/ 82 h 234"/>
              <a:gd name="T14" fmla="*/ 156 w 227"/>
              <a:gd name="T15" fmla="*/ 87 h 234"/>
              <a:gd name="T16" fmla="*/ 136 w 227"/>
              <a:gd name="T17" fmla="*/ 85 h 234"/>
              <a:gd name="T18" fmla="*/ 97 w 227"/>
              <a:gd name="T19" fmla="*/ 61 h 234"/>
              <a:gd name="T20" fmla="*/ 89 w 227"/>
              <a:gd name="T21" fmla="*/ 46 h 234"/>
              <a:gd name="T22" fmla="*/ 87 w 227"/>
              <a:gd name="T23" fmla="*/ 37 h 234"/>
              <a:gd name="T24" fmla="*/ 94 w 227"/>
              <a:gd name="T25" fmla="*/ 26 h 234"/>
              <a:gd name="T26" fmla="*/ 87 w 227"/>
              <a:gd name="T27" fmla="*/ 13 h 234"/>
              <a:gd name="T28" fmla="*/ 67 w 227"/>
              <a:gd name="T29" fmla="*/ 1 h 234"/>
              <a:gd name="T30" fmla="*/ 46 w 227"/>
              <a:gd name="T31" fmla="*/ 5 h 234"/>
              <a:gd name="T32" fmla="*/ 55 w 227"/>
              <a:gd name="T33" fmla="*/ 32 h 234"/>
              <a:gd name="T34" fmla="*/ 62 w 227"/>
              <a:gd name="T35" fmla="*/ 38 h 234"/>
              <a:gd name="T36" fmla="*/ 46 w 227"/>
              <a:gd name="T37" fmla="*/ 53 h 234"/>
              <a:gd name="T38" fmla="*/ 22 w 227"/>
              <a:gd name="T39" fmla="*/ 69 h 234"/>
              <a:gd name="T40" fmla="*/ 18 w 227"/>
              <a:gd name="T41" fmla="*/ 87 h 234"/>
              <a:gd name="T42" fmla="*/ 21 w 227"/>
              <a:gd name="T43" fmla="*/ 99 h 234"/>
              <a:gd name="T44" fmla="*/ 5 w 227"/>
              <a:gd name="T45" fmla="*/ 97 h 234"/>
              <a:gd name="T46" fmla="*/ 1 w 227"/>
              <a:gd name="T47" fmla="*/ 103 h 234"/>
              <a:gd name="T48" fmla="*/ 13 w 227"/>
              <a:gd name="T49" fmla="*/ 113 h 234"/>
              <a:gd name="T50" fmla="*/ 18 w 227"/>
              <a:gd name="T51" fmla="*/ 128 h 234"/>
              <a:gd name="T52" fmla="*/ 30 w 227"/>
              <a:gd name="T53" fmla="*/ 119 h 234"/>
              <a:gd name="T54" fmla="*/ 33 w 227"/>
              <a:gd name="T55" fmla="*/ 121 h 234"/>
              <a:gd name="T56" fmla="*/ 33 w 227"/>
              <a:gd name="T57" fmla="*/ 134 h 234"/>
              <a:gd name="T58" fmla="*/ 33 w 227"/>
              <a:gd name="T59" fmla="*/ 142 h 234"/>
              <a:gd name="T60" fmla="*/ 34 w 227"/>
              <a:gd name="T61" fmla="*/ 157 h 234"/>
              <a:gd name="T62" fmla="*/ 39 w 227"/>
              <a:gd name="T63" fmla="*/ 177 h 234"/>
              <a:gd name="T64" fmla="*/ 44 w 227"/>
              <a:gd name="T65" fmla="*/ 195 h 234"/>
              <a:gd name="T66" fmla="*/ 56 w 227"/>
              <a:gd name="T67" fmla="*/ 222 h 234"/>
              <a:gd name="T68" fmla="*/ 64 w 227"/>
              <a:gd name="T69" fmla="*/ 234 h 234"/>
              <a:gd name="T70" fmla="*/ 78 w 227"/>
              <a:gd name="T71" fmla="*/ 224 h 234"/>
              <a:gd name="T72" fmla="*/ 85 w 227"/>
              <a:gd name="T73" fmla="*/ 205 h 234"/>
              <a:gd name="T74" fmla="*/ 88 w 227"/>
              <a:gd name="T75" fmla="*/ 190 h 234"/>
              <a:gd name="T76" fmla="*/ 97 w 227"/>
              <a:gd name="T77" fmla="*/ 171 h 234"/>
              <a:gd name="T78" fmla="*/ 109 w 227"/>
              <a:gd name="T79" fmla="*/ 162 h 234"/>
              <a:gd name="T80" fmla="*/ 133 w 227"/>
              <a:gd name="T81" fmla="*/ 143 h 234"/>
              <a:gd name="T82" fmla="*/ 147 w 227"/>
              <a:gd name="T83" fmla="*/ 134 h 234"/>
              <a:gd name="T84" fmla="*/ 153 w 227"/>
              <a:gd name="T85" fmla="*/ 127 h 234"/>
              <a:gd name="T86" fmla="*/ 159 w 227"/>
              <a:gd name="T87" fmla="*/ 125 h 234"/>
              <a:gd name="T88" fmla="*/ 163 w 227"/>
              <a:gd name="T89" fmla="*/ 124 h 234"/>
              <a:gd name="T90" fmla="*/ 161 w 227"/>
              <a:gd name="T91" fmla="*/ 107 h 234"/>
              <a:gd name="T92" fmla="*/ 159 w 227"/>
              <a:gd name="T93" fmla="*/ 99 h 234"/>
              <a:gd name="T94" fmla="*/ 160 w 227"/>
              <a:gd name="T95" fmla="*/ 89 h 234"/>
              <a:gd name="T96" fmla="*/ 169 w 227"/>
              <a:gd name="T97" fmla="*/ 90 h 234"/>
              <a:gd name="T98" fmla="*/ 184 w 227"/>
              <a:gd name="T99" fmla="*/ 99 h 234"/>
              <a:gd name="T100" fmla="*/ 189 w 227"/>
              <a:gd name="T101" fmla="*/ 104 h 234"/>
              <a:gd name="T102" fmla="*/ 186 w 227"/>
              <a:gd name="T103" fmla="*/ 114 h 234"/>
              <a:gd name="T104" fmla="*/ 194 w 227"/>
              <a:gd name="T105" fmla="*/ 123 h 234"/>
              <a:gd name="T106" fmla="*/ 198 w 227"/>
              <a:gd name="T107" fmla="*/ 108 h 234"/>
              <a:gd name="T108" fmla="*/ 208 w 227"/>
              <a:gd name="T109" fmla="*/ 98 h 234"/>
              <a:gd name="T110" fmla="*/ 218 w 227"/>
              <a:gd name="T111" fmla="*/ 81 h 234"/>
              <a:gd name="T112" fmla="*/ 85 w 227"/>
              <a:gd name="T113" fmla="*/ 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34">
                <a:moveTo>
                  <a:pt x="224" y="77"/>
                </a:moveTo>
                <a:cubicBezTo>
                  <a:pt x="227" y="75"/>
                  <a:pt x="227" y="75"/>
                  <a:pt x="227" y="75"/>
                </a:cubicBezTo>
                <a:cubicBezTo>
                  <a:pt x="227" y="72"/>
                  <a:pt x="227" y="72"/>
                  <a:pt x="227" y="72"/>
                </a:cubicBezTo>
                <a:cubicBezTo>
                  <a:pt x="226" y="72"/>
                  <a:pt x="226" y="72"/>
                  <a:pt x="226" y="72"/>
                </a:cubicBezTo>
                <a:cubicBezTo>
                  <a:pt x="224" y="72"/>
                  <a:pt x="224" y="72"/>
                  <a:pt x="224" y="72"/>
                </a:cubicBezTo>
                <a:cubicBezTo>
                  <a:pt x="221" y="71"/>
                  <a:pt x="221" y="71"/>
                  <a:pt x="221" y="71"/>
                </a:cubicBezTo>
                <a:cubicBezTo>
                  <a:pt x="220" y="71"/>
                  <a:pt x="220" y="71"/>
                  <a:pt x="220" y="71"/>
                </a:cubicBezTo>
                <a:cubicBezTo>
                  <a:pt x="219" y="71"/>
                  <a:pt x="219" y="71"/>
                  <a:pt x="219" y="71"/>
                </a:cubicBezTo>
                <a:cubicBezTo>
                  <a:pt x="219" y="70"/>
                  <a:pt x="219" y="70"/>
                  <a:pt x="219" y="70"/>
                </a:cubicBezTo>
                <a:cubicBezTo>
                  <a:pt x="221" y="68"/>
                  <a:pt x="221" y="68"/>
                  <a:pt x="221" y="68"/>
                </a:cubicBezTo>
                <a:cubicBezTo>
                  <a:pt x="220" y="66"/>
                  <a:pt x="220" y="66"/>
                  <a:pt x="220" y="66"/>
                </a:cubicBezTo>
                <a:cubicBezTo>
                  <a:pt x="219" y="66"/>
                  <a:pt x="219" y="66"/>
                  <a:pt x="219" y="66"/>
                </a:cubicBezTo>
                <a:cubicBezTo>
                  <a:pt x="219" y="67"/>
                  <a:pt x="219" y="67"/>
                  <a:pt x="219" y="67"/>
                </a:cubicBezTo>
                <a:cubicBezTo>
                  <a:pt x="218" y="67"/>
                  <a:pt x="218" y="67"/>
                  <a:pt x="218" y="67"/>
                </a:cubicBezTo>
                <a:cubicBezTo>
                  <a:pt x="218" y="66"/>
                  <a:pt x="218" y="66"/>
                  <a:pt x="218" y="66"/>
                </a:cubicBezTo>
                <a:cubicBezTo>
                  <a:pt x="219" y="65"/>
                  <a:pt x="219" y="65"/>
                  <a:pt x="219" y="65"/>
                </a:cubicBezTo>
                <a:cubicBezTo>
                  <a:pt x="217" y="64"/>
                  <a:pt x="217" y="64"/>
                  <a:pt x="217" y="64"/>
                </a:cubicBezTo>
                <a:cubicBezTo>
                  <a:pt x="215" y="64"/>
                  <a:pt x="215" y="64"/>
                  <a:pt x="215" y="64"/>
                </a:cubicBezTo>
                <a:cubicBezTo>
                  <a:pt x="212" y="66"/>
                  <a:pt x="212" y="66"/>
                  <a:pt x="212" y="66"/>
                </a:cubicBezTo>
                <a:cubicBezTo>
                  <a:pt x="208" y="66"/>
                  <a:pt x="208" y="66"/>
                  <a:pt x="208" y="66"/>
                </a:cubicBezTo>
                <a:cubicBezTo>
                  <a:pt x="207" y="65"/>
                  <a:pt x="207" y="65"/>
                  <a:pt x="207" y="65"/>
                </a:cubicBezTo>
                <a:cubicBezTo>
                  <a:pt x="203" y="67"/>
                  <a:pt x="203" y="67"/>
                  <a:pt x="203" y="67"/>
                </a:cubicBezTo>
                <a:cubicBezTo>
                  <a:pt x="201" y="67"/>
                  <a:pt x="201" y="67"/>
                  <a:pt x="201" y="67"/>
                </a:cubicBezTo>
                <a:cubicBezTo>
                  <a:pt x="200" y="70"/>
                  <a:pt x="200" y="70"/>
                  <a:pt x="200" y="70"/>
                </a:cubicBezTo>
                <a:cubicBezTo>
                  <a:pt x="198" y="70"/>
                  <a:pt x="198" y="70"/>
                  <a:pt x="198" y="70"/>
                </a:cubicBezTo>
                <a:cubicBezTo>
                  <a:pt x="196" y="71"/>
                  <a:pt x="196" y="71"/>
                  <a:pt x="196" y="71"/>
                </a:cubicBezTo>
                <a:cubicBezTo>
                  <a:pt x="196" y="74"/>
                  <a:pt x="196" y="74"/>
                  <a:pt x="196" y="74"/>
                </a:cubicBezTo>
                <a:cubicBezTo>
                  <a:pt x="192" y="75"/>
                  <a:pt x="192" y="75"/>
                  <a:pt x="192" y="75"/>
                </a:cubicBezTo>
                <a:cubicBezTo>
                  <a:pt x="191" y="76"/>
                  <a:pt x="191" y="76"/>
                  <a:pt x="191" y="76"/>
                </a:cubicBezTo>
                <a:cubicBezTo>
                  <a:pt x="188" y="77"/>
                  <a:pt x="188" y="77"/>
                  <a:pt x="188" y="77"/>
                </a:cubicBezTo>
                <a:cubicBezTo>
                  <a:pt x="186" y="77"/>
                  <a:pt x="186" y="77"/>
                  <a:pt x="186" y="77"/>
                </a:cubicBezTo>
                <a:cubicBezTo>
                  <a:pt x="183" y="77"/>
                  <a:pt x="183" y="77"/>
                  <a:pt x="183" y="77"/>
                </a:cubicBezTo>
                <a:cubicBezTo>
                  <a:pt x="184" y="79"/>
                  <a:pt x="184" y="79"/>
                  <a:pt x="184" y="79"/>
                </a:cubicBezTo>
                <a:cubicBezTo>
                  <a:pt x="184" y="79"/>
                  <a:pt x="184" y="79"/>
                  <a:pt x="184" y="79"/>
                </a:cubicBezTo>
                <a:cubicBezTo>
                  <a:pt x="186" y="80"/>
                  <a:pt x="186" y="80"/>
                  <a:pt x="186" y="80"/>
                </a:cubicBezTo>
                <a:cubicBezTo>
                  <a:pt x="187" y="80"/>
                  <a:pt x="187" y="80"/>
                  <a:pt x="187" y="80"/>
                </a:cubicBezTo>
                <a:cubicBezTo>
                  <a:pt x="187" y="82"/>
                  <a:pt x="187" y="82"/>
                  <a:pt x="187" y="82"/>
                </a:cubicBezTo>
                <a:cubicBezTo>
                  <a:pt x="187" y="84"/>
                  <a:pt x="187" y="84"/>
                  <a:pt x="187" y="84"/>
                </a:cubicBezTo>
                <a:cubicBezTo>
                  <a:pt x="187" y="84"/>
                  <a:pt x="187" y="84"/>
                  <a:pt x="187" y="84"/>
                </a:cubicBezTo>
                <a:cubicBezTo>
                  <a:pt x="186" y="84"/>
                  <a:pt x="186" y="84"/>
                  <a:pt x="186" y="84"/>
                </a:cubicBezTo>
                <a:cubicBezTo>
                  <a:pt x="187" y="84"/>
                  <a:pt x="187" y="84"/>
                  <a:pt x="187" y="84"/>
                </a:cubicBezTo>
                <a:cubicBezTo>
                  <a:pt x="187" y="84"/>
                  <a:pt x="187" y="84"/>
                  <a:pt x="187" y="84"/>
                </a:cubicBezTo>
                <a:cubicBezTo>
                  <a:pt x="187" y="84"/>
                  <a:pt x="187" y="84"/>
                  <a:pt x="187" y="84"/>
                </a:cubicBezTo>
                <a:cubicBezTo>
                  <a:pt x="184" y="85"/>
                  <a:pt x="184" y="85"/>
                  <a:pt x="184" y="85"/>
                </a:cubicBezTo>
                <a:cubicBezTo>
                  <a:pt x="177" y="86"/>
                  <a:pt x="177" y="86"/>
                  <a:pt x="177" y="86"/>
                </a:cubicBezTo>
                <a:cubicBezTo>
                  <a:pt x="174" y="85"/>
                  <a:pt x="174" y="85"/>
                  <a:pt x="174" y="85"/>
                </a:cubicBezTo>
                <a:cubicBezTo>
                  <a:pt x="172" y="85"/>
                  <a:pt x="172" y="85"/>
                  <a:pt x="172" y="85"/>
                </a:cubicBezTo>
                <a:cubicBezTo>
                  <a:pt x="171" y="85"/>
                  <a:pt x="171" y="85"/>
                  <a:pt x="171" y="85"/>
                </a:cubicBezTo>
                <a:cubicBezTo>
                  <a:pt x="171" y="85"/>
                  <a:pt x="171" y="85"/>
                  <a:pt x="171" y="85"/>
                </a:cubicBezTo>
                <a:cubicBezTo>
                  <a:pt x="171" y="86"/>
                  <a:pt x="171" y="86"/>
                  <a:pt x="171" y="86"/>
                </a:cubicBezTo>
                <a:cubicBezTo>
                  <a:pt x="167" y="85"/>
                  <a:pt x="167" y="85"/>
                  <a:pt x="167" y="85"/>
                </a:cubicBezTo>
                <a:cubicBezTo>
                  <a:pt x="163" y="84"/>
                  <a:pt x="163" y="84"/>
                  <a:pt x="163" y="84"/>
                </a:cubicBezTo>
                <a:cubicBezTo>
                  <a:pt x="162" y="82"/>
                  <a:pt x="162" y="82"/>
                  <a:pt x="162" y="82"/>
                </a:cubicBezTo>
                <a:cubicBezTo>
                  <a:pt x="162" y="82"/>
                  <a:pt x="162" y="82"/>
                  <a:pt x="162" y="82"/>
                </a:cubicBezTo>
                <a:cubicBezTo>
                  <a:pt x="162" y="82"/>
                  <a:pt x="162" y="82"/>
                  <a:pt x="162" y="82"/>
                </a:cubicBezTo>
                <a:cubicBezTo>
                  <a:pt x="163" y="82"/>
                  <a:pt x="163" y="82"/>
                  <a:pt x="163" y="82"/>
                </a:cubicBezTo>
                <a:cubicBezTo>
                  <a:pt x="163" y="81"/>
                  <a:pt x="163" y="81"/>
                  <a:pt x="163" y="81"/>
                </a:cubicBezTo>
                <a:cubicBezTo>
                  <a:pt x="162" y="76"/>
                  <a:pt x="162" y="76"/>
                  <a:pt x="162" y="76"/>
                </a:cubicBezTo>
                <a:cubicBezTo>
                  <a:pt x="161" y="75"/>
                  <a:pt x="161" y="75"/>
                  <a:pt x="161" y="75"/>
                </a:cubicBezTo>
                <a:cubicBezTo>
                  <a:pt x="161" y="75"/>
                  <a:pt x="161" y="75"/>
                  <a:pt x="161" y="75"/>
                </a:cubicBezTo>
                <a:cubicBezTo>
                  <a:pt x="157" y="76"/>
                  <a:pt x="157" y="76"/>
                  <a:pt x="157" y="76"/>
                </a:cubicBezTo>
                <a:cubicBezTo>
                  <a:pt x="157" y="77"/>
                  <a:pt x="157" y="77"/>
                  <a:pt x="157" y="77"/>
                </a:cubicBezTo>
                <a:cubicBezTo>
                  <a:pt x="156" y="82"/>
                  <a:pt x="156" y="82"/>
                  <a:pt x="156" y="82"/>
                </a:cubicBezTo>
                <a:cubicBezTo>
                  <a:pt x="156" y="82"/>
                  <a:pt x="156" y="82"/>
                  <a:pt x="156" y="82"/>
                </a:cubicBezTo>
                <a:cubicBezTo>
                  <a:pt x="156" y="82"/>
                  <a:pt x="156" y="82"/>
                  <a:pt x="156" y="82"/>
                </a:cubicBezTo>
                <a:cubicBezTo>
                  <a:pt x="155" y="82"/>
                  <a:pt x="155" y="82"/>
                  <a:pt x="155" y="82"/>
                </a:cubicBezTo>
                <a:cubicBezTo>
                  <a:pt x="156" y="83"/>
                  <a:pt x="156" y="83"/>
                  <a:pt x="156" y="83"/>
                </a:cubicBezTo>
                <a:cubicBezTo>
                  <a:pt x="157" y="86"/>
                  <a:pt x="157" y="86"/>
                  <a:pt x="157" y="86"/>
                </a:cubicBezTo>
                <a:cubicBezTo>
                  <a:pt x="156" y="86"/>
                  <a:pt x="156" y="86"/>
                  <a:pt x="156" y="86"/>
                </a:cubicBezTo>
                <a:cubicBezTo>
                  <a:pt x="156" y="86"/>
                  <a:pt x="156" y="86"/>
                  <a:pt x="156" y="86"/>
                </a:cubicBezTo>
                <a:cubicBezTo>
                  <a:pt x="156" y="87"/>
                  <a:pt x="156" y="87"/>
                  <a:pt x="156" y="87"/>
                </a:cubicBezTo>
                <a:cubicBezTo>
                  <a:pt x="156" y="87"/>
                  <a:pt x="156" y="87"/>
                  <a:pt x="156" y="87"/>
                </a:cubicBezTo>
                <a:cubicBezTo>
                  <a:pt x="156" y="87"/>
                  <a:pt x="156" y="87"/>
                  <a:pt x="156" y="87"/>
                </a:cubicBezTo>
                <a:cubicBezTo>
                  <a:pt x="155" y="88"/>
                  <a:pt x="155" y="88"/>
                  <a:pt x="155" y="88"/>
                </a:cubicBezTo>
                <a:cubicBezTo>
                  <a:pt x="154" y="88"/>
                  <a:pt x="154" y="88"/>
                  <a:pt x="154" y="88"/>
                </a:cubicBezTo>
                <a:cubicBezTo>
                  <a:pt x="152" y="88"/>
                  <a:pt x="152" y="88"/>
                  <a:pt x="152" y="88"/>
                </a:cubicBezTo>
                <a:cubicBezTo>
                  <a:pt x="151" y="89"/>
                  <a:pt x="151" y="89"/>
                  <a:pt x="151" y="89"/>
                </a:cubicBezTo>
                <a:cubicBezTo>
                  <a:pt x="149" y="88"/>
                  <a:pt x="149" y="88"/>
                  <a:pt x="149" y="88"/>
                </a:cubicBezTo>
                <a:cubicBezTo>
                  <a:pt x="149" y="88"/>
                  <a:pt x="149" y="88"/>
                  <a:pt x="149" y="88"/>
                </a:cubicBezTo>
                <a:cubicBezTo>
                  <a:pt x="143" y="88"/>
                  <a:pt x="143" y="88"/>
                  <a:pt x="143" y="88"/>
                </a:cubicBezTo>
                <a:cubicBezTo>
                  <a:pt x="136" y="85"/>
                  <a:pt x="136" y="85"/>
                  <a:pt x="136" y="85"/>
                </a:cubicBezTo>
                <a:cubicBezTo>
                  <a:pt x="129" y="80"/>
                  <a:pt x="129" y="80"/>
                  <a:pt x="129" y="80"/>
                </a:cubicBezTo>
                <a:cubicBezTo>
                  <a:pt x="117" y="79"/>
                  <a:pt x="117" y="79"/>
                  <a:pt x="117" y="79"/>
                </a:cubicBezTo>
                <a:cubicBezTo>
                  <a:pt x="111" y="76"/>
                  <a:pt x="111" y="76"/>
                  <a:pt x="111" y="76"/>
                </a:cubicBezTo>
                <a:cubicBezTo>
                  <a:pt x="104" y="71"/>
                  <a:pt x="104" y="71"/>
                  <a:pt x="104" y="71"/>
                </a:cubicBezTo>
                <a:cubicBezTo>
                  <a:pt x="95" y="69"/>
                  <a:pt x="95" y="69"/>
                  <a:pt x="95" y="69"/>
                </a:cubicBezTo>
                <a:cubicBezTo>
                  <a:pt x="97" y="62"/>
                  <a:pt x="97" y="62"/>
                  <a:pt x="97" y="62"/>
                </a:cubicBezTo>
                <a:cubicBezTo>
                  <a:pt x="97" y="62"/>
                  <a:pt x="97" y="62"/>
                  <a:pt x="97" y="62"/>
                </a:cubicBezTo>
                <a:cubicBezTo>
                  <a:pt x="97" y="62"/>
                  <a:pt x="97" y="62"/>
                  <a:pt x="97" y="62"/>
                </a:cubicBezTo>
                <a:cubicBezTo>
                  <a:pt x="97" y="61"/>
                  <a:pt x="97" y="61"/>
                  <a:pt x="97" y="61"/>
                </a:cubicBezTo>
                <a:cubicBezTo>
                  <a:pt x="103" y="57"/>
                  <a:pt x="103" y="57"/>
                  <a:pt x="103" y="57"/>
                </a:cubicBezTo>
                <a:cubicBezTo>
                  <a:pt x="103" y="57"/>
                  <a:pt x="103" y="57"/>
                  <a:pt x="103" y="57"/>
                </a:cubicBezTo>
                <a:cubicBezTo>
                  <a:pt x="101" y="55"/>
                  <a:pt x="101" y="55"/>
                  <a:pt x="101" y="55"/>
                </a:cubicBezTo>
                <a:cubicBezTo>
                  <a:pt x="96" y="53"/>
                  <a:pt x="96" y="53"/>
                  <a:pt x="96" y="53"/>
                </a:cubicBezTo>
                <a:cubicBezTo>
                  <a:pt x="96" y="52"/>
                  <a:pt x="96" y="52"/>
                  <a:pt x="96" y="52"/>
                </a:cubicBezTo>
                <a:cubicBezTo>
                  <a:pt x="95" y="50"/>
                  <a:pt x="95" y="50"/>
                  <a:pt x="95" y="50"/>
                </a:cubicBezTo>
                <a:cubicBezTo>
                  <a:pt x="92" y="50"/>
                  <a:pt x="92" y="50"/>
                  <a:pt x="92" y="50"/>
                </a:cubicBezTo>
                <a:cubicBezTo>
                  <a:pt x="90" y="46"/>
                  <a:pt x="90" y="46"/>
                  <a:pt x="90" y="46"/>
                </a:cubicBezTo>
                <a:cubicBezTo>
                  <a:pt x="89" y="46"/>
                  <a:pt x="89" y="46"/>
                  <a:pt x="89" y="46"/>
                </a:cubicBezTo>
                <a:cubicBezTo>
                  <a:pt x="88" y="47"/>
                  <a:pt x="88" y="47"/>
                  <a:pt x="88" y="47"/>
                </a:cubicBezTo>
                <a:cubicBezTo>
                  <a:pt x="88" y="47"/>
                  <a:pt x="88" y="47"/>
                  <a:pt x="88" y="47"/>
                </a:cubicBezTo>
                <a:cubicBezTo>
                  <a:pt x="87" y="47"/>
                  <a:pt x="87" y="47"/>
                  <a:pt x="87" y="47"/>
                </a:cubicBezTo>
                <a:cubicBezTo>
                  <a:pt x="88" y="44"/>
                  <a:pt x="88" y="44"/>
                  <a:pt x="88" y="44"/>
                </a:cubicBezTo>
                <a:cubicBezTo>
                  <a:pt x="88" y="42"/>
                  <a:pt x="88" y="42"/>
                  <a:pt x="88" y="42"/>
                </a:cubicBezTo>
                <a:cubicBezTo>
                  <a:pt x="85" y="39"/>
                  <a:pt x="85" y="39"/>
                  <a:pt x="85" y="39"/>
                </a:cubicBezTo>
                <a:cubicBezTo>
                  <a:pt x="86" y="37"/>
                  <a:pt x="86" y="37"/>
                  <a:pt x="86" y="37"/>
                </a:cubicBezTo>
                <a:cubicBezTo>
                  <a:pt x="86" y="37"/>
                  <a:pt x="86" y="37"/>
                  <a:pt x="86" y="37"/>
                </a:cubicBezTo>
                <a:cubicBezTo>
                  <a:pt x="87" y="37"/>
                  <a:pt x="87" y="37"/>
                  <a:pt x="87" y="37"/>
                </a:cubicBezTo>
                <a:cubicBezTo>
                  <a:pt x="88" y="38"/>
                  <a:pt x="88" y="38"/>
                  <a:pt x="88" y="38"/>
                </a:cubicBezTo>
                <a:cubicBezTo>
                  <a:pt x="90" y="38"/>
                  <a:pt x="90" y="38"/>
                  <a:pt x="90" y="38"/>
                </a:cubicBezTo>
                <a:cubicBezTo>
                  <a:pt x="91" y="38"/>
                  <a:pt x="91" y="38"/>
                  <a:pt x="91" y="38"/>
                </a:cubicBezTo>
                <a:cubicBezTo>
                  <a:pt x="93" y="34"/>
                  <a:pt x="93" y="34"/>
                  <a:pt x="93" y="34"/>
                </a:cubicBezTo>
                <a:cubicBezTo>
                  <a:pt x="93" y="32"/>
                  <a:pt x="93" y="32"/>
                  <a:pt x="93" y="32"/>
                </a:cubicBezTo>
                <a:cubicBezTo>
                  <a:pt x="91" y="32"/>
                  <a:pt x="91" y="32"/>
                  <a:pt x="91" y="32"/>
                </a:cubicBezTo>
                <a:cubicBezTo>
                  <a:pt x="90" y="30"/>
                  <a:pt x="90" y="30"/>
                  <a:pt x="90" y="30"/>
                </a:cubicBezTo>
                <a:cubicBezTo>
                  <a:pt x="90" y="27"/>
                  <a:pt x="90" y="27"/>
                  <a:pt x="90" y="27"/>
                </a:cubicBezTo>
                <a:cubicBezTo>
                  <a:pt x="94" y="26"/>
                  <a:pt x="94" y="26"/>
                  <a:pt x="94" y="26"/>
                </a:cubicBezTo>
                <a:cubicBezTo>
                  <a:pt x="95" y="23"/>
                  <a:pt x="95" y="23"/>
                  <a:pt x="95" y="23"/>
                </a:cubicBezTo>
                <a:cubicBezTo>
                  <a:pt x="98" y="21"/>
                  <a:pt x="98" y="21"/>
                  <a:pt x="98" y="21"/>
                </a:cubicBezTo>
                <a:cubicBezTo>
                  <a:pt x="99" y="16"/>
                  <a:pt x="99" y="16"/>
                  <a:pt x="99" y="16"/>
                </a:cubicBezTo>
                <a:cubicBezTo>
                  <a:pt x="101" y="14"/>
                  <a:pt x="101" y="14"/>
                  <a:pt x="101" y="14"/>
                </a:cubicBezTo>
                <a:cubicBezTo>
                  <a:pt x="99" y="12"/>
                  <a:pt x="99" y="12"/>
                  <a:pt x="99" y="12"/>
                </a:cubicBezTo>
                <a:cubicBezTo>
                  <a:pt x="96" y="12"/>
                  <a:pt x="96" y="12"/>
                  <a:pt x="96" y="12"/>
                </a:cubicBezTo>
                <a:cubicBezTo>
                  <a:pt x="92" y="10"/>
                  <a:pt x="92" y="10"/>
                  <a:pt x="92" y="10"/>
                </a:cubicBezTo>
                <a:cubicBezTo>
                  <a:pt x="90" y="13"/>
                  <a:pt x="90" y="13"/>
                  <a:pt x="90" y="13"/>
                </a:cubicBezTo>
                <a:cubicBezTo>
                  <a:pt x="87" y="13"/>
                  <a:pt x="87" y="13"/>
                  <a:pt x="87" y="13"/>
                </a:cubicBezTo>
                <a:cubicBezTo>
                  <a:pt x="85" y="14"/>
                  <a:pt x="85" y="14"/>
                  <a:pt x="85" y="14"/>
                </a:cubicBezTo>
                <a:cubicBezTo>
                  <a:pt x="81" y="14"/>
                  <a:pt x="81" y="14"/>
                  <a:pt x="81" y="14"/>
                </a:cubicBezTo>
                <a:cubicBezTo>
                  <a:pt x="76" y="12"/>
                  <a:pt x="76" y="12"/>
                  <a:pt x="76" y="12"/>
                </a:cubicBezTo>
                <a:cubicBezTo>
                  <a:pt x="75" y="8"/>
                  <a:pt x="75" y="8"/>
                  <a:pt x="75" y="8"/>
                </a:cubicBezTo>
                <a:cubicBezTo>
                  <a:pt x="74" y="8"/>
                  <a:pt x="74" y="8"/>
                  <a:pt x="74" y="8"/>
                </a:cubicBezTo>
                <a:cubicBezTo>
                  <a:pt x="73" y="6"/>
                  <a:pt x="73" y="6"/>
                  <a:pt x="73" y="6"/>
                </a:cubicBezTo>
                <a:cubicBezTo>
                  <a:pt x="70" y="6"/>
                  <a:pt x="70" y="6"/>
                  <a:pt x="70" y="6"/>
                </a:cubicBezTo>
                <a:cubicBezTo>
                  <a:pt x="69" y="3"/>
                  <a:pt x="69" y="3"/>
                  <a:pt x="69" y="3"/>
                </a:cubicBezTo>
                <a:cubicBezTo>
                  <a:pt x="67" y="1"/>
                  <a:pt x="67" y="1"/>
                  <a:pt x="67" y="1"/>
                </a:cubicBezTo>
                <a:cubicBezTo>
                  <a:pt x="65" y="0"/>
                  <a:pt x="65" y="0"/>
                  <a:pt x="65" y="0"/>
                </a:cubicBezTo>
                <a:cubicBezTo>
                  <a:pt x="60" y="2"/>
                  <a:pt x="60" y="2"/>
                  <a:pt x="60" y="2"/>
                </a:cubicBezTo>
                <a:cubicBezTo>
                  <a:pt x="55" y="3"/>
                  <a:pt x="55" y="3"/>
                  <a:pt x="55" y="3"/>
                </a:cubicBezTo>
                <a:cubicBezTo>
                  <a:pt x="53" y="2"/>
                  <a:pt x="53" y="2"/>
                  <a:pt x="53" y="2"/>
                </a:cubicBezTo>
                <a:cubicBezTo>
                  <a:pt x="51" y="1"/>
                  <a:pt x="51" y="1"/>
                  <a:pt x="51" y="1"/>
                </a:cubicBezTo>
                <a:cubicBezTo>
                  <a:pt x="50" y="3"/>
                  <a:pt x="50" y="3"/>
                  <a:pt x="50" y="3"/>
                </a:cubicBezTo>
                <a:cubicBezTo>
                  <a:pt x="50" y="5"/>
                  <a:pt x="50" y="5"/>
                  <a:pt x="50" y="5"/>
                </a:cubicBezTo>
                <a:cubicBezTo>
                  <a:pt x="48" y="5"/>
                  <a:pt x="48" y="5"/>
                  <a:pt x="48" y="5"/>
                </a:cubicBezTo>
                <a:cubicBezTo>
                  <a:pt x="46" y="5"/>
                  <a:pt x="46" y="5"/>
                  <a:pt x="46" y="5"/>
                </a:cubicBezTo>
                <a:cubicBezTo>
                  <a:pt x="46" y="8"/>
                  <a:pt x="46" y="8"/>
                  <a:pt x="46" y="8"/>
                </a:cubicBezTo>
                <a:cubicBezTo>
                  <a:pt x="47" y="10"/>
                  <a:pt x="47" y="10"/>
                  <a:pt x="47" y="10"/>
                </a:cubicBezTo>
                <a:cubicBezTo>
                  <a:pt x="51" y="11"/>
                  <a:pt x="51" y="11"/>
                  <a:pt x="51" y="11"/>
                </a:cubicBezTo>
                <a:cubicBezTo>
                  <a:pt x="55" y="14"/>
                  <a:pt x="55" y="14"/>
                  <a:pt x="55" y="14"/>
                </a:cubicBezTo>
                <a:cubicBezTo>
                  <a:pt x="56" y="16"/>
                  <a:pt x="56" y="16"/>
                  <a:pt x="56" y="16"/>
                </a:cubicBezTo>
                <a:cubicBezTo>
                  <a:pt x="52" y="21"/>
                  <a:pt x="52" y="21"/>
                  <a:pt x="52" y="21"/>
                </a:cubicBezTo>
                <a:cubicBezTo>
                  <a:pt x="53" y="29"/>
                  <a:pt x="53" y="29"/>
                  <a:pt x="53" y="29"/>
                </a:cubicBezTo>
                <a:cubicBezTo>
                  <a:pt x="54" y="31"/>
                  <a:pt x="54" y="31"/>
                  <a:pt x="54" y="31"/>
                </a:cubicBezTo>
                <a:cubicBezTo>
                  <a:pt x="55" y="32"/>
                  <a:pt x="55" y="32"/>
                  <a:pt x="55" y="32"/>
                </a:cubicBezTo>
                <a:cubicBezTo>
                  <a:pt x="55" y="33"/>
                  <a:pt x="55" y="33"/>
                  <a:pt x="55" y="33"/>
                </a:cubicBezTo>
                <a:cubicBezTo>
                  <a:pt x="57" y="33"/>
                  <a:pt x="57" y="33"/>
                  <a:pt x="57" y="33"/>
                </a:cubicBezTo>
                <a:cubicBezTo>
                  <a:pt x="58" y="33"/>
                  <a:pt x="58" y="33"/>
                  <a:pt x="58" y="33"/>
                </a:cubicBezTo>
                <a:cubicBezTo>
                  <a:pt x="58" y="34"/>
                  <a:pt x="58" y="34"/>
                  <a:pt x="58" y="34"/>
                </a:cubicBezTo>
                <a:cubicBezTo>
                  <a:pt x="58" y="36"/>
                  <a:pt x="58" y="36"/>
                  <a:pt x="58" y="36"/>
                </a:cubicBezTo>
                <a:cubicBezTo>
                  <a:pt x="61" y="36"/>
                  <a:pt x="61" y="36"/>
                  <a:pt x="61" y="36"/>
                </a:cubicBezTo>
                <a:cubicBezTo>
                  <a:pt x="62" y="38"/>
                  <a:pt x="62" y="38"/>
                  <a:pt x="62" y="38"/>
                </a:cubicBezTo>
                <a:cubicBezTo>
                  <a:pt x="62" y="38"/>
                  <a:pt x="62" y="38"/>
                  <a:pt x="62" y="38"/>
                </a:cubicBezTo>
                <a:cubicBezTo>
                  <a:pt x="62" y="38"/>
                  <a:pt x="62" y="38"/>
                  <a:pt x="62" y="38"/>
                </a:cubicBezTo>
                <a:cubicBezTo>
                  <a:pt x="60" y="39"/>
                  <a:pt x="60" y="39"/>
                  <a:pt x="60" y="39"/>
                </a:cubicBezTo>
                <a:cubicBezTo>
                  <a:pt x="57" y="41"/>
                  <a:pt x="57" y="41"/>
                  <a:pt x="57" y="41"/>
                </a:cubicBezTo>
                <a:cubicBezTo>
                  <a:pt x="55" y="42"/>
                  <a:pt x="55" y="42"/>
                  <a:pt x="55" y="42"/>
                </a:cubicBezTo>
                <a:cubicBezTo>
                  <a:pt x="56" y="43"/>
                  <a:pt x="56" y="43"/>
                  <a:pt x="56" y="43"/>
                </a:cubicBezTo>
                <a:cubicBezTo>
                  <a:pt x="55" y="46"/>
                  <a:pt x="55" y="46"/>
                  <a:pt x="55" y="46"/>
                </a:cubicBezTo>
                <a:cubicBezTo>
                  <a:pt x="55" y="48"/>
                  <a:pt x="55" y="48"/>
                  <a:pt x="55" y="48"/>
                </a:cubicBezTo>
                <a:cubicBezTo>
                  <a:pt x="51" y="51"/>
                  <a:pt x="51" y="51"/>
                  <a:pt x="51" y="51"/>
                </a:cubicBezTo>
                <a:cubicBezTo>
                  <a:pt x="50" y="53"/>
                  <a:pt x="50" y="53"/>
                  <a:pt x="50" y="53"/>
                </a:cubicBezTo>
                <a:cubicBezTo>
                  <a:pt x="46" y="53"/>
                  <a:pt x="46" y="53"/>
                  <a:pt x="46" y="53"/>
                </a:cubicBezTo>
                <a:cubicBezTo>
                  <a:pt x="46" y="55"/>
                  <a:pt x="46" y="55"/>
                  <a:pt x="46" y="55"/>
                </a:cubicBezTo>
                <a:cubicBezTo>
                  <a:pt x="40" y="63"/>
                  <a:pt x="40" y="63"/>
                  <a:pt x="40" y="63"/>
                </a:cubicBezTo>
                <a:cubicBezTo>
                  <a:pt x="37" y="64"/>
                  <a:pt x="37" y="64"/>
                  <a:pt x="37" y="64"/>
                </a:cubicBezTo>
                <a:cubicBezTo>
                  <a:pt x="33" y="67"/>
                  <a:pt x="33" y="67"/>
                  <a:pt x="33" y="67"/>
                </a:cubicBezTo>
                <a:cubicBezTo>
                  <a:pt x="32" y="71"/>
                  <a:pt x="32" y="71"/>
                  <a:pt x="32" y="71"/>
                </a:cubicBezTo>
                <a:cubicBezTo>
                  <a:pt x="24" y="72"/>
                  <a:pt x="24" y="72"/>
                  <a:pt x="24" y="72"/>
                </a:cubicBezTo>
                <a:cubicBezTo>
                  <a:pt x="23" y="71"/>
                  <a:pt x="23" y="71"/>
                  <a:pt x="23" y="71"/>
                </a:cubicBezTo>
                <a:cubicBezTo>
                  <a:pt x="23" y="70"/>
                  <a:pt x="23" y="70"/>
                  <a:pt x="23" y="70"/>
                </a:cubicBezTo>
                <a:cubicBezTo>
                  <a:pt x="22" y="69"/>
                  <a:pt x="22" y="69"/>
                  <a:pt x="22" y="69"/>
                </a:cubicBezTo>
                <a:cubicBezTo>
                  <a:pt x="21" y="69"/>
                  <a:pt x="21" y="69"/>
                  <a:pt x="21" y="69"/>
                </a:cubicBezTo>
                <a:cubicBezTo>
                  <a:pt x="20" y="69"/>
                  <a:pt x="20" y="69"/>
                  <a:pt x="20" y="69"/>
                </a:cubicBezTo>
                <a:cubicBezTo>
                  <a:pt x="18" y="71"/>
                  <a:pt x="18" y="71"/>
                  <a:pt x="18" y="71"/>
                </a:cubicBezTo>
                <a:cubicBezTo>
                  <a:pt x="13" y="76"/>
                  <a:pt x="13" y="76"/>
                  <a:pt x="13" y="76"/>
                </a:cubicBezTo>
                <a:cubicBezTo>
                  <a:pt x="12" y="78"/>
                  <a:pt x="12" y="78"/>
                  <a:pt x="12" y="78"/>
                </a:cubicBezTo>
                <a:cubicBezTo>
                  <a:pt x="15" y="80"/>
                  <a:pt x="15" y="80"/>
                  <a:pt x="15" y="80"/>
                </a:cubicBezTo>
                <a:cubicBezTo>
                  <a:pt x="18" y="81"/>
                  <a:pt x="18" y="81"/>
                  <a:pt x="18" y="81"/>
                </a:cubicBezTo>
                <a:cubicBezTo>
                  <a:pt x="17" y="84"/>
                  <a:pt x="17" y="84"/>
                  <a:pt x="17" y="84"/>
                </a:cubicBezTo>
                <a:cubicBezTo>
                  <a:pt x="18" y="87"/>
                  <a:pt x="18" y="87"/>
                  <a:pt x="18" y="87"/>
                </a:cubicBezTo>
                <a:cubicBezTo>
                  <a:pt x="20" y="88"/>
                  <a:pt x="20" y="88"/>
                  <a:pt x="20" y="88"/>
                </a:cubicBezTo>
                <a:cubicBezTo>
                  <a:pt x="21" y="90"/>
                  <a:pt x="21" y="90"/>
                  <a:pt x="21" y="90"/>
                </a:cubicBezTo>
                <a:cubicBezTo>
                  <a:pt x="22" y="92"/>
                  <a:pt x="22" y="92"/>
                  <a:pt x="22" y="92"/>
                </a:cubicBezTo>
                <a:cubicBezTo>
                  <a:pt x="22" y="95"/>
                  <a:pt x="22" y="95"/>
                  <a:pt x="22" y="95"/>
                </a:cubicBezTo>
                <a:cubicBezTo>
                  <a:pt x="23" y="96"/>
                  <a:pt x="23" y="96"/>
                  <a:pt x="23" y="96"/>
                </a:cubicBezTo>
                <a:cubicBezTo>
                  <a:pt x="23" y="96"/>
                  <a:pt x="23" y="96"/>
                  <a:pt x="23" y="96"/>
                </a:cubicBezTo>
                <a:cubicBezTo>
                  <a:pt x="22" y="97"/>
                  <a:pt x="22" y="97"/>
                  <a:pt x="22" y="97"/>
                </a:cubicBezTo>
                <a:cubicBezTo>
                  <a:pt x="23" y="98"/>
                  <a:pt x="23" y="98"/>
                  <a:pt x="23" y="98"/>
                </a:cubicBezTo>
                <a:cubicBezTo>
                  <a:pt x="21" y="99"/>
                  <a:pt x="21" y="99"/>
                  <a:pt x="21" y="99"/>
                </a:cubicBezTo>
                <a:cubicBezTo>
                  <a:pt x="20" y="99"/>
                  <a:pt x="20" y="99"/>
                  <a:pt x="20" y="99"/>
                </a:cubicBezTo>
                <a:cubicBezTo>
                  <a:pt x="20" y="98"/>
                  <a:pt x="20" y="98"/>
                  <a:pt x="20" y="98"/>
                </a:cubicBezTo>
                <a:cubicBezTo>
                  <a:pt x="19" y="97"/>
                  <a:pt x="19" y="97"/>
                  <a:pt x="19" y="97"/>
                </a:cubicBezTo>
                <a:cubicBezTo>
                  <a:pt x="14" y="99"/>
                  <a:pt x="14" y="99"/>
                  <a:pt x="14" y="99"/>
                </a:cubicBezTo>
                <a:cubicBezTo>
                  <a:pt x="11" y="98"/>
                  <a:pt x="11" y="98"/>
                  <a:pt x="11" y="98"/>
                </a:cubicBezTo>
                <a:cubicBezTo>
                  <a:pt x="7" y="98"/>
                  <a:pt x="7" y="98"/>
                  <a:pt x="7" y="98"/>
                </a:cubicBezTo>
                <a:cubicBezTo>
                  <a:pt x="7" y="97"/>
                  <a:pt x="7" y="97"/>
                  <a:pt x="7" y="97"/>
                </a:cubicBezTo>
                <a:cubicBezTo>
                  <a:pt x="6" y="97"/>
                  <a:pt x="6" y="97"/>
                  <a:pt x="6" y="97"/>
                </a:cubicBezTo>
                <a:cubicBezTo>
                  <a:pt x="5" y="97"/>
                  <a:pt x="5" y="97"/>
                  <a:pt x="5" y="97"/>
                </a:cubicBezTo>
                <a:cubicBezTo>
                  <a:pt x="4" y="97"/>
                  <a:pt x="4" y="97"/>
                  <a:pt x="4" y="97"/>
                </a:cubicBezTo>
                <a:cubicBezTo>
                  <a:pt x="3" y="99"/>
                  <a:pt x="3" y="99"/>
                  <a:pt x="3" y="99"/>
                </a:cubicBezTo>
                <a:cubicBezTo>
                  <a:pt x="2" y="99"/>
                  <a:pt x="2" y="99"/>
                  <a:pt x="2" y="99"/>
                </a:cubicBezTo>
                <a:cubicBezTo>
                  <a:pt x="0" y="101"/>
                  <a:pt x="0" y="101"/>
                  <a:pt x="0" y="101"/>
                </a:cubicBezTo>
                <a:cubicBezTo>
                  <a:pt x="1" y="101"/>
                  <a:pt x="1" y="101"/>
                  <a:pt x="1" y="101"/>
                </a:cubicBezTo>
                <a:cubicBezTo>
                  <a:pt x="3" y="100"/>
                  <a:pt x="3" y="100"/>
                  <a:pt x="3" y="100"/>
                </a:cubicBezTo>
                <a:cubicBezTo>
                  <a:pt x="4" y="100"/>
                  <a:pt x="4" y="100"/>
                  <a:pt x="4" y="100"/>
                </a:cubicBezTo>
                <a:cubicBezTo>
                  <a:pt x="2" y="102"/>
                  <a:pt x="2" y="102"/>
                  <a:pt x="2" y="102"/>
                </a:cubicBezTo>
                <a:cubicBezTo>
                  <a:pt x="1" y="103"/>
                  <a:pt x="1" y="103"/>
                  <a:pt x="1" y="103"/>
                </a:cubicBezTo>
                <a:cubicBezTo>
                  <a:pt x="3" y="106"/>
                  <a:pt x="3" y="106"/>
                  <a:pt x="3" y="106"/>
                </a:cubicBezTo>
                <a:cubicBezTo>
                  <a:pt x="8" y="109"/>
                  <a:pt x="8" y="109"/>
                  <a:pt x="8" y="109"/>
                </a:cubicBezTo>
                <a:cubicBezTo>
                  <a:pt x="11" y="110"/>
                  <a:pt x="11" y="110"/>
                  <a:pt x="11" y="110"/>
                </a:cubicBezTo>
                <a:cubicBezTo>
                  <a:pt x="12" y="109"/>
                  <a:pt x="12" y="109"/>
                  <a:pt x="12" y="109"/>
                </a:cubicBezTo>
                <a:cubicBezTo>
                  <a:pt x="15" y="109"/>
                  <a:pt x="15" y="109"/>
                  <a:pt x="15" y="109"/>
                </a:cubicBezTo>
                <a:cubicBezTo>
                  <a:pt x="16" y="108"/>
                  <a:pt x="16" y="108"/>
                  <a:pt x="16" y="108"/>
                </a:cubicBezTo>
                <a:cubicBezTo>
                  <a:pt x="17" y="108"/>
                  <a:pt x="17" y="108"/>
                  <a:pt x="17" y="108"/>
                </a:cubicBezTo>
                <a:cubicBezTo>
                  <a:pt x="14" y="112"/>
                  <a:pt x="14" y="112"/>
                  <a:pt x="14" y="112"/>
                </a:cubicBezTo>
                <a:cubicBezTo>
                  <a:pt x="13" y="113"/>
                  <a:pt x="13" y="113"/>
                  <a:pt x="13" y="113"/>
                </a:cubicBezTo>
                <a:cubicBezTo>
                  <a:pt x="10" y="113"/>
                  <a:pt x="10" y="113"/>
                  <a:pt x="10" y="113"/>
                </a:cubicBezTo>
                <a:cubicBezTo>
                  <a:pt x="7" y="113"/>
                  <a:pt x="7" y="113"/>
                  <a:pt x="7" y="113"/>
                </a:cubicBezTo>
                <a:cubicBezTo>
                  <a:pt x="5" y="113"/>
                  <a:pt x="5" y="113"/>
                  <a:pt x="5" y="113"/>
                </a:cubicBezTo>
                <a:cubicBezTo>
                  <a:pt x="5" y="113"/>
                  <a:pt x="5" y="113"/>
                  <a:pt x="5" y="113"/>
                </a:cubicBezTo>
                <a:cubicBezTo>
                  <a:pt x="5" y="115"/>
                  <a:pt x="5" y="115"/>
                  <a:pt x="5" y="115"/>
                </a:cubicBezTo>
                <a:cubicBezTo>
                  <a:pt x="14" y="127"/>
                  <a:pt x="14" y="127"/>
                  <a:pt x="14" y="127"/>
                </a:cubicBezTo>
                <a:cubicBezTo>
                  <a:pt x="17" y="127"/>
                  <a:pt x="17" y="127"/>
                  <a:pt x="17" y="127"/>
                </a:cubicBezTo>
                <a:cubicBezTo>
                  <a:pt x="17" y="128"/>
                  <a:pt x="17" y="128"/>
                  <a:pt x="17" y="128"/>
                </a:cubicBezTo>
                <a:cubicBezTo>
                  <a:pt x="18" y="128"/>
                  <a:pt x="18" y="128"/>
                  <a:pt x="18" y="128"/>
                </a:cubicBezTo>
                <a:cubicBezTo>
                  <a:pt x="19" y="128"/>
                  <a:pt x="19" y="128"/>
                  <a:pt x="19" y="128"/>
                </a:cubicBezTo>
                <a:cubicBezTo>
                  <a:pt x="19" y="128"/>
                  <a:pt x="19" y="128"/>
                  <a:pt x="19" y="128"/>
                </a:cubicBezTo>
                <a:cubicBezTo>
                  <a:pt x="23" y="127"/>
                  <a:pt x="23" y="127"/>
                  <a:pt x="23" y="127"/>
                </a:cubicBezTo>
                <a:cubicBezTo>
                  <a:pt x="25" y="126"/>
                  <a:pt x="25" y="126"/>
                  <a:pt x="25" y="126"/>
                </a:cubicBezTo>
                <a:cubicBezTo>
                  <a:pt x="28" y="125"/>
                  <a:pt x="28" y="125"/>
                  <a:pt x="28" y="125"/>
                </a:cubicBezTo>
                <a:cubicBezTo>
                  <a:pt x="28" y="124"/>
                  <a:pt x="28" y="124"/>
                  <a:pt x="28" y="124"/>
                </a:cubicBezTo>
                <a:cubicBezTo>
                  <a:pt x="29" y="123"/>
                  <a:pt x="29" y="123"/>
                  <a:pt x="29" y="123"/>
                </a:cubicBezTo>
                <a:cubicBezTo>
                  <a:pt x="29" y="121"/>
                  <a:pt x="29" y="121"/>
                  <a:pt x="29" y="121"/>
                </a:cubicBezTo>
                <a:cubicBezTo>
                  <a:pt x="30" y="119"/>
                  <a:pt x="30" y="119"/>
                  <a:pt x="30" y="119"/>
                </a:cubicBezTo>
                <a:cubicBezTo>
                  <a:pt x="31" y="116"/>
                  <a:pt x="31" y="116"/>
                  <a:pt x="31" y="116"/>
                </a:cubicBezTo>
                <a:cubicBezTo>
                  <a:pt x="32" y="117"/>
                  <a:pt x="32" y="117"/>
                  <a:pt x="32" y="117"/>
                </a:cubicBezTo>
                <a:cubicBezTo>
                  <a:pt x="34" y="116"/>
                  <a:pt x="34" y="116"/>
                  <a:pt x="34" y="116"/>
                </a:cubicBezTo>
                <a:cubicBezTo>
                  <a:pt x="34" y="116"/>
                  <a:pt x="34" y="116"/>
                  <a:pt x="34" y="116"/>
                </a:cubicBezTo>
                <a:cubicBezTo>
                  <a:pt x="34" y="117"/>
                  <a:pt x="34" y="117"/>
                  <a:pt x="34" y="117"/>
                </a:cubicBezTo>
                <a:cubicBezTo>
                  <a:pt x="33" y="118"/>
                  <a:pt x="33" y="118"/>
                  <a:pt x="33" y="118"/>
                </a:cubicBezTo>
                <a:cubicBezTo>
                  <a:pt x="33" y="119"/>
                  <a:pt x="33" y="119"/>
                  <a:pt x="33" y="119"/>
                </a:cubicBezTo>
                <a:cubicBezTo>
                  <a:pt x="33" y="120"/>
                  <a:pt x="33" y="120"/>
                  <a:pt x="33" y="120"/>
                </a:cubicBezTo>
                <a:cubicBezTo>
                  <a:pt x="33" y="121"/>
                  <a:pt x="33" y="121"/>
                  <a:pt x="33" y="121"/>
                </a:cubicBezTo>
                <a:cubicBezTo>
                  <a:pt x="36" y="121"/>
                  <a:pt x="36" y="121"/>
                  <a:pt x="36" y="121"/>
                </a:cubicBezTo>
                <a:cubicBezTo>
                  <a:pt x="33" y="123"/>
                  <a:pt x="33" y="123"/>
                  <a:pt x="33" y="123"/>
                </a:cubicBezTo>
                <a:cubicBezTo>
                  <a:pt x="32" y="125"/>
                  <a:pt x="32" y="125"/>
                  <a:pt x="32" y="125"/>
                </a:cubicBezTo>
                <a:cubicBezTo>
                  <a:pt x="33" y="126"/>
                  <a:pt x="33" y="126"/>
                  <a:pt x="33" y="126"/>
                </a:cubicBezTo>
                <a:cubicBezTo>
                  <a:pt x="34" y="131"/>
                  <a:pt x="34" y="131"/>
                  <a:pt x="34" y="131"/>
                </a:cubicBezTo>
                <a:cubicBezTo>
                  <a:pt x="34" y="131"/>
                  <a:pt x="34" y="131"/>
                  <a:pt x="34" y="131"/>
                </a:cubicBezTo>
                <a:cubicBezTo>
                  <a:pt x="34" y="132"/>
                  <a:pt x="34" y="132"/>
                  <a:pt x="34" y="132"/>
                </a:cubicBezTo>
                <a:cubicBezTo>
                  <a:pt x="34" y="132"/>
                  <a:pt x="34" y="132"/>
                  <a:pt x="34" y="132"/>
                </a:cubicBezTo>
                <a:cubicBezTo>
                  <a:pt x="33" y="134"/>
                  <a:pt x="33" y="134"/>
                  <a:pt x="33" y="134"/>
                </a:cubicBezTo>
                <a:cubicBezTo>
                  <a:pt x="33" y="134"/>
                  <a:pt x="33" y="134"/>
                  <a:pt x="33" y="134"/>
                </a:cubicBezTo>
                <a:cubicBezTo>
                  <a:pt x="32" y="135"/>
                  <a:pt x="32" y="135"/>
                  <a:pt x="32" y="135"/>
                </a:cubicBezTo>
                <a:cubicBezTo>
                  <a:pt x="32" y="138"/>
                  <a:pt x="32" y="138"/>
                  <a:pt x="32" y="138"/>
                </a:cubicBezTo>
                <a:cubicBezTo>
                  <a:pt x="32" y="139"/>
                  <a:pt x="32" y="139"/>
                  <a:pt x="32" y="139"/>
                </a:cubicBezTo>
                <a:cubicBezTo>
                  <a:pt x="32" y="140"/>
                  <a:pt x="32" y="140"/>
                  <a:pt x="32" y="140"/>
                </a:cubicBezTo>
                <a:cubicBezTo>
                  <a:pt x="33" y="141"/>
                  <a:pt x="33" y="141"/>
                  <a:pt x="33" y="141"/>
                </a:cubicBezTo>
                <a:cubicBezTo>
                  <a:pt x="32" y="142"/>
                  <a:pt x="32" y="142"/>
                  <a:pt x="32" y="142"/>
                </a:cubicBezTo>
                <a:cubicBezTo>
                  <a:pt x="32" y="143"/>
                  <a:pt x="32" y="143"/>
                  <a:pt x="32" y="143"/>
                </a:cubicBezTo>
                <a:cubicBezTo>
                  <a:pt x="33" y="142"/>
                  <a:pt x="33" y="142"/>
                  <a:pt x="33" y="142"/>
                </a:cubicBezTo>
                <a:cubicBezTo>
                  <a:pt x="34" y="143"/>
                  <a:pt x="34" y="143"/>
                  <a:pt x="34" y="143"/>
                </a:cubicBezTo>
                <a:cubicBezTo>
                  <a:pt x="34" y="145"/>
                  <a:pt x="34" y="145"/>
                  <a:pt x="34" y="145"/>
                </a:cubicBezTo>
                <a:cubicBezTo>
                  <a:pt x="33" y="146"/>
                  <a:pt x="33" y="146"/>
                  <a:pt x="33" y="146"/>
                </a:cubicBezTo>
                <a:cubicBezTo>
                  <a:pt x="33" y="148"/>
                  <a:pt x="33" y="148"/>
                  <a:pt x="33" y="148"/>
                </a:cubicBezTo>
                <a:cubicBezTo>
                  <a:pt x="33" y="149"/>
                  <a:pt x="33" y="149"/>
                  <a:pt x="33" y="149"/>
                </a:cubicBezTo>
                <a:cubicBezTo>
                  <a:pt x="33" y="150"/>
                  <a:pt x="33" y="150"/>
                  <a:pt x="33" y="150"/>
                </a:cubicBezTo>
                <a:cubicBezTo>
                  <a:pt x="33" y="154"/>
                  <a:pt x="33" y="154"/>
                  <a:pt x="33" y="154"/>
                </a:cubicBezTo>
                <a:cubicBezTo>
                  <a:pt x="35" y="157"/>
                  <a:pt x="35" y="157"/>
                  <a:pt x="35" y="157"/>
                </a:cubicBezTo>
                <a:cubicBezTo>
                  <a:pt x="34" y="157"/>
                  <a:pt x="34" y="157"/>
                  <a:pt x="34" y="157"/>
                </a:cubicBezTo>
                <a:cubicBezTo>
                  <a:pt x="34" y="163"/>
                  <a:pt x="34" y="163"/>
                  <a:pt x="34" y="163"/>
                </a:cubicBezTo>
                <a:cubicBezTo>
                  <a:pt x="36" y="170"/>
                  <a:pt x="36" y="170"/>
                  <a:pt x="36" y="170"/>
                </a:cubicBezTo>
                <a:cubicBezTo>
                  <a:pt x="36" y="170"/>
                  <a:pt x="36" y="170"/>
                  <a:pt x="36" y="170"/>
                </a:cubicBezTo>
                <a:cubicBezTo>
                  <a:pt x="36" y="170"/>
                  <a:pt x="36" y="170"/>
                  <a:pt x="36" y="170"/>
                </a:cubicBezTo>
                <a:cubicBezTo>
                  <a:pt x="36" y="170"/>
                  <a:pt x="36" y="170"/>
                  <a:pt x="36" y="170"/>
                </a:cubicBezTo>
                <a:cubicBezTo>
                  <a:pt x="37" y="173"/>
                  <a:pt x="37" y="173"/>
                  <a:pt x="37" y="173"/>
                </a:cubicBezTo>
                <a:cubicBezTo>
                  <a:pt x="37" y="174"/>
                  <a:pt x="37" y="174"/>
                  <a:pt x="37" y="174"/>
                </a:cubicBezTo>
                <a:cubicBezTo>
                  <a:pt x="39" y="177"/>
                  <a:pt x="39" y="177"/>
                  <a:pt x="39" y="177"/>
                </a:cubicBezTo>
                <a:cubicBezTo>
                  <a:pt x="39" y="177"/>
                  <a:pt x="39" y="177"/>
                  <a:pt x="39" y="177"/>
                </a:cubicBezTo>
                <a:cubicBezTo>
                  <a:pt x="40" y="179"/>
                  <a:pt x="40" y="179"/>
                  <a:pt x="40" y="179"/>
                </a:cubicBezTo>
                <a:cubicBezTo>
                  <a:pt x="42" y="182"/>
                  <a:pt x="42" y="182"/>
                  <a:pt x="42" y="182"/>
                </a:cubicBezTo>
                <a:cubicBezTo>
                  <a:pt x="42" y="183"/>
                  <a:pt x="42" y="183"/>
                  <a:pt x="42" y="183"/>
                </a:cubicBezTo>
                <a:cubicBezTo>
                  <a:pt x="42" y="185"/>
                  <a:pt x="42" y="185"/>
                  <a:pt x="42" y="185"/>
                </a:cubicBezTo>
                <a:cubicBezTo>
                  <a:pt x="43" y="187"/>
                  <a:pt x="43" y="187"/>
                  <a:pt x="43" y="187"/>
                </a:cubicBezTo>
                <a:cubicBezTo>
                  <a:pt x="43" y="188"/>
                  <a:pt x="43" y="188"/>
                  <a:pt x="43" y="188"/>
                </a:cubicBezTo>
                <a:cubicBezTo>
                  <a:pt x="43" y="190"/>
                  <a:pt x="43" y="190"/>
                  <a:pt x="43" y="190"/>
                </a:cubicBezTo>
                <a:cubicBezTo>
                  <a:pt x="44" y="195"/>
                  <a:pt x="44" y="195"/>
                  <a:pt x="44" y="195"/>
                </a:cubicBezTo>
                <a:cubicBezTo>
                  <a:pt x="44" y="195"/>
                  <a:pt x="44" y="195"/>
                  <a:pt x="44" y="195"/>
                </a:cubicBezTo>
                <a:cubicBezTo>
                  <a:pt x="44" y="195"/>
                  <a:pt x="44" y="195"/>
                  <a:pt x="44" y="195"/>
                </a:cubicBezTo>
                <a:cubicBezTo>
                  <a:pt x="46" y="201"/>
                  <a:pt x="46" y="201"/>
                  <a:pt x="46" y="201"/>
                </a:cubicBezTo>
                <a:cubicBezTo>
                  <a:pt x="47" y="203"/>
                  <a:pt x="47" y="203"/>
                  <a:pt x="47" y="203"/>
                </a:cubicBezTo>
                <a:cubicBezTo>
                  <a:pt x="48" y="204"/>
                  <a:pt x="48" y="204"/>
                  <a:pt x="48" y="204"/>
                </a:cubicBezTo>
                <a:cubicBezTo>
                  <a:pt x="50" y="208"/>
                  <a:pt x="50" y="208"/>
                  <a:pt x="50" y="208"/>
                </a:cubicBezTo>
                <a:cubicBezTo>
                  <a:pt x="51" y="210"/>
                  <a:pt x="51" y="210"/>
                  <a:pt x="51" y="210"/>
                </a:cubicBezTo>
                <a:cubicBezTo>
                  <a:pt x="53" y="217"/>
                  <a:pt x="53" y="217"/>
                  <a:pt x="53" y="217"/>
                </a:cubicBezTo>
                <a:cubicBezTo>
                  <a:pt x="55" y="219"/>
                  <a:pt x="55" y="219"/>
                  <a:pt x="55" y="219"/>
                </a:cubicBezTo>
                <a:cubicBezTo>
                  <a:pt x="56" y="222"/>
                  <a:pt x="56" y="222"/>
                  <a:pt x="56" y="222"/>
                </a:cubicBezTo>
                <a:cubicBezTo>
                  <a:pt x="55" y="223"/>
                  <a:pt x="55" y="223"/>
                  <a:pt x="55" y="223"/>
                </a:cubicBezTo>
                <a:cubicBezTo>
                  <a:pt x="55" y="222"/>
                  <a:pt x="55" y="222"/>
                  <a:pt x="55" y="222"/>
                </a:cubicBezTo>
                <a:cubicBezTo>
                  <a:pt x="55" y="221"/>
                  <a:pt x="55" y="221"/>
                  <a:pt x="55" y="221"/>
                </a:cubicBezTo>
                <a:cubicBezTo>
                  <a:pt x="54" y="220"/>
                  <a:pt x="54" y="220"/>
                  <a:pt x="54" y="220"/>
                </a:cubicBezTo>
                <a:cubicBezTo>
                  <a:pt x="54" y="223"/>
                  <a:pt x="54" y="223"/>
                  <a:pt x="54" y="223"/>
                </a:cubicBezTo>
                <a:cubicBezTo>
                  <a:pt x="58" y="230"/>
                  <a:pt x="58" y="230"/>
                  <a:pt x="58" y="230"/>
                </a:cubicBezTo>
                <a:cubicBezTo>
                  <a:pt x="60" y="232"/>
                  <a:pt x="60" y="232"/>
                  <a:pt x="60" y="232"/>
                </a:cubicBezTo>
                <a:cubicBezTo>
                  <a:pt x="60" y="232"/>
                  <a:pt x="60" y="232"/>
                  <a:pt x="60" y="232"/>
                </a:cubicBezTo>
                <a:cubicBezTo>
                  <a:pt x="64" y="234"/>
                  <a:pt x="64" y="234"/>
                  <a:pt x="64" y="234"/>
                </a:cubicBezTo>
                <a:cubicBezTo>
                  <a:pt x="64" y="234"/>
                  <a:pt x="64" y="234"/>
                  <a:pt x="64" y="234"/>
                </a:cubicBezTo>
                <a:cubicBezTo>
                  <a:pt x="66" y="233"/>
                  <a:pt x="66" y="233"/>
                  <a:pt x="66" y="233"/>
                </a:cubicBezTo>
                <a:cubicBezTo>
                  <a:pt x="68" y="231"/>
                  <a:pt x="68" y="231"/>
                  <a:pt x="68" y="231"/>
                </a:cubicBezTo>
                <a:cubicBezTo>
                  <a:pt x="69" y="229"/>
                  <a:pt x="69" y="229"/>
                  <a:pt x="69" y="229"/>
                </a:cubicBezTo>
                <a:cubicBezTo>
                  <a:pt x="72" y="226"/>
                  <a:pt x="72" y="226"/>
                  <a:pt x="72" y="226"/>
                </a:cubicBezTo>
                <a:cubicBezTo>
                  <a:pt x="77" y="225"/>
                  <a:pt x="77" y="225"/>
                  <a:pt x="77" y="225"/>
                </a:cubicBezTo>
                <a:cubicBezTo>
                  <a:pt x="80" y="226"/>
                  <a:pt x="80" y="226"/>
                  <a:pt x="80" y="226"/>
                </a:cubicBezTo>
                <a:cubicBezTo>
                  <a:pt x="80" y="225"/>
                  <a:pt x="80" y="225"/>
                  <a:pt x="80" y="225"/>
                </a:cubicBezTo>
                <a:cubicBezTo>
                  <a:pt x="78" y="224"/>
                  <a:pt x="78" y="224"/>
                  <a:pt x="78" y="224"/>
                </a:cubicBezTo>
                <a:cubicBezTo>
                  <a:pt x="77" y="223"/>
                  <a:pt x="77" y="223"/>
                  <a:pt x="77" y="223"/>
                </a:cubicBezTo>
                <a:cubicBezTo>
                  <a:pt x="78" y="221"/>
                  <a:pt x="78" y="221"/>
                  <a:pt x="78" y="221"/>
                </a:cubicBezTo>
                <a:cubicBezTo>
                  <a:pt x="79" y="218"/>
                  <a:pt x="79" y="218"/>
                  <a:pt x="79" y="218"/>
                </a:cubicBezTo>
                <a:cubicBezTo>
                  <a:pt x="81" y="217"/>
                  <a:pt x="81" y="217"/>
                  <a:pt x="81" y="217"/>
                </a:cubicBezTo>
                <a:cubicBezTo>
                  <a:pt x="82" y="217"/>
                  <a:pt x="82" y="217"/>
                  <a:pt x="82" y="217"/>
                </a:cubicBezTo>
                <a:cubicBezTo>
                  <a:pt x="85" y="217"/>
                  <a:pt x="85" y="217"/>
                  <a:pt x="85" y="217"/>
                </a:cubicBezTo>
                <a:cubicBezTo>
                  <a:pt x="85" y="212"/>
                  <a:pt x="85" y="212"/>
                  <a:pt x="85" y="212"/>
                </a:cubicBezTo>
                <a:cubicBezTo>
                  <a:pt x="85" y="211"/>
                  <a:pt x="85" y="211"/>
                  <a:pt x="85" y="211"/>
                </a:cubicBezTo>
                <a:cubicBezTo>
                  <a:pt x="85" y="205"/>
                  <a:pt x="85" y="205"/>
                  <a:pt x="85" y="205"/>
                </a:cubicBezTo>
                <a:cubicBezTo>
                  <a:pt x="85" y="204"/>
                  <a:pt x="85" y="204"/>
                  <a:pt x="85" y="204"/>
                </a:cubicBezTo>
                <a:cubicBezTo>
                  <a:pt x="85" y="204"/>
                  <a:pt x="85" y="204"/>
                  <a:pt x="85" y="204"/>
                </a:cubicBezTo>
                <a:cubicBezTo>
                  <a:pt x="86" y="202"/>
                  <a:pt x="86" y="202"/>
                  <a:pt x="86" y="202"/>
                </a:cubicBezTo>
                <a:cubicBezTo>
                  <a:pt x="86" y="201"/>
                  <a:pt x="86" y="201"/>
                  <a:pt x="86" y="201"/>
                </a:cubicBezTo>
                <a:cubicBezTo>
                  <a:pt x="87" y="200"/>
                  <a:pt x="87" y="200"/>
                  <a:pt x="87" y="200"/>
                </a:cubicBezTo>
                <a:cubicBezTo>
                  <a:pt x="89" y="198"/>
                  <a:pt x="89" y="198"/>
                  <a:pt x="89" y="198"/>
                </a:cubicBezTo>
                <a:cubicBezTo>
                  <a:pt x="90" y="193"/>
                  <a:pt x="90" y="193"/>
                  <a:pt x="90" y="193"/>
                </a:cubicBezTo>
                <a:cubicBezTo>
                  <a:pt x="88" y="190"/>
                  <a:pt x="88" y="190"/>
                  <a:pt x="88" y="190"/>
                </a:cubicBezTo>
                <a:cubicBezTo>
                  <a:pt x="88" y="190"/>
                  <a:pt x="88" y="190"/>
                  <a:pt x="88" y="190"/>
                </a:cubicBezTo>
                <a:cubicBezTo>
                  <a:pt x="88" y="188"/>
                  <a:pt x="89" y="186"/>
                  <a:pt x="89" y="184"/>
                </a:cubicBezTo>
                <a:cubicBezTo>
                  <a:pt x="89" y="179"/>
                  <a:pt x="89" y="179"/>
                  <a:pt x="89" y="179"/>
                </a:cubicBezTo>
                <a:cubicBezTo>
                  <a:pt x="90" y="175"/>
                  <a:pt x="90" y="175"/>
                  <a:pt x="90" y="175"/>
                </a:cubicBezTo>
                <a:cubicBezTo>
                  <a:pt x="93" y="172"/>
                  <a:pt x="93" y="172"/>
                  <a:pt x="93" y="172"/>
                </a:cubicBezTo>
                <a:cubicBezTo>
                  <a:pt x="96" y="172"/>
                  <a:pt x="96" y="172"/>
                  <a:pt x="96" y="172"/>
                </a:cubicBezTo>
                <a:cubicBezTo>
                  <a:pt x="95" y="169"/>
                  <a:pt x="95" y="169"/>
                  <a:pt x="95" y="169"/>
                </a:cubicBezTo>
                <a:cubicBezTo>
                  <a:pt x="95" y="169"/>
                  <a:pt x="95" y="168"/>
                  <a:pt x="95" y="168"/>
                </a:cubicBezTo>
                <a:cubicBezTo>
                  <a:pt x="95" y="168"/>
                  <a:pt x="95" y="168"/>
                  <a:pt x="95" y="168"/>
                </a:cubicBezTo>
                <a:cubicBezTo>
                  <a:pt x="97" y="171"/>
                  <a:pt x="97" y="171"/>
                  <a:pt x="97" y="171"/>
                </a:cubicBezTo>
                <a:cubicBezTo>
                  <a:pt x="97" y="171"/>
                  <a:pt x="97" y="172"/>
                  <a:pt x="97" y="172"/>
                </a:cubicBezTo>
                <a:cubicBezTo>
                  <a:pt x="98" y="171"/>
                  <a:pt x="98" y="171"/>
                  <a:pt x="98" y="171"/>
                </a:cubicBezTo>
                <a:cubicBezTo>
                  <a:pt x="99" y="170"/>
                  <a:pt x="99" y="170"/>
                  <a:pt x="99" y="170"/>
                </a:cubicBezTo>
                <a:cubicBezTo>
                  <a:pt x="99" y="169"/>
                  <a:pt x="100" y="169"/>
                  <a:pt x="100" y="169"/>
                </a:cubicBezTo>
                <a:cubicBezTo>
                  <a:pt x="105" y="169"/>
                  <a:pt x="105" y="169"/>
                  <a:pt x="105" y="169"/>
                </a:cubicBezTo>
                <a:cubicBezTo>
                  <a:pt x="109" y="167"/>
                  <a:pt x="109" y="167"/>
                  <a:pt x="109" y="167"/>
                </a:cubicBezTo>
                <a:cubicBezTo>
                  <a:pt x="109" y="166"/>
                  <a:pt x="109" y="166"/>
                  <a:pt x="109" y="166"/>
                </a:cubicBezTo>
                <a:cubicBezTo>
                  <a:pt x="108" y="166"/>
                  <a:pt x="108" y="165"/>
                  <a:pt x="108" y="165"/>
                </a:cubicBezTo>
                <a:cubicBezTo>
                  <a:pt x="108" y="164"/>
                  <a:pt x="109" y="163"/>
                  <a:pt x="109" y="162"/>
                </a:cubicBezTo>
                <a:cubicBezTo>
                  <a:pt x="117" y="159"/>
                  <a:pt x="117" y="159"/>
                  <a:pt x="117" y="159"/>
                </a:cubicBezTo>
                <a:cubicBezTo>
                  <a:pt x="118" y="157"/>
                  <a:pt x="118" y="157"/>
                  <a:pt x="118" y="157"/>
                </a:cubicBezTo>
                <a:cubicBezTo>
                  <a:pt x="126" y="151"/>
                  <a:pt x="126" y="151"/>
                  <a:pt x="126" y="151"/>
                </a:cubicBezTo>
                <a:cubicBezTo>
                  <a:pt x="129" y="147"/>
                  <a:pt x="129" y="147"/>
                  <a:pt x="129" y="147"/>
                </a:cubicBezTo>
                <a:cubicBezTo>
                  <a:pt x="129" y="147"/>
                  <a:pt x="129" y="147"/>
                  <a:pt x="129" y="147"/>
                </a:cubicBezTo>
                <a:cubicBezTo>
                  <a:pt x="129" y="147"/>
                  <a:pt x="129" y="147"/>
                  <a:pt x="129" y="147"/>
                </a:cubicBezTo>
                <a:cubicBezTo>
                  <a:pt x="129" y="147"/>
                  <a:pt x="129" y="147"/>
                  <a:pt x="129" y="147"/>
                </a:cubicBezTo>
                <a:cubicBezTo>
                  <a:pt x="133" y="143"/>
                  <a:pt x="133" y="143"/>
                  <a:pt x="133" y="143"/>
                </a:cubicBezTo>
                <a:cubicBezTo>
                  <a:pt x="133" y="143"/>
                  <a:pt x="133" y="143"/>
                  <a:pt x="133" y="143"/>
                </a:cubicBezTo>
                <a:cubicBezTo>
                  <a:pt x="133" y="142"/>
                  <a:pt x="133" y="142"/>
                  <a:pt x="133" y="142"/>
                </a:cubicBezTo>
                <a:cubicBezTo>
                  <a:pt x="136" y="141"/>
                  <a:pt x="136" y="141"/>
                  <a:pt x="136" y="141"/>
                </a:cubicBezTo>
                <a:cubicBezTo>
                  <a:pt x="136" y="141"/>
                  <a:pt x="136" y="141"/>
                  <a:pt x="136" y="141"/>
                </a:cubicBezTo>
                <a:cubicBezTo>
                  <a:pt x="137" y="142"/>
                  <a:pt x="137" y="142"/>
                  <a:pt x="137" y="142"/>
                </a:cubicBezTo>
                <a:cubicBezTo>
                  <a:pt x="138" y="142"/>
                  <a:pt x="138" y="142"/>
                  <a:pt x="138" y="142"/>
                </a:cubicBezTo>
                <a:cubicBezTo>
                  <a:pt x="140" y="142"/>
                  <a:pt x="140" y="142"/>
                  <a:pt x="140" y="142"/>
                </a:cubicBezTo>
                <a:cubicBezTo>
                  <a:pt x="145" y="138"/>
                  <a:pt x="145" y="138"/>
                  <a:pt x="145" y="138"/>
                </a:cubicBezTo>
                <a:cubicBezTo>
                  <a:pt x="145" y="136"/>
                  <a:pt x="145" y="136"/>
                  <a:pt x="145" y="136"/>
                </a:cubicBezTo>
                <a:cubicBezTo>
                  <a:pt x="147" y="134"/>
                  <a:pt x="147" y="134"/>
                  <a:pt x="147" y="134"/>
                </a:cubicBezTo>
                <a:cubicBezTo>
                  <a:pt x="146" y="133"/>
                  <a:pt x="146" y="133"/>
                  <a:pt x="146" y="133"/>
                </a:cubicBezTo>
                <a:cubicBezTo>
                  <a:pt x="146" y="133"/>
                  <a:pt x="146" y="133"/>
                  <a:pt x="146" y="133"/>
                </a:cubicBezTo>
                <a:cubicBezTo>
                  <a:pt x="146" y="129"/>
                  <a:pt x="146" y="129"/>
                  <a:pt x="146" y="129"/>
                </a:cubicBezTo>
                <a:cubicBezTo>
                  <a:pt x="149" y="128"/>
                  <a:pt x="149" y="128"/>
                  <a:pt x="149" y="128"/>
                </a:cubicBezTo>
                <a:cubicBezTo>
                  <a:pt x="152" y="127"/>
                  <a:pt x="152" y="127"/>
                  <a:pt x="152" y="127"/>
                </a:cubicBezTo>
                <a:cubicBezTo>
                  <a:pt x="152" y="127"/>
                  <a:pt x="152" y="127"/>
                  <a:pt x="152" y="127"/>
                </a:cubicBezTo>
                <a:cubicBezTo>
                  <a:pt x="152" y="127"/>
                  <a:pt x="152" y="127"/>
                  <a:pt x="152" y="127"/>
                </a:cubicBezTo>
                <a:cubicBezTo>
                  <a:pt x="152" y="127"/>
                  <a:pt x="152" y="127"/>
                  <a:pt x="152" y="127"/>
                </a:cubicBezTo>
                <a:cubicBezTo>
                  <a:pt x="153" y="127"/>
                  <a:pt x="153" y="127"/>
                  <a:pt x="153" y="127"/>
                </a:cubicBezTo>
                <a:cubicBezTo>
                  <a:pt x="153" y="127"/>
                  <a:pt x="154" y="126"/>
                  <a:pt x="154" y="126"/>
                </a:cubicBezTo>
                <a:cubicBezTo>
                  <a:pt x="155" y="125"/>
                  <a:pt x="155" y="125"/>
                  <a:pt x="155" y="125"/>
                </a:cubicBezTo>
                <a:cubicBezTo>
                  <a:pt x="156" y="124"/>
                  <a:pt x="156" y="124"/>
                  <a:pt x="156" y="124"/>
                </a:cubicBezTo>
                <a:cubicBezTo>
                  <a:pt x="156" y="123"/>
                  <a:pt x="156" y="123"/>
                  <a:pt x="156" y="123"/>
                </a:cubicBezTo>
                <a:cubicBezTo>
                  <a:pt x="157" y="124"/>
                  <a:pt x="157" y="124"/>
                  <a:pt x="157" y="124"/>
                </a:cubicBezTo>
                <a:cubicBezTo>
                  <a:pt x="157" y="127"/>
                  <a:pt x="157" y="127"/>
                  <a:pt x="157" y="127"/>
                </a:cubicBezTo>
                <a:cubicBezTo>
                  <a:pt x="158" y="126"/>
                  <a:pt x="158" y="126"/>
                  <a:pt x="158" y="126"/>
                </a:cubicBezTo>
                <a:cubicBezTo>
                  <a:pt x="158" y="127"/>
                  <a:pt x="158" y="127"/>
                  <a:pt x="158" y="127"/>
                </a:cubicBezTo>
                <a:cubicBezTo>
                  <a:pt x="159" y="125"/>
                  <a:pt x="159" y="125"/>
                  <a:pt x="159" y="125"/>
                </a:cubicBezTo>
                <a:cubicBezTo>
                  <a:pt x="161" y="124"/>
                  <a:pt x="161" y="124"/>
                  <a:pt x="161" y="124"/>
                </a:cubicBezTo>
                <a:cubicBezTo>
                  <a:pt x="161" y="125"/>
                  <a:pt x="161" y="125"/>
                  <a:pt x="161" y="125"/>
                </a:cubicBezTo>
                <a:cubicBezTo>
                  <a:pt x="161" y="126"/>
                  <a:pt x="161" y="126"/>
                  <a:pt x="161" y="126"/>
                </a:cubicBezTo>
                <a:cubicBezTo>
                  <a:pt x="162" y="127"/>
                  <a:pt x="162" y="127"/>
                  <a:pt x="162" y="127"/>
                </a:cubicBezTo>
                <a:cubicBezTo>
                  <a:pt x="162" y="126"/>
                  <a:pt x="162" y="126"/>
                  <a:pt x="162" y="126"/>
                </a:cubicBezTo>
                <a:cubicBezTo>
                  <a:pt x="163" y="127"/>
                  <a:pt x="163" y="127"/>
                  <a:pt x="163" y="127"/>
                </a:cubicBezTo>
                <a:cubicBezTo>
                  <a:pt x="163" y="126"/>
                  <a:pt x="163" y="126"/>
                  <a:pt x="163" y="126"/>
                </a:cubicBezTo>
                <a:cubicBezTo>
                  <a:pt x="162" y="125"/>
                  <a:pt x="162" y="125"/>
                  <a:pt x="162" y="125"/>
                </a:cubicBezTo>
                <a:cubicBezTo>
                  <a:pt x="163" y="124"/>
                  <a:pt x="163" y="124"/>
                  <a:pt x="163" y="124"/>
                </a:cubicBezTo>
                <a:cubicBezTo>
                  <a:pt x="164" y="123"/>
                  <a:pt x="164" y="123"/>
                  <a:pt x="164" y="123"/>
                </a:cubicBezTo>
                <a:cubicBezTo>
                  <a:pt x="163" y="123"/>
                  <a:pt x="163" y="123"/>
                  <a:pt x="163" y="123"/>
                </a:cubicBezTo>
                <a:cubicBezTo>
                  <a:pt x="163" y="118"/>
                  <a:pt x="163" y="118"/>
                  <a:pt x="163" y="118"/>
                </a:cubicBezTo>
                <a:cubicBezTo>
                  <a:pt x="162" y="117"/>
                  <a:pt x="162" y="117"/>
                  <a:pt x="162" y="117"/>
                </a:cubicBezTo>
                <a:cubicBezTo>
                  <a:pt x="162" y="115"/>
                  <a:pt x="162" y="115"/>
                  <a:pt x="162" y="115"/>
                </a:cubicBezTo>
                <a:cubicBezTo>
                  <a:pt x="161" y="114"/>
                  <a:pt x="161" y="114"/>
                  <a:pt x="161" y="114"/>
                </a:cubicBezTo>
                <a:cubicBezTo>
                  <a:pt x="161" y="113"/>
                  <a:pt x="161" y="113"/>
                  <a:pt x="161" y="113"/>
                </a:cubicBezTo>
                <a:cubicBezTo>
                  <a:pt x="159" y="111"/>
                  <a:pt x="159" y="111"/>
                  <a:pt x="159" y="111"/>
                </a:cubicBezTo>
                <a:cubicBezTo>
                  <a:pt x="161" y="107"/>
                  <a:pt x="161" y="107"/>
                  <a:pt x="161" y="107"/>
                </a:cubicBezTo>
                <a:cubicBezTo>
                  <a:pt x="160" y="105"/>
                  <a:pt x="160" y="105"/>
                  <a:pt x="160" y="105"/>
                </a:cubicBezTo>
                <a:cubicBezTo>
                  <a:pt x="158" y="104"/>
                  <a:pt x="158" y="104"/>
                  <a:pt x="158" y="104"/>
                </a:cubicBezTo>
                <a:cubicBezTo>
                  <a:pt x="156" y="103"/>
                  <a:pt x="156" y="103"/>
                  <a:pt x="156" y="103"/>
                </a:cubicBezTo>
                <a:cubicBezTo>
                  <a:pt x="156" y="102"/>
                  <a:pt x="156" y="102"/>
                  <a:pt x="156" y="102"/>
                </a:cubicBezTo>
                <a:cubicBezTo>
                  <a:pt x="158" y="100"/>
                  <a:pt x="158" y="100"/>
                  <a:pt x="158" y="100"/>
                </a:cubicBezTo>
                <a:cubicBezTo>
                  <a:pt x="158" y="101"/>
                  <a:pt x="158" y="101"/>
                  <a:pt x="158" y="101"/>
                </a:cubicBezTo>
                <a:cubicBezTo>
                  <a:pt x="159" y="100"/>
                  <a:pt x="159" y="100"/>
                  <a:pt x="159" y="100"/>
                </a:cubicBezTo>
                <a:cubicBezTo>
                  <a:pt x="159" y="99"/>
                  <a:pt x="159" y="99"/>
                  <a:pt x="159" y="99"/>
                </a:cubicBezTo>
                <a:cubicBezTo>
                  <a:pt x="159" y="99"/>
                  <a:pt x="159" y="99"/>
                  <a:pt x="159" y="99"/>
                </a:cubicBezTo>
                <a:cubicBezTo>
                  <a:pt x="163" y="98"/>
                  <a:pt x="163" y="98"/>
                  <a:pt x="163" y="98"/>
                </a:cubicBezTo>
                <a:cubicBezTo>
                  <a:pt x="163" y="97"/>
                  <a:pt x="163" y="97"/>
                  <a:pt x="163" y="97"/>
                </a:cubicBezTo>
                <a:cubicBezTo>
                  <a:pt x="162" y="97"/>
                  <a:pt x="162" y="97"/>
                  <a:pt x="162" y="97"/>
                </a:cubicBezTo>
                <a:cubicBezTo>
                  <a:pt x="162" y="96"/>
                  <a:pt x="162" y="96"/>
                  <a:pt x="162" y="96"/>
                </a:cubicBezTo>
                <a:cubicBezTo>
                  <a:pt x="159" y="96"/>
                  <a:pt x="159" y="96"/>
                  <a:pt x="159" y="96"/>
                </a:cubicBezTo>
                <a:cubicBezTo>
                  <a:pt x="159" y="94"/>
                  <a:pt x="159" y="94"/>
                  <a:pt x="159" y="94"/>
                </a:cubicBezTo>
                <a:cubicBezTo>
                  <a:pt x="157" y="93"/>
                  <a:pt x="157" y="93"/>
                  <a:pt x="157" y="93"/>
                </a:cubicBezTo>
                <a:cubicBezTo>
                  <a:pt x="156" y="93"/>
                  <a:pt x="156" y="93"/>
                  <a:pt x="156" y="93"/>
                </a:cubicBezTo>
                <a:cubicBezTo>
                  <a:pt x="160" y="89"/>
                  <a:pt x="160" y="89"/>
                  <a:pt x="160" y="89"/>
                </a:cubicBezTo>
                <a:cubicBezTo>
                  <a:pt x="159" y="88"/>
                  <a:pt x="159" y="88"/>
                  <a:pt x="159" y="88"/>
                </a:cubicBezTo>
                <a:cubicBezTo>
                  <a:pt x="159" y="87"/>
                  <a:pt x="159" y="87"/>
                  <a:pt x="159" y="87"/>
                </a:cubicBezTo>
                <a:cubicBezTo>
                  <a:pt x="161" y="88"/>
                  <a:pt x="161" y="88"/>
                  <a:pt x="161" y="88"/>
                </a:cubicBezTo>
                <a:cubicBezTo>
                  <a:pt x="163" y="89"/>
                  <a:pt x="163" y="89"/>
                  <a:pt x="163" y="89"/>
                </a:cubicBezTo>
                <a:cubicBezTo>
                  <a:pt x="164" y="89"/>
                  <a:pt x="164" y="89"/>
                  <a:pt x="164" y="89"/>
                </a:cubicBezTo>
                <a:cubicBezTo>
                  <a:pt x="167" y="91"/>
                  <a:pt x="167" y="91"/>
                  <a:pt x="167" y="91"/>
                </a:cubicBezTo>
                <a:cubicBezTo>
                  <a:pt x="168" y="91"/>
                  <a:pt x="168" y="91"/>
                  <a:pt x="168" y="91"/>
                </a:cubicBezTo>
                <a:cubicBezTo>
                  <a:pt x="169" y="90"/>
                  <a:pt x="169" y="90"/>
                  <a:pt x="169" y="90"/>
                </a:cubicBezTo>
                <a:cubicBezTo>
                  <a:pt x="169" y="90"/>
                  <a:pt x="169" y="90"/>
                  <a:pt x="169" y="90"/>
                </a:cubicBezTo>
                <a:cubicBezTo>
                  <a:pt x="170" y="95"/>
                  <a:pt x="170" y="95"/>
                  <a:pt x="170" y="95"/>
                </a:cubicBezTo>
                <a:cubicBezTo>
                  <a:pt x="170" y="97"/>
                  <a:pt x="170" y="97"/>
                  <a:pt x="170" y="97"/>
                </a:cubicBezTo>
                <a:cubicBezTo>
                  <a:pt x="171" y="96"/>
                  <a:pt x="171" y="96"/>
                  <a:pt x="171" y="96"/>
                </a:cubicBezTo>
                <a:cubicBezTo>
                  <a:pt x="171" y="96"/>
                  <a:pt x="171" y="96"/>
                  <a:pt x="171" y="96"/>
                </a:cubicBezTo>
                <a:cubicBezTo>
                  <a:pt x="170" y="97"/>
                  <a:pt x="170" y="97"/>
                  <a:pt x="170" y="97"/>
                </a:cubicBezTo>
                <a:cubicBezTo>
                  <a:pt x="171" y="97"/>
                  <a:pt x="171" y="97"/>
                  <a:pt x="171" y="97"/>
                </a:cubicBezTo>
                <a:cubicBezTo>
                  <a:pt x="173" y="99"/>
                  <a:pt x="173" y="99"/>
                  <a:pt x="173" y="99"/>
                </a:cubicBezTo>
                <a:cubicBezTo>
                  <a:pt x="183" y="99"/>
                  <a:pt x="183" y="99"/>
                  <a:pt x="183" y="99"/>
                </a:cubicBezTo>
                <a:cubicBezTo>
                  <a:pt x="184" y="99"/>
                  <a:pt x="184" y="99"/>
                  <a:pt x="184" y="99"/>
                </a:cubicBezTo>
                <a:cubicBezTo>
                  <a:pt x="185" y="98"/>
                  <a:pt x="185" y="98"/>
                  <a:pt x="185" y="98"/>
                </a:cubicBezTo>
                <a:cubicBezTo>
                  <a:pt x="187" y="99"/>
                  <a:pt x="187" y="99"/>
                  <a:pt x="187" y="99"/>
                </a:cubicBezTo>
                <a:cubicBezTo>
                  <a:pt x="190" y="100"/>
                  <a:pt x="190" y="100"/>
                  <a:pt x="190" y="100"/>
                </a:cubicBezTo>
                <a:cubicBezTo>
                  <a:pt x="190" y="100"/>
                  <a:pt x="190" y="100"/>
                  <a:pt x="190" y="100"/>
                </a:cubicBezTo>
                <a:cubicBezTo>
                  <a:pt x="190" y="101"/>
                  <a:pt x="190" y="101"/>
                  <a:pt x="190" y="101"/>
                </a:cubicBezTo>
                <a:cubicBezTo>
                  <a:pt x="189" y="102"/>
                  <a:pt x="189" y="102"/>
                  <a:pt x="189" y="102"/>
                </a:cubicBezTo>
                <a:cubicBezTo>
                  <a:pt x="189" y="103"/>
                  <a:pt x="189" y="103"/>
                  <a:pt x="189" y="103"/>
                </a:cubicBezTo>
                <a:cubicBezTo>
                  <a:pt x="189" y="104"/>
                  <a:pt x="189" y="104"/>
                  <a:pt x="189" y="104"/>
                </a:cubicBezTo>
                <a:cubicBezTo>
                  <a:pt x="189" y="104"/>
                  <a:pt x="189" y="104"/>
                  <a:pt x="189" y="104"/>
                </a:cubicBezTo>
                <a:cubicBezTo>
                  <a:pt x="188" y="104"/>
                  <a:pt x="188" y="104"/>
                  <a:pt x="188" y="104"/>
                </a:cubicBezTo>
                <a:cubicBezTo>
                  <a:pt x="186" y="106"/>
                  <a:pt x="186" y="106"/>
                  <a:pt x="186" y="106"/>
                </a:cubicBezTo>
                <a:cubicBezTo>
                  <a:pt x="182" y="109"/>
                  <a:pt x="182" y="109"/>
                  <a:pt x="182" y="109"/>
                </a:cubicBezTo>
                <a:cubicBezTo>
                  <a:pt x="181" y="110"/>
                  <a:pt x="181" y="110"/>
                  <a:pt x="181" y="110"/>
                </a:cubicBezTo>
                <a:cubicBezTo>
                  <a:pt x="182" y="115"/>
                  <a:pt x="182" y="115"/>
                  <a:pt x="182" y="115"/>
                </a:cubicBezTo>
                <a:cubicBezTo>
                  <a:pt x="183" y="116"/>
                  <a:pt x="183" y="116"/>
                  <a:pt x="183" y="116"/>
                </a:cubicBezTo>
                <a:cubicBezTo>
                  <a:pt x="185" y="116"/>
                  <a:pt x="185" y="116"/>
                  <a:pt x="185" y="116"/>
                </a:cubicBezTo>
                <a:cubicBezTo>
                  <a:pt x="186" y="116"/>
                  <a:pt x="186" y="116"/>
                  <a:pt x="186" y="116"/>
                </a:cubicBezTo>
                <a:cubicBezTo>
                  <a:pt x="186" y="114"/>
                  <a:pt x="186" y="114"/>
                  <a:pt x="186" y="114"/>
                </a:cubicBezTo>
                <a:cubicBezTo>
                  <a:pt x="186" y="113"/>
                  <a:pt x="186" y="113"/>
                  <a:pt x="186" y="113"/>
                </a:cubicBezTo>
                <a:cubicBezTo>
                  <a:pt x="187" y="111"/>
                  <a:pt x="187" y="111"/>
                  <a:pt x="187" y="111"/>
                </a:cubicBezTo>
                <a:cubicBezTo>
                  <a:pt x="187" y="110"/>
                  <a:pt x="187" y="110"/>
                  <a:pt x="187" y="110"/>
                </a:cubicBezTo>
                <a:cubicBezTo>
                  <a:pt x="190" y="110"/>
                  <a:pt x="190" y="110"/>
                  <a:pt x="190" y="110"/>
                </a:cubicBezTo>
                <a:cubicBezTo>
                  <a:pt x="190" y="110"/>
                  <a:pt x="190" y="110"/>
                  <a:pt x="190" y="110"/>
                </a:cubicBezTo>
                <a:cubicBezTo>
                  <a:pt x="191" y="117"/>
                  <a:pt x="191" y="117"/>
                  <a:pt x="191" y="117"/>
                </a:cubicBezTo>
                <a:cubicBezTo>
                  <a:pt x="192" y="119"/>
                  <a:pt x="192" y="119"/>
                  <a:pt x="192" y="119"/>
                </a:cubicBezTo>
                <a:cubicBezTo>
                  <a:pt x="193" y="123"/>
                  <a:pt x="193" y="123"/>
                  <a:pt x="193" y="123"/>
                </a:cubicBezTo>
                <a:cubicBezTo>
                  <a:pt x="194" y="123"/>
                  <a:pt x="194" y="123"/>
                  <a:pt x="194" y="123"/>
                </a:cubicBezTo>
                <a:cubicBezTo>
                  <a:pt x="195" y="124"/>
                  <a:pt x="195" y="124"/>
                  <a:pt x="195" y="124"/>
                </a:cubicBezTo>
                <a:cubicBezTo>
                  <a:pt x="196" y="124"/>
                  <a:pt x="196" y="124"/>
                  <a:pt x="196" y="124"/>
                </a:cubicBezTo>
                <a:cubicBezTo>
                  <a:pt x="197" y="121"/>
                  <a:pt x="197" y="121"/>
                  <a:pt x="197" y="121"/>
                </a:cubicBezTo>
                <a:cubicBezTo>
                  <a:pt x="196" y="117"/>
                  <a:pt x="196" y="117"/>
                  <a:pt x="196" y="117"/>
                </a:cubicBezTo>
                <a:cubicBezTo>
                  <a:pt x="197" y="115"/>
                  <a:pt x="197" y="115"/>
                  <a:pt x="197" y="115"/>
                </a:cubicBezTo>
                <a:cubicBezTo>
                  <a:pt x="198" y="113"/>
                  <a:pt x="198" y="113"/>
                  <a:pt x="198" y="113"/>
                </a:cubicBezTo>
                <a:cubicBezTo>
                  <a:pt x="198" y="109"/>
                  <a:pt x="198" y="109"/>
                  <a:pt x="198" y="109"/>
                </a:cubicBezTo>
                <a:cubicBezTo>
                  <a:pt x="198" y="108"/>
                  <a:pt x="198" y="108"/>
                  <a:pt x="198" y="108"/>
                </a:cubicBezTo>
                <a:cubicBezTo>
                  <a:pt x="198" y="108"/>
                  <a:pt x="198" y="108"/>
                  <a:pt x="198" y="108"/>
                </a:cubicBezTo>
                <a:cubicBezTo>
                  <a:pt x="198" y="108"/>
                  <a:pt x="198" y="108"/>
                  <a:pt x="198" y="108"/>
                </a:cubicBezTo>
                <a:cubicBezTo>
                  <a:pt x="198" y="108"/>
                  <a:pt x="198" y="108"/>
                  <a:pt x="198" y="108"/>
                </a:cubicBezTo>
                <a:cubicBezTo>
                  <a:pt x="201" y="107"/>
                  <a:pt x="201" y="107"/>
                  <a:pt x="201" y="107"/>
                </a:cubicBezTo>
                <a:cubicBezTo>
                  <a:pt x="202" y="108"/>
                  <a:pt x="202" y="108"/>
                  <a:pt x="202" y="108"/>
                </a:cubicBezTo>
                <a:cubicBezTo>
                  <a:pt x="204" y="108"/>
                  <a:pt x="204" y="108"/>
                  <a:pt x="204" y="108"/>
                </a:cubicBezTo>
                <a:cubicBezTo>
                  <a:pt x="205" y="107"/>
                  <a:pt x="205" y="107"/>
                  <a:pt x="205" y="107"/>
                </a:cubicBezTo>
                <a:cubicBezTo>
                  <a:pt x="207" y="102"/>
                  <a:pt x="207" y="102"/>
                  <a:pt x="207" y="102"/>
                </a:cubicBezTo>
                <a:cubicBezTo>
                  <a:pt x="208" y="99"/>
                  <a:pt x="208" y="99"/>
                  <a:pt x="208" y="99"/>
                </a:cubicBezTo>
                <a:cubicBezTo>
                  <a:pt x="208" y="98"/>
                  <a:pt x="208" y="98"/>
                  <a:pt x="208" y="98"/>
                </a:cubicBezTo>
                <a:cubicBezTo>
                  <a:pt x="208" y="96"/>
                  <a:pt x="208" y="96"/>
                  <a:pt x="208" y="96"/>
                </a:cubicBezTo>
                <a:cubicBezTo>
                  <a:pt x="208" y="96"/>
                  <a:pt x="208" y="96"/>
                  <a:pt x="208" y="96"/>
                </a:cubicBezTo>
                <a:cubicBezTo>
                  <a:pt x="209" y="95"/>
                  <a:pt x="209" y="95"/>
                  <a:pt x="209" y="95"/>
                </a:cubicBezTo>
                <a:cubicBezTo>
                  <a:pt x="210" y="92"/>
                  <a:pt x="210" y="92"/>
                  <a:pt x="210" y="92"/>
                </a:cubicBezTo>
                <a:cubicBezTo>
                  <a:pt x="210" y="88"/>
                  <a:pt x="210" y="88"/>
                  <a:pt x="210" y="88"/>
                </a:cubicBezTo>
                <a:cubicBezTo>
                  <a:pt x="211" y="86"/>
                  <a:pt x="211" y="86"/>
                  <a:pt x="211" y="86"/>
                </a:cubicBezTo>
                <a:cubicBezTo>
                  <a:pt x="211" y="86"/>
                  <a:pt x="211" y="86"/>
                  <a:pt x="211" y="86"/>
                </a:cubicBezTo>
                <a:cubicBezTo>
                  <a:pt x="217" y="83"/>
                  <a:pt x="217" y="83"/>
                  <a:pt x="217" y="83"/>
                </a:cubicBezTo>
                <a:cubicBezTo>
                  <a:pt x="218" y="81"/>
                  <a:pt x="218" y="81"/>
                  <a:pt x="218" y="81"/>
                </a:cubicBezTo>
                <a:cubicBezTo>
                  <a:pt x="221" y="80"/>
                  <a:pt x="221" y="80"/>
                  <a:pt x="221" y="80"/>
                </a:cubicBezTo>
                <a:cubicBezTo>
                  <a:pt x="223" y="80"/>
                  <a:pt x="223" y="80"/>
                  <a:pt x="223" y="80"/>
                </a:cubicBezTo>
                <a:cubicBezTo>
                  <a:pt x="226" y="82"/>
                  <a:pt x="226" y="82"/>
                  <a:pt x="226" y="82"/>
                </a:cubicBezTo>
                <a:cubicBezTo>
                  <a:pt x="226" y="81"/>
                  <a:pt x="226" y="81"/>
                  <a:pt x="226" y="81"/>
                </a:cubicBezTo>
                <a:cubicBezTo>
                  <a:pt x="225" y="79"/>
                  <a:pt x="225" y="79"/>
                  <a:pt x="225" y="79"/>
                </a:cubicBezTo>
                <a:lnTo>
                  <a:pt x="224" y="77"/>
                </a:lnTo>
                <a:close/>
                <a:moveTo>
                  <a:pt x="85" y="36"/>
                </a:moveTo>
                <a:cubicBezTo>
                  <a:pt x="85" y="36"/>
                  <a:pt x="85" y="36"/>
                  <a:pt x="85" y="36"/>
                </a:cubicBezTo>
                <a:cubicBezTo>
                  <a:pt x="85" y="36"/>
                  <a:pt x="85" y="36"/>
                  <a:pt x="85" y="36"/>
                </a:cubicBez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a:p>
        </p:txBody>
      </p:sp>
      <p:sp>
        <p:nvSpPr>
          <p:cNvPr id="1093" name="Freeform 17">
            <a:extLst>
              <a:ext uri="{FF2B5EF4-FFF2-40B4-BE49-F238E27FC236}">
                <a16:creationId xmlns:a16="http://schemas.microsoft.com/office/drawing/2014/main" id="{887B52D6-7A85-4C2D-91C6-99C4A1D2F09F}"/>
              </a:ext>
            </a:extLst>
          </p:cNvPr>
          <p:cNvSpPr>
            <a:spLocks/>
          </p:cNvSpPr>
          <p:nvPr/>
        </p:nvSpPr>
        <p:spPr bwMode="auto">
          <a:xfrm>
            <a:off x="8266710" y="3854869"/>
            <a:ext cx="260997" cy="143012"/>
          </a:xfrm>
          <a:custGeom>
            <a:avLst/>
            <a:gdLst>
              <a:gd name="T0" fmla="*/ 8 w 62"/>
              <a:gd name="T1" fmla="*/ 2 h 34"/>
              <a:gd name="T2" fmla="*/ 8 w 62"/>
              <a:gd name="T3" fmla="*/ 2 h 34"/>
              <a:gd name="T4" fmla="*/ 2 w 62"/>
              <a:gd name="T5" fmla="*/ 6 h 34"/>
              <a:gd name="T6" fmla="*/ 2 w 62"/>
              <a:gd name="T7" fmla="*/ 7 h 34"/>
              <a:gd name="T8" fmla="*/ 2 w 62"/>
              <a:gd name="T9" fmla="*/ 7 h 34"/>
              <a:gd name="T10" fmla="*/ 0 w 62"/>
              <a:gd name="T11" fmla="*/ 14 h 34"/>
              <a:gd name="T12" fmla="*/ 9 w 62"/>
              <a:gd name="T13" fmla="*/ 16 h 34"/>
              <a:gd name="T14" fmla="*/ 16 w 62"/>
              <a:gd name="T15" fmla="*/ 21 h 34"/>
              <a:gd name="T16" fmla="*/ 22 w 62"/>
              <a:gd name="T17" fmla="*/ 24 h 34"/>
              <a:gd name="T18" fmla="*/ 34 w 62"/>
              <a:gd name="T19" fmla="*/ 25 h 34"/>
              <a:gd name="T20" fmla="*/ 41 w 62"/>
              <a:gd name="T21" fmla="*/ 30 h 34"/>
              <a:gd name="T22" fmla="*/ 48 w 62"/>
              <a:gd name="T23" fmla="*/ 33 h 34"/>
              <a:gd name="T24" fmla="*/ 54 w 62"/>
              <a:gd name="T25" fmla="*/ 33 h 34"/>
              <a:gd name="T26" fmla="*/ 54 w 62"/>
              <a:gd name="T27" fmla="*/ 33 h 34"/>
              <a:gd name="T28" fmla="*/ 56 w 62"/>
              <a:gd name="T29" fmla="*/ 34 h 34"/>
              <a:gd name="T30" fmla="*/ 57 w 62"/>
              <a:gd name="T31" fmla="*/ 33 h 34"/>
              <a:gd name="T32" fmla="*/ 59 w 62"/>
              <a:gd name="T33" fmla="*/ 33 h 34"/>
              <a:gd name="T34" fmla="*/ 60 w 62"/>
              <a:gd name="T35" fmla="*/ 33 h 34"/>
              <a:gd name="T36" fmla="*/ 61 w 62"/>
              <a:gd name="T37" fmla="*/ 32 h 34"/>
              <a:gd name="T38" fmla="*/ 61 w 62"/>
              <a:gd name="T39" fmla="*/ 32 h 34"/>
              <a:gd name="T40" fmla="*/ 61 w 62"/>
              <a:gd name="T41" fmla="*/ 32 h 34"/>
              <a:gd name="T42" fmla="*/ 61 w 62"/>
              <a:gd name="T43" fmla="*/ 31 h 34"/>
              <a:gd name="T44" fmla="*/ 61 w 62"/>
              <a:gd name="T45" fmla="*/ 31 h 34"/>
              <a:gd name="T46" fmla="*/ 62 w 62"/>
              <a:gd name="T47" fmla="*/ 31 h 34"/>
              <a:gd name="T48" fmla="*/ 61 w 62"/>
              <a:gd name="T49" fmla="*/ 28 h 34"/>
              <a:gd name="T50" fmla="*/ 60 w 62"/>
              <a:gd name="T51" fmla="*/ 27 h 34"/>
              <a:gd name="T52" fmla="*/ 61 w 62"/>
              <a:gd name="T53" fmla="*/ 27 h 34"/>
              <a:gd name="T54" fmla="*/ 61 w 62"/>
              <a:gd name="T55" fmla="*/ 27 h 34"/>
              <a:gd name="T56" fmla="*/ 61 w 62"/>
              <a:gd name="T57" fmla="*/ 27 h 34"/>
              <a:gd name="T58" fmla="*/ 62 w 62"/>
              <a:gd name="T59" fmla="*/ 22 h 34"/>
              <a:gd name="T60" fmla="*/ 62 w 62"/>
              <a:gd name="T61" fmla="*/ 21 h 34"/>
              <a:gd name="T62" fmla="*/ 49 w 62"/>
              <a:gd name="T63" fmla="*/ 20 h 34"/>
              <a:gd name="T64" fmla="*/ 41 w 62"/>
              <a:gd name="T65" fmla="*/ 18 h 34"/>
              <a:gd name="T66" fmla="*/ 34 w 62"/>
              <a:gd name="T67" fmla="*/ 14 h 34"/>
              <a:gd name="T68" fmla="*/ 28 w 62"/>
              <a:gd name="T69" fmla="*/ 10 h 34"/>
              <a:gd name="T70" fmla="*/ 21 w 62"/>
              <a:gd name="T71" fmla="*/ 6 h 34"/>
              <a:gd name="T72" fmla="*/ 14 w 62"/>
              <a:gd name="T73" fmla="*/ 0 h 34"/>
              <a:gd name="T74" fmla="*/ 8 w 62"/>
              <a:gd name="T75"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34">
                <a:moveTo>
                  <a:pt x="8" y="2"/>
                </a:moveTo>
                <a:cubicBezTo>
                  <a:pt x="8" y="2"/>
                  <a:pt x="8" y="2"/>
                  <a:pt x="8" y="2"/>
                </a:cubicBezTo>
                <a:cubicBezTo>
                  <a:pt x="2" y="6"/>
                  <a:pt x="2" y="6"/>
                  <a:pt x="2" y="6"/>
                </a:cubicBezTo>
                <a:cubicBezTo>
                  <a:pt x="2" y="7"/>
                  <a:pt x="2" y="7"/>
                  <a:pt x="2" y="7"/>
                </a:cubicBezTo>
                <a:cubicBezTo>
                  <a:pt x="2" y="7"/>
                  <a:pt x="2" y="7"/>
                  <a:pt x="2" y="7"/>
                </a:cubicBezTo>
                <a:cubicBezTo>
                  <a:pt x="0" y="14"/>
                  <a:pt x="0" y="14"/>
                  <a:pt x="0" y="14"/>
                </a:cubicBezTo>
                <a:cubicBezTo>
                  <a:pt x="9" y="16"/>
                  <a:pt x="9" y="16"/>
                  <a:pt x="9" y="16"/>
                </a:cubicBezTo>
                <a:cubicBezTo>
                  <a:pt x="16" y="21"/>
                  <a:pt x="16" y="21"/>
                  <a:pt x="16" y="21"/>
                </a:cubicBezTo>
                <a:cubicBezTo>
                  <a:pt x="22" y="24"/>
                  <a:pt x="22" y="24"/>
                  <a:pt x="22" y="24"/>
                </a:cubicBezTo>
                <a:cubicBezTo>
                  <a:pt x="34" y="25"/>
                  <a:pt x="34" y="25"/>
                  <a:pt x="34" y="25"/>
                </a:cubicBezTo>
                <a:cubicBezTo>
                  <a:pt x="41" y="30"/>
                  <a:pt x="41" y="30"/>
                  <a:pt x="41" y="30"/>
                </a:cubicBezTo>
                <a:cubicBezTo>
                  <a:pt x="48" y="33"/>
                  <a:pt x="48" y="33"/>
                  <a:pt x="48" y="33"/>
                </a:cubicBezTo>
                <a:cubicBezTo>
                  <a:pt x="54" y="33"/>
                  <a:pt x="54" y="33"/>
                  <a:pt x="54" y="33"/>
                </a:cubicBezTo>
                <a:cubicBezTo>
                  <a:pt x="54" y="33"/>
                  <a:pt x="54" y="33"/>
                  <a:pt x="54" y="33"/>
                </a:cubicBezTo>
                <a:cubicBezTo>
                  <a:pt x="56" y="34"/>
                  <a:pt x="56" y="34"/>
                  <a:pt x="56" y="34"/>
                </a:cubicBezTo>
                <a:cubicBezTo>
                  <a:pt x="57" y="33"/>
                  <a:pt x="57" y="33"/>
                  <a:pt x="57" y="33"/>
                </a:cubicBezTo>
                <a:cubicBezTo>
                  <a:pt x="59" y="33"/>
                  <a:pt x="59" y="33"/>
                  <a:pt x="59" y="33"/>
                </a:cubicBezTo>
                <a:cubicBezTo>
                  <a:pt x="60" y="33"/>
                  <a:pt x="60" y="33"/>
                  <a:pt x="60" y="33"/>
                </a:cubicBezTo>
                <a:cubicBezTo>
                  <a:pt x="61" y="32"/>
                  <a:pt x="61" y="32"/>
                  <a:pt x="61" y="32"/>
                </a:cubicBezTo>
                <a:cubicBezTo>
                  <a:pt x="61" y="32"/>
                  <a:pt x="61" y="32"/>
                  <a:pt x="61" y="32"/>
                </a:cubicBezTo>
                <a:cubicBezTo>
                  <a:pt x="61" y="32"/>
                  <a:pt x="61" y="32"/>
                  <a:pt x="61" y="32"/>
                </a:cubicBezTo>
                <a:cubicBezTo>
                  <a:pt x="61" y="31"/>
                  <a:pt x="61" y="31"/>
                  <a:pt x="61" y="31"/>
                </a:cubicBezTo>
                <a:cubicBezTo>
                  <a:pt x="61" y="31"/>
                  <a:pt x="61" y="31"/>
                  <a:pt x="61" y="31"/>
                </a:cubicBezTo>
                <a:cubicBezTo>
                  <a:pt x="62" y="31"/>
                  <a:pt x="62" y="31"/>
                  <a:pt x="62" y="31"/>
                </a:cubicBezTo>
                <a:cubicBezTo>
                  <a:pt x="61" y="28"/>
                  <a:pt x="61" y="28"/>
                  <a:pt x="61" y="28"/>
                </a:cubicBezTo>
                <a:cubicBezTo>
                  <a:pt x="60" y="27"/>
                  <a:pt x="60" y="27"/>
                  <a:pt x="60" y="27"/>
                </a:cubicBezTo>
                <a:cubicBezTo>
                  <a:pt x="61" y="27"/>
                  <a:pt x="61" y="27"/>
                  <a:pt x="61" y="27"/>
                </a:cubicBezTo>
                <a:cubicBezTo>
                  <a:pt x="61" y="27"/>
                  <a:pt x="61" y="27"/>
                  <a:pt x="61" y="27"/>
                </a:cubicBezTo>
                <a:cubicBezTo>
                  <a:pt x="61" y="27"/>
                  <a:pt x="61" y="27"/>
                  <a:pt x="61" y="27"/>
                </a:cubicBezTo>
                <a:cubicBezTo>
                  <a:pt x="62" y="22"/>
                  <a:pt x="62" y="22"/>
                  <a:pt x="62" y="22"/>
                </a:cubicBezTo>
                <a:cubicBezTo>
                  <a:pt x="62" y="21"/>
                  <a:pt x="62" y="21"/>
                  <a:pt x="62" y="21"/>
                </a:cubicBezTo>
                <a:cubicBezTo>
                  <a:pt x="49" y="20"/>
                  <a:pt x="49" y="20"/>
                  <a:pt x="49" y="20"/>
                </a:cubicBezTo>
                <a:cubicBezTo>
                  <a:pt x="41" y="18"/>
                  <a:pt x="41" y="18"/>
                  <a:pt x="41" y="18"/>
                </a:cubicBezTo>
                <a:cubicBezTo>
                  <a:pt x="34" y="14"/>
                  <a:pt x="34" y="14"/>
                  <a:pt x="34" y="14"/>
                </a:cubicBezTo>
                <a:cubicBezTo>
                  <a:pt x="28" y="10"/>
                  <a:pt x="28" y="10"/>
                  <a:pt x="28" y="10"/>
                </a:cubicBezTo>
                <a:cubicBezTo>
                  <a:pt x="21" y="6"/>
                  <a:pt x="21" y="6"/>
                  <a:pt x="21" y="6"/>
                </a:cubicBezTo>
                <a:cubicBezTo>
                  <a:pt x="14" y="0"/>
                  <a:pt x="14" y="0"/>
                  <a:pt x="14" y="0"/>
                </a:cubicBezTo>
                <a:cubicBezTo>
                  <a:pt x="8" y="2"/>
                  <a:pt x="8" y="2"/>
                  <a:pt x="8" y="2"/>
                </a:cubicBez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1261" name="Iceland">
            <a:extLst>
              <a:ext uri="{FF2B5EF4-FFF2-40B4-BE49-F238E27FC236}">
                <a16:creationId xmlns:a16="http://schemas.microsoft.com/office/drawing/2014/main" id="{4C29F803-1F0F-44A3-98F6-FA84903D1452}"/>
              </a:ext>
            </a:extLst>
          </p:cNvPr>
          <p:cNvSpPr>
            <a:spLocks/>
          </p:cNvSpPr>
          <p:nvPr/>
        </p:nvSpPr>
        <p:spPr bwMode="auto">
          <a:xfrm>
            <a:off x="5082498" y="2290495"/>
            <a:ext cx="328105" cy="194199"/>
          </a:xfrm>
          <a:custGeom>
            <a:avLst/>
            <a:gdLst>
              <a:gd name="T0" fmla="*/ 305 w 340"/>
              <a:gd name="T1" fmla="*/ 12 h 230"/>
              <a:gd name="T2" fmla="*/ 292 w 340"/>
              <a:gd name="T3" fmla="*/ 33 h 230"/>
              <a:gd name="T4" fmla="*/ 305 w 340"/>
              <a:gd name="T5" fmla="*/ 49 h 230"/>
              <a:gd name="T6" fmla="*/ 315 w 340"/>
              <a:gd name="T7" fmla="*/ 61 h 230"/>
              <a:gd name="T8" fmla="*/ 332 w 340"/>
              <a:gd name="T9" fmla="*/ 72 h 230"/>
              <a:gd name="T10" fmla="*/ 336 w 340"/>
              <a:gd name="T11" fmla="*/ 87 h 230"/>
              <a:gd name="T12" fmla="*/ 338 w 340"/>
              <a:gd name="T13" fmla="*/ 98 h 230"/>
              <a:gd name="T14" fmla="*/ 339 w 340"/>
              <a:gd name="T15" fmla="*/ 113 h 230"/>
              <a:gd name="T16" fmla="*/ 325 w 340"/>
              <a:gd name="T17" fmla="*/ 135 h 230"/>
              <a:gd name="T18" fmla="*/ 313 w 340"/>
              <a:gd name="T19" fmla="*/ 150 h 230"/>
              <a:gd name="T20" fmla="*/ 280 w 340"/>
              <a:gd name="T21" fmla="*/ 170 h 230"/>
              <a:gd name="T22" fmla="*/ 230 w 340"/>
              <a:gd name="T23" fmla="*/ 202 h 230"/>
              <a:gd name="T24" fmla="*/ 203 w 340"/>
              <a:gd name="T25" fmla="*/ 221 h 230"/>
              <a:gd name="T26" fmla="*/ 192 w 340"/>
              <a:gd name="T27" fmla="*/ 227 h 230"/>
              <a:gd name="T28" fmla="*/ 124 w 340"/>
              <a:gd name="T29" fmla="*/ 210 h 230"/>
              <a:gd name="T30" fmla="*/ 125 w 340"/>
              <a:gd name="T31" fmla="*/ 203 h 230"/>
              <a:gd name="T32" fmla="*/ 103 w 340"/>
              <a:gd name="T33" fmla="*/ 195 h 230"/>
              <a:gd name="T34" fmla="*/ 58 w 340"/>
              <a:gd name="T35" fmla="*/ 200 h 230"/>
              <a:gd name="T36" fmla="*/ 58 w 340"/>
              <a:gd name="T37" fmla="*/ 185 h 230"/>
              <a:gd name="T38" fmla="*/ 82 w 340"/>
              <a:gd name="T39" fmla="*/ 174 h 230"/>
              <a:gd name="T40" fmla="*/ 79 w 340"/>
              <a:gd name="T41" fmla="*/ 166 h 230"/>
              <a:gd name="T42" fmla="*/ 79 w 340"/>
              <a:gd name="T43" fmla="*/ 151 h 230"/>
              <a:gd name="T44" fmla="*/ 72 w 340"/>
              <a:gd name="T45" fmla="*/ 149 h 230"/>
              <a:gd name="T46" fmla="*/ 63 w 340"/>
              <a:gd name="T47" fmla="*/ 131 h 230"/>
              <a:gd name="T48" fmla="*/ 15 w 340"/>
              <a:gd name="T49" fmla="*/ 129 h 230"/>
              <a:gd name="T50" fmla="*/ 36 w 340"/>
              <a:gd name="T51" fmla="*/ 119 h 230"/>
              <a:gd name="T52" fmla="*/ 53 w 340"/>
              <a:gd name="T53" fmla="*/ 112 h 230"/>
              <a:gd name="T54" fmla="*/ 84 w 340"/>
              <a:gd name="T55" fmla="*/ 103 h 230"/>
              <a:gd name="T56" fmla="*/ 72 w 340"/>
              <a:gd name="T57" fmla="*/ 90 h 230"/>
              <a:gd name="T58" fmla="*/ 52 w 340"/>
              <a:gd name="T59" fmla="*/ 75 h 230"/>
              <a:gd name="T60" fmla="*/ 1 w 340"/>
              <a:gd name="T61" fmla="*/ 79 h 230"/>
              <a:gd name="T62" fmla="*/ 15 w 340"/>
              <a:gd name="T63" fmla="*/ 68 h 230"/>
              <a:gd name="T64" fmla="*/ 31 w 340"/>
              <a:gd name="T65" fmla="*/ 64 h 230"/>
              <a:gd name="T66" fmla="*/ 21 w 340"/>
              <a:gd name="T67" fmla="*/ 51 h 230"/>
              <a:gd name="T68" fmla="*/ 23 w 340"/>
              <a:gd name="T69" fmla="*/ 35 h 230"/>
              <a:gd name="T70" fmla="*/ 29 w 340"/>
              <a:gd name="T71" fmla="*/ 28 h 230"/>
              <a:gd name="T72" fmla="*/ 45 w 340"/>
              <a:gd name="T73" fmla="*/ 42 h 230"/>
              <a:gd name="T74" fmla="*/ 58 w 340"/>
              <a:gd name="T75" fmla="*/ 45 h 230"/>
              <a:gd name="T76" fmla="*/ 63 w 340"/>
              <a:gd name="T77" fmla="*/ 35 h 230"/>
              <a:gd name="T78" fmla="*/ 62 w 340"/>
              <a:gd name="T79" fmla="*/ 20 h 230"/>
              <a:gd name="T80" fmla="*/ 42 w 340"/>
              <a:gd name="T81" fmla="*/ 13 h 230"/>
              <a:gd name="T82" fmla="*/ 72 w 340"/>
              <a:gd name="T83" fmla="*/ 17 h 230"/>
              <a:gd name="T84" fmla="*/ 92 w 340"/>
              <a:gd name="T85" fmla="*/ 43 h 230"/>
              <a:gd name="T86" fmla="*/ 88 w 340"/>
              <a:gd name="T87" fmla="*/ 62 h 230"/>
              <a:gd name="T88" fmla="*/ 97 w 340"/>
              <a:gd name="T89" fmla="*/ 76 h 230"/>
              <a:gd name="T90" fmla="*/ 104 w 340"/>
              <a:gd name="T91" fmla="*/ 96 h 230"/>
              <a:gd name="T92" fmla="*/ 114 w 340"/>
              <a:gd name="T93" fmla="*/ 68 h 230"/>
              <a:gd name="T94" fmla="*/ 128 w 340"/>
              <a:gd name="T95" fmla="*/ 62 h 230"/>
              <a:gd name="T96" fmla="*/ 143 w 340"/>
              <a:gd name="T97" fmla="*/ 46 h 230"/>
              <a:gd name="T98" fmla="*/ 156 w 340"/>
              <a:gd name="T99" fmla="*/ 42 h 230"/>
              <a:gd name="T100" fmla="*/ 178 w 340"/>
              <a:gd name="T101" fmla="*/ 28 h 230"/>
              <a:gd name="T102" fmla="*/ 198 w 340"/>
              <a:gd name="T103" fmla="*/ 60 h 230"/>
              <a:gd name="T104" fmla="*/ 205 w 340"/>
              <a:gd name="T105" fmla="*/ 30 h 230"/>
              <a:gd name="T106" fmla="*/ 223 w 340"/>
              <a:gd name="T107" fmla="*/ 34 h 230"/>
              <a:gd name="T108" fmla="*/ 245 w 340"/>
              <a:gd name="T109" fmla="*/ 28 h 230"/>
              <a:gd name="T110" fmla="*/ 265 w 340"/>
              <a:gd name="T111"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0" h="230">
                <a:moveTo>
                  <a:pt x="278" y="23"/>
                </a:moveTo>
                <a:lnTo>
                  <a:pt x="278" y="23"/>
                </a:lnTo>
                <a:lnTo>
                  <a:pt x="282" y="23"/>
                </a:lnTo>
                <a:lnTo>
                  <a:pt x="288" y="21"/>
                </a:lnTo>
                <a:lnTo>
                  <a:pt x="290" y="19"/>
                </a:lnTo>
                <a:lnTo>
                  <a:pt x="296" y="13"/>
                </a:lnTo>
                <a:lnTo>
                  <a:pt x="300" y="11"/>
                </a:lnTo>
                <a:lnTo>
                  <a:pt x="305" y="12"/>
                </a:lnTo>
                <a:lnTo>
                  <a:pt x="308" y="11"/>
                </a:lnTo>
                <a:lnTo>
                  <a:pt x="308" y="12"/>
                </a:lnTo>
                <a:lnTo>
                  <a:pt x="305" y="14"/>
                </a:lnTo>
                <a:lnTo>
                  <a:pt x="302" y="15"/>
                </a:lnTo>
                <a:lnTo>
                  <a:pt x="298" y="19"/>
                </a:lnTo>
                <a:lnTo>
                  <a:pt x="294" y="27"/>
                </a:lnTo>
                <a:lnTo>
                  <a:pt x="292" y="31"/>
                </a:lnTo>
                <a:lnTo>
                  <a:pt x="292" y="33"/>
                </a:lnTo>
                <a:lnTo>
                  <a:pt x="295" y="36"/>
                </a:lnTo>
                <a:lnTo>
                  <a:pt x="299" y="38"/>
                </a:lnTo>
                <a:lnTo>
                  <a:pt x="302" y="36"/>
                </a:lnTo>
                <a:lnTo>
                  <a:pt x="303" y="37"/>
                </a:lnTo>
                <a:lnTo>
                  <a:pt x="305" y="39"/>
                </a:lnTo>
                <a:lnTo>
                  <a:pt x="306" y="41"/>
                </a:lnTo>
                <a:lnTo>
                  <a:pt x="306" y="44"/>
                </a:lnTo>
                <a:lnTo>
                  <a:pt x="305" y="49"/>
                </a:lnTo>
                <a:lnTo>
                  <a:pt x="303" y="53"/>
                </a:lnTo>
                <a:lnTo>
                  <a:pt x="300" y="57"/>
                </a:lnTo>
                <a:lnTo>
                  <a:pt x="301" y="59"/>
                </a:lnTo>
                <a:lnTo>
                  <a:pt x="303" y="59"/>
                </a:lnTo>
                <a:lnTo>
                  <a:pt x="313" y="57"/>
                </a:lnTo>
                <a:lnTo>
                  <a:pt x="314" y="57"/>
                </a:lnTo>
                <a:lnTo>
                  <a:pt x="315" y="58"/>
                </a:lnTo>
                <a:lnTo>
                  <a:pt x="315" y="61"/>
                </a:lnTo>
                <a:lnTo>
                  <a:pt x="316" y="63"/>
                </a:lnTo>
                <a:lnTo>
                  <a:pt x="317" y="65"/>
                </a:lnTo>
                <a:lnTo>
                  <a:pt x="316" y="67"/>
                </a:lnTo>
                <a:lnTo>
                  <a:pt x="312" y="73"/>
                </a:lnTo>
                <a:lnTo>
                  <a:pt x="317" y="69"/>
                </a:lnTo>
                <a:lnTo>
                  <a:pt x="321" y="68"/>
                </a:lnTo>
                <a:lnTo>
                  <a:pt x="329" y="70"/>
                </a:lnTo>
                <a:lnTo>
                  <a:pt x="332" y="72"/>
                </a:lnTo>
                <a:lnTo>
                  <a:pt x="333" y="76"/>
                </a:lnTo>
                <a:lnTo>
                  <a:pt x="336" y="75"/>
                </a:lnTo>
                <a:lnTo>
                  <a:pt x="337" y="75"/>
                </a:lnTo>
                <a:lnTo>
                  <a:pt x="338" y="77"/>
                </a:lnTo>
                <a:lnTo>
                  <a:pt x="339" y="80"/>
                </a:lnTo>
                <a:lnTo>
                  <a:pt x="337" y="83"/>
                </a:lnTo>
                <a:lnTo>
                  <a:pt x="337" y="86"/>
                </a:lnTo>
                <a:lnTo>
                  <a:pt x="336" y="87"/>
                </a:lnTo>
                <a:lnTo>
                  <a:pt x="333" y="88"/>
                </a:lnTo>
                <a:lnTo>
                  <a:pt x="333" y="89"/>
                </a:lnTo>
                <a:lnTo>
                  <a:pt x="334" y="92"/>
                </a:lnTo>
                <a:lnTo>
                  <a:pt x="335" y="94"/>
                </a:lnTo>
                <a:lnTo>
                  <a:pt x="337" y="94"/>
                </a:lnTo>
                <a:lnTo>
                  <a:pt x="338" y="95"/>
                </a:lnTo>
                <a:lnTo>
                  <a:pt x="338" y="97"/>
                </a:lnTo>
                <a:lnTo>
                  <a:pt x="338" y="98"/>
                </a:lnTo>
                <a:lnTo>
                  <a:pt x="337" y="99"/>
                </a:lnTo>
                <a:lnTo>
                  <a:pt x="336" y="100"/>
                </a:lnTo>
                <a:lnTo>
                  <a:pt x="334" y="102"/>
                </a:lnTo>
                <a:lnTo>
                  <a:pt x="340" y="105"/>
                </a:lnTo>
                <a:lnTo>
                  <a:pt x="340" y="107"/>
                </a:lnTo>
                <a:lnTo>
                  <a:pt x="340" y="109"/>
                </a:lnTo>
                <a:lnTo>
                  <a:pt x="340" y="111"/>
                </a:lnTo>
                <a:lnTo>
                  <a:pt x="339" y="113"/>
                </a:lnTo>
                <a:lnTo>
                  <a:pt x="337" y="115"/>
                </a:lnTo>
                <a:lnTo>
                  <a:pt x="334" y="115"/>
                </a:lnTo>
                <a:lnTo>
                  <a:pt x="331" y="116"/>
                </a:lnTo>
                <a:lnTo>
                  <a:pt x="332" y="119"/>
                </a:lnTo>
                <a:lnTo>
                  <a:pt x="332" y="122"/>
                </a:lnTo>
                <a:lnTo>
                  <a:pt x="331" y="126"/>
                </a:lnTo>
                <a:lnTo>
                  <a:pt x="328" y="132"/>
                </a:lnTo>
                <a:lnTo>
                  <a:pt x="325" y="135"/>
                </a:lnTo>
                <a:lnTo>
                  <a:pt x="322" y="137"/>
                </a:lnTo>
                <a:lnTo>
                  <a:pt x="317" y="136"/>
                </a:lnTo>
                <a:lnTo>
                  <a:pt x="315" y="135"/>
                </a:lnTo>
                <a:lnTo>
                  <a:pt x="315" y="139"/>
                </a:lnTo>
                <a:lnTo>
                  <a:pt x="312" y="142"/>
                </a:lnTo>
                <a:lnTo>
                  <a:pt x="313" y="145"/>
                </a:lnTo>
                <a:lnTo>
                  <a:pt x="314" y="146"/>
                </a:lnTo>
                <a:lnTo>
                  <a:pt x="313" y="150"/>
                </a:lnTo>
                <a:lnTo>
                  <a:pt x="312" y="153"/>
                </a:lnTo>
                <a:lnTo>
                  <a:pt x="309" y="156"/>
                </a:lnTo>
                <a:lnTo>
                  <a:pt x="307" y="158"/>
                </a:lnTo>
                <a:lnTo>
                  <a:pt x="302" y="161"/>
                </a:lnTo>
                <a:lnTo>
                  <a:pt x="298" y="165"/>
                </a:lnTo>
                <a:lnTo>
                  <a:pt x="295" y="167"/>
                </a:lnTo>
                <a:lnTo>
                  <a:pt x="287" y="167"/>
                </a:lnTo>
                <a:lnTo>
                  <a:pt x="280" y="170"/>
                </a:lnTo>
                <a:lnTo>
                  <a:pt x="269" y="176"/>
                </a:lnTo>
                <a:lnTo>
                  <a:pt x="262" y="180"/>
                </a:lnTo>
                <a:lnTo>
                  <a:pt x="257" y="186"/>
                </a:lnTo>
                <a:lnTo>
                  <a:pt x="250" y="194"/>
                </a:lnTo>
                <a:lnTo>
                  <a:pt x="244" y="198"/>
                </a:lnTo>
                <a:lnTo>
                  <a:pt x="241" y="199"/>
                </a:lnTo>
                <a:lnTo>
                  <a:pt x="235" y="199"/>
                </a:lnTo>
                <a:lnTo>
                  <a:pt x="230" y="202"/>
                </a:lnTo>
                <a:lnTo>
                  <a:pt x="213" y="206"/>
                </a:lnTo>
                <a:lnTo>
                  <a:pt x="208" y="208"/>
                </a:lnTo>
                <a:lnTo>
                  <a:pt x="207" y="211"/>
                </a:lnTo>
                <a:lnTo>
                  <a:pt x="204" y="214"/>
                </a:lnTo>
                <a:lnTo>
                  <a:pt x="204" y="215"/>
                </a:lnTo>
                <a:lnTo>
                  <a:pt x="205" y="216"/>
                </a:lnTo>
                <a:lnTo>
                  <a:pt x="206" y="217"/>
                </a:lnTo>
                <a:lnTo>
                  <a:pt x="203" y="221"/>
                </a:lnTo>
                <a:lnTo>
                  <a:pt x="199" y="224"/>
                </a:lnTo>
                <a:lnTo>
                  <a:pt x="197" y="224"/>
                </a:lnTo>
                <a:lnTo>
                  <a:pt x="195" y="221"/>
                </a:lnTo>
                <a:lnTo>
                  <a:pt x="194" y="221"/>
                </a:lnTo>
                <a:lnTo>
                  <a:pt x="194" y="222"/>
                </a:lnTo>
                <a:lnTo>
                  <a:pt x="194" y="222"/>
                </a:lnTo>
                <a:lnTo>
                  <a:pt x="195" y="225"/>
                </a:lnTo>
                <a:lnTo>
                  <a:pt x="192" y="227"/>
                </a:lnTo>
                <a:lnTo>
                  <a:pt x="181" y="230"/>
                </a:lnTo>
                <a:lnTo>
                  <a:pt x="163" y="227"/>
                </a:lnTo>
                <a:lnTo>
                  <a:pt x="155" y="225"/>
                </a:lnTo>
                <a:lnTo>
                  <a:pt x="146" y="221"/>
                </a:lnTo>
                <a:lnTo>
                  <a:pt x="141" y="220"/>
                </a:lnTo>
                <a:lnTo>
                  <a:pt x="133" y="219"/>
                </a:lnTo>
                <a:lnTo>
                  <a:pt x="127" y="214"/>
                </a:lnTo>
                <a:lnTo>
                  <a:pt x="124" y="210"/>
                </a:lnTo>
                <a:lnTo>
                  <a:pt x="124" y="209"/>
                </a:lnTo>
                <a:lnTo>
                  <a:pt x="124" y="207"/>
                </a:lnTo>
                <a:lnTo>
                  <a:pt x="125" y="206"/>
                </a:lnTo>
                <a:lnTo>
                  <a:pt x="126" y="205"/>
                </a:lnTo>
                <a:lnTo>
                  <a:pt x="128" y="205"/>
                </a:lnTo>
                <a:lnTo>
                  <a:pt x="128" y="205"/>
                </a:lnTo>
                <a:lnTo>
                  <a:pt x="127" y="202"/>
                </a:lnTo>
                <a:lnTo>
                  <a:pt x="125" y="203"/>
                </a:lnTo>
                <a:lnTo>
                  <a:pt x="121" y="207"/>
                </a:lnTo>
                <a:lnTo>
                  <a:pt x="119" y="207"/>
                </a:lnTo>
                <a:lnTo>
                  <a:pt x="117" y="205"/>
                </a:lnTo>
                <a:lnTo>
                  <a:pt x="117" y="203"/>
                </a:lnTo>
                <a:lnTo>
                  <a:pt x="112" y="202"/>
                </a:lnTo>
                <a:lnTo>
                  <a:pt x="108" y="200"/>
                </a:lnTo>
                <a:lnTo>
                  <a:pt x="104" y="196"/>
                </a:lnTo>
                <a:lnTo>
                  <a:pt x="103" y="195"/>
                </a:lnTo>
                <a:lnTo>
                  <a:pt x="105" y="193"/>
                </a:lnTo>
                <a:lnTo>
                  <a:pt x="105" y="192"/>
                </a:lnTo>
                <a:lnTo>
                  <a:pt x="104" y="192"/>
                </a:lnTo>
                <a:lnTo>
                  <a:pt x="101" y="193"/>
                </a:lnTo>
                <a:lnTo>
                  <a:pt x="96" y="197"/>
                </a:lnTo>
                <a:lnTo>
                  <a:pt x="94" y="198"/>
                </a:lnTo>
                <a:lnTo>
                  <a:pt x="65" y="199"/>
                </a:lnTo>
                <a:lnTo>
                  <a:pt x="58" y="200"/>
                </a:lnTo>
                <a:lnTo>
                  <a:pt x="57" y="200"/>
                </a:lnTo>
                <a:lnTo>
                  <a:pt x="55" y="198"/>
                </a:lnTo>
                <a:lnTo>
                  <a:pt x="54" y="191"/>
                </a:lnTo>
                <a:lnTo>
                  <a:pt x="54" y="187"/>
                </a:lnTo>
                <a:lnTo>
                  <a:pt x="54" y="185"/>
                </a:lnTo>
                <a:lnTo>
                  <a:pt x="55" y="182"/>
                </a:lnTo>
                <a:lnTo>
                  <a:pt x="57" y="183"/>
                </a:lnTo>
                <a:lnTo>
                  <a:pt x="58" y="185"/>
                </a:lnTo>
                <a:lnTo>
                  <a:pt x="60" y="187"/>
                </a:lnTo>
                <a:lnTo>
                  <a:pt x="61" y="189"/>
                </a:lnTo>
                <a:lnTo>
                  <a:pt x="71" y="185"/>
                </a:lnTo>
                <a:lnTo>
                  <a:pt x="75" y="183"/>
                </a:lnTo>
                <a:lnTo>
                  <a:pt x="77" y="181"/>
                </a:lnTo>
                <a:lnTo>
                  <a:pt x="79" y="177"/>
                </a:lnTo>
                <a:lnTo>
                  <a:pt x="81" y="175"/>
                </a:lnTo>
                <a:lnTo>
                  <a:pt x="82" y="174"/>
                </a:lnTo>
                <a:lnTo>
                  <a:pt x="84" y="168"/>
                </a:lnTo>
                <a:lnTo>
                  <a:pt x="86" y="165"/>
                </a:lnTo>
                <a:lnTo>
                  <a:pt x="87" y="163"/>
                </a:lnTo>
                <a:lnTo>
                  <a:pt x="89" y="162"/>
                </a:lnTo>
                <a:lnTo>
                  <a:pt x="94" y="161"/>
                </a:lnTo>
                <a:lnTo>
                  <a:pt x="91" y="160"/>
                </a:lnTo>
                <a:lnTo>
                  <a:pt x="88" y="160"/>
                </a:lnTo>
                <a:lnTo>
                  <a:pt x="79" y="166"/>
                </a:lnTo>
                <a:lnTo>
                  <a:pt x="75" y="166"/>
                </a:lnTo>
                <a:lnTo>
                  <a:pt x="76" y="165"/>
                </a:lnTo>
                <a:lnTo>
                  <a:pt x="77" y="163"/>
                </a:lnTo>
                <a:lnTo>
                  <a:pt x="80" y="160"/>
                </a:lnTo>
                <a:lnTo>
                  <a:pt x="78" y="160"/>
                </a:lnTo>
                <a:lnTo>
                  <a:pt x="77" y="159"/>
                </a:lnTo>
                <a:lnTo>
                  <a:pt x="77" y="156"/>
                </a:lnTo>
                <a:lnTo>
                  <a:pt x="79" y="151"/>
                </a:lnTo>
                <a:lnTo>
                  <a:pt x="86" y="145"/>
                </a:lnTo>
                <a:lnTo>
                  <a:pt x="89" y="144"/>
                </a:lnTo>
                <a:lnTo>
                  <a:pt x="90" y="143"/>
                </a:lnTo>
                <a:lnTo>
                  <a:pt x="89" y="142"/>
                </a:lnTo>
                <a:lnTo>
                  <a:pt x="87" y="142"/>
                </a:lnTo>
                <a:lnTo>
                  <a:pt x="79" y="148"/>
                </a:lnTo>
                <a:lnTo>
                  <a:pt x="74" y="150"/>
                </a:lnTo>
                <a:lnTo>
                  <a:pt x="72" y="149"/>
                </a:lnTo>
                <a:lnTo>
                  <a:pt x="69" y="147"/>
                </a:lnTo>
                <a:lnTo>
                  <a:pt x="68" y="146"/>
                </a:lnTo>
                <a:lnTo>
                  <a:pt x="67" y="143"/>
                </a:lnTo>
                <a:lnTo>
                  <a:pt x="67" y="142"/>
                </a:lnTo>
                <a:lnTo>
                  <a:pt x="70" y="137"/>
                </a:lnTo>
                <a:lnTo>
                  <a:pt x="69" y="136"/>
                </a:lnTo>
                <a:lnTo>
                  <a:pt x="68" y="135"/>
                </a:lnTo>
                <a:lnTo>
                  <a:pt x="63" y="131"/>
                </a:lnTo>
                <a:lnTo>
                  <a:pt x="55" y="131"/>
                </a:lnTo>
                <a:lnTo>
                  <a:pt x="35" y="129"/>
                </a:lnTo>
                <a:lnTo>
                  <a:pt x="31" y="130"/>
                </a:lnTo>
                <a:lnTo>
                  <a:pt x="24" y="134"/>
                </a:lnTo>
                <a:lnTo>
                  <a:pt x="20" y="135"/>
                </a:lnTo>
                <a:lnTo>
                  <a:pt x="19" y="134"/>
                </a:lnTo>
                <a:lnTo>
                  <a:pt x="17" y="132"/>
                </a:lnTo>
                <a:lnTo>
                  <a:pt x="15" y="129"/>
                </a:lnTo>
                <a:lnTo>
                  <a:pt x="14" y="126"/>
                </a:lnTo>
                <a:lnTo>
                  <a:pt x="15" y="123"/>
                </a:lnTo>
                <a:lnTo>
                  <a:pt x="17" y="122"/>
                </a:lnTo>
                <a:lnTo>
                  <a:pt x="19" y="121"/>
                </a:lnTo>
                <a:lnTo>
                  <a:pt x="24" y="122"/>
                </a:lnTo>
                <a:lnTo>
                  <a:pt x="31" y="120"/>
                </a:lnTo>
                <a:lnTo>
                  <a:pt x="35" y="119"/>
                </a:lnTo>
                <a:lnTo>
                  <a:pt x="36" y="119"/>
                </a:lnTo>
                <a:lnTo>
                  <a:pt x="39" y="116"/>
                </a:lnTo>
                <a:lnTo>
                  <a:pt x="40" y="116"/>
                </a:lnTo>
                <a:lnTo>
                  <a:pt x="42" y="117"/>
                </a:lnTo>
                <a:lnTo>
                  <a:pt x="42" y="118"/>
                </a:lnTo>
                <a:lnTo>
                  <a:pt x="49" y="116"/>
                </a:lnTo>
                <a:lnTo>
                  <a:pt x="51" y="114"/>
                </a:lnTo>
                <a:lnTo>
                  <a:pt x="52" y="113"/>
                </a:lnTo>
                <a:lnTo>
                  <a:pt x="53" y="112"/>
                </a:lnTo>
                <a:lnTo>
                  <a:pt x="56" y="114"/>
                </a:lnTo>
                <a:lnTo>
                  <a:pt x="58" y="114"/>
                </a:lnTo>
                <a:lnTo>
                  <a:pt x="62" y="113"/>
                </a:lnTo>
                <a:lnTo>
                  <a:pt x="67" y="112"/>
                </a:lnTo>
                <a:lnTo>
                  <a:pt x="80" y="112"/>
                </a:lnTo>
                <a:lnTo>
                  <a:pt x="82" y="110"/>
                </a:lnTo>
                <a:lnTo>
                  <a:pt x="83" y="108"/>
                </a:lnTo>
                <a:lnTo>
                  <a:pt x="84" y="103"/>
                </a:lnTo>
                <a:lnTo>
                  <a:pt x="84" y="102"/>
                </a:lnTo>
                <a:lnTo>
                  <a:pt x="76" y="107"/>
                </a:lnTo>
                <a:lnTo>
                  <a:pt x="74" y="106"/>
                </a:lnTo>
                <a:lnTo>
                  <a:pt x="65" y="104"/>
                </a:lnTo>
                <a:lnTo>
                  <a:pt x="61" y="101"/>
                </a:lnTo>
                <a:lnTo>
                  <a:pt x="62" y="99"/>
                </a:lnTo>
                <a:lnTo>
                  <a:pt x="67" y="94"/>
                </a:lnTo>
                <a:lnTo>
                  <a:pt x="72" y="90"/>
                </a:lnTo>
                <a:lnTo>
                  <a:pt x="80" y="86"/>
                </a:lnTo>
                <a:lnTo>
                  <a:pt x="82" y="84"/>
                </a:lnTo>
                <a:lnTo>
                  <a:pt x="82" y="83"/>
                </a:lnTo>
                <a:lnTo>
                  <a:pt x="77" y="79"/>
                </a:lnTo>
                <a:lnTo>
                  <a:pt x="67" y="80"/>
                </a:lnTo>
                <a:lnTo>
                  <a:pt x="65" y="76"/>
                </a:lnTo>
                <a:lnTo>
                  <a:pt x="57" y="74"/>
                </a:lnTo>
                <a:lnTo>
                  <a:pt x="52" y="75"/>
                </a:lnTo>
                <a:lnTo>
                  <a:pt x="49" y="73"/>
                </a:lnTo>
                <a:lnTo>
                  <a:pt x="42" y="76"/>
                </a:lnTo>
                <a:lnTo>
                  <a:pt x="27" y="81"/>
                </a:lnTo>
                <a:lnTo>
                  <a:pt x="21" y="84"/>
                </a:lnTo>
                <a:lnTo>
                  <a:pt x="18" y="86"/>
                </a:lnTo>
                <a:lnTo>
                  <a:pt x="14" y="83"/>
                </a:lnTo>
                <a:lnTo>
                  <a:pt x="8" y="80"/>
                </a:lnTo>
                <a:lnTo>
                  <a:pt x="1" y="79"/>
                </a:lnTo>
                <a:lnTo>
                  <a:pt x="0" y="77"/>
                </a:lnTo>
                <a:lnTo>
                  <a:pt x="4" y="71"/>
                </a:lnTo>
                <a:lnTo>
                  <a:pt x="7" y="70"/>
                </a:lnTo>
                <a:lnTo>
                  <a:pt x="10" y="70"/>
                </a:lnTo>
                <a:lnTo>
                  <a:pt x="15" y="74"/>
                </a:lnTo>
                <a:lnTo>
                  <a:pt x="19" y="76"/>
                </a:lnTo>
                <a:lnTo>
                  <a:pt x="14" y="70"/>
                </a:lnTo>
                <a:lnTo>
                  <a:pt x="15" y="68"/>
                </a:lnTo>
                <a:lnTo>
                  <a:pt x="14" y="64"/>
                </a:lnTo>
                <a:lnTo>
                  <a:pt x="13" y="63"/>
                </a:lnTo>
                <a:lnTo>
                  <a:pt x="11" y="59"/>
                </a:lnTo>
                <a:lnTo>
                  <a:pt x="12" y="58"/>
                </a:lnTo>
                <a:lnTo>
                  <a:pt x="14" y="57"/>
                </a:lnTo>
                <a:lnTo>
                  <a:pt x="18" y="59"/>
                </a:lnTo>
                <a:lnTo>
                  <a:pt x="27" y="65"/>
                </a:lnTo>
                <a:lnTo>
                  <a:pt x="31" y="64"/>
                </a:lnTo>
                <a:lnTo>
                  <a:pt x="34" y="62"/>
                </a:lnTo>
                <a:lnTo>
                  <a:pt x="37" y="60"/>
                </a:lnTo>
                <a:lnTo>
                  <a:pt x="36" y="59"/>
                </a:lnTo>
                <a:lnTo>
                  <a:pt x="28" y="59"/>
                </a:lnTo>
                <a:lnTo>
                  <a:pt x="24" y="57"/>
                </a:lnTo>
                <a:lnTo>
                  <a:pt x="22" y="55"/>
                </a:lnTo>
                <a:lnTo>
                  <a:pt x="20" y="52"/>
                </a:lnTo>
                <a:lnTo>
                  <a:pt x="21" y="51"/>
                </a:lnTo>
                <a:lnTo>
                  <a:pt x="23" y="50"/>
                </a:lnTo>
                <a:lnTo>
                  <a:pt x="30" y="50"/>
                </a:lnTo>
                <a:lnTo>
                  <a:pt x="25" y="44"/>
                </a:lnTo>
                <a:lnTo>
                  <a:pt x="22" y="41"/>
                </a:lnTo>
                <a:lnTo>
                  <a:pt x="22" y="39"/>
                </a:lnTo>
                <a:lnTo>
                  <a:pt x="22" y="37"/>
                </a:lnTo>
                <a:lnTo>
                  <a:pt x="22" y="36"/>
                </a:lnTo>
                <a:lnTo>
                  <a:pt x="23" y="35"/>
                </a:lnTo>
                <a:lnTo>
                  <a:pt x="31" y="39"/>
                </a:lnTo>
                <a:lnTo>
                  <a:pt x="32" y="39"/>
                </a:lnTo>
                <a:lnTo>
                  <a:pt x="31" y="37"/>
                </a:lnTo>
                <a:lnTo>
                  <a:pt x="27" y="34"/>
                </a:lnTo>
                <a:lnTo>
                  <a:pt x="27" y="32"/>
                </a:lnTo>
                <a:lnTo>
                  <a:pt x="29" y="31"/>
                </a:lnTo>
                <a:lnTo>
                  <a:pt x="29" y="30"/>
                </a:lnTo>
                <a:lnTo>
                  <a:pt x="29" y="28"/>
                </a:lnTo>
                <a:lnTo>
                  <a:pt x="32" y="27"/>
                </a:lnTo>
                <a:lnTo>
                  <a:pt x="34" y="27"/>
                </a:lnTo>
                <a:lnTo>
                  <a:pt x="37" y="28"/>
                </a:lnTo>
                <a:lnTo>
                  <a:pt x="44" y="34"/>
                </a:lnTo>
                <a:lnTo>
                  <a:pt x="45" y="36"/>
                </a:lnTo>
                <a:lnTo>
                  <a:pt x="45" y="38"/>
                </a:lnTo>
                <a:lnTo>
                  <a:pt x="45" y="41"/>
                </a:lnTo>
                <a:lnTo>
                  <a:pt x="45" y="42"/>
                </a:lnTo>
                <a:lnTo>
                  <a:pt x="48" y="41"/>
                </a:lnTo>
                <a:lnTo>
                  <a:pt x="51" y="42"/>
                </a:lnTo>
                <a:lnTo>
                  <a:pt x="52" y="42"/>
                </a:lnTo>
                <a:lnTo>
                  <a:pt x="55" y="38"/>
                </a:lnTo>
                <a:lnTo>
                  <a:pt x="56" y="39"/>
                </a:lnTo>
                <a:lnTo>
                  <a:pt x="58" y="41"/>
                </a:lnTo>
                <a:lnTo>
                  <a:pt x="58" y="42"/>
                </a:lnTo>
                <a:lnTo>
                  <a:pt x="58" y="45"/>
                </a:lnTo>
                <a:lnTo>
                  <a:pt x="58" y="50"/>
                </a:lnTo>
                <a:lnTo>
                  <a:pt x="58" y="51"/>
                </a:lnTo>
                <a:lnTo>
                  <a:pt x="60" y="48"/>
                </a:lnTo>
                <a:lnTo>
                  <a:pt x="63" y="48"/>
                </a:lnTo>
                <a:lnTo>
                  <a:pt x="64" y="46"/>
                </a:lnTo>
                <a:lnTo>
                  <a:pt x="64" y="41"/>
                </a:lnTo>
                <a:lnTo>
                  <a:pt x="64" y="36"/>
                </a:lnTo>
                <a:lnTo>
                  <a:pt x="63" y="35"/>
                </a:lnTo>
                <a:lnTo>
                  <a:pt x="52" y="29"/>
                </a:lnTo>
                <a:lnTo>
                  <a:pt x="50" y="27"/>
                </a:lnTo>
                <a:lnTo>
                  <a:pt x="48" y="24"/>
                </a:lnTo>
                <a:lnTo>
                  <a:pt x="48" y="23"/>
                </a:lnTo>
                <a:lnTo>
                  <a:pt x="50" y="21"/>
                </a:lnTo>
                <a:lnTo>
                  <a:pt x="54" y="21"/>
                </a:lnTo>
                <a:lnTo>
                  <a:pt x="61" y="21"/>
                </a:lnTo>
                <a:lnTo>
                  <a:pt x="62" y="20"/>
                </a:lnTo>
                <a:lnTo>
                  <a:pt x="61" y="19"/>
                </a:lnTo>
                <a:lnTo>
                  <a:pt x="57" y="17"/>
                </a:lnTo>
                <a:lnTo>
                  <a:pt x="56" y="17"/>
                </a:lnTo>
                <a:lnTo>
                  <a:pt x="56" y="15"/>
                </a:lnTo>
                <a:lnTo>
                  <a:pt x="52" y="16"/>
                </a:lnTo>
                <a:lnTo>
                  <a:pt x="47" y="16"/>
                </a:lnTo>
                <a:lnTo>
                  <a:pt x="42" y="15"/>
                </a:lnTo>
                <a:lnTo>
                  <a:pt x="42" y="13"/>
                </a:lnTo>
                <a:lnTo>
                  <a:pt x="44" y="11"/>
                </a:lnTo>
                <a:lnTo>
                  <a:pt x="48" y="8"/>
                </a:lnTo>
                <a:lnTo>
                  <a:pt x="49" y="7"/>
                </a:lnTo>
                <a:lnTo>
                  <a:pt x="55" y="7"/>
                </a:lnTo>
                <a:lnTo>
                  <a:pt x="60" y="6"/>
                </a:lnTo>
                <a:lnTo>
                  <a:pt x="64" y="7"/>
                </a:lnTo>
                <a:lnTo>
                  <a:pt x="67" y="11"/>
                </a:lnTo>
                <a:lnTo>
                  <a:pt x="72" y="17"/>
                </a:lnTo>
                <a:lnTo>
                  <a:pt x="78" y="21"/>
                </a:lnTo>
                <a:lnTo>
                  <a:pt x="79" y="22"/>
                </a:lnTo>
                <a:lnTo>
                  <a:pt x="82" y="25"/>
                </a:lnTo>
                <a:lnTo>
                  <a:pt x="89" y="34"/>
                </a:lnTo>
                <a:lnTo>
                  <a:pt x="96" y="39"/>
                </a:lnTo>
                <a:lnTo>
                  <a:pt x="96" y="40"/>
                </a:lnTo>
                <a:lnTo>
                  <a:pt x="95" y="41"/>
                </a:lnTo>
                <a:lnTo>
                  <a:pt x="92" y="43"/>
                </a:lnTo>
                <a:lnTo>
                  <a:pt x="93" y="44"/>
                </a:lnTo>
                <a:lnTo>
                  <a:pt x="96" y="45"/>
                </a:lnTo>
                <a:lnTo>
                  <a:pt x="99" y="49"/>
                </a:lnTo>
                <a:lnTo>
                  <a:pt x="99" y="50"/>
                </a:lnTo>
                <a:lnTo>
                  <a:pt x="97" y="60"/>
                </a:lnTo>
                <a:lnTo>
                  <a:pt x="95" y="63"/>
                </a:lnTo>
                <a:lnTo>
                  <a:pt x="94" y="64"/>
                </a:lnTo>
                <a:lnTo>
                  <a:pt x="88" y="62"/>
                </a:lnTo>
                <a:lnTo>
                  <a:pt x="89" y="65"/>
                </a:lnTo>
                <a:lnTo>
                  <a:pt x="94" y="68"/>
                </a:lnTo>
                <a:lnTo>
                  <a:pt x="95" y="70"/>
                </a:lnTo>
                <a:lnTo>
                  <a:pt x="94" y="72"/>
                </a:lnTo>
                <a:lnTo>
                  <a:pt x="95" y="73"/>
                </a:lnTo>
                <a:lnTo>
                  <a:pt x="96" y="72"/>
                </a:lnTo>
                <a:lnTo>
                  <a:pt x="97" y="73"/>
                </a:lnTo>
                <a:lnTo>
                  <a:pt x="97" y="76"/>
                </a:lnTo>
                <a:lnTo>
                  <a:pt x="96" y="78"/>
                </a:lnTo>
                <a:lnTo>
                  <a:pt x="95" y="81"/>
                </a:lnTo>
                <a:lnTo>
                  <a:pt x="95" y="81"/>
                </a:lnTo>
                <a:lnTo>
                  <a:pt x="97" y="81"/>
                </a:lnTo>
                <a:lnTo>
                  <a:pt x="99" y="82"/>
                </a:lnTo>
                <a:lnTo>
                  <a:pt x="101" y="85"/>
                </a:lnTo>
                <a:lnTo>
                  <a:pt x="103" y="93"/>
                </a:lnTo>
                <a:lnTo>
                  <a:pt x="104" y="96"/>
                </a:lnTo>
                <a:lnTo>
                  <a:pt x="105" y="94"/>
                </a:lnTo>
                <a:lnTo>
                  <a:pt x="106" y="87"/>
                </a:lnTo>
                <a:lnTo>
                  <a:pt x="107" y="84"/>
                </a:lnTo>
                <a:lnTo>
                  <a:pt x="108" y="84"/>
                </a:lnTo>
                <a:lnTo>
                  <a:pt x="108" y="83"/>
                </a:lnTo>
                <a:lnTo>
                  <a:pt x="109" y="81"/>
                </a:lnTo>
                <a:lnTo>
                  <a:pt x="110" y="74"/>
                </a:lnTo>
                <a:lnTo>
                  <a:pt x="114" y="68"/>
                </a:lnTo>
                <a:lnTo>
                  <a:pt x="116" y="67"/>
                </a:lnTo>
                <a:lnTo>
                  <a:pt x="118" y="66"/>
                </a:lnTo>
                <a:lnTo>
                  <a:pt x="119" y="67"/>
                </a:lnTo>
                <a:lnTo>
                  <a:pt x="122" y="73"/>
                </a:lnTo>
                <a:lnTo>
                  <a:pt x="124" y="74"/>
                </a:lnTo>
                <a:lnTo>
                  <a:pt x="125" y="73"/>
                </a:lnTo>
                <a:lnTo>
                  <a:pt x="127" y="69"/>
                </a:lnTo>
                <a:lnTo>
                  <a:pt x="128" y="62"/>
                </a:lnTo>
                <a:lnTo>
                  <a:pt x="129" y="54"/>
                </a:lnTo>
                <a:lnTo>
                  <a:pt x="128" y="45"/>
                </a:lnTo>
                <a:lnTo>
                  <a:pt x="128" y="38"/>
                </a:lnTo>
                <a:lnTo>
                  <a:pt x="130" y="34"/>
                </a:lnTo>
                <a:lnTo>
                  <a:pt x="133" y="33"/>
                </a:lnTo>
                <a:lnTo>
                  <a:pt x="136" y="35"/>
                </a:lnTo>
                <a:lnTo>
                  <a:pt x="139" y="37"/>
                </a:lnTo>
                <a:lnTo>
                  <a:pt x="143" y="46"/>
                </a:lnTo>
                <a:lnTo>
                  <a:pt x="147" y="51"/>
                </a:lnTo>
                <a:lnTo>
                  <a:pt x="150" y="56"/>
                </a:lnTo>
                <a:lnTo>
                  <a:pt x="152" y="58"/>
                </a:lnTo>
                <a:lnTo>
                  <a:pt x="155" y="58"/>
                </a:lnTo>
                <a:lnTo>
                  <a:pt x="156" y="58"/>
                </a:lnTo>
                <a:lnTo>
                  <a:pt x="157" y="57"/>
                </a:lnTo>
                <a:lnTo>
                  <a:pt x="157" y="55"/>
                </a:lnTo>
                <a:lnTo>
                  <a:pt x="156" y="42"/>
                </a:lnTo>
                <a:lnTo>
                  <a:pt x="157" y="38"/>
                </a:lnTo>
                <a:lnTo>
                  <a:pt x="159" y="35"/>
                </a:lnTo>
                <a:lnTo>
                  <a:pt x="165" y="33"/>
                </a:lnTo>
                <a:lnTo>
                  <a:pt x="168" y="31"/>
                </a:lnTo>
                <a:lnTo>
                  <a:pt x="171" y="28"/>
                </a:lnTo>
                <a:lnTo>
                  <a:pt x="173" y="27"/>
                </a:lnTo>
                <a:lnTo>
                  <a:pt x="175" y="27"/>
                </a:lnTo>
                <a:lnTo>
                  <a:pt x="178" y="28"/>
                </a:lnTo>
                <a:lnTo>
                  <a:pt x="180" y="30"/>
                </a:lnTo>
                <a:lnTo>
                  <a:pt x="183" y="35"/>
                </a:lnTo>
                <a:lnTo>
                  <a:pt x="188" y="43"/>
                </a:lnTo>
                <a:lnTo>
                  <a:pt x="193" y="50"/>
                </a:lnTo>
                <a:lnTo>
                  <a:pt x="196" y="59"/>
                </a:lnTo>
                <a:lnTo>
                  <a:pt x="197" y="61"/>
                </a:lnTo>
                <a:lnTo>
                  <a:pt x="197" y="61"/>
                </a:lnTo>
                <a:lnTo>
                  <a:pt x="198" y="60"/>
                </a:lnTo>
                <a:lnTo>
                  <a:pt x="199" y="58"/>
                </a:lnTo>
                <a:lnTo>
                  <a:pt x="199" y="54"/>
                </a:lnTo>
                <a:lnTo>
                  <a:pt x="197" y="48"/>
                </a:lnTo>
                <a:lnTo>
                  <a:pt x="192" y="34"/>
                </a:lnTo>
                <a:lnTo>
                  <a:pt x="192" y="31"/>
                </a:lnTo>
                <a:lnTo>
                  <a:pt x="193" y="29"/>
                </a:lnTo>
                <a:lnTo>
                  <a:pt x="196" y="28"/>
                </a:lnTo>
                <a:lnTo>
                  <a:pt x="205" y="30"/>
                </a:lnTo>
                <a:lnTo>
                  <a:pt x="207" y="32"/>
                </a:lnTo>
                <a:lnTo>
                  <a:pt x="213" y="41"/>
                </a:lnTo>
                <a:lnTo>
                  <a:pt x="215" y="43"/>
                </a:lnTo>
                <a:lnTo>
                  <a:pt x="216" y="43"/>
                </a:lnTo>
                <a:lnTo>
                  <a:pt x="216" y="42"/>
                </a:lnTo>
                <a:lnTo>
                  <a:pt x="218" y="41"/>
                </a:lnTo>
                <a:lnTo>
                  <a:pt x="220" y="39"/>
                </a:lnTo>
                <a:lnTo>
                  <a:pt x="223" y="34"/>
                </a:lnTo>
                <a:lnTo>
                  <a:pt x="228" y="25"/>
                </a:lnTo>
                <a:lnTo>
                  <a:pt x="229" y="25"/>
                </a:lnTo>
                <a:lnTo>
                  <a:pt x="231" y="26"/>
                </a:lnTo>
                <a:lnTo>
                  <a:pt x="234" y="28"/>
                </a:lnTo>
                <a:lnTo>
                  <a:pt x="235" y="30"/>
                </a:lnTo>
                <a:lnTo>
                  <a:pt x="238" y="31"/>
                </a:lnTo>
                <a:lnTo>
                  <a:pt x="241" y="31"/>
                </a:lnTo>
                <a:lnTo>
                  <a:pt x="245" y="28"/>
                </a:lnTo>
                <a:lnTo>
                  <a:pt x="249" y="26"/>
                </a:lnTo>
                <a:lnTo>
                  <a:pt x="251" y="21"/>
                </a:lnTo>
                <a:lnTo>
                  <a:pt x="251" y="19"/>
                </a:lnTo>
                <a:lnTo>
                  <a:pt x="247" y="6"/>
                </a:lnTo>
                <a:lnTo>
                  <a:pt x="249" y="3"/>
                </a:lnTo>
                <a:lnTo>
                  <a:pt x="256" y="0"/>
                </a:lnTo>
                <a:lnTo>
                  <a:pt x="263" y="0"/>
                </a:lnTo>
                <a:lnTo>
                  <a:pt x="265" y="1"/>
                </a:lnTo>
                <a:lnTo>
                  <a:pt x="269" y="7"/>
                </a:lnTo>
                <a:lnTo>
                  <a:pt x="272" y="10"/>
                </a:lnTo>
                <a:lnTo>
                  <a:pt x="273" y="13"/>
                </a:lnTo>
                <a:lnTo>
                  <a:pt x="273" y="19"/>
                </a:lnTo>
                <a:lnTo>
                  <a:pt x="275"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09" name="Andorra">
            <a:extLst>
              <a:ext uri="{FF2B5EF4-FFF2-40B4-BE49-F238E27FC236}">
                <a16:creationId xmlns:a16="http://schemas.microsoft.com/office/drawing/2014/main" id="{916ECE3E-28E2-4860-AFDD-8B7AA2A402E3}"/>
              </a:ext>
            </a:extLst>
          </p:cNvPr>
          <p:cNvSpPr>
            <a:spLocks/>
          </p:cNvSpPr>
          <p:nvPr/>
        </p:nvSpPr>
        <p:spPr bwMode="auto">
          <a:xfrm>
            <a:off x="5859233" y="3400833"/>
            <a:ext cx="11161" cy="7846"/>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0" name="Albania">
            <a:extLst>
              <a:ext uri="{FF2B5EF4-FFF2-40B4-BE49-F238E27FC236}">
                <a16:creationId xmlns:a16="http://schemas.microsoft.com/office/drawing/2014/main" id="{9B46F632-411E-4EE0-BFC1-04D8028C0E45}"/>
              </a:ext>
            </a:extLst>
          </p:cNvPr>
          <p:cNvSpPr>
            <a:spLocks/>
          </p:cNvSpPr>
          <p:nvPr/>
        </p:nvSpPr>
        <p:spPr bwMode="auto">
          <a:xfrm>
            <a:off x="6397145" y="3400833"/>
            <a:ext cx="53568" cy="105926"/>
          </a:xfrm>
          <a:custGeom>
            <a:avLst/>
            <a:gdLst>
              <a:gd name="T0" fmla="*/ 25 w 55"/>
              <a:gd name="T1" fmla="*/ 4 h 123"/>
              <a:gd name="T2" fmla="*/ 29 w 55"/>
              <a:gd name="T3" fmla="*/ 9 h 123"/>
              <a:gd name="T4" fmla="*/ 34 w 55"/>
              <a:gd name="T5" fmla="*/ 14 h 123"/>
              <a:gd name="T6" fmla="*/ 38 w 55"/>
              <a:gd name="T7" fmla="*/ 17 h 123"/>
              <a:gd name="T8" fmla="*/ 41 w 55"/>
              <a:gd name="T9" fmla="*/ 26 h 123"/>
              <a:gd name="T10" fmla="*/ 40 w 55"/>
              <a:gd name="T11" fmla="*/ 32 h 123"/>
              <a:gd name="T12" fmla="*/ 39 w 55"/>
              <a:gd name="T13" fmla="*/ 39 h 123"/>
              <a:gd name="T14" fmla="*/ 39 w 55"/>
              <a:gd name="T15" fmla="*/ 44 h 123"/>
              <a:gd name="T16" fmla="*/ 37 w 55"/>
              <a:gd name="T17" fmla="*/ 47 h 123"/>
              <a:gd name="T18" fmla="*/ 38 w 55"/>
              <a:gd name="T19" fmla="*/ 54 h 123"/>
              <a:gd name="T20" fmla="*/ 40 w 55"/>
              <a:gd name="T21" fmla="*/ 63 h 123"/>
              <a:gd name="T22" fmla="*/ 43 w 55"/>
              <a:gd name="T23" fmla="*/ 66 h 123"/>
              <a:gd name="T24" fmla="*/ 46 w 55"/>
              <a:gd name="T25" fmla="*/ 72 h 123"/>
              <a:gd name="T26" fmla="*/ 52 w 55"/>
              <a:gd name="T27" fmla="*/ 72 h 123"/>
              <a:gd name="T28" fmla="*/ 53 w 55"/>
              <a:gd name="T29" fmla="*/ 74 h 123"/>
              <a:gd name="T30" fmla="*/ 54 w 55"/>
              <a:gd name="T31" fmla="*/ 80 h 123"/>
              <a:gd name="T32" fmla="*/ 55 w 55"/>
              <a:gd name="T33" fmla="*/ 84 h 123"/>
              <a:gd name="T34" fmla="*/ 52 w 55"/>
              <a:gd name="T35" fmla="*/ 89 h 123"/>
              <a:gd name="T36" fmla="*/ 48 w 55"/>
              <a:gd name="T37" fmla="*/ 91 h 123"/>
              <a:gd name="T38" fmla="*/ 46 w 55"/>
              <a:gd name="T39" fmla="*/ 95 h 123"/>
              <a:gd name="T40" fmla="*/ 45 w 55"/>
              <a:gd name="T41" fmla="*/ 99 h 123"/>
              <a:gd name="T42" fmla="*/ 43 w 55"/>
              <a:gd name="T43" fmla="*/ 104 h 123"/>
              <a:gd name="T44" fmla="*/ 39 w 55"/>
              <a:gd name="T45" fmla="*/ 106 h 123"/>
              <a:gd name="T46" fmla="*/ 36 w 55"/>
              <a:gd name="T47" fmla="*/ 107 h 123"/>
              <a:gd name="T48" fmla="*/ 33 w 55"/>
              <a:gd name="T49" fmla="*/ 109 h 123"/>
              <a:gd name="T50" fmla="*/ 33 w 55"/>
              <a:gd name="T51" fmla="*/ 111 h 123"/>
              <a:gd name="T52" fmla="*/ 35 w 55"/>
              <a:gd name="T53" fmla="*/ 116 h 123"/>
              <a:gd name="T54" fmla="*/ 34 w 55"/>
              <a:gd name="T55" fmla="*/ 118 h 123"/>
              <a:gd name="T56" fmla="*/ 32 w 55"/>
              <a:gd name="T57" fmla="*/ 118 h 123"/>
              <a:gd name="T58" fmla="*/ 31 w 55"/>
              <a:gd name="T59" fmla="*/ 121 h 123"/>
              <a:gd name="T60" fmla="*/ 29 w 55"/>
              <a:gd name="T61" fmla="*/ 123 h 123"/>
              <a:gd name="T62" fmla="*/ 25 w 55"/>
              <a:gd name="T63" fmla="*/ 121 h 123"/>
              <a:gd name="T64" fmla="*/ 23 w 55"/>
              <a:gd name="T65" fmla="*/ 121 h 123"/>
              <a:gd name="T66" fmla="*/ 22 w 55"/>
              <a:gd name="T67" fmla="*/ 114 h 123"/>
              <a:gd name="T68" fmla="*/ 7 w 55"/>
              <a:gd name="T69" fmla="*/ 101 h 123"/>
              <a:gd name="T70" fmla="*/ 3 w 55"/>
              <a:gd name="T71" fmla="*/ 95 h 123"/>
              <a:gd name="T72" fmla="*/ 3 w 55"/>
              <a:gd name="T73" fmla="*/ 92 h 123"/>
              <a:gd name="T74" fmla="*/ 5 w 55"/>
              <a:gd name="T75" fmla="*/ 94 h 123"/>
              <a:gd name="T76" fmla="*/ 5 w 55"/>
              <a:gd name="T77" fmla="*/ 90 h 123"/>
              <a:gd name="T78" fmla="*/ 2 w 55"/>
              <a:gd name="T79" fmla="*/ 82 h 123"/>
              <a:gd name="T80" fmla="*/ 6 w 55"/>
              <a:gd name="T81" fmla="*/ 71 h 123"/>
              <a:gd name="T82" fmla="*/ 7 w 55"/>
              <a:gd name="T83" fmla="*/ 59 h 123"/>
              <a:gd name="T84" fmla="*/ 5 w 55"/>
              <a:gd name="T85" fmla="*/ 51 h 123"/>
              <a:gd name="T86" fmla="*/ 9 w 55"/>
              <a:gd name="T87" fmla="*/ 44 h 123"/>
              <a:gd name="T88" fmla="*/ 10 w 55"/>
              <a:gd name="T89" fmla="*/ 36 h 123"/>
              <a:gd name="T90" fmla="*/ 2 w 55"/>
              <a:gd name="T91" fmla="*/ 32 h 123"/>
              <a:gd name="T92" fmla="*/ 3 w 55"/>
              <a:gd name="T93" fmla="*/ 27 h 123"/>
              <a:gd name="T94" fmla="*/ 3 w 55"/>
              <a:gd name="T95" fmla="*/ 24 h 123"/>
              <a:gd name="T96" fmla="*/ 0 w 55"/>
              <a:gd name="T97" fmla="*/ 20 h 123"/>
              <a:gd name="T98" fmla="*/ 4 w 55"/>
              <a:gd name="T99" fmla="*/ 12 h 123"/>
              <a:gd name="T100" fmla="*/ 9 w 55"/>
              <a:gd name="T101" fmla="*/ 6 h 123"/>
              <a:gd name="T102" fmla="*/ 12 w 55"/>
              <a:gd name="T103" fmla="*/ 0 h 123"/>
              <a:gd name="T104" fmla="*/ 14 w 55"/>
              <a:gd name="T105" fmla="*/ 0 h 123"/>
              <a:gd name="T106" fmla="*/ 15 w 55"/>
              <a:gd name="T107" fmla="*/ 5 h 123"/>
              <a:gd name="T108" fmla="*/ 16 w 55"/>
              <a:gd name="T109" fmla="*/ 7 h 123"/>
              <a:gd name="T110" fmla="*/ 21 w 55"/>
              <a:gd name="T111" fmla="*/ 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123">
                <a:moveTo>
                  <a:pt x="25" y="4"/>
                </a:moveTo>
                <a:lnTo>
                  <a:pt x="25" y="4"/>
                </a:lnTo>
                <a:lnTo>
                  <a:pt x="26" y="5"/>
                </a:lnTo>
                <a:lnTo>
                  <a:pt x="29" y="9"/>
                </a:lnTo>
                <a:lnTo>
                  <a:pt x="30" y="13"/>
                </a:lnTo>
                <a:lnTo>
                  <a:pt x="34" y="14"/>
                </a:lnTo>
                <a:lnTo>
                  <a:pt x="36" y="15"/>
                </a:lnTo>
                <a:lnTo>
                  <a:pt x="38" y="17"/>
                </a:lnTo>
                <a:lnTo>
                  <a:pt x="39" y="20"/>
                </a:lnTo>
                <a:lnTo>
                  <a:pt x="41" y="26"/>
                </a:lnTo>
                <a:lnTo>
                  <a:pt x="41" y="30"/>
                </a:lnTo>
                <a:lnTo>
                  <a:pt x="40" y="32"/>
                </a:lnTo>
                <a:lnTo>
                  <a:pt x="40" y="33"/>
                </a:lnTo>
                <a:lnTo>
                  <a:pt x="39" y="39"/>
                </a:lnTo>
                <a:lnTo>
                  <a:pt x="39" y="42"/>
                </a:lnTo>
                <a:lnTo>
                  <a:pt x="39" y="44"/>
                </a:lnTo>
                <a:lnTo>
                  <a:pt x="38" y="45"/>
                </a:lnTo>
                <a:lnTo>
                  <a:pt x="37" y="47"/>
                </a:lnTo>
                <a:lnTo>
                  <a:pt x="38" y="52"/>
                </a:lnTo>
                <a:lnTo>
                  <a:pt x="38" y="54"/>
                </a:lnTo>
                <a:lnTo>
                  <a:pt x="38" y="57"/>
                </a:lnTo>
                <a:lnTo>
                  <a:pt x="40" y="63"/>
                </a:lnTo>
                <a:lnTo>
                  <a:pt x="42" y="65"/>
                </a:lnTo>
                <a:lnTo>
                  <a:pt x="43" y="66"/>
                </a:lnTo>
                <a:lnTo>
                  <a:pt x="45" y="71"/>
                </a:lnTo>
                <a:lnTo>
                  <a:pt x="46" y="72"/>
                </a:lnTo>
                <a:lnTo>
                  <a:pt x="50" y="72"/>
                </a:lnTo>
                <a:lnTo>
                  <a:pt x="52" y="72"/>
                </a:lnTo>
                <a:lnTo>
                  <a:pt x="53" y="74"/>
                </a:lnTo>
                <a:lnTo>
                  <a:pt x="53" y="74"/>
                </a:lnTo>
                <a:lnTo>
                  <a:pt x="53" y="78"/>
                </a:lnTo>
                <a:lnTo>
                  <a:pt x="54" y="80"/>
                </a:lnTo>
                <a:lnTo>
                  <a:pt x="55" y="82"/>
                </a:lnTo>
                <a:lnTo>
                  <a:pt x="55" y="84"/>
                </a:lnTo>
                <a:lnTo>
                  <a:pt x="54" y="86"/>
                </a:lnTo>
                <a:lnTo>
                  <a:pt x="52" y="89"/>
                </a:lnTo>
                <a:lnTo>
                  <a:pt x="50" y="90"/>
                </a:lnTo>
                <a:lnTo>
                  <a:pt x="48" y="91"/>
                </a:lnTo>
                <a:lnTo>
                  <a:pt x="47" y="93"/>
                </a:lnTo>
                <a:lnTo>
                  <a:pt x="46" y="95"/>
                </a:lnTo>
                <a:lnTo>
                  <a:pt x="45" y="97"/>
                </a:lnTo>
                <a:lnTo>
                  <a:pt x="45" y="99"/>
                </a:lnTo>
                <a:lnTo>
                  <a:pt x="44" y="103"/>
                </a:lnTo>
                <a:lnTo>
                  <a:pt x="43" y="104"/>
                </a:lnTo>
                <a:lnTo>
                  <a:pt x="42" y="106"/>
                </a:lnTo>
                <a:lnTo>
                  <a:pt x="39" y="106"/>
                </a:lnTo>
                <a:lnTo>
                  <a:pt x="37" y="106"/>
                </a:lnTo>
                <a:lnTo>
                  <a:pt x="36" y="107"/>
                </a:lnTo>
                <a:lnTo>
                  <a:pt x="35" y="108"/>
                </a:lnTo>
                <a:lnTo>
                  <a:pt x="33" y="109"/>
                </a:lnTo>
                <a:lnTo>
                  <a:pt x="33" y="110"/>
                </a:lnTo>
                <a:lnTo>
                  <a:pt x="33" y="111"/>
                </a:lnTo>
                <a:lnTo>
                  <a:pt x="34" y="114"/>
                </a:lnTo>
                <a:lnTo>
                  <a:pt x="35" y="116"/>
                </a:lnTo>
                <a:lnTo>
                  <a:pt x="35" y="117"/>
                </a:lnTo>
                <a:lnTo>
                  <a:pt x="34" y="118"/>
                </a:lnTo>
                <a:lnTo>
                  <a:pt x="32" y="117"/>
                </a:lnTo>
                <a:lnTo>
                  <a:pt x="32" y="118"/>
                </a:lnTo>
                <a:lnTo>
                  <a:pt x="32" y="120"/>
                </a:lnTo>
                <a:lnTo>
                  <a:pt x="31" y="121"/>
                </a:lnTo>
                <a:lnTo>
                  <a:pt x="31" y="122"/>
                </a:lnTo>
                <a:lnTo>
                  <a:pt x="29" y="123"/>
                </a:lnTo>
                <a:lnTo>
                  <a:pt x="27" y="123"/>
                </a:lnTo>
                <a:lnTo>
                  <a:pt x="25" y="121"/>
                </a:lnTo>
                <a:lnTo>
                  <a:pt x="23" y="121"/>
                </a:lnTo>
                <a:lnTo>
                  <a:pt x="23" y="121"/>
                </a:lnTo>
                <a:lnTo>
                  <a:pt x="23" y="117"/>
                </a:lnTo>
                <a:lnTo>
                  <a:pt x="22" y="114"/>
                </a:lnTo>
                <a:lnTo>
                  <a:pt x="18" y="107"/>
                </a:lnTo>
                <a:lnTo>
                  <a:pt x="7" y="101"/>
                </a:lnTo>
                <a:lnTo>
                  <a:pt x="4" y="98"/>
                </a:lnTo>
                <a:lnTo>
                  <a:pt x="3" y="95"/>
                </a:lnTo>
                <a:lnTo>
                  <a:pt x="2" y="93"/>
                </a:lnTo>
                <a:lnTo>
                  <a:pt x="3" y="92"/>
                </a:lnTo>
                <a:lnTo>
                  <a:pt x="4" y="93"/>
                </a:lnTo>
                <a:lnTo>
                  <a:pt x="5" y="94"/>
                </a:lnTo>
                <a:lnTo>
                  <a:pt x="6" y="93"/>
                </a:lnTo>
                <a:lnTo>
                  <a:pt x="5" y="90"/>
                </a:lnTo>
                <a:lnTo>
                  <a:pt x="2" y="84"/>
                </a:lnTo>
                <a:lnTo>
                  <a:pt x="2" y="82"/>
                </a:lnTo>
                <a:lnTo>
                  <a:pt x="4" y="77"/>
                </a:lnTo>
                <a:lnTo>
                  <a:pt x="6" y="71"/>
                </a:lnTo>
                <a:lnTo>
                  <a:pt x="6" y="64"/>
                </a:lnTo>
                <a:lnTo>
                  <a:pt x="7" y="59"/>
                </a:lnTo>
                <a:lnTo>
                  <a:pt x="6" y="55"/>
                </a:lnTo>
                <a:lnTo>
                  <a:pt x="5" y="51"/>
                </a:lnTo>
                <a:lnTo>
                  <a:pt x="7" y="45"/>
                </a:lnTo>
                <a:lnTo>
                  <a:pt x="9" y="44"/>
                </a:lnTo>
                <a:lnTo>
                  <a:pt x="10" y="42"/>
                </a:lnTo>
                <a:lnTo>
                  <a:pt x="10" y="36"/>
                </a:lnTo>
                <a:lnTo>
                  <a:pt x="6" y="33"/>
                </a:lnTo>
                <a:lnTo>
                  <a:pt x="2" y="32"/>
                </a:lnTo>
                <a:lnTo>
                  <a:pt x="2" y="30"/>
                </a:lnTo>
                <a:lnTo>
                  <a:pt x="3" y="27"/>
                </a:lnTo>
                <a:lnTo>
                  <a:pt x="3" y="26"/>
                </a:lnTo>
                <a:lnTo>
                  <a:pt x="3" y="24"/>
                </a:lnTo>
                <a:lnTo>
                  <a:pt x="2" y="21"/>
                </a:lnTo>
                <a:lnTo>
                  <a:pt x="0" y="20"/>
                </a:lnTo>
                <a:lnTo>
                  <a:pt x="2" y="16"/>
                </a:lnTo>
                <a:lnTo>
                  <a:pt x="4" y="12"/>
                </a:lnTo>
                <a:lnTo>
                  <a:pt x="6" y="9"/>
                </a:lnTo>
                <a:lnTo>
                  <a:pt x="9" y="6"/>
                </a:lnTo>
                <a:lnTo>
                  <a:pt x="10" y="3"/>
                </a:lnTo>
                <a:lnTo>
                  <a:pt x="12" y="0"/>
                </a:lnTo>
                <a:lnTo>
                  <a:pt x="14" y="0"/>
                </a:lnTo>
                <a:lnTo>
                  <a:pt x="14" y="0"/>
                </a:lnTo>
                <a:lnTo>
                  <a:pt x="15" y="1"/>
                </a:lnTo>
                <a:lnTo>
                  <a:pt x="15" y="5"/>
                </a:lnTo>
                <a:lnTo>
                  <a:pt x="15" y="6"/>
                </a:lnTo>
                <a:lnTo>
                  <a:pt x="16" y="7"/>
                </a:lnTo>
                <a:lnTo>
                  <a:pt x="18" y="6"/>
                </a:lnTo>
                <a:lnTo>
                  <a:pt x="21" y="6"/>
                </a:lnTo>
                <a:lnTo>
                  <a:pt x="24" y="4"/>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1" name="Austria">
            <a:extLst>
              <a:ext uri="{FF2B5EF4-FFF2-40B4-BE49-F238E27FC236}">
                <a16:creationId xmlns:a16="http://schemas.microsoft.com/office/drawing/2014/main" id="{015E5BA0-CE7C-4D8B-B2F2-12C8F232C96D}"/>
              </a:ext>
            </a:extLst>
          </p:cNvPr>
          <p:cNvSpPr>
            <a:spLocks/>
          </p:cNvSpPr>
          <p:nvPr/>
        </p:nvSpPr>
        <p:spPr bwMode="auto">
          <a:xfrm>
            <a:off x="6104752" y="3161518"/>
            <a:ext cx="227664" cy="102003"/>
          </a:xfrm>
          <a:custGeom>
            <a:avLst/>
            <a:gdLst>
              <a:gd name="T0" fmla="*/ 230 w 238"/>
              <a:gd name="T1" fmla="*/ 23 h 120"/>
              <a:gd name="T2" fmla="*/ 236 w 238"/>
              <a:gd name="T3" fmla="*/ 45 h 120"/>
              <a:gd name="T4" fmla="*/ 234 w 238"/>
              <a:gd name="T5" fmla="*/ 54 h 120"/>
              <a:gd name="T6" fmla="*/ 229 w 238"/>
              <a:gd name="T7" fmla="*/ 61 h 120"/>
              <a:gd name="T8" fmla="*/ 221 w 238"/>
              <a:gd name="T9" fmla="*/ 58 h 120"/>
              <a:gd name="T10" fmla="*/ 216 w 238"/>
              <a:gd name="T11" fmla="*/ 63 h 120"/>
              <a:gd name="T12" fmla="*/ 220 w 238"/>
              <a:gd name="T13" fmla="*/ 73 h 120"/>
              <a:gd name="T14" fmla="*/ 216 w 238"/>
              <a:gd name="T15" fmla="*/ 81 h 120"/>
              <a:gd name="T16" fmla="*/ 217 w 238"/>
              <a:gd name="T17" fmla="*/ 89 h 120"/>
              <a:gd name="T18" fmla="*/ 212 w 238"/>
              <a:gd name="T19" fmla="*/ 93 h 120"/>
              <a:gd name="T20" fmla="*/ 201 w 238"/>
              <a:gd name="T21" fmla="*/ 106 h 120"/>
              <a:gd name="T22" fmla="*/ 191 w 238"/>
              <a:gd name="T23" fmla="*/ 106 h 120"/>
              <a:gd name="T24" fmla="*/ 169 w 238"/>
              <a:gd name="T25" fmla="*/ 110 h 120"/>
              <a:gd name="T26" fmla="*/ 161 w 238"/>
              <a:gd name="T27" fmla="*/ 117 h 120"/>
              <a:gd name="T28" fmla="*/ 154 w 238"/>
              <a:gd name="T29" fmla="*/ 119 h 120"/>
              <a:gd name="T30" fmla="*/ 137 w 238"/>
              <a:gd name="T31" fmla="*/ 115 h 120"/>
              <a:gd name="T32" fmla="*/ 119 w 238"/>
              <a:gd name="T33" fmla="*/ 113 h 120"/>
              <a:gd name="T34" fmla="*/ 92 w 238"/>
              <a:gd name="T35" fmla="*/ 108 h 120"/>
              <a:gd name="T36" fmla="*/ 81 w 238"/>
              <a:gd name="T37" fmla="*/ 93 h 120"/>
              <a:gd name="T38" fmla="*/ 76 w 238"/>
              <a:gd name="T39" fmla="*/ 91 h 120"/>
              <a:gd name="T40" fmla="*/ 60 w 238"/>
              <a:gd name="T41" fmla="*/ 94 h 120"/>
              <a:gd name="T42" fmla="*/ 46 w 238"/>
              <a:gd name="T43" fmla="*/ 103 h 120"/>
              <a:gd name="T44" fmla="*/ 33 w 238"/>
              <a:gd name="T45" fmla="*/ 99 h 120"/>
              <a:gd name="T46" fmla="*/ 26 w 238"/>
              <a:gd name="T47" fmla="*/ 93 h 120"/>
              <a:gd name="T48" fmla="*/ 11 w 238"/>
              <a:gd name="T49" fmla="*/ 94 h 120"/>
              <a:gd name="T50" fmla="*/ 2 w 238"/>
              <a:gd name="T51" fmla="*/ 89 h 120"/>
              <a:gd name="T52" fmla="*/ 1 w 238"/>
              <a:gd name="T53" fmla="*/ 83 h 120"/>
              <a:gd name="T54" fmla="*/ 3 w 238"/>
              <a:gd name="T55" fmla="*/ 71 h 120"/>
              <a:gd name="T56" fmla="*/ 6 w 238"/>
              <a:gd name="T57" fmla="*/ 67 h 120"/>
              <a:gd name="T58" fmla="*/ 17 w 238"/>
              <a:gd name="T59" fmla="*/ 72 h 120"/>
              <a:gd name="T60" fmla="*/ 21 w 238"/>
              <a:gd name="T61" fmla="*/ 76 h 120"/>
              <a:gd name="T62" fmla="*/ 26 w 238"/>
              <a:gd name="T63" fmla="*/ 76 h 120"/>
              <a:gd name="T64" fmla="*/ 36 w 238"/>
              <a:gd name="T65" fmla="*/ 68 h 120"/>
              <a:gd name="T66" fmla="*/ 45 w 238"/>
              <a:gd name="T67" fmla="*/ 73 h 120"/>
              <a:gd name="T68" fmla="*/ 53 w 238"/>
              <a:gd name="T69" fmla="*/ 74 h 120"/>
              <a:gd name="T70" fmla="*/ 64 w 238"/>
              <a:gd name="T71" fmla="*/ 68 h 120"/>
              <a:gd name="T72" fmla="*/ 84 w 238"/>
              <a:gd name="T73" fmla="*/ 60 h 120"/>
              <a:gd name="T74" fmla="*/ 94 w 238"/>
              <a:gd name="T75" fmla="*/ 64 h 120"/>
              <a:gd name="T76" fmla="*/ 102 w 238"/>
              <a:gd name="T77" fmla="*/ 66 h 120"/>
              <a:gd name="T78" fmla="*/ 109 w 238"/>
              <a:gd name="T79" fmla="*/ 71 h 120"/>
              <a:gd name="T80" fmla="*/ 108 w 238"/>
              <a:gd name="T81" fmla="*/ 60 h 120"/>
              <a:gd name="T82" fmla="*/ 107 w 238"/>
              <a:gd name="T83" fmla="*/ 52 h 120"/>
              <a:gd name="T84" fmla="*/ 105 w 238"/>
              <a:gd name="T85" fmla="*/ 37 h 120"/>
              <a:gd name="T86" fmla="*/ 120 w 238"/>
              <a:gd name="T87" fmla="*/ 30 h 120"/>
              <a:gd name="T88" fmla="*/ 130 w 238"/>
              <a:gd name="T89" fmla="*/ 22 h 120"/>
              <a:gd name="T90" fmla="*/ 133 w 238"/>
              <a:gd name="T91" fmla="*/ 15 h 120"/>
              <a:gd name="T92" fmla="*/ 139 w 238"/>
              <a:gd name="T93" fmla="*/ 14 h 120"/>
              <a:gd name="T94" fmla="*/ 155 w 238"/>
              <a:gd name="T95" fmla="*/ 17 h 120"/>
              <a:gd name="T96" fmla="*/ 165 w 238"/>
              <a:gd name="T97" fmla="*/ 10 h 120"/>
              <a:gd name="T98" fmla="*/ 173 w 238"/>
              <a:gd name="T99" fmla="*/ 0 h 120"/>
              <a:gd name="T100" fmla="*/ 181 w 238"/>
              <a:gd name="T101" fmla="*/ 1 h 120"/>
              <a:gd name="T102" fmla="*/ 197 w 238"/>
              <a:gd name="T103" fmla="*/ 6 h 120"/>
              <a:gd name="T104" fmla="*/ 217 w 238"/>
              <a:gd name="T105" fmla="*/ 9 h 120"/>
              <a:gd name="T106" fmla="*/ 228 w 238"/>
              <a:gd name="T107"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20">
                <a:moveTo>
                  <a:pt x="232" y="19"/>
                </a:moveTo>
                <a:lnTo>
                  <a:pt x="232" y="19"/>
                </a:lnTo>
                <a:lnTo>
                  <a:pt x="232" y="19"/>
                </a:lnTo>
                <a:lnTo>
                  <a:pt x="231" y="21"/>
                </a:lnTo>
                <a:lnTo>
                  <a:pt x="230" y="23"/>
                </a:lnTo>
                <a:lnTo>
                  <a:pt x="229" y="26"/>
                </a:lnTo>
                <a:lnTo>
                  <a:pt x="229" y="29"/>
                </a:lnTo>
                <a:lnTo>
                  <a:pt x="232" y="37"/>
                </a:lnTo>
                <a:lnTo>
                  <a:pt x="235" y="43"/>
                </a:lnTo>
                <a:lnTo>
                  <a:pt x="236" y="45"/>
                </a:lnTo>
                <a:lnTo>
                  <a:pt x="238" y="46"/>
                </a:lnTo>
                <a:lnTo>
                  <a:pt x="236" y="48"/>
                </a:lnTo>
                <a:lnTo>
                  <a:pt x="236" y="51"/>
                </a:lnTo>
                <a:lnTo>
                  <a:pt x="235" y="53"/>
                </a:lnTo>
                <a:lnTo>
                  <a:pt x="234" y="54"/>
                </a:lnTo>
                <a:lnTo>
                  <a:pt x="235" y="56"/>
                </a:lnTo>
                <a:lnTo>
                  <a:pt x="235" y="58"/>
                </a:lnTo>
                <a:lnTo>
                  <a:pt x="235" y="60"/>
                </a:lnTo>
                <a:lnTo>
                  <a:pt x="232" y="61"/>
                </a:lnTo>
                <a:lnTo>
                  <a:pt x="229" y="61"/>
                </a:lnTo>
                <a:lnTo>
                  <a:pt x="228" y="61"/>
                </a:lnTo>
                <a:lnTo>
                  <a:pt x="227" y="62"/>
                </a:lnTo>
                <a:lnTo>
                  <a:pt x="225" y="61"/>
                </a:lnTo>
                <a:lnTo>
                  <a:pt x="222" y="59"/>
                </a:lnTo>
                <a:lnTo>
                  <a:pt x="221" y="58"/>
                </a:lnTo>
                <a:lnTo>
                  <a:pt x="219" y="58"/>
                </a:lnTo>
                <a:lnTo>
                  <a:pt x="218" y="59"/>
                </a:lnTo>
                <a:lnTo>
                  <a:pt x="217" y="61"/>
                </a:lnTo>
                <a:lnTo>
                  <a:pt x="215" y="62"/>
                </a:lnTo>
                <a:lnTo>
                  <a:pt x="216" y="63"/>
                </a:lnTo>
                <a:lnTo>
                  <a:pt x="222" y="65"/>
                </a:lnTo>
                <a:lnTo>
                  <a:pt x="223" y="68"/>
                </a:lnTo>
                <a:lnTo>
                  <a:pt x="222" y="71"/>
                </a:lnTo>
                <a:lnTo>
                  <a:pt x="221" y="72"/>
                </a:lnTo>
                <a:lnTo>
                  <a:pt x="220" y="73"/>
                </a:lnTo>
                <a:lnTo>
                  <a:pt x="218" y="74"/>
                </a:lnTo>
                <a:lnTo>
                  <a:pt x="216" y="74"/>
                </a:lnTo>
                <a:lnTo>
                  <a:pt x="216" y="76"/>
                </a:lnTo>
                <a:lnTo>
                  <a:pt x="216" y="80"/>
                </a:lnTo>
                <a:lnTo>
                  <a:pt x="216" y="81"/>
                </a:lnTo>
                <a:lnTo>
                  <a:pt x="215" y="82"/>
                </a:lnTo>
                <a:lnTo>
                  <a:pt x="216" y="86"/>
                </a:lnTo>
                <a:lnTo>
                  <a:pt x="217" y="86"/>
                </a:lnTo>
                <a:lnTo>
                  <a:pt x="217" y="87"/>
                </a:lnTo>
                <a:lnTo>
                  <a:pt x="217" y="89"/>
                </a:lnTo>
                <a:lnTo>
                  <a:pt x="217" y="90"/>
                </a:lnTo>
                <a:lnTo>
                  <a:pt x="216" y="92"/>
                </a:lnTo>
                <a:lnTo>
                  <a:pt x="216" y="92"/>
                </a:lnTo>
                <a:lnTo>
                  <a:pt x="215" y="93"/>
                </a:lnTo>
                <a:lnTo>
                  <a:pt x="212" y="93"/>
                </a:lnTo>
                <a:lnTo>
                  <a:pt x="210" y="94"/>
                </a:lnTo>
                <a:lnTo>
                  <a:pt x="205" y="99"/>
                </a:lnTo>
                <a:lnTo>
                  <a:pt x="203" y="100"/>
                </a:lnTo>
                <a:lnTo>
                  <a:pt x="201" y="102"/>
                </a:lnTo>
                <a:lnTo>
                  <a:pt x="201" y="106"/>
                </a:lnTo>
                <a:lnTo>
                  <a:pt x="201" y="106"/>
                </a:lnTo>
                <a:lnTo>
                  <a:pt x="201" y="107"/>
                </a:lnTo>
                <a:lnTo>
                  <a:pt x="195" y="106"/>
                </a:lnTo>
                <a:lnTo>
                  <a:pt x="195" y="106"/>
                </a:lnTo>
                <a:lnTo>
                  <a:pt x="191" y="106"/>
                </a:lnTo>
                <a:lnTo>
                  <a:pt x="188" y="108"/>
                </a:lnTo>
                <a:lnTo>
                  <a:pt x="185" y="110"/>
                </a:lnTo>
                <a:lnTo>
                  <a:pt x="178" y="109"/>
                </a:lnTo>
                <a:lnTo>
                  <a:pt x="171" y="110"/>
                </a:lnTo>
                <a:lnTo>
                  <a:pt x="169" y="110"/>
                </a:lnTo>
                <a:lnTo>
                  <a:pt x="168" y="111"/>
                </a:lnTo>
                <a:lnTo>
                  <a:pt x="166" y="112"/>
                </a:lnTo>
                <a:lnTo>
                  <a:pt x="165" y="113"/>
                </a:lnTo>
                <a:lnTo>
                  <a:pt x="163" y="115"/>
                </a:lnTo>
                <a:lnTo>
                  <a:pt x="161" y="117"/>
                </a:lnTo>
                <a:lnTo>
                  <a:pt x="158" y="118"/>
                </a:lnTo>
                <a:lnTo>
                  <a:pt x="158" y="119"/>
                </a:lnTo>
                <a:lnTo>
                  <a:pt x="157" y="120"/>
                </a:lnTo>
                <a:lnTo>
                  <a:pt x="155" y="119"/>
                </a:lnTo>
                <a:lnTo>
                  <a:pt x="154" y="119"/>
                </a:lnTo>
                <a:lnTo>
                  <a:pt x="153" y="119"/>
                </a:lnTo>
                <a:lnTo>
                  <a:pt x="148" y="118"/>
                </a:lnTo>
                <a:lnTo>
                  <a:pt x="143" y="117"/>
                </a:lnTo>
                <a:lnTo>
                  <a:pt x="140" y="116"/>
                </a:lnTo>
                <a:lnTo>
                  <a:pt x="137" y="115"/>
                </a:lnTo>
                <a:lnTo>
                  <a:pt x="134" y="115"/>
                </a:lnTo>
                <a:lnTo>
                  <a:pt x="132" y="115"/>
                </a:lnTo>
                <a:lnTo>
                  <a:pt x="130" y="115"/>
                </a:lnTo>
                <a:lnTo>
                  <a:pt x="124" y="113"/>
                </a:lnTo>
                <a:lnTo>
                  <a:pt x="119" y="113"/>
                </a:lnTo>
                <a:lnTo>
                  <a:pt x="114" y="112"/>
                </a:lnTo>
                <a:lnTo>
                  <a:pt x="102" y="110"/>
                </a:lnTo>
                <a:lnTo>
                  <a:pt x="99" y="109"/>
                </a:lnTo>
                <a:lnTo>
                  <a:pt x="96" y="108"/>
                </a:lnTo>
                <a:lnTo>
                  <a:pt x="92" y="108"/>
                </a:lnTo>
                <a:lnTo>
                  <a:pt x="89" y="106"/>
                </a:lnTo>
                <a:lnTo>
                  <a:pt x="88" y="104"/>
                </a:lnTo>
                <a:lnTo>
                  <a:pt x="86" y="100"/>
                </a:lnTo>
                <a:lnTo>
                  <a:pt x="82" y="96"/>
                </a:lnTo>
                <a:lnTo>
                  <a:pt x="81" y="93"/>
                </a:lnTo>
                <a:lnTo>
                  <a:pt x="82" y="91"/>
                </a:lnTo>
                <a:lnTo>
                  <a:pt x="84" y="90"/>
                </a:lnTo>
                <a:lnTo>
                  <a:pt x="83" y="89"/>
                </a:lnTo>
                <a:lnTo>
                  <a:pt x="83" y="89"/>
                </a:lnTo>
                <a:lnTo>
                  <a:pt x="76" y="91"/>
                </a:lnTo>
                <a:lnTo>
                  <a:pt x="70" y="93"/>
                </a:lnTo>
                <a:lnTo>
                  <a:pt x="68" y="93"/>
                </a:lnTo>
                <a:lnTo>
                  <a:pt x="66" y="93"/>
                </a:lnTo>
                <a:lnTo>
                  <a:pt x="63" y="93"/>
                </a:lnTo>
                <a:lnTo>
                  <a:pt x="60" y="94"/>
                </a:lnTo>
                <a:lnTo>
                  <a:pt x="54" y="94"/>
                </a:lnTo>
                <a:lnTo>
                  <a:pt x="50" y="96"/>
                </a:lnTo>
                <a:lnTo>
                  <a:pt x="48" y="99"/>
                </a:lnTo>
                <a:lnTo>
                  <a:pt x="47" y="102"/>
                </a:lnTo>
                <a:lnTo>
                  <a:pt x="46" y="103"/>
                </a:lnTo>
                <a:lnTo>
                  <a:pt x="44" y="103"/>
                </a:lnTo>
                <a:lnTo>
                  <a:pt x="41" y="103"/>
                </a:lnTo>
                <a:lnTo>
                  <a:pt x="39" y="102"/>
                </a:lnTo>
                <a:lnTo>
                  <a:pt x="36" y="100"/>
                </a:lnTo>
                <a:lnTo>
                  <a:pt x="33" y="99"/>
                </a:lnTo>
                <a:lnTo>
                  <a:pt x="30" y="99"/>
                </a:lnTo>
                <a:lnTo>
                  <a:pt x="29" y="99"/>
                </a:lnTo>
                <a:lnTo>
                  <a:pt x="29" y="97"/>
                </a:lnTo>
                <a:lnTo>
                  <a:pt x="28" y="94"/>
                </a:lnTo>
                <a:lnTo>
                  <a:pt x="26" y="93"/>
                </a:lnTo>
                <a:lnTo>
                  <a:pt x="21" y="99"/>
                </a:lnTo>
                <a:lnTo>
                  <a:pt x="19" y="99"/>
                </a:lnTo>
                <a:lnTo>
                  <a:pt x="15" y="98"/>
                </a:lnTo>
                <a:lnTo>
                  <a:pt x="11" y="96"/>
                </a:lnTo>
                <a:lnTo>
                  <a:pt x="11" y="94"/>
                </a:lnTo>
                <a:lnTo>
                  <a:pt x="10" y="92"/>
                </a:lnTo>
                <a:lnTo>
                  <a:pt x="7" y="91"/>
                </a:lnTo>
                <a:lnTo>
                  <a:pt x="3" y="90"/>
                </a:lnTo>
                <a:lnTo>
                  <a:pt x="2" y="90"/>
                </a:lnTo>
                <a:lnTo>
                  <a:pt x="2" y="89"/>
                </a:lnTo>
                <a:lnTo>
                  <a:pt x="3" y="88"/>
                </a:lnTo>
                <a:lnTo>
                  <a:pt x="3" y="87"/>
                </a:lnTo>
                <a:lnTo>
                  <a:pt x="2" y="86"/>
                </a:lnTo>
                <a:lnTo>
                  <a:pt x="1" y="84"/>
                </a:lnTo>
                <a:lnTo>
                  <a:pt x="1" y="83"/>
                </a:lnTo>
                <a:lnTo>
                  <a:pt x="1" y="82"/>
                </a:lnTo>
                <a:lnTo>
                  <a:pt x="1" y="81"/>
                </a:lnTo>
                <a:lnTo>
                  <a:pt x="0" y="80"/>
                </a:lnTo>
                <a:lnTo>
                  <a:pt x="3" y="75"/>
                </a:lnTo>
                <a:lnTo>
                  <a:pt x="3" y="71"/>
                </a:lnTo>
                <a:lnTo>
                  <a:pt x="1" y="69"/>
                </a:lnTo>
                <a:lnTo>
                  <a:pt x="0" y="69"/>
                </a:lnTo>
                <a:lnTo>
                  <a:pt x="1" y="68"/>
                </a:lnTo>
                <a:lnTo>
                  <a:pt x="4" y="69"/>
                </a:lnTo>
                <a:lnTo>
                  <a:pt x="6" y="67"/>
                </a:lnTo>
                <a:lnTo>
                  <a:pt x="7" y="66"/>
                </a:lnTo>
                <a:lnTo>
                  <a:pt x="10" y="67"/>
                </a:lnTo>
                <a:lnTo>
                  <a:pt x="14" y="70"/>
                </a:lnTo>
                <a:lnTo>
                  <a:pt x="16" y="71"/>
                </a:lnTo>
                <a:lnTo>
                  <a:pt x="17" y="72"/>
                </a:lnTo>
                <a:lnTo>
                  <a:pt x="17" y="73"/>
                </a:lnTo>
                <a:lnTo>
                  <a:pt x="17" y="75"/>
                </a:lnTo>
                <a:lnTo>
                  <a:pt x="18" y="75"/>
                </a:lnTo>
                <a:lnTo>
                  <a:pt x="20" y="76"/>
                </a:lnTo>
                <a:lnTo>
                  <a:pt x="21" y="76"/>
                </a:lnTo>
                <a:lnTo>
                  <a:pt x="21" y="78"/>
                </a:lnTo>
                <a:lnTo>
                  <a:pt x="21" y="80"/>
                </a:lnTo>
                <a:lnTo>
                  <a:pt x="22" y="80"/>
                </a:lnTo>
                <a:lnTo>
                  <a:pt x="25" y="78"/>
                </a:lnTo>
                <a:lnTo>
                  <a:pt x="26" y="76"/>
                </a:lnTo>
                <a:lnTo>
                  <a:pt x="28" y="74"/>
                </a:lnTo>
                <a:lnTo>
                  <a:pt x="28" y="68"/>
                </a:lnTo>
                <a:lnTo>
                  <a:pt x="29" y="67"/>
                </a:lnTo>
                <a:lnTo>
                  <a:pt x="30" y="68"/>
                </a:lnTo>
                <a:lnTo>
                  <a:pt x="36" y="68"/>
                </a:lnTo>
                <a:lnTo>
                  <a:pt x="38" y="69"/>
                </a:lnTo>
                <a:lnTo>
                  <a:pt x="42" y="69"/>
                </a:lnTo>
                <a:lnTo>
                  <a:pt x="42" y="70"/>
                </a:lnTo>
                <a:lnTo>
                  <a:pt x="43" y="71"/>
                </a:lnTo>
                <a:lnTo>
                  <a:pt x="45" y="73"/>
                </a:lnTo>
                <a:lnTo>
                  <a:pt x="46" y="75"/>
                </a:lnTo>
                <a:lnTo>
                  <a:pt x="47" y="75"/>
                </a:lnTo>
                <a:lnTo>
                  <a:pt x="50" y="74"/>
                </a:lnTo>
                <a:lnTo>
                  <a:pt x="52" y="73"/>
                </a:lnTo>
                <a:lnTo>
                  <a:pt x="53" y="74"/>
                </a:lnTo>
                <a:lnTo>
                  <a:pt x="55" y="73"/>
                </a:lnTo>
                <a:lnTo>
                  <a:pt x="58" y="72"/>
                </a:lnTo>
                <a:lnTo>
                  <a:pt x="58" y="70"/>
                </a:lnTo>
                <a:lnTo>
                  <a:pt x="61" y="70"/>
                </a:lnTo>
                <a:lnTo>
                  <a:pt x="64" y="68"/>
                </a:lnTo>
                <a:lnTo>
                  <a:pt x="68" y="66"/>
                </a:lnTo>
                <a:lnTo>
                  <a:pt x="83" y="64"/>
                </a:lnTo>
                <a:lnTo>
                  <a:pt x="84" y="63"/>
                </a:lnTo>
                <a:lnTo>
                  <a:pt x="83" y="60"/>
                </a:lnTo>
                <a:lnTo>
                  <a:pt x="84" y="60"/>
                </a:lnTo>
                <a:lnTo>
                  <a:pt x="86" y="60"/>
                </a:lnTo>
                <a:lnTo>
                  <a:pt x="89" y="61"/>
                </a:lnTo>
                <a:lnTo>
                  <a:pt x="91" y="62"/>
                </a:lnTo>
                <a:lnTo>
                  <a:pt x="92" y="64"/>
                </a:lnTo>
                <a:lnTo>
                  <a:pt x="94" y="64"/>
                </a:lnTo>
                <a:lnTo>
                  <a:pt x="96" y="63"/>
                </a:lnTo>
                <a:lnTo>
                  <a:pt x="99" y="62"/>
                </a:lnTo>
                <a:lnTo>
                  <a:pt x="101" y="63"/>
                </a:lnTo>
                <a:lnTo>
                  <a:pt x="102" y="65"/>
                </a:lnTo>
                <a:lnTo>
                  <a:pt x="102" y="66"/>
                </a:lnTo>
                <a:lnTo>
                  <a:pt x="102" y="67"/>
                </a:lnTo>
                <a:lnTo>
                  <a:pt x="103" y="68"/>
                </a:lnTo>
                <a:lnTo>
                  <a:pt x="105" y="70"/>
                </a:lnTo>
                <a:lnTo>
                  <a:pt x="107" y="71"/>
                </a:lnTo>
                <a:lnTo>
                  <a:pt x="109" y="71"/>
                </a:lnTo>
                <a:lnTo>
                  <a:pt x="110" y="69"/>
                </a:lnTo>
                <a:lnTo>
                  <a:pt x="110" y="66"/>
                </a:lnTo>
                <a:lnTo>
                  <a:pt x="110" y="63"/>
                </a:lnTo>
                <a:lnTo>
                  <a:pt x="110" y="61"/>
                </a:lnTo>
                <a:lnTo>
                  <a:pt x="108" y="60"/>
                </a:lnTo>
                <a:lnTo>
                  <a:pt x="106" y="60"/>
                </a:lnTo>
                <a:lnTo>
                  <a:pt x="105" y="60"/>
                </a:lnTo>
                <a:lnTo>
                  <a:pt x="106" y="58"/>
                </a:lnTo>
                <a:lnTo>
                  <a:pt x="107" y="56"/>
                </a:lnTo>
                <a:lnTo>
                  <a:pt x="107" y="52"/>
                </a:lnTo>
                <a:lnTo>
                  <a:pt x="104" y="47"/>
                </a:lnTo>
                <a:lnTo>
                  <a:pt x="101" y="43"/>
                </a:lnTo>
                <a:lnTo>
                  <a:pt x="101" y="42"/>
                </a:lnTo>
                <a:lnTo>
                  <a:pt x="103" y="39"/>
                </a:lnTo>
                <a:lnTo>
                  <a:pt x="105" y="37"/>
                </a:lnTo>
                <a:lnTo>
                  <a:pt x="111" y="34"/>
                </a:lnTo>
                <a:lnTo>
                  <a:pt x="113" y="33"/>
                </a:lnTo>
                <a:lnTo>
                  <a:pt x="115" y="33"/>
                </a:lnTo>
                <a:lnTo>
                  <a:pt x="119" y="31"/>
                </a:lnTo>
                <a:lnTo>
                  <a:pt x="120" y="30"/>
                </a:lnTo>
                <a:lnTo>
                  <a:pt x="121" y="28"/>
                </a:lnTo>
                <a:lnTo>
                  <a:pt x="123" y="20"/>
                </a:lnTo>
                <a:lnTo>
                  <a:pt x="123" y="20"/>
                </a:lnTo>
                <a:lnTo>
                  <a:pt x="124" y="20"/>
                </a:lnTo>
                <a:lnTo>
                  <a:pt x="130" y="22"/>
                </a:lnTo>
                <a:lnTo>
                  <a:pt x="130" y="22"/>
                </a:lnTo>
                <a:lnTo>
                  <a:pt x="131" y="21"/>
                </a:lnTo>
                <a:lnTo>
                  <a:pt x="133" y="19"/>
                </a:lnTo>
                <a:lnTo>
                  <a:pt x="133" y="18"/>
                </a:lnTo>
                <a:lnTo>
                  <a:pt x="133" y="15"/>
                </a:lnTo>
                <a:lnTo>
                  <a:pt x="134" y="12"/>
                </a:lnTo>
                <a:lnTo>
                  <a:pt x="134" y="11"/>
                </a:lnTo>
                <a:lnTo>
                  <a:pt x="135" y="11"/>
                </a:lnTo>
                <a:lnTo>
                  <a:pt x="137" y="13"/>
                </a:lnTo>
                <a:lnTo>
                  <a:pt x="139" y="14"/>
                </a:lnTo>
                <a:lnTo>
                  <a:pt x="141" y="19"/>
                </a:lnTo>
                <a:lnTo>
                  <a:pt x="146" y="20"/>
                </a:lnTo>
                <a:lnTo>
                  <a:pt x="151" y="20"/>
                </a:lnTo>
                <a:lnTo>
                  <a:pt x="153" y="18"/>
                </a:lnTo>
                <a:lnTo>
                  <a:pt x="155" y="17"/>
                </a:lnTo>
                <a:lnTo>
                  <a:pt x="157" y="18"/>
                </a:lnTo>
                <a:lnTo>
                  <a:pt x="161" y="19"/>
                </a:lnTo>
                <a:lnTo>
                  <a:pt x="162" y="15"/>
                </a:lnTo>
                <a:lnTo>
                  <a:pt x="164" y="12"/>
                </a:lnTo>
                <a:lnTo>
                  <a:pt x="165" y="10"/>
                </a:lnTo>
                <a:lnTo>
                  <a:pt x="168" y="11"/>
                </a:lnTo>
                <a:lnTo>
                  <a:pt x="169" y="8"/>
                </a:lnTo>
                <a:lnTo>
                  <a:pt x="170" y="1"/>
                </a:lnTo>
                <a:lnTo>
                  <a:pt x="171" y="0"/>
                </a:lnTo>
                <a:lnTo>
                  <a:pt x="173" y="0"/>
                </a:lnTo>
                <a:lnTo>
                  <a:pt x="175" y="1"/>
                </a:lnTo>
                <a:lnTo>
                  <a:pt x="176" y="2"/>
                </a:lnTo>
                <a:lnTo>
                  <a:pt x="177" y="2"/>
                </a:lnTo>
                <a:lnTo>
                  <a:pt x="179" y="1"/>
                </a:lnTo>
                <a:lnTo>
                  <a:pt x="181" y="1"/>
                </a:lnTo>
                <a:lnTo>
                  <a:pt x="183" y="2"/>
                </a:lnTo>
                <a:lnTo>
                  <a:pt x="190" y="5"/>
                </a:lnTo>
                <a:lnTo>
                  <a:pt x="193" y="6"/>
                </a:lnTo>
                <a:lnTo>
                  <a:pt x="195" y="6"/>
                </a:lnTo>
                <a:lnTo>
                  <a:pt x="197" y="6"/>
                </a:lnTo>
                <a:lnTo>
                  <a:pt x="204" y="11"/>
                </a:lnTo>
                <a:lnTo>
                  <a:pt x="209" y="12"/>
                </a:lnTo>
                <a:lnTo>
                  <a:pt x="214" y="12"/>
                </a:lnTo>
                <a:lnTo>
                  <a:pt x="215" y="11"/>
                </a:lnTo>
                <a:lnTo>
                  <a:pt x="217" y="9"/>
                </a:lnTo>
                <a:lnTo>
                  <a:pt x="219" y="9"/>
                </a:lnTo>
                <a:lnTo>
                  <a:pt x="221" y="10"/>
                </a:lnTo>
                <a:lnTo>
                  <a:pt x="224" y="12"/>
                </a:lnTo>
                <a:lnTo>
                  <a:pt x="226" y="13"/>
                </a:lnTo>
                <a:lnTo>
                  <a:pt x="228" y="13"/>
                </a:lnTo>
                <a:lnTo>
                  <a:pt x="230" y="14"/>
                </a:lnTo>
                <a:lnTo>
                  <a:pt x="231" y="1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2" name="Bosnia and Herzegovina">
            <a:extLst>
              <a:ext uri="{FF2B5EF4-FFF2-40B4-BE49-F238E27FC236}">
                <a16:creationId xmlns:a16="http://schemas.microsoft.com/office/drawing/2014/main" id="{F5286AC3-FC6F-4932-B993-42A1220478FB}"/>
              </a:ext>
            </a:extLst>
          </p:cNvPr>
          <p:cNvSpPr>
            <a:spLocks/>
          </p:cNvSpPr>
          <p:nvPr/>
        </p:nvSpPr>
        <p:spPr bwMode="auto">
          <a:xfrm>
            <a:off x="6290008" y="3304714"/>
            <a:ext cx="116064" cy="100042"/>
          </a:xfrm>
          <a:custGeom>
            <a:avLst/>
            <a:gdLst>
              <a:gd name="T0" fmla="*/ 43 w 120"/>
              <a:gd name="T1" fmla="*/ 5 h 117"/>
              <a:gd name="T2" fmla="*/ 49 w 120"/>
              <a:gd name="T3" fmla="*/ 5 h 117"/>
              <a:gd name="T4" fmla="*/ 56 w 120"/>
              <a:gd name="T5" fmla="*/ 7 h 117"/>
              <a:gd name="T6" fmla="*/ 65 w 120"/>
              <a:gd name="T7" fmla="*/ 9 h 117"/>
              <a:gd name="T8" fmla="*/ 70 w 120"/>
              <a:gd name="T9" fmla="*/ 6 h 117"/>
              <a:gd name="T10" fmla="*/ 79 w 120"/>
              <a:gd name="T11" fmla="*/ 6 h 117"/>
              <a:gd name="T12" fmla="*/ 86 w 120"/>
              <a:gd name="T13" fmla="*/ 8 h 117"/>
              <a:gd name="T14" fmla="*/ 95 w 120"/>
              <a:gd name="T15" fmla="*/ 13 h 117"/>
              <a:gd name="T16" fmla="*/ 96 w 120"/>
              <a:gd name="T17" fmla="*/ 17 h 117"/>
              <a:gd name="T18" fmla="*/ 103 w 120"/>
              <a:gd name="T19" fmla="*/ 18 h 117"/>
              <a:gd name="T20" fmla="*/ 111 w 120"/>
              <a:gd name="T21" fmla="*/ 17 h 117"/>
              <a:gd name="T22" fmla="*/ 112 w 120"/>
              <a:gd name="T23" fmla="*/ 22 h 117"/>
              <a:gd name="T24" fmla="*/ 106 w 120"/>
              <a:gd name="T25" fmla="*/ 33 h 117"/>
              <a:gd name="T26" fmla="*/ 105 w 120"/>
              <a:gd name="T27" fmla="*/ 40 h 117"/>
              <a:gd name="T28" fmla="*/ 109 w 120"/>
              <a:gd name="T29" fmla="*/ 44 h 117"/>
              <a:gd name="T30" fmla="*/ 119 w 120"/>
              <a:gd name="T31" fmla="*/ 53 h 117"/>
              <a:gd name="T32" fmla="*/ 119 w 120"/>
              <a:gd name="T33" fmla="*/ 56 h 117"/>
              <a:gd name="T34" fmla="*/ 111 w 120"/>
              <a:gd name="T35" fmla="*/ 56 h 117"/>
              <a:gd name="T36" fmla="*/ 110 w 120"/>
              <a:gd name="T37" fmla="*/ 58 h 117"/>
              <a:gd name="T38" fmla="*/ 117 w 120"/>
              <a:gd name="T39" fmla="*/ 71 h 117"/>
              <a:gd name="T40" fmla="*/ 114 w 120"/>
              <a:gd name="T41" fmla="*/ 74 h 117"/>
              <a:gd name="T42" fmla="*/ 110 w 120"/>
              <a:gd name="T43" fmla="*/ 74 h 117"/>
              <a:gd name="T44" fmla="*/ 105 w 120"/>
              <a:gd name="T45" fmla="*/ 76 h 117"/>
              <a:gd name="T46" fmla="*/ 101 w 120"/>
              <a:gd name="T47" fmla="*/ 75 h 117"/>
              <a:gd name="T48" fmla="*/ 101 w 120"/>
              <a:gd name="T49" fmla="*/ 80 h 117"/>
              <a:gd name="T50" fmla="*/ 101 w 120"/>
              <a:gd name="T51" fmla="*/ 86 h 117"/>
              <a:gd name="T52" fmla="*/ 97 w 120"/>
              <a:gd name="T53" fmla="*/ 84 h 117"/>
              <a:gd name="T54" fmla="*/ 91 w 120"/>
              <a:gd name="T55" fmla="*/ 90 h 117"/>
              <a:gd name="T56" fmla="*/ 90 w 120"/>
              <a:gd name="T57" fmla="*/ 97 h 117"/>
              <a:gd name="T58" fmla="*/ 84 w 120"/>
              <a:gd name="T59" fmla="*/ 100 h 117"/>
              <a:gd name="T60" fmla="*/ 87 w 120"/>
              <a:gd name="T61" fmla="*/ 112 h 117"/>
              <a:gd name="T62" fmla="*/ 85 w 120"/>
              <a:gd name="T63" fmla="*/ 116 h 117"/>
              <a:gd name="T64" fmla="*/ 81 w 120"/>
              <a:gd name="T65" fmla="*/ 116 h 117"/>
              <a:gd name="T66" fmla="*/ 72 w 120"/>
              <a:gd name="T67" fmla="*/ 110 h 117"/>
              <a:gd name="T68" fmla="*/ 64 w 120"/>
              <a:gd name="T69" fmla="*/ 103 h 117"/>
              <a:gd name="T70" fmla="*/ 57 w 120"/>
              <a:gd name="T71" fmla="*/ 101 h 117"/>
              <a:gd name="T72" fmla="*/ 59 w 120"/>
              <a:gd name="T73" fmla="*/ 98 h 117"/>
              <a:gd name="T74" fmla="*/ 48 w 120"/>
              <a:gd name="T75" fmla="*/ 86 h 117"/>
              <a:gd name="T76" fmla="*/ 47 w 120"/>
              <a:gd name="T77" fmla="*/ 79 h 117"/>
              <a:gd name="T78" fmla="*/ 30 w 120"/>
              <a:gd name="T79" fmla="*/ 65 h 117"/>
              <a:gd name="T80" fmla="*/ 23 w 120"/>
              <a:gd name="T81" fmla="*/ 56 h 117"/>
              <a:gd name="T82" fmla="*/ 15 w 120"/>
              <a:gd name="T83" fmla="*/ 46 h 117"/>
              <a:gd name="T84" fmla="*/ 11 w 120"/>
              <a:gd name="T85" fmla="*/ 33 h 117"/>
              <a:gd name="T86" fmla="*/ 0 w 120"/>
              <a:gd name="T87" fmla="*/ 23 h 117"/>
              <a:gd name="T88" fmla="*/ 1 w 120"/>
              <a:gd name="T89" fmla="*/ 4 h 117"/>
              <a:gd name="T90" fmla="*/ 7 w 120"/>
              <a:gd name="T91" fmla="*/ 3 h 117"/>
              <a:gd name="T92" fmla="*/ 15 w 120"/>
              <a:gd name="T93" fmla="*/ 11 h 117"/>
              <a:gd name="T94" fmla="*/ 22 w 120"/>
              <a:gd name="T95" fmla="*/ 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17">
                <a:moveTo>
                  <a:pt x="37" y="0"/>
                </a:moveTo>
                <a:lnTo>
                  <a:pt x="37" y="0"/>
                </a:lnTo>
                <a:lnTo>
                  <a:pt x="43" y="5"/>
                </a:lnTo>
                <a:lnTo>
                  <a:pt x="46" y="5"/>
                </a:lnTo>
                <a:lnTo>
                  <a:pt x="47" y="5"/>
                </a:lnTo>
                <a:lnTo>
                  <a:pt x="49" y="5"/>
                </a:lnTo>
                <a:lnTo>
                  <a:pt x="54" y="6"/>
                </a:lnTo>
                <a:lnTo>
                  <a:pt x="55" y="7"/>
                </a:lnTo>
                <a:lnTo>
                  <a:pt x="56" y="7"/>
                </a:lnTo>
                <a:lnTo>
                  <a:pt x="60" y="5"/>
                </a:lnTo>
                <a:lnTo>
                  <a:pt x="61" y="5"/>
                </a:lnTo>
                <a:lnTo>
                  <a:pt x="65" y="9"/>
                </a:lnTo>
                <a:lnTo>
                  <a:pt x="66" y="9"/>
                </a:lnTo>
                <a:lnTo>
                  <a:pt x="69" y="7"/>
                </a:lnTo>
                <a:lnTo>
                  <a:pt x="70" y="6"/>
                </a:lnTo>
                <a:lnTo>
                  <a:pt x="75" y="7"/>
                </a:lnTo>
                <a:lnTo>
                  <a:pt x="77" y="6"/>
                </a:lnTo>
                <a:lnTo>
                  <a:pt x="79" y="6"/>
                </a:lnTo>
                <a:lnTo>
                  <a:pt x="82" y="7"/>
                </a:lnTo>
                <a:lnTo>
                  <a:pt x="84" y="8"/>
                </a:lnTo>
                <a:lnTo>
                  <a:pt x="86" y="8"/>
                </a:lnTo>
                <a:lnTo>
                  <a:pt x="91" y="9"/>
                </a:lnTo>
                <a:lnTo>
                  <a:pt x="94" y="11"/>
                </a:lnTo>
                <a:lnTo>
                  <a:pt x="95" y="13"/>
                </a:lnTo>
                <a:lnTo>
                  <a:pt x="95" y="15"/>
                </a:lnTo>
                <a:lnTo>
                  <a:pt x="95" y="16"/>
                </a:lnTo>
                <a:lnTo>
                  <a:pt x="96" y="17"/>
                </a:lnTo>
                <a:lnTo>
                  <a:pt x="100" y="18"/>
                </a:lnTo>
                <a:lnTo>
                  <a:pt x="102" y="18"/>
                </a:lnTo>
                <a:lnTo>
                  <a:pt x="103" y="18"/>
                </a:lnTo>
                <a:lnTo>
                  <a:pt x="106" y="17"/>
                </a:lnTo>
                <a:lnTo>
                  <a:pt x="109" y="16"/>
                </a:lnTo>
                <a:lnTo>
                  <a:pt x="111" y="17"/>
                </a:lnTo>
                <a:lnTo>
                  <a:pt x="112" y="17"/>
                </a:lnTo>
                <a:lnTo>
                  <a:pt x="113" y="18"/>
                </a:lnTo>
                <a:lnTo>
                  <a:pt x="112" y="22"/>
                </a:lnTo>
                <a:lnTo>
                  <a:pt x="111" y="26"/>
                </a:lnTo>
                <a:lnTo>
                  <a:pt x="109" y="29"/>
                </a:lnTo>
                <a:lnTo>
                  <a:pt x="106" y="33"/>
                </a:lnTo>
                <a:lnTo>
                  <a:pt x="106" y="35"/>
                </a:lnTo>
                <a:lnTo>
                  <a:pt x="106" y="38"/>
                </a:lnTo>
                <a:lnTo>
                  <a:pt x="105" y="40"/>
                </a:lnTo>
                <a:lnTo>
                  <a:pt x="106" y="42"/>
                </a:lnTo>
                <a:lnTo>
                  <a:pt x="106" y="43"/>
                </a:lnTo>
                <a:lnTo>
                  <a:pt x="109" y="44"/>
                </a:lnTo>
                <a:lnTo>
                  <a:pt x="112" y="46"/>
                </a:lnTo>
                <a:lnTo>
                  <a:pt x="115" y="49"/>
                </a:lnTo>
                <a:lnTo>
                  <a:pt x="119" y="53"/>
                </a:lnTo>
                <a:lnTo>
                  <a:pt x="120" y="54"/>
                </a:lnTo>
                <a:lnTo>
                  <a:pt x="120" y="55"/>
                </a:lnTo>
                <a:lnTo>
                  <a:pt x="119" y="56"/>
                </a:lnTo>
                <a:lnTo>
                  <a:pt x="116" y="57"/>
                </a:lnTo>
                <a:lnTo>
                  <a:pt x="112" y="56"/>
                </a:lnTo>
                <a:lnTo>
                  <a:pt x="111" y="56"/>
                </a:lnTo>
                <a:lnTo>
                  <a:pt x="110" y="56"/>
                </a:lnTo>
                <a:lnTo>
                  <a:pt x="109" y="57"/>
                </a:lnTo>
                <a:lnTo>
                  <a:pt x="110" y="58"/>
                </a:lnTo>
                <a:lnTo>
                  <a:pt x="113" y="63"/>
                </a:lnTo>
                <a:lnTo>
                  <a:pt x="117" y="69"/>
                </a:lnTo>
                <a:lnTo>
                  <a:pt x="117" y="71"/>
                </a:lnTo>
                <a:lnTo>
                  <a:pt x="117" y="73"/>
                </a:lnTo>
                <a:lnTo>
                  <a:pt x="116" y="75"/>
                </a:lnTo>
                <a:lnTo>
                  <a:pt x="114" y="74"/>
                </a:lnTo>
                <a:lnTo>
                  <a:pt x="113" y="73"/>
                </a:lnTo>
                <a:lnTo>
                  <a:pt x="111" y="73"/>
                </a:lnTo>
                <a:lnTo>
                  <a:pt x="110" y="74"/>
                </a:lnTo>
                <a:lnTo>
                  <a:pt x="108" y="76"/>
                </a:lnTo>
                <a:lnTo>
                  <a:pt x="107" y="76"/>
                </a:lnTo>
                <a:lnTo>
                  <a:pt x="105" y="76"/>
                </a:lnTo>
                <a:lnTo>
                  <a:pt x="104" y="77"/>
                </a:lnTo>
                <a:lnTo>
                  <a:pt x="103" y="76"/>
                </a:lnTo>
                <a:lnTo>
                  <a:pt x="101" y="75"/>
                </a:lnTo>
                <a:lnTo>
                  <a:pt x="100" y="76"/>
                </a:lnTo>
                <a:lnTo>
                  <a:pt x="100" y="77"/>
                </a:lnTo>
                <a:lnTo>
                  <a:pt x="101" y="80"/>
                </a:lnTo>
                <a:lnTo>
                  <a:pt x="103" y="83"/>
                </a:lnTo>
                <a:lnTo>
                  <a:pt x="102" y="86"/>
                </a:lnTo>
                <a:lnTo>
                  <a:pt x="101" y="86"/>
                </a:lnTo>
                <a:lnTo>
                  <a:pt x="100" y="84"/>
                </a:lnTo>
                <a:lnTo>
                  <a:pt x="98" y="84"/>
                </a:lnTo>
                <a:lnTo>
                  <a:pt x="97" y="84"/>
                </a:lnTo>
                <a:lnTo>
                  <a:pt x="94" y="87"/>
                </a:lnTo>
                <a:lnTo>
                  <a:pt x="91" y="89"/>
                </a:lnTo>
                <a:lnTo>
                  <a:pt x="91" y="90"/>
                </a:lnTo>
                <a:lnTo>
                  <a:pt x="90" y="92"/>
                </a:lnTo>
                <a:lnTo>
                  <a:pt x="90" y="93"/>
                </a:lnTo>
                <a:lnTo>
                  <a:pt x="90" y="97"/>
                </a:lnTo>
                <a:lnTo>
                  <a:pt x="86" y="98"/>
                </a:lnTo>
                <a:lnTo>
                  <a:pt x="85" y="99"/>
                </a:lnTo>
                <a:lnTo>
                  <a:pt x="84" y="100"/>
                </a:lnTo>
                <a:lnTo>
                  <a:pt x="85" y="105"/>
                </a:lnTo>
                <a:lnTo>
                  <a:pt x="85" y="108"/>
                </a:lnTo>
                <a:lnTo>
                  <a:pt x="87" y="112"/>
                </a:lnTo>
                <a:lnTo>
                  <a:pt x="87" y="114"/>
                </a:lnTo>
                <a:lnTo>
                  <a:pt x="87" y="115"/>
                </a:lnTo>
                <a:lnTo>
                  <a:pt x="85" y="116"/>
                </a:lnTo>
                <a:lnTo>
                  <a:pt x="85" y="117"/>
                </a:lnTo>
                <a:lnTo>
                  <a:pt x="84" y="117"/>
                </a:lnTo>
                <a:lnTo>
                  <a:pt x="81" y="116"/>
                </a:lnTo>
                <a:lnTo>
                  <a:pt x="80" y="116"/>
                </a:lnTo>
                <a:lnTo>
                  <a:pt x="74" y="112"/>
                </a:lnTo>
                <a:lnTo>
                  <a:pt x="72" y="110"/>
                </a:lnTo>
                <a:lnTo>
                  <a:pt x="68" y="107"/>
                </a:lnTo>
                <a:lnTo>
                  <a:pt x="65" y="105"/>
                </a:lnTo>
                <a:lnTo>
                  <a:pt x="64" y="103"/>
                </a:lnTo>
                <a:lnTo>
                  <a:pt x="62" y="102"/>
                </a:lnTo>
                <a:lnTo>
                  <a:pt x="60" y="103"/>
                </a:lnTo>
                <a:lnTo>
                  <a:pt x="57" y="101"/>
                </a:lnTo>
                <a:lnTo>
                  <a:pt x="59" y="100"/>
                </a:lnTo>
                <a:lnTo>
                  <a:pt x="60" y="100"/>
                </a:lnTo>
                <a:lnTo>
                  <a:pt x="59" y="98"/>
                </a:lnTo>
                <a:lnTo>
                  <a:pt x="59" y="97"/>
                </a:lnTo>
                <a:lnTo>
                  <a:pt x="52" y="90"/>
                </a:lnTo>
                <a:lnTo>
                  <a:pt x="48" y="86"/>
                </a:lnTo>
                <a:lnTo>
                  <a:pt x="48" y="84"/>
                </a:lnTo>
                <a:lnTo>
                  <a:pt x="48" y="80"/>
                </a:lnTo>
                <a:lnTo>
                  <a:pt x="47" y="79"/>
                </a:lnTo>
                <a:lnTo>
                  <a:pt x="42" y="77"/>
                </a:lnTo>
                <a:lnTo>
                  <a:pt x="36" y="71"/>
                </a:lnTo>
                <a:lnTo>
                  <a:pt x="30" y="65"/>
                </a:lnTo>
                <a:lnTo>
                  <a:pt x="29" y="64"/>
                </a:lnTo>
                <a:lnTo>
                  <a:pt x="26" y="60"/>
                </a:lnTo>
                <a:lnTo>
                  <a:pt x="23" y="56"/>
                </a:lnTo>
                <a:lnTo>
                  <a:pt x="20" y="53"/>
                </a:lnTo>
                <a:lnTo>
                  <a:pt x="17" y="50"/>
                </a:lnTo>
                <a:lnTo>
                  <a:pt x="15" y="46"/>
                </a:lnTo>
                <a:lnTo>
                  <a:pt x="13" y="41"/>
                </a:lnTo>
                <a:lnTo>
                  <a:pt x="12" y="35"/>
                </a:lnTo>
                <a:lnTo>
                  <a:pt x="11" y="33"/>
                </a:lnTo>
                <a:lnTo>
                  <a:pt x="10" y="32"/>
                </a:lnTo>
                <a:lnTo>
                  <a:pt x="4" y="26"/>
                </a:lnTo>
                <a:lnTo>
                  <a:pt x="0" y="23"/>
                </a:lnTo>
                <a:lnTo>
                  <a:pt x="0" y="19"/>
                </a:lnTo>
                <a:lnTo>
                  <a:pt x="1" y="12"/>
                </a:lnTo>
                <a:lnTo>
                  <a:pt x="1" y="4"/>
                </a:lnTo>
                <a:lnTo>
                  <a:pt x="3" y="3"/>
                </a:lnTo>
                <a:lnTo>
                  <a:pt x="5" y="3"/>
                </a:lnTo>
                <a:lnTo>
                  <a:pt x="7" y="3"/>
                </a:lnTo>
                <a:lnTo>
                  <a:pt x="9" y="4"/>
                </a:lnTo>
                <a:lnTo>
                  <a:pt x="13" y="9"/>
                </a:lnTo>
                <a:lnTo>
                  <a:pt x="15" y="11"/>
                </a:lnTo>
                <a:lnTo>
                  <a:pt x="17" y="12"/>
                </a:lnTo>
                <a:lnTo>
                  <a:pt x="19" y="10"/>
                </a:lnTo>
                <a:lnTo>
                  <a:pt x="22" y="5"/>
                </a:lnTo>
                <a:lnTo>
                  <a:pt x="25" y="3"/>
                </a:lnTo>
                <a:lnTo>
                  <a:pt x="33" y="4"/>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3" name="Belgium">
            <a:extLst>
              <a:ext uri="{FF2B5EF4-FFF2-40B4-BE49-F238E27FC236}">
                <a16:creationId xmlns:a16="http://schemas.microsoft.com/office/drawing/2014/main" id="{6640E717-DAF1-4A0D-8B2E-4995DDF8C8A4}"/>
              </a:ext>
            </a:extLst>
          </p:cNvPr>
          <p:cNvSpPr>
            <a:spLocks/>
          </p:cNvSpPr>
          <p:nvPr/>
        </p:nvSpPr>
        <p:spPr bwMode="auto">
          <a:xfrm>
            <a:off x="5892713" y="3057552"/>
            <a:ext cx="116064" cy="82387"/>
          </a:xfrm>
          <a:custGeom>
            <a:avLst/>
            <a:gdLst>
              <a:gd name="T0" fmla="*/ 71 w 120"/>
              <a:gd name="T1" fmla="*/ 4 h 96"/>
              <a:gd name="T2" fmla="*/ 77 w 120"/>
              <a:gd name="T3" fmla="*/ 2 h 96"/>
              <a:gd name="T4" fmla="*/ 79 w 120"/>
              <a:gd name="T5" fmla="*/ 4 h 96"/>
              <a:gd name="T6" fmla="*/ 87 w 120"/>
              <a:gd name="T7" fmla="*/ 11 h 96"/>
              <a:gd name="T8" fmla="*/ 93 w 120"/>
              <a:gd name="T9" fmla="*/ 10 h 96"/>
              <a:gd name="T10" fmla="*/ 101 w 120"/>
              <a:gd name="T11" fmla="*/ 16 h 96"/>
              <a:gd name="T12" fmla="*/ 103 w 120"/>
              <a:gd name="T13" fmla="*/ 20 h 96"/>
              <a:gd name="T14" fmla="*/ 100 w 120"/>
              <a:gd name="T15" fmla="*/ 26 h 96"/>
              <a:gd name="T16" fmla="*/ 97 w 120"/>
              <a:gd name="T17" fmla="*/ 32 h 96"/>
              <a:gd name="T18" fmla="*/ 103 w 120"/>
              <a:gd name="T19" fmla="*/ 33 h 96"/>
              <a:gd name="T20" fmla="*/ 108 w 120"/>
              <a:gd name="T21" fmla="*/ 37 h 96"/>
              <a:gd name="T22" fmla="*/ 116 w 120"/>
              <a:gd name="T23" fmla="*/ 44 h 96"/>
              <a:gd name="T24" fmla="*/ 115 w 120"/>
              <a:gd name="T25" fmla="*/ 49 h 96"/>
              <a:gd name="T26" fmla="*/ 119 w 120"/>
              <a:gd name="T27" fmla="*/ 53 h 96"/>
              <a:gd name="T28" fmla="*/ 112 w 120"/>
              <a:gd name="T29" fmla="*/ 66 h 96"/>
              <a:gd name="T30" fmla="*/ 111 w 120"/>
              <a:gd name="T31" fmla="*/ 65 h 96"/>
              <a:gd name="T32" fmla="*/ 104 w 120"/>
              <a:gd name="T33" fmla="*/ 69 h 96"/>
              <a:gd name="T34" fmla="*/ 100 w 120"/>
              <a:gd name="T35" fmla="*/ 77 h 96"/>
              <a:gd name="T36" fmla="*/ 100 w 120"/>
              <a:gd name="T37" fmla="*/ 81 h 96"/>
              <a:gd name="T38" fmla="*/ 102 w 120"/>
              <a:gd name="T39" fmla="*/ 86 h 96"/>
              <a:gd name="T40" fmla="*/ 103 w 120"/>
              <a:gd name="T41" fmla="*/ 93 h 96"/>
              <a:gd name="T42" fmla="*/ 99 w 120"/>
              <a:gd name="T43" fmla="*/ 95 h 96"/>
              <a:gd name="T44" fmla="*/ 93 w 120"/>
              <a:gd name="T45" fmla="*/ 96 h 96"/>
              <a:gd name="T46" fmla="*/ 86 w 120"/>
              <a:gd name="T47" fmla="*/ 90 h 96"/>
              <a:gd name="T48" fmla="*/ 81 w 120"/>
              <a:gd name="T49" fmla="*/ 86 h 96"/>
              <a:gd name="T50" fmla="*/ 75 w 120"/>
              <a:gd name="T51" fmla="*/ 83 h 96"/>
              <a:gd name="T52" fmla="*/ 72 w 120"/>
              <a:gd name="T53" fmla="*/ 77 h 96"/>
              <a:gd name="T54" fmla="*/ 71 w 120"/>
              <a:gd name="T55" fmla="*/ 65 h 96"/>
              <a:gd name="T56" fmla="*/ 67 w 120"/>
              <a:gd name="T57" fmla="*/ 71 h 96"/>
              <a:gd name="T58" fmla="*/ 57 w 120"/>
              <a:gd name="T59" fmla="*/ 76 h 96"/>
              <a:gd name="T60" fmla="*/ 50 w 120"/>
              <a:gd name="T61" fmla="*/ 74 h 96"/>
              <a:gd name="T62" fmla="*/ 52 w 120"/>
              <a:gd name="T63" fmla="*/ 70 h 96"/>
              <a:gd name="T64" fmla="*/ 50 w 120"/>
              <a:gd name="T65" fmla="*/ 66 h 96"/>
              <a:gd name="T66" fmla="*/ 51 w 120"/>
              <a:gd name="T67" fmla="*/ 61 h 96"/>
              <a:gd name="T68" fmla="*/ 41 w 120"/>
              <a:gd name="T69" fmla="*/ 56 h 96"/>
              <a:gd name="T70" fmla="*/ 37 w 120"/>
              <a:gd name="T71" fmla="*/ 57 h 96"/>
              <a:gd name="T72" fmla="*/ 34 w 120"/>
              <a:gd name="T73" fmla="*/ 51 h 96"/>
              <a:gd name="T74" fmla="*/ 25 w 120"/>
              <a:gd name="T75" fmla="*/ 48 h 96"/>
              <a:gd name="T76" fmla="*/ 22 w 120"/>
              <a:gd name="T77" fmla="*/ 41 h 96"/>
              <a:gd name="T78" fmla="*/ 18 w 120"/>
              <a:gd name="T79" fmla="*/ 35 h 96"/>
              <a:gd name="T80" fmla="*/ 10 w 120"/>
              <a:gd name="T81" fmla="*/ 38 h 96"/>
              <a:gd name="T82" fmla="*/ 4 w 120"/>
              <a:gd name="T83" fmla="*/ 33 h 96"/>
              <a:gd name="T84" fmla="*/ 2 w 120"/>
              <a:gd name="T85" fmla="*/ 26 h 96"/>
              <a:gd name="T86" fmla="*/ 0 w 120"/>
              <a:gd name="T87" fmla="*/ 19 h 96"/>
              <a:gd name="T88" fmla="*/ 26 w 120"/>
              <a:gd name="T89" fmla="*/ 5 h 96"/>
              <a:gd name="T90" fmla="*/ 28 w 120"/>
              <a:gd name="T91" fmla="*/ 12 h 96"/>
              <a:gd name="T92" fmla="*/ 33 w 120"/>
              <a:gd name="T93" fmla="*/ 10 h 96"/>
              <a:gd name="T94" fmla="*/ 39 w 120"/>
              <a:gd name="T95" fmla="*/ 12 h 96"/>
              <a:gd name="T96" fmla="*/ 47 w 120"/>
              <a:gd name="T97" fmla="*/ 12 h 96"/>
              <a:gd name="T98" fmla="*/ 53 w 120"/>
              <a:gd name="T99" fmla="*/ 5 h 96"/>
              <a:gd name="T100" fmla="*/ 58 w 120"/>
              <a:gd name="T101" fmla="*/ 6 h 96"/>
              <a:gd name="T102" fmla="*/ 62 w 120"/>
              <a:gd name="T103" fmla="*/ 0 h 96"/>
              <a:gd name="T104" fmla="*/ 66 w 120"/>
              <a:gd name="T105" fmla="*/ 3 h 96"/>
              <a:gd name="T106" fmla="*/ 71 w 120"/>
              <a:gd name="T107"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96">
                <a:moveTo>
                  <a:pt x="71" y="3"/>
                </a:moveTo>
                <a:lnTo>
                  <a:pt x="71" y="3"/>
                </a:lnTo>
                <a:lnTo>
                  <a:pt x="71" y="4"/>
                </a:lnTo>
                <a:lnTo>
                  <a:pt x="72" y="4"/>
                </a:lnTo>
                <a:lnTo>
                  <a:pt x="75" y="4"/>
                </a:lnTo>
                <a:lnTo>
                  <a:pt x="77" y="2"/>
                </a:lnTo>
                <a:lnTo>
                  <a:pt x="78" y="1"/>
                </a:lnTo>
                <a:lnTo>
                  <a:pt x="79" y="2"/>
                </a:lnTo>
                <a:lnTo>
                  <a:pt x="79" y="4"/>
                </a:lnTo>
                <a:lnTo>
                  <a:pt x="80" y="7"/>
                </a:lnTo>
                <a:lnTo>
                  <a:pt x="84" y="10"/>
                </a:lnTo>
                <a:lnTo>
                  <a:pt x="87" y="11"/>
                </a:lnTo>
                <a:lnTo>
                  <a:pt x="90" y="10"/>
                </a:lnTo>
                <a:lnTo>
                  <a:pt x="92" y="10"/>
                </a:lnTo>
                <a:lnTo>
                  <a:pt x="93" y="10"/>
                </a:lnTo>
                <a:lnTo>
                  <a:pt x="94" y="12"/>
                </a:lnTo>
                <a:lnTo>
                  <a:pt x="96" y="14"/>
                </a:lnTo>
                <a:lnTo>
                  <a:pt x="101" y="16"/>
                </a:lnTo>
                <a:lnTo>
                  <a:pt x="102" y="16"/>
                </a:lnTo>
                <a:lnTo>
                  <a:pt x="103" y="18"/>
                </a:lnTo>
                <a:lnTo>
                  <a:pt x="103" y="20"/>
                </a:lnTo>
                <a:lnTo>
                  <a:pt x="100" y="25"/>
                </a:lnTo>
                <a:lnTo>
                  <a:pt x="100" y="26"/>
                </a:lnTo>
                <a:lnTo>
                  <a:pt x="100" y="26"/>
                </a:lnTo>
                <a:lnTo>
                  <a:pt x="100" y="27"/>
                </a:lnTo>
                <a:lnTo>
                  <a:pt x="97" y="31"/>
                </a:lnTo>
                <a:lnTo>
                  <a:pt x="97" y="32"/>
                </a:lnTo>
                <a:lnTo>
                  <a:pt x="98" y="34"/>
                </a:lnTo>
                <a:lnTo>
                  <a:pt x="99" y="35"/>
                </a:lnTo>
                <a:lnTo>
                  <a:pt x="103" y="33"/>
                </a:lnTo>
                <a:lnTo>
                  <a:pt x="105" y="36"/>
                </a:lnTo>
                <a:lnTo>
                  <a:pt x="108" y="36"/>
                </a:lnTo>
                <a:lnTo>
                  <a:pt x="108" y="37"/>
                </a:lnTo>
                <a:lnTo>
                  <a:pt x="112" y="40"/>
                </a:lnTo>
                <a:lnTo>
                  <a:pt x="113" y="42"/>
                </a:lnTo>
                <a:lnTo>
                  <a:pt x="116" y="44"/>
                </a:lnTo>
                <a:lnTo>
                  <a:pt x="113" y="46"/>
                </a:lnTo>
                <a:lnTo>
                  <a:pt x="114" y="47"/>
                </a:lnTo>
                <a:lnTo>
                  <a:pt x="115" y="49"/>
                </a:lnTo>
                <a:lnTo>
                  <a:pt x="117" y="49"/>
                </a:lnTo>
                <a:lnTo>
                  <a:pt x="119" y="51"/>
                </a:lnTo>
                <a:lnTo>
                  <a:pt x="119" y="53"/>
                </a:lnTo>
                <a:lnTo>
                  <a:pt x="120" y="58"/>
                </a:lnTo>
                <a:lnTo>
                  <a:pt x="114" y="62"/>
                </a:lnTo>
                <a:lnTo>
                  <a:pt x="112" y="66"/>
                </a:lnTo>
                <a:lnTo>
                  <a:pt x="112" y="67"/>
                </a:lnTo>
                <a:lnTo>
                  <a:pt x="112" y="67"/>
                </a:lnTo>
                <a:lnTo>
                  <a:pt x="111" y="65"/>
                </a:lnTo>
                <a:lnTo>
                  <a:pt x="110" y="65"/>
                </a:lnTo>
                <a:lnTo>
                  <a:pt x="108" y="65"/>
                </a:lnTo>
                <a:lnTo>
                  <a:pt x="104" y="69"/>
                </a:lnTo>
                <a:lnTo>
                  <a:pt x="103" y="72"/>
                </a:lnTo>
                <a:lnTo>
                  <a:pt x="102" y="75"/>
                </a:lnTo>
                <a:lnTo>
                  <a:pt x="100" y="77"/>
                </a:lnTo>
                <a:lnTo>
                  <a:pt x="100" y="79"/>
                </a:lnTo>
                <a:lnTo>
                  <a:pt x="100" y="80"/>
                </a:lnTo>
                <a:lnTo>
                  <a:pt x="100" y="81"/>
                </a:lnTo>
                <a:lnTo>
                  <a:pt x="100" y="82"/>
                </a:lnTo>
                <a:lnTo>
                  <a:pt x="102" y="85"/>
                </a:lnTo>
                <a:lnTo>
                  <a:pt x="102" y="86"/>
                </a:lnTo>
                <a:lnTo>
                  <a:pt x="104" y="90"/>
                </a:lnTo>
                <a:lnTo>
                  <a:pt x="104" y="92"/>
                </a:lnTo>
                <a:lnTo>
                  <a:pt x="103" y="93"/>
                </a:lnTo>
                <a:lnTo>
                  <a:pt x="102" y="94"/>
                </a:lnTo>
                <a:lnTo>
                  <a:pt x="102" y="95"/>
                </a:lnTo>
                <a:lnTo>
                  <a:pt x="99" y="95"/>
                </a:lnTo>
                <a:lnTo>
                  <a:pt x="96" y="96"/>
                </a:lnTo>
                <a:lnTo>
                  <a:pt x="94" y="96"/>
                </a:lnTo>
                <a:lnTo>
                  <a:pt x="93" y="96"/>
                </a:lnTo>
                <a:lnTo>
                  <a:pt x="91" y="94"/>
                </a:lnTo>
                <a:lnTo>
                  <a:pt x="88" y="91"/>
                </a:lnTo>
                <a:lnTo>
                  <a:pt x="86" y="90"/>
                </a:lnTo>
                <a:lnTo>
                  <a:pt x="86" y="88"/>
                </a:lnTo>
                <a:lnTo>
                  <a:pt x="84" y="88"/>
                </a:lnTo>
                <a:lnTo>
                  <a:pt x="81" y="86"/>
                </a:lnTo>
                <a:lnTo>
                  <a:pt x="79" y="85"/>
                </a:lnTo>
                <a:lnTo>
                  <a:pt x="77" y="84"/>
                </a:lnTo>
                <a:lnTo>
                  <a:pt x="75" y="83"/>
                </a:lnTo>
                <a:lnTo>
                  <a:pt x="73" y="83"/>
                </a:lnTo>
                <a:lnTo>
                  <a:pt x="72" y="80"/>
                </a:lnTo>
                <a:lnTo>
                  <a:pt x="72" y="77"/>
                </a:lnTo>
                <a:lnTo>
                  <a:pt x="71" y="75"/>
                </a:lnTo>
                <a:lnTo>
                  <a:pt x="73" y="66"/>
                </a:lnTo>
                <a:lnTo>
                  <a:pt x="71" y="65"/>
                </a:lnTo>
                <a:lnTo>
                  <a:pt x="70" y="66"/>
                </a:lnTo>
                <a:lnTo>
                  <a:pt x="68" y="68"/>
                </a:lnTo>
                <a:lnTo>
                  <a:pt x="67" y="71"/>
                </a:lnTo>
                <a:lnTo>
                  <a:pt x="66" y="73"/>
                </a:lnTo>
                <a:lnTo>
                  <a:pt x="63" y="75"/>
                </a:lnTo>
                <a:lnTo>
                  <a:pt x="57" y="76"/>
                </a:lnTo>
                <a:lnTo>
                  <a:pt x="51" y="75"/>
                </a:lnTo>
                <a:lnTo>
                  <a:pt x="51" y="74"/>
                </a:lnTo>
                <a:lnTo>
                  <a:pt x="50" y="74"/>
                </a:lnTo>
                <a:lnTo>
                  <a:pt x="50" y="73"/>
                </a:lnTo>
                <a:lnTo>
                  <a:pt x="51" y="72"/>
                </a:lnTo>
                <a:lnTo>
                  <a:pt x="52" y="70"/>
                </a:lnTo>
                <a:lnTo>
                  <a:pt x="52" y="68"/>
                </a:lnTo>
                <a:lnTo>
                  <a:pt x="51" y="67"/>
                </a:lnTo>
                <a:lnTo>
                  <a:pt x="50" y="66"/>
                </a:lnTo>
                <a:lnTo>
                  <a:pt x="50" y="64"/>
                </a:lnTo>
                <a:lnTo>
                  <a:pt x="51" y="62"/>
                </a:lnTo>
                <a:lnTo>
                  <a:pt x="51" y="61"/>
                </a:lnTo>
                <a:lnTo>
                  <a:pt x="47" y="57"/>
                </a:lnTo>
                <a:lnTo>
                  <a:pt x="44" y="57"/>
                </a:lnTo>
                <a:lnTo>
                  <a:pt x="41" y="56"/>
                </a:lnTo>
                <a:lnTo>
                  <a:pt x="39" y="56"/>
                </a:lnTo>
                <a:lnTo>
                  <a:pt x="38" y="56"/>
                </a:lnTo>
                <a:lnTo>
                  <a:pt x="37" y="57"/>
                </a:lnTo>
                <a:lnTo>
                  <a:pt x="36" y="58"/>
                </a:lnTo>
                <a:lnTo>
                  <a:pt x="35" y="57"/>
                </a:lnTo>
                <a:lnTo>
                  <a:pt x="34" y="51"/>
                </a:lnTo>
                <a:lnTo>
                  <a:pt x="33" y="50"/>
                </a:lnTo>
                <a:lnTo>
                  <a:pt x="30" y="49"/>
                </a:lnTo>
                <a:lnTo>
                  <a:pt x="25" y="48"/>
                </a:lnTo>
                <a:lnTo>
                  <a:pt x="23" y="47"/>
                </a:lnTo>
                <a:lnTo>
                  <a:pt x="22" y="44"/>
                </a:lnTo>
                <a:lnTo>
                  <a:pt x="22" y="41"/>
                </a:lnTo>
                <a:lnTo>
                  <a:pt x="20" y="37"/>
                </a:lnTo>
                <a:lnTo>
                  <a:pt x="20" y="36"/>
                </a:lnTo>
                <a:lnTo>
                  <a:pt x="18" y="35"/>
                </a:lnTo>
                <a:lnTo>
                  <a:pt x="15" y="35"/>
                </a:lnTo>
                <a:lnTo>
                  <a:pt x="12" y="37"/>
                </a:lnTo>
                <a:lnTo>
                  <a:pt x="10" y="38"/>
                </a:lnTo>
                <a:lnTo>
                  <a:pt x="10" y="38"/>
                </a:lnTo>
                <a:lnTo>
                  <a:pt x="7" y="36"/>
                </a:lnTo>
                <a:lnTo>
                  <a:pt x="4" y="33"/>
                </a:lnTo>
                <a:lnTo>
                  <a:pt x="2" y="30"/>
                </a:lnTo>
                <a:lnTo>
                  <a:pt x="2" y="28"/>
                </a:lnTo>
                <a:lnTo>
                  <a:pt x="2" y="26"/>
                </a:lnTo>
                <a:lnTo>
                  <a:pt x="1" y="25"/>
                </a:lnTo>
                <a:lnTo>
                  <a:pt x="0" y="22"/>
                </a:lnTo>
                <a:lnTo>
                  <a:pt x="0" y="19"/>
                </a:lnTo>
                <a:lnTo>
                  <a:pt x="13" y="11"/>
                </a:lnTo>
                <a:lnTo>
                  <a:pt x="22" y="7"/>
                </a:lnTo>
                <a:lnTo>
                  <a:pt x="26" y="5"/>
                </a:lnTo>
                <a:lnTo>
                  <a:pt x="27" y="10"/>
                </a:lnTo>
                <a:lnTo>
                  <a:pt x="27" y="11"/>
                </a:lnTo>
                <a:lnTo>
                  <a:pt x="28" y="12"/>
                </a:lnTo>
                <a:lnTo>
                  <a:pt x="29" y="12"/>
                </a:lnTo>
                <a:lnTo>
                  <a:pt x="31" y="11"/>
                </a:lnTo>
                <a:lnTo>
                  <a:pt x="33" y="10"/>
                </a:lnTo>
                <a:lnTo>
                  <a:pt x="36" y="10"/>
                </a:lnTo>
                <a:lnTo>
                  <a:pt x="38" y="11"/>
                </a:lnTo>
                <a:lnTo>
                  <a:pt x="39" y="12"/>
                </a:lnTo>
                <a:lnTo>
                  <a:pt x="41" y="14"/>
                </a:lnTo>
                <a:lnTo>
                  <a:pt x="43" y="14"/>
                </a:lnTo>
                <a:lnTo>
                  <a:pt x="47" y="12"/>
                </a:lnTo>
                <a:lnTo>
                  <a:pt x="51" y="9"/>
                </a:lnTo>
                <a:lnTo>
                  <a:pt x="52" y="7"/>
                </a:lnTo>
                <a:lnTo>
                  <a:pt x="53" y="5"/>
                </a:lnTo>
                <a:lnTo>
                  <a:pt x="55" y="6"/>
                </a:lnTo>
                <a:lnTo>
                  <a:pt x="57" y="6"/>
                </a:lnTo>
                <a:lnTo>
                  <a:pt x="58" y="6"/>
                </a:lnTo>
                <a:lnTo>
                  <a:pt x="58" y="3"/>
                </a:lnTo>
                <a:lnTo>
                  <a:pt x="60" y="1"/>
                </a:lnTo>
                <a:lnTo>
                  <a:pt x="62" y="0"/>
                </a:lnTo>
                <a:lnTo>
                  <a:pt x="62" y="2"/>
                </a:lnTo>
                <a:lnTo>
                  <a:pt x="64" y="3"/>
                </a:lnTo>
                <a:lnTo>
                  <a:pt x="66" y="3"/>
                </a:lnTo>
                <a:lnTo>
                  <a:pt x="69" y="0"/>
                </a:lnTo>
                <a:lnTo>
                  <a:pt x="70" y="0"/>
                </a:lnTo>
                <a:lnTo>
                  <a:pt x="71" y="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4" name="Bulgaria">
            <a:extLst>
              <a:ext uri="{FF2B5EF4-FFF2-40B4-BE49-F238E27FC236}">
                <a16:creationId xmlns:a16="http://schemas.microsoft.com/office/drawing/2014/main" id="{62683F2F-7C57-4BF1-87AF-45C0453CD0D9}"/>
              </a:ext>
            </a:extLst>
          </p:cNvPr>
          <p:cNvSpPr>
            <a:spLocks/>
          </p:cNvSpPr>
          <p:nvPr/>
        </p:nvSpPr>
        <p:spPr bwMode="auto">
          <a:xfrm>
            <a:off x="6488655" y="3343946"/>
            <a:ext cx="189720" cy="105926"/>
          </a:xfrm>
          <a:custGeom>
            <a:avLst/>
            <a:gdLst>
              <a:gd name="T0" fmla="*/ 194 w 195"/>
              <a:gd name="T1" fmla="*/ 31 h 126"/>
              <a:gd name="T2" fmla="*/ 180 w 195"/>
              <a:gd name="T3" fmla="*/ 36 h 126"/>
              <a:gd name="T4" fmla="*/ 174 w 195"/>
              <a:gd name="T5" fmla="*/ 45 h 126"/>
              <a:gd name="T6" fmla="*/ 171 w 195"/>
              <a:gd name="T7" fmla="*/ 65 h 126"/>
              <a:gd name="T8" fmla="*/ 165 w 195"/>
              <a:gd name="T9" fmla="*/ 78 h 126"/>
              <a:gd name="T10" fmla="*/ 176 w 195"/>
              <a:gd name="T11" fmla="*/ 93 h 126"/>
              <a:gd name="T12" fmla="*/ 171 w 195"/>
              <a:gd name="T13" fmla="*/ 96 h 126"/>
              <a:gd name="T14" fmla="*/ 166 w 195"/>
              <a:gd name="T15" fmla="*/ 96 h 126"/>
              <a:gd name="T16" fmla="*/ 160 w 195"/>
              <a:gd name="T17" fmla="*/ 97 h 126"/>
              <a:gd name="T18" fmla="*/ 153 w 195"/>
              <a:gd name="T19" fmla="*/ 91 h 126"/>
              <a:gd name="T20" fmla="*/ 144 w 195"/>
              <a:gd name="T21" fmla="*/ 94 h 126"/>
              <a:gd name="T22" fmla="*/ 135 w 195"/>
              <a:gd name="T23" fmla="*/ 96 h 126"/>
              <a:gd name="T24" fmla="*/ 131 w 195"/>
              <a:gd name="T25" fmla="*/ 99 h 126"/>
              <a:gd name="T26" fmla="*/ 125 w 195"/>
              <a:gd name="T27" fmla="*/ 103 h 126"/>
              <a:gd name="T28" fmla="*/ 124 w 195"/>
              <a:gd name="T29" fmla="*/ 107 h 126"/>
              <a:gd name="T30" fmla="*/ 117 w 195"/>
              <a:gd name="T31" fmla="*/ 107 h 126"/>
              <a:gd name="T32" fmla="*/ 117 w 195"/>
              <a:gd name="T33" fmla="*/ 111 h 126"/>
              <a:gd name="T34" fmla="*/ 118 w 195"/>
              <a:gd name="T35" fmla="*/ 120 h 126"/>
              <a:gd name="T36" fmla="*/ 107 w 195"/>
              <a:gd name="T37" fmla="*/ 123 h 126"/>
              <a:gd name="T38" fmla="*/ 99 w 195"/>
              <a:gd name="T39" fmla="*/ 124 h 126"/>
              <a:gd name="T40" fmla="*/ 87 w 195"/>
              <a:gd name="T41" fmla="*/ 123 h 126"/>
              <a:gd name="T42" fmla="*/ 76 w 195"/>
              <a:gd name="T43" fmla="*/ 121 h 126"/>
              <a:gd name="T44" fmla="*/ 70 w 195"/>
              <a:gd name="T45" fmla="*/ 118 h 126"/>
              <a:gd name="T46" fmla="*/ 67 w 195"/>
              <a:gd name="T47" fmla="*/ 113 h 126"/>
              <a:gd name="T48" fmla="*/ 59 w 195"/>
              <a:gd name="T49" fmla="*/ 114 h 126"/>
              <a:gd name="T50" fmla="*/ 52 w 195"/>
              <a:gd name="T51" fmla="*/ 117 h 126"/>
              <a:gd name="T52" fmla="*/ 44 w 195"/>
              <a:gd name="T53" fmla="*/ 119 h 126"/>
              <a:gd name="T54" fmla="*/ 34 w 195"/>
              <a:gd name="T55" fmla="*/ 120 h 126"/>
              <a:gd name="T56" fmla="*/ 25 w 195"/>
              <a:gd name="T57" fmla="*/ 123 h 126"/>
              <a:gd name="T58" fmla="*/ 18 w 195"/>
              <a:gd name="T59" fmla="*/ 122 h 126"/>
              <a:gd name="T60" fmla="*/ 20 w 195"/>
              <a:gd name="T61" fmla="*/ 106 h 126"/>
              <a:gd name="T62" fmla="*/ 18 w 195"/>
              <a:gd name="T63" fmla="*/ 102 h 126"/>
              <a:gd name="T64" fmla="*/ 10 w 195"/>
              <a:gd name="T65" fmla="*/ 92 h 126"/>
              <a:gd name="T66" fmla="*/ 0 w 195"/>
              <a:gd name="T67" fmla="*/ 82 h 126"/>
              <a:gd name="T68" fmla="*/ 5 w 195"/>
              <a:gd name="T69" fmla="*/ 76 h 126"/>
              <a:gd name="T70" fmla="*/ 4 w 195"/>
              <a:gd name="T71" fmla="*/ 72 h 126"/>
              <a:gd name="T72" fmla="*/ 4 w 195"/>
              <a:gd name="T73" fmla="*/ 63 h 126"/>
              <a:gd name="T74" fmla="*/ 5 w 195"/>
              <a:gd name="T75" fmla="*/ 58 h 126"/>
              <a:gd name="T76" fmla="*/ 14 w 195"/>
              <a:gd name="T77" fmla="*/ 53 h 126"/>
              <a:gd name="T78" fmla="*/ 19 w 195"/>
              <a:gd name="T79" fmla="*/ 49 h 126"/>
              <a:gd name="T80" fmla="*/ 16 w 195"/>
              <a:gd name="T81" fmla="*/ 42 h 126"/>
              <a:gd name="T82" fmla="*/ 11 w 195"/>
              <a:gd name="T83" fmla="*/ 36 h 126"/>
              <a:gd name="T84" fmla="*/ 4 w 195"/>
              <a:gd name="T85" fmla="*/ 27 h 126"/>
              <a:gd name="T86" fmla="*/ 1 w 195"/>
              <a:gd name="T87" fmla="*/ 21 h 126"/>
              <a:gd name="T88" fmla="*/ 2 w 195"/>
              <a:gd name="T89" fmla="*/ 11 h 126"/>
              <a:gd name="T90" fmla="*/ 8 w 195"/>
              <a:gd name="T91" fmla="*/ 7 h 126"/>
              <a:gd name="T92" fmla="*/ 10 w 195"/>
              <a:gd name="T93" fmla="*/ 0 h 126"/>
              <a:gd name="T94" fmla="*/ 19 w 195"/>
              <a:gd name="T95" fmla="*/ 4 h 126"/>
              <a:gd name="T96" fmla="*/ 20 w 195"/>
              <a:gd name="T97" fmla="*/ 9 h 126"/>
              <a:gd name="T98" fmla="*/ 16 w 195"/>
              <a:gd name="T99" fmla="*/ 14 h 126"/>
              <a:gd name="T100" fmla="*/ 27 w 195"/>
              <a:gd name="T101" fmla="*/ 15 h 126"/>
              <a:gd name="T102" fmla="*/ 59 w 195"/>
              <a:gd name="T103" fmla="*/ 20 h 126"/>
              <a:gd name="T104" fmla="*/ 88 w 195"/>
              <a:gd name="T105" fmla="*/ 23 h 126"/>
              <a:gd name="T106" fmla="*/ 108 w 195"/>
              <a:gd name="T107" fmla="*/ 20 h 126"/>
              <a:gd name="T108" fmla="*/ 129 w 195"/>
              <a:gd name="T109" fmla="*/ 6 h 126"/>
              <a:gd name="T110" fmla="*/ 149 w 195"/>
              <a:gd name="T111" fmla="*/ 3 h 126"/>
              <a:gd name="T112" fmla="*/ 166 w 195"/>
              <a:gd name="T113" fmla="*/ 10 h 126"/>
              <a:gd name="T114" fmla="*/ 173 w 195"/>
              <a:gd name="T115" fmla="*/ 10 h 126"/>
              <a:gd name="T116" fmla="*/ 183 w 195"/>
              <a:gd name="T117" fmla="*/ 2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126">
                <a:moveTo>
                  <a:pt x="195" y="21"/>
                </a:moveTo>
                <a:lnTo>
                  <a:pt x="195" y="21"/>
                </a:lnTo>
                <a:lnTo>
                  <a:pt x="194" y="31"/>
                </a:lnTo>
                <a:lnTo>
                  <a:pt x="191" y="36"/>
                </a:lnTo>
                <a:lnTo>
                  <a:pt x="186" y="34"/>
                </a:lnTo>
                <a:lnTo>
                  <a:pt x="180" y="36"/>
                </a:lnTo>
                <a:lnTo>
                  <a:pt x="177" y="41"/>
                </a:lnTo>
                <a:lnTo>
                  <a:pt x="176" y="43"/>
                </a:lnTo>
                <a:lnTo>
                  <a:pt x="174" y="45"/>
                </a:lnTo>
                <a:lnTo>
                  <a:pt x="173" y="52"/>
                </a:lnTo>
                <a:lnTo>
                  <a:pt x="173" y="63"/>
                </a:lnTo>
                <a:lnTo>
                  <a:pt x="171" y="65"/>
                </a:lnTo>
                <a:lnTo>
                  <a:pt x="169" y="65"/>
                </a:lnTo>
                <a:lnTo>
                  <a:pt x="160" y="75"/>
                </a:lnTo>
                <a:lnTo>
                  <a:pt x="165" y="78"/>
                </a:lnTo>
                <a:lnTo>
                  <a:pt x="167" y="80"/>
                </a:lnTo>
                <a:lnTo>
                  <a:pt x="171" y="86"/>
                </a:lnTo>
                <a:lnTo>
                  <a:pt x="176" y="93"/>
                </a:lnTo>
                <a:lnTo>
                  <a:pt x="177" y="96"/>
                </a:lnTo>
                <a:lnTo>
                  <a:pt x="173" y="95"/>
                </a:lnTo>
                <a:lnTo>
                  <a:pt x="171" y="96"/>
                </a:lnTo>
                <a:lnTo>
                  <a:pt x="170" y="97"/>
                </a:lnTo>
                <a:lnTo>
                  <a:pt x="168" y="96"/>
                </a:lnTo>
                <a:lnTo>
                  <a:pt x="166" y="96"/>
                </a:lnTo>
                <a:lnTo>
                  <a:pt x="163" y="98"/>
                </a:lnTo>
                <a:lnTo>
                  <a:pt x="162" y="98"/>
                </a:lnTo>
                <a:lnTo>
                  <a:pt x="160" y="97"/>
                </a:lnTo>
                <a:lnTo>
                  <a:pt x="156" y="94"/>
                </a:lnTo>
                <a:lnTo>
                  <a:pt x="154" y="91"/>
                </a:lnTo>
                <a:lnTo>
                  <a:pt x="153" y="91"/>
                </a:lnTo>
                <a:lnTo>
                  <a:pt x="151" y="92"/>
                </a:lnTo>
                <a:lnTo>
                  <a:pt x="145" y="92"/>
                </a:lnTo>
                <a:lnTo>
                  <a:pt x="144" y="94"/>
                </a:lnTo>
                <a:lnTo>
                  <a:pt x="141" y="95"/>
                </a:lnTo>
                <a:lnTo>
                  <a:pt x="139" y="96"/>
                </a:lnTo>
                <a:lnTo>
                  <a:pt x="135" y="96"/>
                </a:lnTo>
                <a:lnTo>
                  <a:pt x="133" y="96"/>
                </a:lnTo>
                <a:lnTo>
                  <a:pt x="132" y="97"/>
                </a:lnTo>
                <a:lnTo>
                  <a:pt x="131" y="99"/>
                </a:lnTo>
                <a:lnTo>
                  <a:pt x="130" y="101"/>
                </a:lnTo>
                <a:lnTo>
                  <a:pt x="130" y="102"/>
                </a:lnTo>
                <a:lnTo>
                  <a:pt x="125" y="103"/>
                </a:lnTo>
                <a:lnTo>
                  <a:pt x="124" y="104"/>
                </a:lnTo>
                <a:lnTo>
                  <a:pt x="124" y="105"/>
                </a:lnTo>
                <a:lnTo>
                  <a:pt x="124" y="107"/>
                </a:lnTo>
                <a:lnTo>
                  <a:pt x="120" y="105"/>
                </a:lnTo>
                <a:lnTo>
                  <a:pt x="117" y="106"/>
                </a:lnTo>
                <a:lnTo>
                  <a:pt x="117" y="107"/>
                </a:lnTo>
                <a:lnTo>
                  <a:pt x="116" y="108"/>
                </a:lnTo>
                <a:lnTo>
                  <a:pt x="116" y="110"/>
                </a:lnTo>
                <a:lnTo>
                  <a:pt x="117" y="111"/>
                </a:lnTo>
                <a:lnTo>
                  <a:pt x="118" y="115"/>
                </a:lnTo>
                <a:lnTo>
                  <a:pt x="119" y="118"/>
                </a:lnTo>
                <a:lnTo>
                  <a:pt x="118" y="120"/>
                </a:lnTo>
                <a:lnTo>
                  <a:pt x="116" y="122"/>
                </a:lnTo>
                <a:lnTo>
                  <a:pt x="111" y="123"/>
                </a:lnTo>
                <a:lnTo>
                  <a:pt x="107" y="123"/>
                </a:lnTo>
                <a:lnTo>
                  <a:pt x="105" y="123"/>
                </a:lnTo>
                <a:lnTo>
                  <a:pt x="102" y="123"/>
                </a:lnTo>
                <a:lnTo>
                  <a:pt x="99" y="124"/>
                </a:lnTo>
                <a:lnTo>
                  <a:pt x="95" y="125"/>
                </a:lnTo>
                <a:lnTo>
                  <a:pt x="91" y="126"/>
                </a:lnTo>
                <a:lnTo>
                  <a:pt x="87" y="123"/>
                </a:lnTo>
                <a:lnTo>
                  <a:pt x="82" y="121"/>
                </a:lnTo>
                <a:lnTo>
                  <a:pt x="78" y="120"/>
                </a:lnTo>
                <a:lnTo>
                  <a:pt x="76" y="121"/>
                </a:lnTo>
                <a:lnTo>
                  <a:pt x="76" y="122"/>
                </a:lnTo>
                <a:lnTo>
                  <a:pt x="72" y="119"/>
                </a:lnTo>
                <a:lnTo>
                  <a:pt x="70" y="118"/>
                </a:lnTo>
                <a:lnTo>
                  <a:pt x="69" y="117"/>
                </a:lnTo>
                <a:lnTo>
                  <a:pt x="68" y="113"/>
                </a:lnTo>
                <a:lnTo>
                  <a:pt x="67" y="113"/>
                </a:lnTo>
                <a:lnTo>
                  <a:pt x="64" y="115"/>
                </a:lnTo>
                <a:lnTo>
                  <a:pt x="61" y="115"/>
                </a:lnTo>
                <a:lnTo>
                  <a:pt x="59" y="114"/>
                </a:lnTo>
                <a:lnTo>
                  <a:pt x="53" y="114"/>
                </a:lnTo>
                <a:lnTo>
                  <a:pt x="53" y="117"/>
                </a:lnTo>
                <a:lnTo>
                  <a:pt x="52" y="117"/>
                </a:lnTo>
                <a:lnTo>
                  <a:pt x="51" y="118"/>
                </a:lnTo>
                <a:lnTo>
                  <a:pt x="48" y="117"/>
                </a:lnTo>
                <a:lnTo>
                  <a:pt x="44" y="119"/>
                </a:lnTo>
                <a:lnTo>
                  <a:pt x="40" y="120"/>
                </a:lnTo>
                <a:lnTo>
                  <a:pt x="37" y="120"/>
                </a:lnTo>
                <a:lnTo>
                  <a:pt x="34" y="120"/>
                </a:lnTo>
                <a:lnTo>
                  <a:pt x="32" y="120"/>
                </a:lnTo>
                <a:lnTo>
                  <a:pt x="28" y="120"/>
                </a:lnTo>
                <a:lnTo>
                  <a:pt x="25" y="123"/>
                </a:lnTo>
                <a:lnTo>
                  <a:pt x="21" y="123"/>
                </a:lnTo>
                <a:lnTo>
                  <a:pt x="18" y="122"/>
                </a:lnTo>
                <a:lnTo>
                  <a:pt x="18" y="122"/>
                </a:lnTo>
                <a:lnTo>
                  <a:pt x="19" y="111"/>
                </a:lnTo>
                <a:lnTo>
                  <a:pt x="21" y="107"/>
                </a:lnTo>
                <a:lnTo>
                  <a:pt x="20" y="106"/>
                </a:lnTo>
                <a:lnTo>
                  <a:pt x="20" y="105"/>
                </a:lnTo>
                <a:lnTo>
                  <a:pt x="19" y="104"/>
                </a:lnTo>
                <a:lnTo>
                  <a:pt x="18" y="102"/>
                </a:lnTo>
                <a:lnTo>
                  <a:pt x="15" y="95"/>
                </a:lnTo>
                <a:lnTo>
                  <a:pt x="14" y="94"/>
                </a:lnTo>
                <a:lnTo>
                  <a:pt x="10" y="92"/>
                </a:lnTo>
                <a:lnTo>
                  <a:pt x="7" y="90"/>
                </a:lnTo>
                <a:lnTo>
                  <a:pt x="5" y="88"/>
                </a:lnTo>
                <a:lnTo>
                  <a:pt x="0" y="82"/>
                </a:lnTo>
                <a:lnTo>
                  <a:pt x="2" y="81"/>
                </a:lnTo>
                <a:lnTo>
                  <a:pt x="3" y="80"/>
                </a:lnTo>
                <a:lnTo>
                  <a:pt x="5" y="76"/>
                </a:lnTo>
                <a:lnTo>
                  <a:pt x="6" y="75"/>
                </a:lnTo>
                <a:lnTo>
                  <a:pt x="6" y="74"/>
                </a:lnTo>
                <a:lnTo>
                  <a:pt x="4" y="72"/>
                </a:lnTo>
                <a:lnTo>
                  <a:pt x="3" y="68"/>
                </a:lnTo>
                <a:lnTo>
                  <a:pt x="4" y="65"/>
                </a:lnTo>
                <a:lnTo>
                  <a:pt x="4" y="63"/>
                </a:lnTo>
                <a:lnTo>
                  <a:pt x="3" y="61"/>
                </a:lnTo>
                <a:lnTo>
                  <a:pt x="4" y="59"/>
                </a:lnTo>
                <a:lnTo>
                  <a:pt x="5" y="58"/>
                </a:lnTo>
                <a:lnTo>
                  <a:pt x="7" y="58"/>
                </a:lnTo>
                <a:lnTo>
                  <a:pt x="11" y="58"/>
                </a:lnTo>
                <a:lnTo>
                  <a:pt x="14" y="53"/>
                </a:lnTo>
                <a:lnTo>
                  <a:pt x="16" y="52"/>
                </a:lnTo>
                <a:lnTo>
                  <a:pt x="18" y="49"/>
                </a:lnTo>
                <a:lnTo>
                  <a:pt x="19" y="49"/>
                </a:lnTo>
                <a:lnTo>
                  <a:pt x="19" y="47"/>
                </a:lnTo>
                <a:lnTo>
                  <a:pt x="20" y="45"/>
                </a:lnTo>
                <a:lnTo>
                  <a:pt x="16" y="42"/>
                </a:lnTo>
                <a:lnTo>
                  <a:pt x="15" y="40"/>
                </a:lnTo>
                <a:lnTo>
                  <a:pt x="13" y="38"/>
                </a:lnTo>
                <a:lnTo>
                  <a:pt x="11" y="36"/>
                </a:lnTo>
                <a:lnTo>
                  <a:pt x="6" y="33"/>
                </a:lnTo>
                <a:lnTo>
                  <a:pt x="5" y="31"/>
                </a:lnTo>
                <a:lnTo>
                  <a:pt x="4" y="27"/>
                </a:lnTo>
                <a:lnTo>
                  <a:pt x="3" y="24"/>
                </a:lnTo>
                <a:lnTo>
                  <a:pt x="1" y="22"/>
                </a:lnTo>
                <a:lnTo>
                  <a:pt x="1" y="21"/>
                </a:lnTo>
                <a:lnTo>
                  <a:pt x="1" y="19"/>
                </a:lnTo>
                <a:lnTo>
                  <a:pt x="1" y="16"/>
                </a:lnTo>
                <a:lnTo>
                  <a:pt x="2" y="11"/>
                </a:lnTo>
                <a:lnTo>
                  <a:pt x="2" y="9"/>
                </a:lnTo>
                <a:lnTo>
                  <a:pt x="4" y="9"/>
                </a:lnTo>
                <a:lnTo>
                  <a:pt x="8" y="7"/>
                </a:lnTo>
                <a:lnTo>
                  <a:pt x="8" y="3"/>
                </a:lnTo>
                <a:lnTo>
                  <a:pt x="9" y="1"/>
                </a:lnTo>
                <a:lnTo>
                  <a:pt x="10" y="0"/>
                </a:lnTo>
                <a:lnTo>
                  <a:pt x="11" y="0"/>
                </a:lnTo>
                <a:lnTo>
                  <a:pt x="13" y="1"/>
                </a:lnTo>
                <a:lnTo>
                  <a:pt x="19" y="4"/>
                </a:lnTo>
                <a:lnTo>
                  <a:pt x="21" y="6"/>
                </a:lnTo>
                <a:lnTo>
                  <a:pt x="21" y="8"/>
                </a:lnTo>
                <a:lnTo>
                  <a:pt x="20" y="9"/>
                </a:lnTo>
                <a:lnTo>
                  <a:pt x="18" y="10"/>
                </a:lnTo>
                <a:lnTo>
                  <a:pt x="16" y="12"/>
                </a:lnTo>
                <a:lnTo>
                  <a:pt x="16" y="14"/>
                </a:lnTo>
                <a:lnTo>
                  <a:pt x="16" y="16"/>
                </a:lnTo>
                <a:lnTo>
                  <a:pt x="18" y="17"/>
                </a:lnTo>
                <a:lnTo>
                  <a:pt x="27" y="15"/>
                </a:lnTo>
                <a:lnTo>
                  <a:pt x="37" y="16"/>
                </a:lnTo>
                <a:lnTo>
                  <a:pt x="50" y="19"/>
                </a:lnTo>
                <a:lnTo>
                  <a:pt x="59" y="20"/>
                </a:lnTo>
                <a:lnTo>
                  <a:pt x="65" y="19"/>
                </a:lnTo>
                <a:lnTo>
                  <a:pt x="77" y="21"/>
                </a:lnTo>
                <a:lnTo>
                  <a:pt x="88" y="23"/>
                </a:lnTo>
                <a:lnTo>
                  <a:pt x="98" y="24"/>
                </a:lnTo>
                <a:lnTo>
                  <a:pt x="104" y="22"/>
                </a:lnTo>
                <a:lnTo>
                  <a:pt x="108" y="20"/>
                </a:lnTo>
                <a:lnTo>
                  <a:pt x="112" y="15"/>
                </a:lnTo>
                <a:lnTo>
                  <a:pt x="121" y="10"/>
                </a:lnTo>
                <a:lnTo>
                  <a:pt x="129" y="6"/>
                </a:lnTo>
                <a:lnTo>
                  <a:pt x="140" y="3"/>
                </a:lnTo>
                <a:lnTo>
                  <a:pt x="148" y="3"/>
                </a:lnTo>
                <a:lnTo>
                  <a:pt x="149" y="3"/>
                </a:lnTo>
                <a:lnTo>
                  <a:pt x="158" y="9"/>
                </a:lnTo>
                <a:lnTo>
                  <a:pt x="163" y="9"/>
                </a:lnTo>
                <a:lnTo>
                  <a:pt x="166" y="10"/>
                </a:lnTo>
                <a:lnTo>
                  <a:pt x="167" y="11"/>
                </a:lnTo>
                <a:lnTo>
                  <a:pt x="168" y="12"/>
                </a:lnTo>
                <a:lnTo>
                  <a:pt x="173" y="10"/>
                </a:lnTo>
                <a:lnTo>
                  <a:pt x="175" y="13"/>
                </a:lnTo>
                <a:lnTo>
                  <a:pt x="178" y="17"/>
                </a:lnTo>
                <a:lnTo>
                  <a:pt x="183" y="20"/>
                </a:lnTo>
                <a:lnTo>
                  <a:pt x="188" y="21"/>
                </a:lnTo>
                <a:lnTo>
                  <a:pt x="189"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5" name="Belarus">
            <a:extLst>
              <a:ext uri="{FF2B5EF4-FFF2-40B4-BE49-F238E27FC236}">
                <a16:creationId xmlns:a16="http://schemas.microsoft.com/office/drawing/2014/main" id="{55F2BE97-D3A1-4A66-94A6-E9587C9A2569}"/>
              </a:ext>
            </a:extLst>
          </p:cNvPr>
          <p:cNvSpPr>
            <a:spLocks/>
          </p:cNvSpPr>
          <p:nvPr/>
        </p:nvSpPr>
        <p:spPr bwMode="auto">
          <a:xfrm>
            <a:off x="6515440" y="2849622"/>
            <a:ext cx="285695" cy="217739"/>
          </a:xfrm>
          <a:custGeom>
            <a:avLst/>
            <a:gdLst>
              <a:gd name="T0" fmla="*/ 163 w 297"/>
              <a:gd name="T1" fmla="*/ 3 h 257"/>
              <a:gd name="T2" fmla="*/ 180 w 297"/>
              <a:gd name="T3" fmla="*/ 8 h 257"/>
              <a:gd name="T4" fmla="*/ 194 w 297"/>
              <a:gd name="T5" fmla="*/ 15 h 257"/>
              <a:gd name="T6" fmla="*/ 203 w 297"/>
              <a:gd name="T7" fmla="*/ 21 h 257"/>
              <a:gd name="T8" fmla="*/ 220 w 297"/>
              <a:gd name="T9" fmla="*/ 17 h 257"/>
              <a:gd name="T10" fmla="*/ 235 w 297"/>
              <a:gd name="T11" fmla="*/ 29 h 257"/>
              <a:gd name="T12" fmla="*/ 241 w 297"/>
              <a:gd name="T13" fmla="*/ 41 h 257"/>
              <a:gd name="T14" fmla="*/ 243 w 297"/>
              <a:gd name="T15" fmla="*/ 56 h 257"/>
              <a:gd name="T16" fmla="*/ 237 w 297"/>
              <a:gd name="T17" fmla="*/ 74 h 257"/>
              <a:gd name="T18" fmla="*/ 246 w 297"/>
              <a:gd name="T19" fmla="*/ 89 h 257"/>
              <a:gd name="T20" fmla="*/ 263 w 297"/>
              <a:gd name="T21" fmla="*/ 111 h 257"/>
              <a:gd name="T22" fmla="*/ 267 w 297"/>
              <a:gd name="T23" fmla="*/ 127 h 257"/>
              <a:gd name="T24" fmla="*/ 288 w 297"/>
              <a:gd name="T25" fmla="*/ 137 h 257"/>
              <a:gd name="T26" fmla="*/ 297 w 297"/>
              <a:gd name="T27" fmla="*/ 151 h 257"/>
              <a:gd name="T28" fmla="*/ 279 w 297"/>
              <a:gd name="T29" fmla="*/ 164 h 257"/>
              <a:gd name="T30" fmla="*/ 261 w 297"/>
              <a:gd name="T31" fmla="*/ 158 h 257"/>
              <a:gd name="T32" fmla="*/ 253 w 297"/>
              <a:gd name="T33" fmla="*/ 170 h 257"/>
              <a:gd name="T34" fmla="*/ 260 w 297"/>
              <a:gd name="T35" fmla="*/ 184 h 257"/>
              <a:gd name="T36" fmla="*/ 263 w 297"/>
              <a:gd name="T37" fmla="*/ 206 h 257"/>
              <a:gd name="T38" fmla="*/ 255 w 297"/>
              <a:gd name="T39" fmla="*/ 215 h 257"/>
              <a:gd name="T40" fmla="*/ 236 w 297"/>
              <a:gd name="T41" fmla="*/ 225 h 257"/>
              <a:gd name="T42" fmla="*/ 231 w 297"/>
              <a:gd name="T43" fmla="*/ 247 h 257"/>
              <a:gd name="T44" fmla="*/ 223 w 297"/>
              <a:gd name="T45" fmla="*/ 254 h 257"/>
              <a:gd name="T46" fmla="*/ 203 w 297"/>
              <a:gd name="T47" fmla="*/ 248 h 257"/>
              <a:gd name="T48" fmla="*/ 187 w 297"/>
              <a:gd name="T49" fmla="*/ 241 h 257"/>
              <a:gd name="T50" fmla="*/ 179 w 297"/>
              <a:gd name="T51" fmla="*/ 242 h 257"/>
              <a:gd name="T52" fmla="*/ 169 w 297"/>
              <a:gd name="T53" fmla="*/ 243 h 257"/>
              <a:gd name="T54" fmla="*/ 153 w 297"/>
              <a:gd name="T55" fmla="*/ 242 h 257"/>
              <a:gd name="T56" fmla="*/ 141 w 297"/>
              <a:gd name="T57" fmla="*/ 246 h 257"/>
              <a:gd name="T58" fmla="*/ 128 w 297"/>
              <a:gd name="T59" fmla="*/ 240 h 257"/>
              <a:gd name="T60" fmla="*/ 106 w 297"/>
              <a:gd name="T61" fmla="*/ 230 h 257"/>
              <a:gd name="T62" fmla="*/ 75 w 297"/>
              <a:gd name="T63" fmla="*/ 224 h 257"/>
              <a:gd name="T64" fmla="*/ 45 w 297"/>
              <a:gd name="T65" fmla="*/ 226 h 257"/>
              <a:gd name="T66" fmla="*/ 25 w 297"/>
              <a:gd name="T67" fmla="*/ 241 h 257"/>
              <a:gd name="T68" fmla="*/ 13 w 297"/>
              <a:gd name="T69" fmla="*/ 240 h 257"/>
              <a:gd name="T70" fmla="*/ 14 w 297"/>
              <a:gd name="T71" fmla="*/ 230 h 257"/>
              <a:gd name="T72" fmla="*/ 10 w 297"/>
              <a:gd name="T73" fmla="*/ 213 h 257"/>
              <a:gd name="T74" fmla="*/ 1 w 297"/>
              <a:gd name="T75" fmla="*/ 203 h 257"/>
              <a:gd name="T76" fmla="*/ 23 w 297"/>
              <a:gd name="T77" fmla="*/ 181 h 257"/>
              <a:gd name="T78" fmla="*/ 13 w 297"/>
              <a:gd name="T79" fmla="*/ 138 h 257"/>
              <a:gd name="T80" fmla="*/ 26 w 297"/>
              <a:gd name="T81" fmla="*/ 120 h 257"/>
              <a:gd name="T82" fmla="*/ 45 w 297"/>
              <a:gd name="T83" fmla="*/ 118 h 257"/>
              <a:gd name="T84" fmla="*/ 60 w 297"/>
              <a:gd name="T85" fmla="*/ 108 h 257"/>
              <a:gd name="T86" fmla="*/ 73 w 297"/>
              <a:gd name="T87" fmla="*/ 105 h 257"/>
              <a:gd name="T88" fmla="*/ 81 w 297"/>
              <a:gd name="T89" fmla="*/ 107 h 257"/>
              <a:gd name="T90" fmla="*/ 74 w 297"/>
              <a:gd name="T91" fmla="*/ 99 h 257"/>
              <a:gd name="T92" fmla="*/ 79 w 297"/>
              <a:gd name="T93" fmla="*/ 83 h 257"/>
              <a:gd name="T94" fmla="*/ 93 w 297"/>
              <a:gd name="T95" fmla="*/ 63 h 257"/>
              <a:gd name="T96" fmla="*/ 108 w 297"/>
              <a:gd name="T97" fmla="*/ 52 h 257"/>
              <a:gd name="T98" fmla="*/ 103 w 297"/>
              <a:gd name="T99" fmla="*/ 46 h 257"/>
              <a:gd name="T100" fmla="*/ 106 w 297"/>
              <a:gd name="T101" fmla="*/ 27 h 257"/>
              <a:gd name="T102" fmla="*/ 129 w 297"/>
              <a:gd name="T103" fmla="*/ 19 h 257"/>
              <a:gd name="T104" fmla="*/ 141 w 297"/>
              <a:gd name="T105" fmla="*/ 1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7" h="257">
                <a:moveTo>
                  <a:pt x="155" y="0"/>
                </a:moveTo>
                <a:lnTo>
                  <a:pt x="155" y="0"/>
                </a:lnTo>
                <a:lnTo>
                  <a:pt x="159" y="5"/>
                </a:lnTo>
                <a:lnTo>
                  <a:pt x="160" y="5"/>
                </a:lnTo>
                <a:lnTo>
                  <a:pt x="163" y="3"/>
                </a:lnTo>
                <a:lnTo>
                  <a:pt x="163" y="3"/>
                </a:lnTo>
                <a:lnTo>
                  <a:pt x="168" y="3"/>
                </a:lnTo>
                <a:lnTo>
                  <a:pt x="170" y="5"/>
                </a:lnTo>
                <a:lnTo>
                  <a:pt x="172" y="8"/>
                </a:lnTo>
                <a:lnTo>
                  <a:pt x="173" y="11"/>
                </a:lnTo>
                <a:lnTo>
                  <a:pt x="175" y="11"/>
                </a:lnTo>
                <a:lnTo>
                  <a:pt x="180" y="8"/>
                </a:lnTo>
                <a:lnTo>
                  <a:pt x="182" y="7"/>
                </a:lnTo>
                <a:lnTo>
                  <a:pt x="184" y="7"/>
                </a:lnTo>
                <a:lnTo>
                  <a:pt x="190" y="10"/>
                </a:lnTo>
                <a:lnTo>
                  <a:pt x="193" y="12"/>
                </a:lnTo>
                <a:lnTo>
                  <a:pt x="194" y="13"/>
                </a:lnTo>
                <a:lnTo>
                  <a:pt x="194" y="15"/>
                </a:lnTo>
                <a:lnTo>
                  <a:pt x="193" y="17"/>
                </a:lnTo>
                <a:lnTo>
                  <a:pt x="192" y="20"/>
                </a:lnTo>
                <a:lnTo>
                  <a:pt x="194" y="23"/>
                </a:lnTo>
                <a:lnTo>
                  <a:pt x="196" y="26"/>
                </a:lnTo>
                <a:lnTo>
                  <a:pt x="201" y="22"/>
                </a:lnTo>
                <a:lnTo>
                  <a:pt x="203" y="21"/>
                </a:lnTo>
                <a:lnTo>
                  <a:pt x="205" y="21"/>
                </a:lnTo>
                <a:lnTo>
                  <a:pt x="207" y="19"/>
                </a:lnTo>
                <a:lnTo>
                  <a:pt x="209" y="17"/>
                </a:lnTo>
                <a:lnTo>
                  <a:pt x="211" y="17"/>
                </a:lnTo>
                <a:lnTo>
                  <a:pt x="214" y="17"/>
                </a:lnTo>
                <a:lnTo>
                  <a:pt x="220" y="17"/>
                </a:lnTo>
                <a:lnTo>
                  <a:pt x="227" y="20"/>
                </a:lnTo>
                <a:lnTo>
                  <a:pt x="227" y="21"/>
                </a:lnTo>
                <a:lnTo>
                  <a:pt x="231" y="25"/>
                </a:lnTo>
                <a:lnTo>
                  <a:pt x="232" y="27"/>
                </a:lnTo>
                <a:lnTo>
                  <a:pt x="233" y="27"/>
                </a:lnTo>
                <a:lnTo>
                  <a:pt x="235" y="29"/>
                </a:lnTo>
                <a:lnTo>
                  <a:pt x="238" y="30"/>
                </a:lnTo>
                <a:lnTo>
                  <a:pt x="239" y="30"/>
                </a:lnTo>
                <a:lnTo>
                  <a:pt x="240" y="30"/>
                </a:lnTo>
                <a:lnTo>
                  <a:pt x="241" y="32"/>
                </a:lnTo>
                <a:lnTo>
                  <a:pt x="241" y="34"/>
                </a:lnTo>
                <a:lnTo>
                  <a:pt x="241" y="41"/>
                </a:lnTo>
                <a:lnTo>
                  <a:pt x="239" y="43"/>
                </a:lnTo>
                <a:lnTo>
                  <a:pt x="238" y="45"/>
                </a:lnTo>
                <a:lnTo>
                  <a:pt x="238" y="46"/>
                </a:lnTo>
                <a:lnTo>
                  <a:pt x="238" y="48"/>
                </a:lnTo>
                <a:lnTo>
                  <a:pt x="240" y="51"/>
                </a:lnTo>
                <a:lnTo>
                  <a:pt x="243" y="56"/>
                </a:lnTo>
                <a:lnTo>
                  <a:pt x="243" y="58"/>
                </a:lnTo>
                <a:lnTo>
                  <a:pt x="243" y="60"/>
                </a:lnTo>
                <a:lnTo>
                  <a:pt x="240" y="66"/>
                </a:lnTo>
                <a:lnTo>
                  <a:pt x="239" y="68"/>
                </a:lnTo>
                <a:lnTo>
                  <a:pt x="238" y="71"/>
                </a:lnTo>
                <a:lnTo>
                  <a:pt x="237" y="74"/>
                </a:lnTo>
                <a:lnTo>
                  <a:pt x="238" y="75"/>
                </a:lnTo>
                <a:lnTo>
                  <a:pt x="243" y="79"/>
                </a:lnTo>
                <a:lnTo>
                  <a:pt x="248" y="82"/>
                </a:lnTo>
                <a:lnTo>
                  <a:pt x="249" y="83"/>
                </a:lnTo>
                <a:lnTo>
                  <a:pt x="249" y="84"/>
                </a:lnTo>
                <a:lnTo>
                  <a:pt x="246" y="89"/>
                </a:lnTo>
                <a:lnTo>
                  <a:pt x="246" y="90"/>
                </a:lnTo>
                <a:lnTo>
                  <a:pt x="250" y="93"/>
                </a:lnTo>
                <a:lnTo>
                  <a:pt x="251" y="96"/>
                </a:lnTo>
                <a:lnTo>
                  <a:pt x="253" y="101"/>
                </a:lnTo>
                <a:lnTo>
                  <a:pt x="256" y="106"/>
                </a:lnTo>
                <a:lnTo>
                  <a:pt x="263" y="111"/>
                </a:lnTo>
                <a:lnTo>
                  <a:pt x="269" y="114"/>
                </a:lnTo>
                <a:lnTo>
                  <a:pt x="270" y="115"/>
                </a:lnTo>
                <a:lnTo>
                  <a:pt x="270" y="117"/>
                </a:lnTo>
                <a:lnTo>
                  <a:pt x="270" y="120"/>
                </a:lnTo>
                <a:lnTo>
                  <a:pt x="268" y="124"/>
                </a:lnTo>
                <a:lnTo>
                  <a:pt x="267" y="127"/>
                </a:lnTo>
                <a:lnTo>
                  <a:pt x="269" y="128"/>
                </a:lnTo>
                <a:lnTo>
                  <a:pt x="275" y="127"/>
                </a:lnTo>
                <a:lnTo>
                  <a:pt x="281" y="128"/>
                </a:lnTo>
                <a:lnTo>
                  <a:pt x="289" y="133"/>
                </a:lnTo>
                <a:lnTo>
                  <a:pt x="289" y="135"/>
                </a:lnTo>
                <a:lnTo>
                  <a:pt x="288" y="137"/>
                </a:lnTo>
                <a:lnTo>
                  <a:pt x="289" y="139"/>
                </a:lnTo>
                <a:lnTo>
                  <a:pt x="290" y="140"/>
                </a:lnTo>
                <a:lnTo>
                  <a:pt x="296" y="146"/>
                </a:lnTo>
                <a:lnTo>
                  <a:pt x="297" y="147"/>
                </a:lnTo>
                <a:lnTo>
                  <a:pt x="297" y="150"/>
                </a:lnTo>
                <a:lnTo>
                  <a:pt x="297" y="151"/>
                </a:lnTo>
                <a:lnTo>
                  <a:pt x="295" y="152"/>
                </a:lnTo>
                <a:lnTo>
                  <a:pt x="293" y="153"/>
                </a:lnTo>
                <a:lnTo>
                  <a:pt x="290" y="155"/>
                </a:lnTo>
                <a:lnTo>
                  <a:pt x="288" y="158"/>
                </a:lnTo>
                <a:lnTo>
                  <a:pt x="283" y="162"/>
                </a:lnTo>
                <a:lnTo>
                  <a:pt x="279" y="164"/>
                </a:lnTo>
                <a:lnTo>
                  <a:pt x="277" y="164"/>
                </a:lnTo>
                <a:lnTo>
                  <a:pt x="270" y="163"/>
                </a:lnTo>
                <a:lnTo>
                  <a:pt x="268" y="161"/>
                </a:lnTo>
                <a:lnTo>
                  <a:pt x="267" y="159"/>
                </a:lnTo>
                <a:lnTo>
                  <a:pt x="265" y="159"/>
                </a:lnTo>
                <a:lnTo>
                  <a:pt x="261" y="158"/>
                </a:lnTo>
                <a:lnTo>
                  <a:pt x="257" y="159"/>
                </a:lnTo>
                <a:lnTo>
                  <a:pt x="256" y="159"/>
                </a:lnTo>
                <a:lnTo>
                  <a:pt x="255" y="162"/>
                </a:lnTo>
                <a:lnTo>
                  <a:pt x="253" y="166"/>
                </a:lnTo>
                <a:lnTo>
                  <a:pt x="252" y="168"/>
                </a:lnTo>
                <a:lnTo>
                  <a:pt x="253" y="170"/>
                </a:lnTo>
                <a:lnTo>
                  <a:pt x="255" y="172"/>
                </a:lnTo>
                <a:lnTo>
                  <a:pt x="258" y="176"/>
                </a:lnTo>
                <a:lnTo>
                  <a:pt x="260" y="179"/>
                </a:lnTo>
                <a:lnTo>
                  <a:pt x="261" y="181"/>
                </a:lnTo>
                <a:lnTo>
                  <a:pt x="261" y="183"/>
                </a:lnTo>
                <a:lnTo>
                  <a:pt x="260" y="184"/>
                </a:lnTo>
                <a:lnTo>
                  <a:pt x="260" y="188"/>
                </a:lnTo>
                <a:lnTo>
                  <a:pt x="263" y="192"/>
                </a:lnTo>
                <a:lnTo>
                  <a:pt x="262" y="193"/>
                </a:lnTo>
                <a:lnTo>
                  <a:pt x="262" y="198"/>
                </a:lnTo>
                <a:lnTo>
                  <a:pt x="262" y="204"/>
                </a:lnTo>
                <a:lnTo>
                  <a:pt x="263" y="206"/>
                </a:lnTo>
                <a:lnTo>
                  <a:pt x="264" y="207"/>
                </a:lnTo>
                <a:lnTo>
                  <a:pt x="265" y="209"/>
                </a:lnTo>
                <a:lnTo>
                  <a:pt x="267" y="214"/>
                </a:lnTo>
                <a:lnTo>
                  <a:pt x="268" y="215"/>
                </a:lnTo>
                <a:lnTo>
                  <a:pt x="262" y="215"/>
                </a:lnTo>
                <a:lnTo>
                  <a:pt x="255" y="215"/>
                </a:lnTo>
                <a:lnTo>
                  <a:pt x="251" y="218"/>
                </a:lnTo>
                <a:lnTo>
                  <a:pt x="249" y="217"/>
                </a:lnTo>
                <a:lnTo>
                  <a:pt x="246" y="216"/>
                </a:lnTo>
                <a:lnTo>
                  <a:pt x="243" y="218"/>
                </a:lnTo>
                <a:lnTo>
                  <a:pt x="239" y="222"/>
                </a:lnTo>
                <a:lnTo>
                  <a:pt x="236" y="225"/>
                </a:lnTo>
                <a:lnTo>
                  <a:pt x="233" y="229"/>
                </a:lnTo>
                <a:lnTo>
                  <a:pt x="233" y="232"/>
                </a:lnTo>
                <a:lnTo>
                  <a:pt x="231" y="236"/>
                </a:lnTo>
                <a:lnTo>
                  <a:pt x="229" y="240"/>
                </a:lnTo>
                <a:lnTo>
                  <a:pt x="230" y="244"/>
                </a:lnTo>
                <a:lnTo>
                  <a:pt x="231" y="247"/>
                </a:lnTo>
                <a:lnTo>
                  <a:pt x="232" y="250"/>
                </a:lnTo>
                <a:lnTo>
                  <a:pt x="232" y="252"/>
                </a:lnTo>
                <a:lnTo>
                  <a:pt x="231" y="254"/>
                </a:lnTo>
                <a:lnTo>
                  <a:pt x="230" y="257"/>
                </a:lnTo>
                <a:lnTo>
                  <a:pt x="227" y="256"/>
                </a:lnTo>
                <a:lnTo>
                  <a:pt x="223" y="254"/>
                </a:lnTo>
                <a:lnTo>
                  <a:pt x="222" y="250"/>
                </a:lnTo>
                <a:lnTo>
                  <a:pt x="219" y="248"/>
                </a:lnTo>
                <a:lnTo>
                  <a:pt x="218" y="246"/>
                </a:lnTo>
                <a:lnTo>
                  <a:pt x="215" y="246"/>
                </a:lnTo>
                <a:lnTo>
                  <a:pt x="210" y="247"/>
                </a:lnTo>
                <a:lnTo>
                  <a:pt x="203" y="248"/>
                </a:lnTo>
                <a:lnTo>
                  <a:pt x="199" y="248"/>
                </a:lnTo>
                <a:lnTo>
                  <a:pt x="196" y="250"/>
                </a:lnTo>
                <a:lnTo>
                  <a:pt x="192" y="251"/>
                </a:lnTo>
                <a:lnTo>
                  <a:pt x="191" y="250"/>
                </a:lnTo>
                <a:lnTo>
                  <a:pt x="189" y="245"/>
                </a:lnTo>
                <a:lnTo>
                  <a:pt x="187" y="241"/>
                </a:lnTo>
                <a:lnTo>
                  <a:pt x="186" y="239"/>
                </a:lnTo>
                <a:lnTo>
                  <a:pt x="185" y="239"/>
                </a:lnTo>
                <a:lnTo>
                  <a:pt x="183" y="239"/>
                </a:lnTo>
                <a:lnTo>
                  <a:pt x="182" y="240"/>
                </a:lnTo>
                <a:lnTo>
                  <a:pt x="181" y="242"/>
                </a:lnTo>
                <a:lnTo>
                  <a:pt x="179" y="242"/>
                </a:lnTo>
                <a:lnTo>
                  <a:pt x="177" y="243"/>
                </a:lnTo>
                <a:lnTo>
                  <a:pt x="175" y="245"/>
                </a:lnTo>
                <a:lnTo>
                  <a:pt x="173" y="248"/>
                </a:lnTo>
                <a:lnTo>
                  <a:pt x="172" y="248"/>
                </a:lnTo>
                <a:lnTo>
                  <a:pt x="170" y="247"/>
                </a:lnTo>
                <a:lnTo>
                  <a:pt x="169" y="243"/>
                </a:lnTo>
                <a:lnTo>
                  <a:pt x="167" y="242"/>
                </a:lnTo>
                <a:lnTo>
                  <a:pt x="163" y="242"/>
                </a:lnTo>
                <a:lnTo>
                  <a:pt x="159" y="241"/>
                </a:lnTo>
                <a:lnTo>
                  <a:pt x="156" y="240"/>
                </a:lnTo>
                <a:lnTo>
                  <a:pt x="155" y="240"/>
                </a:lnTo>
                <a:lnTo>
                  <a:pt x="153" y="242"/>
                </a:lnTo>
                <a:lnTo>
                  <a:pt x="151" y="242"/>
                </a:lnTo>
                <a:lnTo>
                  <a:pt x="146" y="241"/>
                </a:lnTo>
                <a:lnTo>
                  <a:pt x="145" y="241"/>
                </a:lnTo>
                <a:lnTo>
                  <a:pt x="144" y="244"/>
                </a:lnTo>
                <a:lnTo>
                  <a:pt x="142" y="246"/>
                </a:lnTo>
                <a:lnTo>
                  <a:pt x="141" y="246"/>
                </a:lnTo>
                <a:lnTo>
                  <a:pt x="140" y="246"/>
                </a:lnTo>
                <a:lnTo>
                  <a:pt x="141" y="242"/>
                </a:lnTo>
                <a:lnTo>
                  <a:pt x="138" y="240"/>
                </a:lnTo>
                <a:lnTo>
                  <a:pt x="133" y="240"/>
                </a:lnTo>
                <a:lnTo>
                  <a:pt x="130" y="240"/>
                </a:lnTo>
                <a:lnTo>
                  <a:pt x="128" y="240"/>
                </a:lnTo>
                <a:lnTo>
                  <a:pt x="128" y="239"/>
                </a:lnTo>
                <a:lnTo>
                  <a:pt x="123" y="233"/>
                </a:lnTo>
                <a:lnTo>
                  <a:pt x="121" y="232"/>
                </a:lnTo>
                <a:lnTo>
                  <a:pt x="118" y="232"/>
                </a:lnTo>
                <a:lnTo>
                  <a:pt x="112" y="232"/>
                </a:lnTo>
                <a:lnTo>
                  <a:pt x="106" y="230"/>
                </a:lnTo>
                <a:lnTo>
                  <a:pt x="102" y="229"/>
                </a:lnTo>
                <a:lnTo>
                  <a:pt x="100" y="228"/>
                </a:lnTo>
                <a:lnTo>
                  <a:pt x="96" y="227"/>
                </a:lnTo>
                <a:lnTo>
                  <a:pt x="86" y="224"/>
                </a:lnTo>
                <a:lnTo>
                  <a:pt x="81" y="224"/>
                </a:lnTo>
                <a:lnTo>
                  <a:pt x="75" y="224"/>
                </a:lnTo>
                <a:lnTo>
                  <a:pt x="65" y="223"/>
                </a:lnTo>
                <a:lnTo>
                  <a:pt x="59" y="224"/>
                </a:lnTo>
                <a:lnTo>
                  <a:pt x="56" y="225"/>
                </a:lnTo>
                <a:lnTo>
                  <a:pt x="53" y="225"/>
                </a:lnTo>
                <a:lnTo>
                  <a:pt x="47" y="226"/>
                </a:lnTo>
                <a:lnTo>
                  <a:pt x="45" y="226"/>
                </a:lnTo>
                <a:lnTo>
                  <a:pt x="41" y="226"/>
                </a:lnTo>
                <a:lnTo>
                  <a:pt x="37" y="227"/>
                </a:lnTo>
                <a:lnTo>
                  <a:pt x="36" y="228"/>
                </a:lnTo>
                <a:lnTo>
                  <a:pt x="34" y="231"/>
                </a:lnTo>
                <a:lnTo>
                  <a:pt x="29" y="237"/>
                </a:lnTo>
                <a:lnTo>
                  <a:pt x="25" y="241"/>
                </a:lnTo>
                <a:lnTo>
                  <a:pt x="24" y="241"/>
                </a:lnTo>
                <a:lnTo>
                  <a:pt x="21" y="239"/>
                </a:lnTo>
                <a:lnTo>
                  <a:pt x="19" y="238"/>
                </a:lnTo>
                <a:lnTo>
                  <a:pt x="16" y="238"/>
                </a:lnTo>
                <a:lnTo>
                  <a:pt x="15" y="239"/>
                </a:lnTo>
                <a:lnTo>
                  <a:pt x="13" y="240"/>
                </a:lnTo>
                <a:lnTo>
                  <a:pt x="13" y="244"/>
                </a:lnTo>
                <a:lnTo>
                  <a:pt x="13" y="244"/>
                </a:lnTo>
                <a:lnTo>
                  <a:pt x="11" y="239"/>
                </a:lnTo>
                <a:lnTo>
                  <a:pt x="11" y="235"/>
                </a:lnTo>
                <a:lnTo>
                  <a:pt x="12" y="232"/>
                </a:lnTo>
                <a:lnTo>
                  <a:pt x="14" y="230"/>
                </a:lnTo>
                <a:lnTo>
                  <a:pt x="13" y="226"/>
                </a:lnTo>
                <a:lnTo>
                  <a:pt x="15" y="221"/>
                </a:lnTo>
                <a:lnTo>
                  <a:pt x="15" y="218"/>
                </a:lnTo>
                <a:lnTo>
                  <a:pt x="14" y="217"/>
                </a:lnTo>
                <a:lnTo>
                  <a:pt x="13" y="215"/>
                </a:lnTo>
                <a:lnTo>
                  <a:pt x="10" y="213"/>
                </a:lnTo>
                <a:lnTo>
                  <a:pt x="9" y="211"/>
                </a:lnTo>
                <a:lnTo>
                  <a:pt x="5" y="209"/>
                </a:lnTo>
                <a:lnTo>
                  <a:pt x="1" y="207"/>
                </a:lnTo>
                <a:lnTo>
                  <a:pt x="0" y="206"/>
                </a:lnTo>
                <a:lnTo>
                  <a:pt x="0" y="204"/>
                </a:lnTo>
                <a:lnTo>
                  <a:pt x="1" y="203"/>
                </a:lnTo>
                <a:lnTo>
                  <a:pt x="4" y="198"/>
                </a:lnTo>
                <a:lnTo>
                  <a:pt x="7" y="194"/>
                </a:lnTo>
                <a:lnTo>
                  <a:pt x="9" y="192"/>
                </a:lnTo>
                <a:lnTo>
                  <a:pt x="21" y="186"/>
                </a:lnTo>
                <a:lnTo>
                  <a:pt x="22" y="184"/>
                </a:lnTo>
                <a:lnTo>
                  <a:pt x="23" y="181"/>
                </a:lnTo>
                <a:lnTo>
                  <a:pt x="23" y="178"/>
                </a:lnTo>
                <a:lnTo>
                  <a:pt x="23" y="174"/>
                </a:lnTo>
                <a:lnTo>
                  <a:pt x="22" y="168"/>
                </a:lnTo>
                <a:lnTo>
                  <a:pt x="21" y="163"/>
                </a:lnTo>
                <a:lnTo>
                  <a:pt x="19" y="155"/>
                </a:lnTo>
                <a:lnTo>
                  <a:pt x="13" y="138"/>
                </a:lnTo>
                <a:lnTo>
                  <a:pt x="9" y="120"/>
                </a:lnTo>
                <a:lnTo>
                  <a:pt x="12" y="121"/>
                </a:lnTo>
                <a:lnTo>
                  <a:pt x="17" y="121"/>
                </a:lnTo>
                <a:lnTo>
                  <a:pt x="22" y="120"/>
                </a:lnTo>
                <a:lnTo>
                  <a:pt x="24" y="120"/>
                </a:lnTo>
                <a:lnTo>
                  <a:pt x="26" y="120"/>
                </a:lnTo>
                <a:lnTo>
                  <a:pt x="29" y="120"/>
                </a:lnTo>
                <a:lnTo>
                  <a:pt x="31" y="119"/>
                </a:lnTo>
                <a:lnTo>
                  <a:pt x="33" y="121"/>
                </a:lnTo>
                <a:lnTo>
                  <a:pt x="35" y="122"/>
                </a:lnTo>
                <a:lnTo>
                  <a:pt x="40" y="120"/>
                </a:lnTo>
                <a:lnTo>
                  <a:pt x="45" y="118"/>
                </a:lnTo>
                <a:lnTo>
                  <a:pt x="49" y="118"/>
                </a:lnTo>
                <a:lnTo>
                  <a:pt x="50" y="117"/>
                </a:lnTo>
                <a:lnTo>
                  <a:pt x="51" y="110"/>
                </a:lnTo>
                <a:lnTo>
                  <a:pt x="53" y="109"/>
                </a:lnTo>
                <a:lnTo>
                  <a:pt x="58" y="110"/>
                </a:lnTo>
                <a:lnTo>
                  <a:pt x="60" y="108"/>
                </a:lnTo>
                <a:lnTo>
                  <a:pt x="62" y="105"/>
                </a:lnTo>
                <a:lnTo>
                  <a:pt x="66" y="103"/>
                </a:lnTo>
                <a:lnTo>
                  <a:pt x="68" y="103"/>
                </a:lnTo>
                <a:lnTo>
                  <a:pt x="71" y="101"/>
                </a:lnTo>
                <a:lnTo>
                  <a:pt x="72" y="103"/>
                </a:lnTo>
                <a:lnTo>
                  <a:pt x="73" y="105"/>
                </a:lnTo>
                <a:lnTo>
                  <a:pt x="72" y="107"/>
                </a:lnTo>
                <a:lnTo>
                  <a:pt x="73" y="108"/>
                </a:lnTo>
                <a:lnTo>
                  <a:pt x="75" y="109"/>
                </a:lnTo>
                <a:lnTo>
                  <a:pt x="78" y="109"/>
                </a:lnTo>
                <a:lnTo>
                  <a:pt x="80" y="108"/>
                </a:lnTo>
                <a:lnTo>
                  <a:pt x="81" y="107"/>
                </a:lnTo>
                <a:lnTo>
                  <a:pt x="81" y="105"/>
                </a:lnTo>
                <a:lnTo>
                  <a:pt x="80" y="103"/>
                </a:lnTo>
                <a:lnTo>
                  <a:pt x="79" y="101"/>
                </a:lnTo>
                <a:lnTo>
                  <a:pt x="76" y="100"/>
                </a:lnTo>
                <a:lnTo>
                  <a:pt x="74" y="100"/>
                </a:lnTo>
                <a:lnTo>
                  <a:pt x="74" y="99"/>
                </a:lnTo>
                <a:lnTo>
                  <a:pt x="74" y="97"/>
                </a:lnTo>
                <a:lnTo>
                  <a:pt x="76" y="92"/>
                </a:lnTo>
                <a:lnTo>
                  <a:pt x="78" y="88"/>
                </a:lnTo>
                <a:lnTo>
                  <a:pt x="79" y="87"/>
                </a:lnTo>
                <a:lnTo>
                  <a:pt x="80" y="85"/>
                </a:lnTo>
                <a:lnTo>
                  <a:pt x="79" y="83"/>
                </a:lnTo>
                <a:lnTo>
                  <a:pt x="79" y="78"/>
                </a:lnTo>
                <a:lnTo>
                  <a:pt x="81" y="72"/>
                </a:lnTo>
                <a:lnTo>
                  <a:pt x="84" y="67"/>
                </a:lnTo>
                <a:lnTo>
                  <a:pt x="87" y="66"/>
                </a:lnTo>
                <a:lnTo>
                  <a:pt x="91" y="65"/>
                </a:lnTo>
                <a:lnTo>
                  <a:pt x="93" y="63"/>
                </a:lnTo>
                <a:lnTo>
                  <a:pt x="95" y="60"/>
                </a:lnTo>
                <a:lnTo>
                  <a:pt x="95" y="58"/>
                </a:lnTo>
                <a:lnTo>
                  <a:pt x="96" y="56"/>
                </a:lnTo>
                <a:lnTo>
                  <a:pt x="97" y="55"/>
                </a:lnTo>
                <a:lnTo>
                  <a:pt x="107" y="56"/>
                </a:lnTo>
                <a:lnTo>
                  <a:pt x="108" y="52"/>
                </a:lnTo>
                <a:lnTo>
                  <a:pt x="109" y="51"/>
                </a:lnTo>
                <a:lnTo>
                  <a:pt x="111" y="50"/>
                </a:lnTo>
                <a:lnTo>
                  <a:pt x="112" y="48"/>
                </a:lnTo>
                <a:lnTo>
                  <a:pt x="112" y="47"/>
                </a:lnTo>
                <a:lnTo>
                  <a:pt x="109" y="46"/>
                </a:lnTo>
                <a:lnTo>
                  <a:pt x="103" y="46"/>
                </a:lnTo>
                <a:lnTo>
                  <a:pt x="102" y="44"/>
                </a:lnTo>
                <a:lnTo>
                  <a:pt x="103" y="43"/>
                </a:lnTo>
                <a:lnTo>
                  <a:pt x="104" y="39"/>
                </a:lnTo>
                <a:lnTo>
                  <a:pt x="106" y="33"/>
                </a:lnTo>
                <a:lnTo>
                  <a:pt x="106" y="29"/>
                </a:lnTo>
                <a:lnTo>
                  <a:pt x="106" y="27"/>
                </a:lnTo>
                <a:lnTo>
                  <a:pt x="107" y="26"/>
                </a:lnTo>
                <a:lnTo>
                  <a:pt x="112" y="25"/>
                </a:lnTo>
                <a:lnTo>
                  <a:pt x="114" y="24"/>
                </a:lnTo>
                <a:lnTo>
                  <a:pt x="118" y="19"/>
                </a:lnTo>
                <a:lnTo>
                  <a:pt x="121" y="18"/>
                </a:lnTo>
                <a:lnTo>
                  <a:pt x="129" y="19"/>
                </a:lnTo>
                <a:lnTo>
                  <a:pt x="132" y="19"/>
                </a:lnTo>
                <a:lnTo>
                  <a:pt x="133" y="19"/>
                </a:lnTo>
                <a:lnTo>
                  <a:pt x="137" y="19"/>
                </a:lnTo>
                <a:lnTo>
                  <a:pt x="137" y="19"/>
                </a:lnTo>
                <a:lnTo>
                  <a:pt x="139" y="13"/>
                </a:lnTo>
                <a:lnTo>
                  <a:pt x="141" y="11"/>
                </a:lnTo>
                <a:lnTo>
                  <a:pt x="147" y="4"/>
                </a:lnTo>
                <a:lnTo>
                  <a:pt x="151" y="1"/>
                </a:lnTo>
                <a:lnTo>
                  <a:pt x="154"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6" name="Switzerland">
            <a:extLst>
              <a:ext uri="{FF2B5EF4-FFF2-40B4-BE49-F238E27FC236}">
                <a16:creationId xmlns:a16="http://schemas.microsoft.com/office/drawing/2014/main" id="{1C929687-2406-4404-A63D-A0009CFFD78D}"/>
              </a:ext>
            </a:extLst>
          </p:cNvPr>
          <p:cNvSpPr>
            <a:spLocks/>
          </p:cNvSpPr>
          <p:nvPr/>
        </p:nvSpPr>
        <p:spPr bwMode="auto">
          <a:xfrm>
            <a:off x="5997616" y="3208596"/>
            <a:ext cx="133919" cy="74542"/>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7" name="Czechia">
            <a:extLst>
              <a:ext uri="{FF2B5EF4-FFF2-40B4-BE49-F238E27FC236}">
                <a16:creationId xmlns:a16="http://schemas.microsoft.com/office/drawing/2014/main" id="{13BC863B-05A4-4F80-ACC8-070599BC22FE}"/>
              </a:ext>
            </a:extLst>
          </p:cNvPr>
          <p:cNvSpPr>
            <a:spLocks/>
          </p:cNvSpPr>
          <p:nvPr/>
        </p:nvSpPr>
        <p:spPr bwMode="auto">
          <a:xfrm>
            <a:off x="6180640" y="3077169"/>
            <a:ext cx="203112" cy="100042"/>
          </a:xfrm>
          <a:custGeom>
            <a:avLst/>
            <a:gdLst>
              <a:gd name="T0" fmla="*/ 90 w 210"/>
              <a:gd name="T1" fmla="*/ 8 h 119"/>
              <a:gd name="T2" fmla="*/ 95 w 210"/>
              <a:gd name="T3" fmla="*/ 2 h 119"/>
              <a:gd name="T4" fmla="*/ 102 w 210"/>
              <a:gd name="T5" fmla="*/ 11 h 119"/>
              <a:gd name="T6" fmla="*/ 114 w 210"/>
              <a:gd name="T7" fmla="*/ 15 h 119"/>
              <a:gd name="T8" fmla="*/ 121 w 210"/>
              <a:gd name="T9" fmla="*/ 20 h 119"/>
              <a:gd name="T10" fmla="*/ 133 w 210"/>
              <a:gd name="T11" fmla="*/ 21 h 119"/>
              <a:gd name="T12" fmla="*/ 134 w 210"/>
              <a:gd name="T13" fmla="*/ 26 h 119"/>
              <a:gd name="T14" fmla="*/ 129 w 210"/>
              <a:gd name="T15" fmla="*/ 30 h 119"/>
              <a:gd name="T16" fmla="*/ 133 w 210"/>
              <a:gd name="T17" fmla="*/ 34 h 119"/>
              <a:gd name="T18" fmla="*/ 143 w 210"/>
              <a:gd name="T19" fmla="*/ 46 h 119"/>
              <a:gd name="T20" fmla="*/ 150 w 210"/>
              <a:gd name="T21" fmla="*/ 41 h 119"/>
              <a:gd name="T22" fmla="*/ 149 w 210"/>
              <a:gd name="T23" fmla="*/ 31 h 119"/>
              <a:gd name="T24" fmla="*/ 166 w 210"/>
              <a:gd name="T25" fmla="*/ 39 h 119"/>
              <a:gd name="T26" fmla="*/ 175 w 210"/>
              <a:gd name="T27" fmla="*/ 36 h 119"/>
              <a:gd name="T28" fmla="*/ 172 w 210"/>
              <a:gd name="T29" fmla="*/ 43 h 119"/>
              <a:gd name="T30" fmla="*/ 177 w 210"/>
              <a:gd name="T31" fmla="*/ 48 h 119"/>
              <a:gd name="T32" fmla="*/ 184 w 210"/>
              <a:gd name="T33" fmla="*/ 51 h 119"/>
              <a:gd name="T34" fmla="*/ 187 w 210"/>
              <a:gd name="T35" fmla="*/ 51 h 119"/>
              <a:gd name="T36" fmla="*/ 194 w 210"/>
              <a:gd name="T37" fmla="*/ 55 h 119"/>
              <a:gd name="T38" fmla="*/ 202 w 210"/>
              <a:gd name="T39" fmla="*/ 59 h 119"/>
              <a:gd name="T40" fmla="*/ 210 w 210"/>
              <a:gd name="T41" fmla="*/ 73 h 119"/>
              <a:gd name="T42" fmla="*/ 206 w 210"/>
              <a:gd name="T43" fmla="*/ 76 h 119"/>
              <a:gd name="T44" fmla="*/ 197 w 210"/>
              <a:gd name="T45" fmla="*/ 80 h 119"/>
              <a:gd name="T46" fmla="*/ 189 w 210"/>
              <a:gd name="T47" fmla="*/ 88 h 119"/>
              <a:gd name="T48" fmla="*/ 186 w 210"/>
              <a:gd name="T49" fmla="*/ 97 h 119"/>
              <a:gd name="T50" fmla="*/ 179 w 210"/>
              <a:gd name="T51" fmla="*/ 102 h 119"/>
              <a:gd name="T52" fmla="*/ 162 w 210"/>
              <a:gd name="T53" fmla="*/ 106 h 119"/>
              <a:gd name="T54" fmla="*/ 153 w 210"/>
              <a:gd name="T55" fmla="*/ 114 h 119"/>
              <a:gd name="T56" fmla="*/ 148 w 210"/>
              <a:gd name="T57" fmla="*/ 112 h 119"/>
              <a:gd name="T58" fmla="*/ 139 w 210"/>
              <a:gd name="T59" fmla="*/ 108 h 119"/>
              <a:gd name="T60" fmla="*/ 129 w 210"/>
              <a:gd name="T61" fmla="*/ 111 h 119"/>
              <a:gd name="T62" fmla="*/ 113 w 210"/>
              <a:gd name="T63" fmla="*/ 105 h 119"/>
              <a:gd name="T64" fmla="*/ 99 w 210"/>
              <a:gd name="T65" fmla="*/ 100 h 119"/>
              <a:gd name="T66" fmla="*/ 93 w 210"/>
              <a:gd name="T67" fmla="*/ 99 h 119"/>
              <a:gd name="T68" fmla="*/ 88 w 210"/>
              <a:gd name="T69" fmla="*/ 110 h 119"/>
              <a:gd name="T70" fmla="*/ 81 w 210"/>
              <a:gd name="T71" fmla="*/ 118 h 119"/>
              <a:gd name="T72" fmla="*/ 71 w 210"/>
              <a:gd name="T73" fmla="*/ 119 h 119"/>
              <a:gd name="T74" fmla="*/ 57 w 210"/>
              <a:gd name="T75" fmla="*/ 112 h 119"/>
              <a:gd name="T76" fmla="*/ 50 w 210"/>
              <a:gd name="T77" fmla="*/ 105 h 119"/>
              <a:gd name="T78" fmla="*/ 40 w 210"/>
              <a:gd name="T79" fmla="*/ 98 h 119"/>
              <a:gd name="T80" fmla="*/ 33 w 210"/>
              <a:gd name="T81" fmla="*/ 91 h 119"/>
              <a:gd name="T82" fmla="*/ 21 w 210"/>
              <a:gd name="T83" fmla="*/ 81 h 119"/>
              <a:gd name="T84" fmla="*/ 13 w 210"/>
              <a:gd name="T85" fmla="*/ 68 h 119"/>
              <a:gd name="T86" fmla="*/ 11 w 210"/>
              <a:gd name="T87" fmla="*/ 61 h 119"/>
              <a:gd name="T88" fmla="*/ 13 w 210"/>
              <a:gd name="T89" fmla="*/ 56 h 119"/>
              <a:gd name="T90" fmla="*/ 4 w 210"/>
              <a:gd name="T91" fmla="*/ 46 h 119"/>
              <a:gd name="T92" fmla="*/ 0 w 210"/>
              <a:gd name="T93" fmla="*/ 38 h 119"/>
              <a:gd name="T94" fmla="*/ 3 w 210"/>
              <a:gd name="T95" fmla="*/ 37 h 119"/>
              <a:gd name="T96" fmla="*/ 9 w 210"/>
              <a:gd name="T97" fmla="*/ 38 h 119"/>
              <a:gd name="T98" fmla="*/ 19 w 210"/>
              <a:gd name="T99" fmla="*/ 31 h 119"/>
              <a:gd name="T100" fmla="*/ 27 w 210"/>
              <a:gd name="T101" fmla="*/ 31 h 119"/>
              <a:gd name="T102" fmla="*/ 36 w 210"/>
              <a:gd name="T103" fmla="*/ 23 h 119"/>
              <a:gd name="T104" fmla="*/ 40 w 210"/>
              <a:gd name="T105" fmla="*/ 21 h 119"/>
              <a:gd name="T106" fmla="*/ 45 w 210"/>
              <a:gd name="T107" fmla="*/ 17 h 119"/>
              <a:gd name="T108" fmla="*/ 60 w 210"/>
              <a:gd name="T109" fmla="*/ 12 h 119"/>
              <a:gd name="T110" fmla="*/ 71 w 210"/>
              <a:gd name="T111" fmla="*/ 6 h 119"/>
              <a:gd name="T112" fmla="*/ 69 w 210"/>
              <a:gd name="T113" fmla="*/ 1 h 119"/>
              <a:gd name="T114" fmla="*/ 77 w 210"/>
              <a:gd name="T115" fmla="*/ 2 h 119"/>
              <a:gd name="T116" fmla="*/ 79 w 210"/>
              <a:gd name="T117" fmla="*/ 9 h 119"/>
              <a:gd name="T118" fmla="*/ 85 w 210"/>
              <a:gd name="T119"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0" h="119">
                <a:moveTo>
                  <a:pt x="85" y="9"/>
                </a:moveTo>
                <a:lnTo>
                  <a:pt x="85" y="9"/>
                </a:lnTo>
                <a:lnTo>
                  <a:pt x="88" y="9"/>
                </a:lnTo>
                <a:lnTo>
                  <a:pt x="90" y="8"/>
                </a:lnTo>
                <a:lnTo>
                  <a:pt x="91" y="6"/>
                </a:lnTo>
                <a:lnTo>
                  <a:pt x="90" y="2"/>
                </a:lnTo>
                <a:lnTo>
                  <a:pt x="91" y="1"/>
                </a:lnTo>
                <a:lnTo>
                  <a:pt x="95" y="2"/>
                </a:lnTo>
                <a:lnTo>
                  <a:pt x="99" y="4"/>
                </a:lnTo>
                <a:lnTo>
                  <a:pt x="99" y="8"/>
                </a:lnTo>
                <a:lnTo>
                  <a:pt x="101" y="10"/>
                </a:lnTo>
                <a:lnTo>
                  <a:pt x="102" y="11"/>
                </a:lnTo>
                <a:lnTo>
                  <a:pt x="103" y="12"/>
                </a:lnTo>
                <a:lnTo>
                  <a:pt x="105" y="12"/>
                </a:lnTo>
                <a:lnTo>
                  <a:pt x="111" y="14"/>
                </a:lnTo>
                <a:lnTo>
                  <a:pt x="114" y="15"/>
                </a:lnTo>
                <a:lnTo>
                  <a:pt x="116" y="16"/>
                </a:lnTo>
                <a:lnTo>
                  <a:pt x="119" y="18"/>
                </a:lnTo>
                <a:lnTo>
                  <a:pt x="120" y="18"/>
                </a:lnTo>
                <a:lnTo>
                  <a:pt x="121" y="20"/>
                </a:lnTo>
                <a:lnTo>
                  <a:pt x="122" y="21"/>
                </a:lnTo>
                <a:lnTo>
                  <a:pt x="124" y="20"/>
                </a:lnTo>
                <a:lnTo>
                  <a:pt x="131" y="19"/>
                </a:lnTo>
                <a:lnTo>
                  <a:pt x="133" y="21"/>
                </a:lnTo>
                <a:lnTo>
                  <a:pt x="135" y="22"/>
                </a:lnTo>
                <a:lnTo>
                  <a:pt x="135" y="23"/>
                </a:lnTo>
                <a:lnTo>
                  <a:pt x="134" y="25"/>
                </a:lnTo>
                <a:lnTo>
                  <a:pt x="134" y="26"/>
                </a:lnTo>
                <a:lnTo>
                  <a:pt x="133" y="27"/>
                </a:lnTo>
                <a:lnTo>
                  <a:pt x="131" y="27"/>
                </a:lnTo>
                <a:lnTo>
                  <a:pt x="130" y="29"/>
                </a:lnTo>
                <a:lnTo>
                  <a:pt x="129" y="30"/>
                </a:lnTo>
                <a:lnTo>
                  <a:pt x="129" y="32"/>
                </a:lnTo>
                <a:lnTo>
                  <a:pt x="131" y="33"/>
                </a:lnTo>
                <a:lnTo>
                  <a:pt x="132" y="33"/>
                </a:lnTo>
                <a:lnTo>
                  <a:pt x="133" y="34"/>
                </a:lnTo>
                <a:lnTo>
                  <a:pt x="137" y="39"/>
                </a:lnTo>
                <a:lnTo>
                  <a:pt x="141" y="45"/>
                </a:lnTo>
                <a:lnTo>
                  <a:pt x="142" y="46"/>
                </a:lnTo>
                <a:lnTo>
                  <a:pt x="143" y="46"/>
                </a:lnTo>
                <a:lnTo>
                  <a:pt x="145" y="45"/>
                </a:lnTo>
                <a:lnTo>
                  <a:pt x="146" y="43"/>
                </a:lnTo>
                <a:lnTo>
                  <a:pt x="148" y="42"/>
                </a:lnTo>
                <a:lnTo>
                  <a:pt x="150" y="41"/>
                </a:lnTo>
                <a:lnTo>
                  <a:pt x="153" y="39"/>
                </a:lnTo>
                <a:lnTo>
                  <a:pt x="153" y="38"/>
                </a:lnTo>
                <a:lnTo>
                  <a:pt x="151" y="34"/>
                </a:lnTo>
                <a:lnTo>
                  <a:pt x="149" y="31"/>
                </a:lnTo>
                <a:lnTo>
                  <a:pt x="150" y="30"/>
                </a:lnTo>
                <a:lnTo>
                  <a:pt x="153" y="31"/>
                </a:lnTo>
                <a:lnTo>
                  <a:pt x="158" y="33"/>
                </a:lnTo>
                <a:lnTo>
                  <a:pt x="166" y="39"/>
                </a:lnTo>
                <a:lnTo>
                  <a:pt x="168" y="39"/>
                </a:lnTo>
                <a:lnTo>
                  <a:pt x="171" y="38"/>
                </a:lnTo>
                <a:lnTo>
                  <a:pt x="174" y="37"/>
                </a:lnTo>
                <a:lnTo>
                  <a:pt x="175" y="36"/>
                </a:lnTo>
                <a:lnTo>
                  <a:pt x="176" y="36"/>
                </a:lnTo>
                <a:lnTo>
                  <a:pt x="176" y="40"/>
                </a:lnTo>
                <a:lnTo>
                  <a:pt x="175" y="42"/>
                </a:lnTo>
                <a:lnTo>
                  <a:pt x="172" y="43"/>
                </a:lnTo>
                <a:lnTo>
                  <a:pt x="172" y="44"/>
                </a:lnTo>
                <a:lnTo>
                  <a:pt x="173" y="45"/>
                </a:lnTo>
                <a:lnTo>
                  <a:pt x="174" y="46"/>
                </a:lnTo>
                <a:lnTo>
                  <a:pt x="177" y="48"/>
                </a:lnTo>
                <a:lnTo>
                  <a:pt x="178" y="51"/>
                </a:lnTo>
                <a:lnTo>
                  <a:pt x="179" y="52"/>
                </a:lnTo>
                <a:lnTo>
                  <a:pt x="180" y="52"/>
                </a:lnTo>
                <a:lnTo>
                  <a:pt x="184" y="51"/>
                </a:lnTo>
                <a:lnTo>
                  <a:pt x="185" y="50"/>
                </a:lnTo>
                <a:lnTo>
                  <a:pt x="185" y="49"/>
                </a:lnTo>
                <a:lnTo>
                  <a:pt x="186" y="49"/>
                </a:lnTo>
                <a:lnTo>
                  <a:pt x="187" y="51"/>
                </a:lnTo>
                <a:lnTo>
                  <a:pt x="187" y="51"/>
                </a:lnTo>
                <a:lnTo>
                  <a:pt x="191" y="53"/>
                </a:lnTo>
                <a:lnTo>
                  <a:pt x="193" y="54"/>
                </a:lnTo>
                <a:lnTo>
                  <a:pt x="194" y="55"/>
                </a:lnTo>
                <a:lnTo>
                  <a:pt x="195" y="54"/>
                </a:lnTo>
                <a:lnTo>
                  <a:pt x="201" y="56"/>
                </a:lnTo>
                <a:lnTo>
                  <a:pt x="202" y="57"/>
                </a:lnTo>
                <a:lnTo>
                  <a:pt x="202" y="59"/>
                </a:lnTo>
                <a:lnTo>
                  <a:pt x="202" y="60"/>
                </a:lnTo>
                <a:lnTo>
                  <a:pt x="203" y="63"/>
                </a:lnTo>
                <a:lnTo>
                  <a:pt x="210" y="70"/>
                </a:lnTo>
                <a:lnTo>
                  <a:pt x="210" y="73"/>
                </a:lnTo>
                <a:lnTo>
                  <a:pt x="210" y="74"/>
                </a:lnTo>
                <a:lnTo>
                  <a:pt x="210" y="75"/>
                </a:lnTo>
                <a:lnTo>
                  <a:pt x="208" y="75"/>
                </a:lnTo>
                <a:lnTo>
                  <a:pt x="206" y="76"/>
                </a:lnTo>
                <a:lnTo>
                  <a:pt x="203" y="75"/>
                </a:lnTo>
                <a:lnTo>
                  <a:pt x="201" y="77"/>
                </a:lnTo>
                <a:lnTo>
                  <a:pt x="199" y="79"/>
                </a:lnTo>
                <a:lnTo>
                  <a:pt x="197" y="80"/>
                </a:lnTo>
                <a:lnTo>
                  <a:pt x="196" y="81"/>
                </a:lnTo>
                <a:lnTo>
                  <a:pt x="196" y="83"/>
                </a:lnTo>
                <a:lnTo>
                  <a:pt x="189" y="87"/>
                </a:lnTo>
                <a:lnTo>
                  <a:pt x="189" y="88"/>
                </a:lnTo>
                <a:lnTo>
                  <a:pt x="188" y="90"/>
                </a:lnTo>
                <a:lnTo>
                  <a:pt x="188" y="93"/>
                </a:lnTo>
                <a:lnTo>
                  <a:pt x="187" y="96"/>
                </a:lnTo>
                <a:lnTo>
                  <a:pt x="186" y="97"/>
                </a:lnTo>
                <a:lnTo>
                  <a:pt x="183" y="98"/>
                </a:lnTo>
                <a:lnTo>
                  <a:pt x="182" y="99"/>
                </a:lnTo>
                <a:lnTo>
                  <a:pt x="181" y="100"/>
                </a:lnTo>
                <a:lnTo>
                  <a:pt x="179" y="102"/>
                </a:lnTo>
                <a:lnTo>
                  <a:pt x="177" y="104"/>
                </a:lnTo>
                <a:lnTo>
                  <a:pt x="173" y="106"/>
                </a:lnTo>
                <a:lnTo>
                  <a:pt x="168" y="107"/>
                </a:lnTo>
                <a:lnTo>
                  <a:pt x="162" y="106"/>
                </a:lnTo>
                <a:lnTo>
                  <a:pt x="159" y="105"/>
                </a:lnTo>
                <a:lnTo>
                  <a:pt x="157" y="106"/>
                </a:lnTo>
                <a:lnTo>
                  <a:pt x="155" y="109"/>
                </a:lnTo>
                <a:lnTo>
                  <a:pt x="153" y="114"/>
                </a:lnTo>
                <a:lnTo>
                  <a:pt x="152" y="118"/>
                </a:lnTo>
                <a:lnTo>
                  <a:pt x="151" y="117"/>
                </a:lnTo>
                <a:lnTo>
                  <a:pt x="150" y="113"/>
                </a:lnTo>
                <a:lnTo>
                  <a:pt x="148" y="112"/>
                </a:lnTo>
                <a:lnTo>
                  <a:pt x="146" y="112"/>
                </a:lnTo>
                <a:lnTo>
                  <a:pt x="144" y="111"/>
                </a:lnTo>
                <a:lnTo>
                  <a:pt x="141" y="109"/>
                </a:lnTo>
                <a:lnTo>
                  <a:pt x="139" y="108"/>
                </a:lnTo>
                <a:lnTo>
                  <a:pt x="137" y="108"/>
                </a:lnTo>
                <a:lnTo>
                  <a:pt x="135" y="110"/>
                </a:lnTo>
                <a:lnTo>
                  <a:pt x="134" y="111"/>
                </a:lnTo>
                <a:lnTo>
                  <a:pt x="129" y="111"/>
                </a:lnTo>
                <a:lnTo>
                  <a:pt x="124" y="110"/>
                </a:lnTo>
                <a:lnTo>
                  <a:pt x="117" y="105"/>
                </a:lnTo>
                <a:lnTo>
                  <a:pt x="115" y="105"/>
                </a:lnTo>
                <a:lnTo>
                  <a:pt x="113" y="105"/>
                </a:lnTo>
                <a:lnTo>
                  <a:pt x="110" y="104"/>
                </a:lnTo>
                <a:lnTo>
                  <a:pt x="103" y="101"/>
                </a:lnTo>
                <a:lnTo>
                  <a:pt x="101" y="100"/>
                </a:lnTo>
                <a:lnTo>
                  <a:pt x="99" y="100"/>
                </a:lnTo>
                <a:lnTo>
                  <a:pt x="97" y="101"/>
                </a:lnTo>
                <a:lnTo>
                  <a:pt x="96" y="101"/>
                </a:lnTo>
                <a:lnTo>
                  <a:pt x="95" y="100"/>
                </a:lnTo>
                <a:lnTo>
                  <a:pt x="93" y="99"/>
                </a:lnTo>
                <a:lnTo>
                  <a:pt x="91" y="99"/>
                </a:lnTo>
                <a:lnTo>
                  <a:pt x="90" y="100"/>
                </a:lnTo>
                <a:lnTo>
                  <a:pt x="89" y="107"/>
                </a:lnTo>
                <a:lnTo>
                  <a:pt x="88" y="110"/>
                </a:lnTo>
                <a:lnTo>
                  <a:pt x="85" y="109"/>
                </a:lnTo>
                <a:lnTo>
                  <a:pt x="84" y="111"/>
                </a:lnTo>
                <a:lnTo>
                  <a:pt x="82" y="114"/>
                </a:lnTo>
                <a:lnTo>
                  <a:pt x="81" y="118"/>
                </a:lnTo>
                <a:lnTo>
                  <a:pt x="77" y="117"/>
                </a:lnTo>
                <a:lnTo>
                  <a:pt x="75" y="116"/>
                </a:lnTo>
                <a:lnTo>
                  <a:pt x="73" y="117"/>
                </a:lnTo>
                <a:lnTo>
                  <a:pt x="71" y="119"/>
                </a:lnTo>
                <a:lnTo>
                  <a:pt x="66" y="119"/>
                </a:lnTo>
                <a:lnTo>
                  <a:pt x="61" y="118"/>
                </a:lnTo>
                <a:lnTo>
                  <a:pt x="59" y="113"/>
                </a:lnTo>
                <a:lnTo>
                  <a:pt x="57" y="112"/>
                </a:lnTo>
                <a:lnTo>
                  <a:pt x="55" y="110"/>
                </a:lnTo>
                <a:lnTo>
                  <a:pt x="54" y="110"/>
                </a:lnTo>
                <a:lnTo>
                  <a:pt x="53" y="108"/>
                </a:lnTo>
                <a:lnTo>
                  <a:pt x="50" y="105"/>
                </a:lnTo>
                <a:lnTo>
                  <a:pt x="46" y="101"/>
                </a:lnTo>
                <a:lnTo>
                  <a:pt x="42" y="101"/>
                </a:lnTo>
                <a:lnTo>
                  <a:pt x="41" y="100"/>
                </a:lnTo>
                <a:lnTo>
                  <a:pt x="40" y="98"/>
                </a:lnTo>
                <a:lnTo>
                  <a:pt x="39" y="96"/>
                </a:lnTo>
                <a:lnTo>
                  <a:pt x="37" y="94"/>
                </a:lnTo>
                <a:lnTo>
                  <a:pt x="36" y="93"/>
                </a:lnTo>
                <a:lnTo>
                  <a:pt x="33" y="91"/>
                </a:lnTo>
                <a:lnTo>
                  <a:pt x="29" y="86"/>
                </a:lnTo>
                <a:lnTo>
                  <a:pt x="26" y="83"/>
                </a:lnTo>
                <a:lnTo>
                  <a:pt x="23" y="83"/>
                </a:lnTo>
                <a:lnTo>
                  <a:pt x="21" y="81"/>
                </a:lnTo>
                <a:lnTo>
                  <a:pt x="19" y="79"/>
                </a:lnTo>
                <a:lnTo>
                  <a:pt x="17" y="77"/>
                </a:lnTo>
                <a:lnTo>
                  <a:pt x="15" y="71"/>
                </a:lnTo>
                <a:lnTo>
                  <a:pt x="13" y="68"/>
                </a:lnTo>
                <a:lnTo>
                  <a:pt x="12" y="66"/>
                </a:lnTo>
                <a:lnTo>
                  <a:pt x="10" y="65"/>
                </a:lnTo>
                <a:lnTo>
                  <a:pt x="9" y="63"/>
                </a:lnTo>
                <a:lnTo>
                  <a:pt x="11" y="61"/>
                </a:lnTo>
                <a:lnTo>
                  <a:pt x="12" y="59"/>
                </a:lnTo>
                <a:lnTo>
                  <a:pt x="13" y="58"/>
                </a:lnTo>
                <a:lnTo>
                  <a:pt x="13" y="57"/>
                </a:lnTo>
                <a:lnTo>
                  <a:pt x="13" y="56"/>
                </a:lnTo>
                <a:lnTo>
                  <a:pt x="12" y="53"/>
                </a:lnTo>
                <a:lnTo>
                  <a:pt x="9" y="51"/>
                </a:lnTo>
                <a:lnTo>
                  <a:pt x="6" y="49"/>
                </a:lnTo>
                <a:lnTo>
                  <a:pt x="4" y="46"/>
                </a:lnTo>
                <a:lnTo>
                  <a:pt x="3" y="44"/>
                </a:lnTo>
                <a:lnTo>
                  <a:pt x="3" y="42"/>
                </a:lnTo>
                <a:lnTo>
                  <a:pt x="1" y="41"/>
                </a:lnTo>
                <a:lnTo>
                  <a:pt x="0" y="38"/>
                </a:lnTo>
                <a:lnTo>
                  <a:pt x="0" y="36"/>
                </a:lnTo>
                <a:lnTo>
                  <a:pt x="0" y="36"/>
                </a:lnTo>
                <a:lnTo>
                  <a:pt x="2" y="36"/>
                </a:lnTo>
                <a:lnTo>
                  <a:pt x="3" y="37"/>
                </a:lnTo>
                <a:lnTo>
                  <a:pt x="5" y="39"/>
                </a:lnTo>
                <a:lnTo>
                  <a:pt x="6" y="42"/>
                </a:lnTo>
                <a:lnTo>
                  <a:pt x="7" y="41"/>
                </a:lnTo>
                <a:lnTo>
                  <a:pt x="9" y="38"/>
                </a:lnTo>
                <a:lnTo>
                  <a:pt x="11" y="34"/>
                </a:lnTo>
                <a:lnTo>
                  <a:pt x="14" y="32"/>
                </a:lnTo>
                <a:lnTo>
                  <a:pt x="17" y="32"/>
                </a:lnTo>
                <a:lnTo>
                  <a:pt x="19" y="31"/>
                </a:lnTo>
                <a:lnTo>
                  <a:pt x="21" y="30"/>
                </a:lnTo>
                <a:lnTo>
                  <a:pt x="24" y="30"/>
                </a:lnTo>
                <a:lnTo>
                  <a:pt x="27" y="31"/>
                </a:lnTo>
                <a:lnTo>
                  <a:pt x="27" y="31"/>
                </a:lnTo>
                <a:lnTo>
                  <a:pt x="28" y="29"/>
                </a:lnTo>
                <a:lnTo>
                  <a:pt x="29" y="27"/>
                </a:lnTo>
                <a:lnTo>
                  <a:pt x="34" y="26"/>
                </a:lnTo>
                <a:lnTo>
                  <a:pt x="36" y="23"/>
                </a:lnTo>
                <a:lnTo>
                  <a:pt x="37" y="23"/>
                </a:lnTo>
                <a:lnTo>
                  <a:pt x="38" y="22"/>
                </a:lnTo>
                <a:lnTo>
                  <a:pt x="39" y="21"/>
                </a:lnTo>
                <a:lnTo>
                  <a:pt x="40" y="21"/>
                </a:lnTo>
                <a:lnTo>
                  <a:pt x="41" y="21"/>
                </a:lnTo>
                <a:lnTo>
                  <a:pt x="42" y="22"/>
                </a:lnTo>
                <a:lnTo>
                  <a:pt x="43" y="21"/>
                </a:lnTo>
                <a:lnTo>
                  <a:pt x="45" y="17"/>
                </a:lnTo>
                <a:lnTo>
                  <a:pt x="46" y="17"/>
                </a:lnTo>
                <a:lnTo>
                  <a:pt x="50" y="16"/>
                </a:lnTo>
                <a:lnTo>
                  <a:pt x="57" y="14"/>
                </a:lnTo>
                <a:lnTo>
                  <a:pt x="60" y="12"/>
                </a:lnTo>
                <a:lnTo>
                  <a:pt x="63" y="11"/>
                </a:lnTo>
                <a:lnTo>
                  <a:pt x="66" y="9"/>
                </a:lnTo>
                <a:lnTo>
                  <a:pt x="71" y="7"/>
                </a:lnTo>
                <a:lnTo>
                  <a:pt x="71" y="6"/>
                </a:lnTo>
                <a:lnTo>
                  <a:pt x="69" y="4"/>
                </a:lnTo>
                <a:lnTo>
                  <a:pt x="68" y="3"/>
                </a:lnTo>
                <a:lnTo>
                  <a:pt x="68" y="2"/>
                </a:lnTo>
                <a:lnTo>
                  <a:pt x="69" y="1"/>
                </a:lnTo>
                <a:lnTo>
                  <a:pt x="70" y="0"/>
                </a:lnTo>
                <a:lnTo>
                  <a:pt x="71" y="1"/>
                </a:lnTo>
                <a:lnTo>
                  <a:pt x="76" y="2"/>
                </a:lnTo>
                <a:lnTo>
                  <a:pt x="77" y="2"/>
                </a:lnTo>
                <a:lnTo>
                  <a:pt x="77" y="4"/>
                </a:lnTo>
                <a:lnTo>
                  <a:pt x="78" y="6"/>
                </a:lnTo>
                <a:lnTo>
                  <a:pt x="79" y="6"/>
                </a:lnTo>
                <a:lnTo>
                  <a:pt x="79" y="9"/>
                </a:lnTo>
                <a:lnTo>
                  <a:pt x="80" y="10"/>
                </a:lnTo>
                <a:lnTo>
                  <a:pt x="82" y="11"/>
                </a:lnTo>
                <a:lnTo>
                  <a:pt x="84" y="11"/>
                </a:lnTo>
                <a:lnTo>
                  <a:pt x="85" y="1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8" name="Germany">
            <a:extLst>
              <a:ext uri="{FF2B5EF4-FFF2-40B4-BE49-F238E27FC236}">
                <a16:creationId xmlns:a16="http://schemas.microsoft.com/office/drawing/2014/main" id="{6696457D-27E7-4B4B-8E29-57E0A74F8F50}"/>
              </a:ext>
            </a:extLst>
          </p:cNvPr>
          <p:cNvSpPr>
            <a:spLocks noEditPoints="1"/>
          </p:cNvSpPr>
          <p:nvPr/>
        </p:nvSpPr>
        <p:spPr bwMode="auto">
          <a:xfrm>
            <a:off x="5993152" y="2900624"/>
            <a:ext cx="274537" cy="327588"/>
          </a:xfrm>
          <a:custGeom>
            <a:avLst/>
            <a:gdLst>
              <a:gd name="T0" fmla="*/ 78 w 285"/>
              <a:gd name="T1" fmla="*/ 7 h 387"/>
              <a:gd name="T2" fmla="*/ 126 w 285"/>
              <a:gd name="T3" fmla="*/ 15 h 387"/>
              <a:gd name="T4" fmla="*/ 140 w 285"/>
              <a:gd name="T5" fmla="*/ 33 h 387"/>
              <a:gd name="T6" fmla="*/ 163 w 285"/>
              <a:gd name="T7" fmla="*/ 56 h 387"/>
              <a:gd name="T8" fmla="*/ 209 w 285"/>
              <a:gd name="T9" fmla="*/ 32 h 387"/>
              <a:gd name="T10" fmla="*/ 252 w 285"/>
              <a:gd name="T11" fmla="*/ 67 h 387"/>
              <a:gd name="T12" fmla="*/ 267 w 285"/>
              <a:gd name="T13" fmla="*/ 99 h 387"/>
              <a:gd name="T14" fmla="*/ 271 w 285"/>
              <a:gd name="T15" fmla="*/ 138 h 387"/>
              <a:gd name="T16" fmla="*/ 277 w 285"/>
              <a:gd name="T17" fmla="*/ 156 h 387"/>
              <a:gd name="T18" fmla="*/ 276 w 285"/>
              <a:gd name="T19" fmla="*/ 183 h 387"/>
              <a:gd name="T20" fmla="*/ 279 w 285"/>
              <a:gd name="T21" fmla="*/ 217 h 387"/>
              <a:gd name="T22" fmla="*/ 271 w 285"/>
              <a:gd name="T23" fmla="*/ 210 h 387"/>
              <a:gd name="T24" fmla="*/ 265 w 285"/>
              <a:gd name="T25" fmla="*/ 215 h 387"/>
              <a:gd name="T26" fmla="*/ 236 w 285"/>
              <a:gd name="T27" fmla="*/ 230 h 387"/>
              <a:gd name="T28" fmla="*/ 222 w 285"/>
              <a:gd name="T29" fmla="*/ 237 h 387"/>
              <a:gd name="T30" fmla="*/ 203 w 285"/>
              <a:gd name="T31" fmla="*/ 246 h 387"/>
              <a:gd name="T32" fmla="*/ 195 w 285"/>
              <a:gd name="T33" fmla="*/ 249 h 387"/>
              <a:gd name="T34" fmla="*/ 207 w 285"/>
              <a:gd name="T35" fmla="*/ 266 h 387"/>
              <a:gd name="T36" fmla="*/ 213 w 285"/>
              <a:gd name="T37" fmla="*/ 287 h 387"/>
              <a:gd name="T38" fmla="*/ 235 w 285"/>
              <a:gd name="T39" fmla="*/ 306 h 387"/>
              <a:gd name="T40" fmla="*/ 247 w 285"/>
              <a:gd name="T41" fmla="*/ 325 h 387"/>
              <a:gd name="T42" fmla="*/ 234 w 285"/>
              <a:gd name="T43" fmla="*/ 337 h 387"/>
              <a:gd name="T44" fmla="*/ 218 w 285"/>
              <a:gd name="T45" fmla="*/ 354 h 387"/>
              <a:gd name="T46" fmla="*/ 224 w 285"/>
              <a:gd name="T47" fmla="*/ 373 h 387"/>
              <a:gd name="T48" fmla="*/ 215 w 285"/>
              <a:gd name="T49" fmla="*/ 370 h 387"/>
              <a:gd name="T50" fmla="*/ 198 w 285"/>
              <a:gd name="T51" fmla="*/ 367 h 387"/>
              <a:gd name="T52" fmla="*/ 167 w 285"/>
              <a:gd name="T53" fmla="*/ 381 h 387"/>
              <a:gd name="T54" fmla="*/ 152 w 285"/>
              <a:gd name="T55" fmla="*/ 376 h 387"/>
              <a:gd name="T56" fmla="*/ 135 w 285"/>
              <a:gd name="T57" fmla="*/ 387 h 387"/>
              <a:gd name="T58" fmla="*/ 128 w 285"/>
              <a:gd name="T59" fmla="*/ 377 h 387"/>
              <a:gd name="T60" fmla="*/ 102 w 285"/>
              <a:gd name="T61" fmla="*/ 369 h 387"/>
              <a:gd name="T62" fmla="*/ 85 w 285"/>
              <a:gd name="T63" fmla="*/ 364 h 387"/>
              <a:gd name="T64" fmla="*/ 84 w 285"/>
              <a:gd name="T65" fmla="*/ 371 h 387"/>
              <a:gd name="T66" fmla="*/ 57 w 285"/>
              <a:gd name="T67" fmla="*/ 374 h 387"/>
              <a:gd name="T68" fmla="*/ 57 w 285"/>
              <a:gd name="T69" fmla="*/ 341 h 387"/>
              <a:gd name="T70" fmla="*/ 67 w 285"/>
              <a:gd name="T71" fmla="*/ 306 h 387"/>
              <a:gd name="T72" fmla="*/ 38 w 285"/>
              <a:gd name="T73" fmla="*/ 301 h 387"/>
              <a:gd name="T74" fmla="*/ 27 w 285"/>
              <a:gd name="T75" fmla="*/ 299 h 387"/>
              <a:gd name="T76" fmla="*/ 16 w 285"/>
              <a:gd name="T77" fmla="*/ 278 h 387"/>
              <a:gd name="T78" fmla="*/ 11 w 285"/>
              <a:gd name="T79" fmla="*/ 263 h 387"/>
              <a:gd name="T80" fmla="*/ 15 w 285"/>
              <a:gd name="T81" fmla="*/ 237 h 387"/>
              <a:gd name="T82" fmla="*/ 4 w 285"/>
              <a:gd name="T83" fmla="*/ 222 h 387"/>
              <a:gd name="T84" fmla="*/ 3 w 285"/>
              <a:gd name="T85" fmla="*/ 207 h 387"/>
              <a:gd name="T86" fmla="*/ 10 w 285"/>
              <a:gd name="T87" fmla="*/ 188 h 387"/>
              <a:gd name="T88" fmla="*/ 7 w 285"/>
              <a:gd name="T89" fmla="*/ 167 h 387"/>
              <a:gd name="T90" fmla="*/ 28 w 285"/>
              <a:gd name="T91" fmla="*/ 163 h 387"/>
              <a:gd name="T92" fmla="*/ 35 w 285"/>
              <a:gd name="T93" fmla="*/ 150 h 387"/>
              <a:gd name="T94" fmla="*/ 26 w 285"/>
              <a:gd name="T95" fmla="*/ 135 h 387"/>
              <a:gd name="T96" fmla="*/ 37 w 285"/>
              <a:gd name="T97" fmla="*/ 122 h 387"/>
              <a:gd name="T98" fmla="*/ 39 w 285"/>
              <a:gd name="T99" fmla="*/ 80 h 387"/>
              <a:gd name="T100" fmla="*/ 75 w 285"/>
              <a:gd name="T101" fmla="*/ 82 h 387"/>
              <a:gd name="T102" fmla="*/ 85 w 285"/>
              <a:gd name="T103" fmla="*/ 65 h 387"/>
              <a:gd name="T104" fmla="*/ 108 w 285"/>
              <a:gd name="T105" fmla="*/ 64 h 387"/>
              <a:gd name="T106" fmla="*/ 90 w 285"/>
              <a:gd name="T107" fmla="*/ 41 h 387"/>
              <a:gd name="T108" fmla="*/ 88 w 285"/>
              <a:gd name="T109" fmla="*/ 14 h 387"/>
              <a:gd name="T110" fmla="*/ 118 w 285"/>
              <a:gd name="T111" fmla="*/ 12 h 387"/>
              <a:gd name="T112" fmla="*/ 80 w 285"/>
              <a:gd name="T113" fmla="*/ 17 h 387"/>
              <a:gd name="T114" fmla="*/ 241 w 285"/>
              <a:gd name="T115" fmla="*/ 39 h 387"/>
              <a:gd name="T116" fmla="*/ 230 w 285"/>
              <a:gd name="T117" fmla="*/ 26 h 387"/>
              <a:gd name="T118" fmla="*/ 241 w 285"/>
              <a:gd name="T119" fmla="*/ 31 h 387"/>
              <a:gd name="T120" fmla="*/ 161 w 285"/>
              <a:gd name="T121" fmla="*/ 29 h 387"/>
              <a:gd name="T122" fmla="*/ 259 w 285"/>
              <a:gd name="T123" fmla="*/ 63 h 387"/>
              <a:gd name="T124" fmla="*/ 255 w 285"/>
              <a:gd name="T125" fmla="*/ 5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5" h="387">
                <a:moveTo>
                  <a:pt x="76" y="15"/>
                </a:moveTo>
                <a:lnTo>
                  <a:pt x="76" y="15"/>
                </a:lnTo>
                <a:lnTo>
                  <a:pt x="75" y="16"/>
                </a:lnTo>
                <a:lnTo>
                  <a:pt x="76" y="8"/>
                </a:lnTo>
                <a:lnTo>
                  <a:pt x="79" y="0"/>
                </a:lnTo>
                <a:lnTo>
                  <a:pt x="81" y="0"/>
                </a:lnTo>
                <a:lnTo>
                  <a:pt x="79" y="2"/>
                </a:lnTo>
                <a:lnTo>
                  <a:pt x="79" y="4"/>
                </a:lnTo>
                <a:lnTo>
                  <a:pt x="78" y="7"/>
                </a:lnTo>
                <a:lnTo>
                  <a:pt x="78" y="8"/>
                </a:lnTo>
                <a:lnTo>
                  <a:pt x="86" y="9"/>
                </a:lnTo>
                <a:lnTo>
                  <a:pt x="85" y="10"/>
                </a:lnTo>
                <a:lnTo>
                  <a:pt x="77" y="11"/>
                </a:lnTo>
                <a:lnTo>
                  <a:pt x="76" y="15"/>
                </a:lnTo>
                <a:close/>
                <a:moveTo>
                  <a:pt x="121" y="12"/>
                </a:moveTo>
                <a:lnTo>
                  <a:pt x="121" y="12"/>
                </a:lnTo>
                <a:lnTo>
                  <a:pt x="121" y="14"/>
                </a:lnTo>
                <a:lnTo>
                  <a:pt x="126" y="15"/>
                </a:lnTo>
                <a:lnTo>
                  <a:pt x="128" y="17"/>
                </a:lnTo>
                <a:lnTo>
                  <a:pt x="130" y="21"/>
                </a:lnTo>
                <a:lnTo>
                  <a:pt x="130" y="26"/>
                </a:lnTo>
                <a:lnTo>
                  <a:pt x="127" y="29"/>
                </a:lnTo>
                <a:lnTo>
                  <a:pt x="125" y="32"/>
                </a:lnTo>
                <a:lnTo>
                  <a:pt x="133" y="31"/>
                </a:lnTo>
                <a:lnTo>
                  <a:pt x="134" y="33"/>
                </a:lnTo>
                <a:lnTo>
                  <a:pt x="136" y="35"/>
                </a:lnTo>
                <a:lnTo>
                  <a:pt x="140" y="33"/>
                </a:lnTo>
                <a:lnTo>
                  <a:pt x="152" y="40"/>
                </a:lnTo>
                <a:lnTo>
                  <a:pt x="159" y="37"/>
                </a:lnTo>
                <a:lnTo>
                  <a:pt x="161" y="36"/>
                </a:lnTo>
                <a:lnTo>
                  <a:pt x="162" y="42"/>
                </a:lnTo>
                <a:lnTo>
                  <a:pt x="160" y="47"/>
                </a:lnTo>
                <a:lnTo>
                  <a:pt x="154" y="53"/>
                </a:lnTo>
                <a:lnTo>
                  <a:pt x="156" y="56"/>
                </a:lnTo>
                <a:lnTo>
                  <a:pt x="158" y="57"/>
                </a:lnTo>
                <a:lnTo>
                  <a:pt x="163" y="56"/>
                </a:lnTo>
                <a:lnTo>
                  <a:pt x="173" y="60"/>
                </a:lnTo>
                <a:lnTo>
                  <a:pt x="175" y="58"/>
                </a:lnTo>
                <a:lnTo>
                  <a:pt x="182" y="51"/>
                </a:lnTo>
                <a:lnTo>
                  <a:pt x="185" y="49"/>
                </a:lnTo>
                <a:lnTo>
                  <a:pt x="195" y="48"/>
                </a:lnTo>
                <a:lnTo>
                  <a:pt x="197" y="45"/>
                </a:lnTo>
                <a:lnTo>
                  <a:pt x="201" y="42"/>
                </a:lnTo>
                <a:lnTo>
                  <a:pt x="203" y="38"/>
                </a:lnTo>
                <a:lnTo>
                  <a:pt x="209" y="32"/>
                </a:lnTo>
                <a:lnTo>
                  <a:pt x="216" y="33"/>
                </a:lnTo>
                <a:lnTo>
                  <a:pt x="219" y="34"/>
                </a:lnTo>
                <a:lnTo>
                  <a:pt x="223" y="35"/>
                </a:lnTo>
                <a:lnTo>
                  <a:pt x="227" y="42"/>
                </a:lnTo>
                <a:lnTo>
                  <a:pt x="236" y="49"/>
                </a:lnTo>
                <a:lnTo>
                  <a:pt x="245" y="49"/>
                </a:lnTo>
                <a:lnTo>
                  <a:pt x="248" y="56"/>
                </a:lnTo>
                <a:lnTo>
                  <a:pt x="249" y="64"/>
                </a:lnTo>
                <a:lnTo>
                  <a:pt x="252" y="67"/>
                </a:lnTo>
                <a:lnTo>
                  <a:pt x="254" y="69"/>
                </a:lnTo>
                <a:lnTo>
                  <a:pt x="261" y="71"/>
                </a:lnTo>
                <a:lnTo>
                  <a:pt x="262" y="71"/>
                </a:lnTo>
                <a:lnTo>
                  <a:pt x="262" y="72"/>
                </a:lnTo>
                <a:lnTo>
                  <a:pt x="262" y="76"/>
                </a:lnTo>
                <a:lnTo>
                  <a:pt x="263" y="80"/>
                </a:lnTo>
                <a:lnTo>
                  <a:pt x="267" y="94"/>
                </a:lnTo>
                <a:lnTo>
                  <a:pt x="267" y="98"/>
                </a:lnTo>
                <a:lnTo>
                  <a:pt x="267" y="99"/>
                </a:lnTo>
                <a:lnTo>
                  <a:pt x="265" y="103"/>
                </a:lnTo>
                <a:lnTo>
                  <a:pt x="263" y="108"/>
                </a:lnTo>
                <a:lnTo>
                  <a:pt x="260" y="110"/>
                </a:lnTo>
                <a:lnTo>
                  <a:pt x="258" y="112"/>
                </a:lnTo>
                <a:lnTo>
                  <a:pt x="258" y="115"/>
                </a:lnTo>
                <a:lnTo>
                  <a:pt x="262" y="120"/>
                </a:lnTo>
                <a:lnTo>
                  <a:pt x="270" y="127"/>
                </a:lnTo>
                <a:lnTo>
                  <a:pt x="273" y="133"/>
                </a:lnTo>
                <a:lnTo>
                  <a:pt x="271" y="138"/>
                </a:lnTo>
                <a:lnTo>
                  <a:pt x="271" y="142"/>
                </a:lnTo>
                <a:lnTo>
                  <a:pt x="272" y="144"/>
                </a:lnTo>
                <a:lnTo>
                  <a:pt x="273" y="146"/>
                </a:lnTo>
                <a:lnTo>
                  <a:pt x="275" y="147"/>
                </a:lnTo>
                <a:lnTo>
                  <a:pt x="276" y="150"/>
                </a:lnTo>
                <a:lnTo>
                  <a:pt x="275" y="152"/>
                </a:lnTo>
                <a:lnTo>
                  <a:pt x="276" y="154"/>
                </a:lnTo>
                <a:lnTo>
                  <a:pt x="277" y="156"/>
                </a:lnTo>
                <a:lnTo>
                  <a:pt x="277" y="156"/>
                </a:lnTo>
                <a:lnTo>
                  <a:pt x="276" y="158"/>
                </a:lnTo>
                <a:lnTo>
                  <a:pt x="275" y="162"/>
                </a:lnTo>
                <a:lnTo>
                  <a:pt x="275" y="165"/>
                </a:lnTo>
                <a:lnTo>
                  <a:pt x="272" y="169"/>
                </a:lnTo>
                <a:lnTo>
                  <a:pt x="273" y="172"/>
                </a:lnTo>
                <a:lnTo>
                  <a:pt x="275" y="175"/>
                </a:lnTo>
                <a:lnTo>
                  <a:pt x="276" y="177"/>
                </a:lnTo>
                <a:lnTo>
                  <a:pt x="277" y="179"/>
                </a:lnTo>
                <a:lnTo>
                  <a:pt x="276" y="183"/>
                </a:lnTo>
                <a:lnTo>
                  <a:pt x="276" y="184"/>
                </a:lnTo>
                <a:lnTo>
                  <a:pt x="282" y="187"/>
                </a:lnTo>
                <a:lnTo>
                  <a:pt x="283" y="188"/>
                </a:lnTo>
                <a:lnTo>
                  <a:pt x="283" y="191"/>
                </a:lnTo>
                <a:lnTo>
                  <a:pt x="285" y="198"/>
                </a:lnTo>
                <a:lnTo>
                  <a:pt x="284" y="205"/>
                </a:lnTo>
                <a:lnTo>
                  <a:pt x="282" y="210"/>
                </a:lnTo>
                <a:lnTo>
                  <a:pt x="279" y="216"/>
                </a:lnTo>
                <a:lnTo>
                  <a:pt x="279" y="217"/>
                </a:lnTo>
                <a:lnTo>
                  <a:pt x="279" y="218"/>
                </a:lnTo>
                <a:lnTo>
                  <a:pt x="278" y="219"/>
                </a:lnTo>
                <a:lnTo>
                  <a:pt x="276" y="219"/>
                </a:lnTo>
                <a:lnTo>
                  <a:pt x="274" y="218"/>
                </a:lnTo>
                <a:lnTo>
                  <a:pt x="273" y="217"/>
                </a:lnTo>
                <a:lnTo>
                  <a:pt x="273" y="214"/>
                </a:lnTo>
                <a:lnTo>
                  <a:pt x="272" y="214"/>
                </a:lnTo>
                <a:lnTo>
                  <a:pt x="271" y="212"/>
                </a:lnTo>
                <a:lnTo>
                  <a:pt x="271" y="210"/>
                </a:lnTo>
                <a:lnTo>
                  <a:pt x="270" y="210"/>
                </a:lnTo>
                <a:lnTo>
                  <a:pt x="265" y="209"/>
                </a:lnTo>
                <a:lnTo>
                  <a:pt x="264" y="208"/>
                </a:lnTo>
                <a:lnTo>
                  <a:pt x="263" y="209"/>
                </a:lnTo>
                <a:lnTo>
                  <a:pt x="262" y="210"/>
                </a:lnTo>
                <a:lnTo>
                  <a:pt x="262" y="211"/>
                </a:lnTo>
                <a:lnTo>
                  <a:pt x="263" y="212"/>
                </a:lnTo>
                <a:lnTo>
                  <a:pt x="265" y="214"/>
                </a:lnTo>
                <a:lnTo>
                  <a:pt x="265" y="215"/>
                </a:lnTo>
                <a:lnTo>
                  <a:pt x="260" y="217"/>
                </a:lnTo>
                <a:lnTo>
                  <a:pt x="257" y="219"/>
                </a:lnTo>
                <a:lnTo>
                  <a:pt x="254" y="220"/>
                </a:lnTo>
                <a:lnTo>
                  <a:pt x="251" y="222"/>
                </a:lnTo>
                <a:lnTo>
                  <a:pt x="244" y="224"/>
                </a:lnTo>
                <a:lnTo>
                  <a:pt x="240" y="225"/>
                </a:lnTo>
                <a:lnTo>
                  <a:pt x="239" y="225"/>
                </a:lnTo>
                <a:lnTo>
                  <a:pt x="237" y="229"/>
                </a:lnTo>
                <a:lnTo>
                  <a:pt x="236" y="230"/>
                </a:lnTo>
                <a:lnTo>
                  <a:pt x="235" y="229"/>
                </a:lnTo>
                <a:lnTo>
                  <a:pt x="234" y="229"/>
                </a:lnTo>
                <a:lnTo>
                  <a:pt x="233" y="229"/>
                </a:lnTo>
                <a:lnTo>
                  <a:pt x="232" y="230"/>
                </a:lnTo>
                <a:lnTo>
                  <a:pt x="231" y="231"/>
                </a:lnTo>
                <a:lnTo>
                  <a:pt x="230" y="231"/>
                </a:lnTo>
                <a:lnTo>
                  <a:pt x="228" y="234"/>
                </a:lnTo>
                <a:lnTo>
                  <a:pt x="223" y="235"/>
                </a:lnTo>
                <a:lnTo>
                  <a:pt x="222" y="237"/>
                </a:lnTo>
                <a:lnTo>
                  <a:pt x="222" y="239"/>
                </a:lnTo>
                <a:lnTo>
                  <a:pt x="221" y="239"/>
                </a:lnTo>
                <a:lnTo>
                  <a:pt x="218" y="238"/>
                </a:lnTo>
                <a:lnTo>
                  <a:pt x="215" y="238"/>
                </a:lnTo>
                <a:lnTo>
                  <a:pt x="213" y="239"/>
                </a:lnTo>
                <a:lnTo>
                  <a:pt x="211" y="240"/>
                </a:lnTo>
                <a:lnTo>
                  <a:pt x="208" y="240"/>
                </a:lnTo>
                <a:lnTo>
                  <a:pt x="205" y="242"/>
                </a:lnTo>
                <a:lnTo>
                  <a:pt x="203" y="246"/>
                </a:lnTo>
                <a:lnTo>
                  <a:pt x="201" y="249"/>
                </a:lnTo>
                <a:lnTo>
                  <a:pt x="200" y="250"/>
                </a:lnTo>
                <a:lnTo>
                  <a:pt x="199" y="247"/>
                </a:lnTo>
                <a:lnTo>
                  <a:pt x="197" y="245"/>
                </a:lnTo>
                <a:lnTo>
                  <a:pt x="196" y="244"/>
                </a:lnTo>
                <a:lnTo>
                  <a:pt x="194" y="244"/>
                </a:lnTo>
                <a:lnTo>
                  <a:pt x="194" y="244"/>
                </a:lnTo>
                <a:lnTo>
                  <a:pt x="194" y="246"/>
                </a:lnTo>
                <a:lnTo>
                  <a:pt x="195" y="249"/>
                </a:lnTo>
                <a:lnTo>
                  <a:pt x="197" y="250"/>
                </a:lnTo>
                <a:lnTo>
                  <a:pt x="197" y="252"/>
                </a:lnTo>
                <a:lnTo>
                  <a:pt x="198" y="254"/>
                </a:lnTo>
                <a:lnTo>
                  <a:pt x="200" y="257"/>
                </a:lnTo>
                <a:lnTo>
                  <a:pt x="203" y="259"/>
                </a:lnTo>
                <a:lnTo>
                  <a:pt x="206" y="261"/>
                </a:lnTo>
                <a:lnTo>
                  <a:pt x="207" y="264"/>
                </a:lnTo>
                <a:lnTo>
                  <a:pt x="207" y="265"/>
                </a:lnTo>
                <a:lnTo>
                  <a:pt x="207" y="266"/>
                </a:lnTo>
                <a:lnTo>
                  <a:pt x="206" y="267"/>
                </a:lnTo>
                <a:lnTo>
                  <a:pt x="205" y="269"/>
                </a:lnTo>
                <a:lnTo>
                  <a:pt x="204" y="271"/>
                </a:lnTo>
                <a:lnTo>
                  <a:pt x="204" y="273"/>
                </a:lnTo>
                <a:lnTo>
                  <a:pt x="206" y="274"/>
                </a:lnTo>
                <a:lnTo>
                  <a:pt x="207" y="276"/>
                </a:lnTo>
                <a:lnTo>
                  <a:pt x="209" y="279"/>
                </a:lnTo>
                <a:lnTo>
                  <a:pt x="211" y="285"/>
                </a:lnTo>
                <a:lnTo>
                  <a:pt x="213" y="287"/>
                </a:lnTo>
                <a:lnTo>
                  <a:pt x="215" y="289"/>
                </a:lnTo>
                <a:lnTo>
                  <a:pt x="217" y="291"/>
                </a:lnTo>
                <a:lnTo>
                  <a:pt x="220" y="291"/>
                </a:lnTo>
                <a:lnTo>
                  <a:pt x="223" y="294"/>
                </a:lnTo>
                <a:lnTo>
                  <a:pt x="227" y="299"/>
                </a:lnTo>
                <a:lnTo>
                  <a:pt x="230" y="301"/>
                </a:lnTo>
                <a:lnTo>
                  <a:pt x="232" y="302"/>
                </a:lnTo>
                <a:lnTo>
                  <a:pt x="233" y="304"/>
                </a:lnTo>
                <a:lnTo>
                  <a:pt x="235" y="306"/>
                </a:lnTo>
                <a:lnTo>
                  <a:pt x="235" y="308"/>
                </a:lnTo>
                <a:lnTo>
                  <a:pt x="236" y="309"/>
                </a:lnTo>
                <a:lnTo>
                  <a:pt x="240" y="309"/>
                </a:lnTo>
                <a:lnTo>
                  <a:pt x="244" y="313"/>
                </a:lnTo>
                <a:lnTo>
                  <a:pt x="247" y="316"/>
                </a:lnTo>
                <a:lnTo>
                  <a:pt x="248" y="318"/>
                </a:lnTo>
                <a:lnTo>
                  <a:pt x="248" y="319"/>
                </a:lnTo>
                <a:lnTo>
                  <a:pt x="247" y="322"/>
                </a:lnTo>
                <a:lnTo>
                  <a:pt x="247" y="325"/>
                </a:lnTo>
                <a:lnTo>
                  <a:pt x="247" y="326"/>
                </a:lnTo>
                <a:lnTo>
                  <a:pt x="245" y="328"/>
                </a:lnTo>
                <a:lnTo>
                  <a:pt x="244" y="329"/>
                </a:lnTo>
                <a:lnTo>
                  <a:pt x="244" y="329"/>
                </a:lnTo>
                <a:lnTo>
                  <a:pt x="238" y="327"/>
                </a:lnTo>
                <a:lnTo>
                  <a:pt x="237" y="327"/>
                </a:lnTo>
                <a:lnTo>
                  <a:pt x="237" y="327"/>
                </a:lnTo>
                <a:lnTo>
                  <a:pt x="235" y="335"/>
                </a:lnTo>
                <a:lnTo>
                  <a:pt x="234" y="337"/>
                </a:lnTo>
                <a:lnTo>
                  <a:pt x="233" y="338"/>
                </a:lnTo>
                <a:lnTo>
                  <a:pt x="229" y="340"/>
                </a:lnTo>
                <a:lnTo>
                  <a:pt x="227" y="340"/>
                </a:lnTo>
                <a:lnTo>
                  <a:pt x="225" y="341"/>
                </a:lnTo>
                <a:lnTo>
                  <a:pt x="219" y="344"/>
                </a:lnTo>
                <a:lnTo>
                  <a:pt x="217" y="346"/>
                </a:lnTo>
                <a:lnTo>
                  <a:pt x="215" y="349"/>
                </a:lnTo>
                <a:lnTo>
                  <a:pt x="215" y="350"/>
                </a:lnTo>
                <a:lnTo>
                  <a:pt x="218" y="354"/>
                </a:lnTo>
                <a:lnTo>
                  <a:pt x="221" y="359"/>
                </a:lnTo>
                <a:lnTo>
                  <a:pt x="221" y="363"/>
                </a:lnTo>
                <a:lnTo>
                  <a:pt x="220" y="366"/>
                </a:lnTo>
                <a:lnTo>
                  <a:pt x="219" y="367"/>
                </a:lnTo>
                <a:lnTo>
                  <a:pt x="220" y="367"/>
                </a:lnTo>
                <a:lnTo>
                  <a:pt x="222" y="367"/>
                </a:lnTo>
                <a:lnTo>
                  <a:pt x="224" y="368"/>
                </a:lnTo>
                <a:lnTo>
                  <a:pt x="224" y="370"/>
                </a:lnTo>
                <a:lnTo>
                  <a:pt x="224" y="373"/>
                </a:lnTo>
                <a:lnTo>
                  <a:pt x="224" y="376"/>
                </a:lnTo>
                <a:lnTo>
                  <a:pt x="223" y="378"/>
                </a:lnTo>
                <a:lnTo>
                  <a:pt x="222" y="378"/>
                </a:lnTo>
                <a:lnTo>
                  <a:pt x="219" y="377"/>
                </a:lnTo>
                <a:lnTo>
                  <a:pt x="217" y="375"/>
                </a:lnTo>
                <a:lnTo>
                  <a:pt x="216" y="374"/>
                </a:lnTo>
                <a:lnTo>
                  <a:pt x="216" y="373"/>
                </a:lnTo>
                <a:lnTo>
                  <a:pt x="216" y="372"/>
                </a:lnTo>
                <a:lnTo>
                  <a:pt x="215" y="370"/>
                </a:lnTo>
                <a:lnTo>
                  <a:pt x="213" y="369"/>
                </a:lnTo>
                <a:lnTo>
                  <a:pt x="210" y="370"/>
                </a:lnTo>
                <a:lnTo>
                  <a:pt x="208" y="371"/>
                </a:lnTo>
                <a:lnTo>
                  <a:pt x="206" y="371"/>
                </a:lnTo>
                <a:lnTo>
                  <a:pt x="205" y="369"/>
                </a:lnTo>
                <a:lnTo>
                  <a:pt x="203" y="368"/>
                </a:lnTo>
                <a:lnTo>
                  <a:pt x="200" y="367"/>
                </a:lnTo>
                <a:lnTo>
                  <a:pt x="198" y="367"/>
                </a:lnTo>
                <a:lnTo>
                  <a:pt x="198" y="367"/>
                </a:lnTo>
                <a:lnTo>
                  <a:pt x="198" y="370"/>
                </a:lnTo>
                <a:lnTo>
                  <a:pt x="197" y="371"/>
                </a:lnTo>
                <a:lnTo>
                  <a:pt x="183" y="373"/>
                </a:lnTo>
                <a:lnTo>
                  <a:pt x="178" y="375"/>
                </a:lnTo>
                <a:lnTo>
                  <a:pt x="175" y="377"/>
                </a:lnTo>
                <a:lnTo>
                  <a:pt x="172" y="377"/>
                </a:lnTo>
                <a:lnTo>
                  <a:pt x="172" y="379"/>
                </a:lnTo>
                <a:lnTo>
                  <a:pt x="169" y="380"/>
                </a:lnTo>
                <a:lnTo>
                  <a:pt x="167" y="381"/>
                </a:lnTo>
                <a:lnTo>
                  <a:pt x="166" y="380"/>
                </a:lnTo>
                <a:lnTo>
                  <a:pt x="164" y="381"/>
                </a:lnTo>
                <a:lnTo>
                  <a:pt x="161" y="382"/>
                </a:lnTo>
                <a:lnTo>
                  <a:pt x="160" y="381"/>
                </a:lnTo>
                <a:lnTo>
                  <a:pt x="159" y="380"/>
                </a:lnTo>
                <a:lnTo>
                  <a:pt x="157" y="378"/>
                </a:lnTo>
                <a:lnTo>
                  <a:pt x="156" y="377"/>
                </a:lnTo>
                <a:lnTo>
                  <a:pt x="156" y="376"/>
                </a:lnTo>
                <a:lnTo>
                  <a:pt x="152" y="376"/>
                </a:lnTo>
                <a:lnTo>
                  <a:pt x="150" y="375"/>
                </a:lnTo>
                <a:lnTo>
                  <a:pt x="144" y="375"/>
                </a:lnTo>
                <a:lnTo>
                  <a:pt x="143" y="374"/>
                </a:lnTo>
                <a:lnTo>
                  <a:pt x="142" y="375"/>
                </a:lnTo>
                <a:lnTo>
                  <a:pt x="142" y="381"/>
                </a:lnTo>
                <a:lnTo>
                  <a:pt x="141" y="383"/>
                </a:lnTo>
                <a:lnTo>
                  <a:pt x="139" y="385"/>
                </a:lnTo>
                <a:lnTo>
                  <a:pt x="137" y="387"/>
                </a:lnTo>
                <a:lnTo>
                  <a:pt x="135" y="387"/>
                </a:lnTo>
                <a:lnTo>
                  <a:pt x="135" y="385"/>
                </a:lnTo>
                <a:lnTo>
                  <a:pt x="135" y="383"/>
                </a:lnTo>
                <a:lnTo>
                  <a:pt x="134" y="383"/>
                </a:lnTo>
                <a:lnTo>
                  <a:pt x="132" y="382"/>
                </a:lnTo>
                <a:lnTo>
                  <a:pt x="131" y="382"/>
                </a:lnTo>
                <a:lnTo>
                  <a:pt x="131" y="380"/>
                </a:lnTo>
                <a:lnTo>
                  <a:pt x="131" y="379"/>
                </a:lnTo>
                <a:lnTo>
                  <a:pt x="130" y="378"/>
                </a:lnTo>
                <a:lnTo>
                  <a:pt x="128" y="377"/>
                </a:lnTo>
                <a:lnTo>
                  <a:pt x="124" y="374"/>
                </a:lnTo>
                <a:lnTo>
                  <a:pt x="121" y="373"/>
                </a:lnTo>
                <a:lnTo>
                  <a:pt x="120" y="374"/>
                </a:lnTo>
                <a:lnTo>
                  <a:pt x="118" y="376"/>
                </a:lnTo>
                <a:lnTo>
                  <a:pt x="115" y="375"/>
                </a:lnTo>
                <a:lnTo>
                  <a:pt x="114" y="376"/>
                </a:lnTo>
                <a:lnTo>
                  <a:pt x="109" y="372"/>
                </a:lnTo>
                <a:lnTo>
                  <a:pt x="103" y="369"/>
                </a:lnTo>
                <a:lnTo>
                  <a:pt x="102" y="369"/>
                </a:lnTo>
                <a:lnTo>
                  <a:pt x="94" y="370"/>
                </a:lnTo>
                <a:lnTo>
                  <a:pt x="94" y="369"/>
                </a:lnTo>
                <a:lnTo>
                  <a:pt x="93" y="367"/>
                </a:lnTo>
                <a:lnTo>
                  <a:pt x="91" y="367"/>
                </a:lnTo>
                <a:lnTo>
                  <a:pt x="91" y="367"/>
                </a:lnTo>
                <a:lnTo>
                  <a:pt x="90" y="368"/>
                </a:lnTo>
                <a:lnTo>
                  <a:pt x="89" y="368"/>
                </a:lnTo>
                <a:lnTo>
                  <a:pt x="86" y="365"/>
                </a:lnTo>
                <a:lnTo>
                  <a:pt x="85" y="364"/>
                </a:lnTo>
                <a:lnTo>
                  <a:pt x="83" y="364"/>
                </a:lnTo>
                <a:lnTo>
                  <a:pt x="80" y="366"/>
                </a:lnTo>
                <a:lnTo>
                  <a:pt x="79" y="368"/>
                </a:lnTo>
                <a:lnTo>
                  <a:pt x="80" y="369"/>
                </a:lnTo>
                <a:lnTo>
                  <a:pt x="81" y="370"/>
                </a:lnTo>
                <a:lnTo>
                  <a:pt x="84" y="369"/>
                </a:lnTo>
                <a:lnTo>
                  <a:pt x="84" y="370"/>
                </a:lnTo>
                <a:lnTo>
                  <a:pt x="84" y="370"/>
                </a:lnTo>
                <a:lnTo>
                  <a:pt x="84" y="371"/>
                </a:lnTo>
                <a:lnTo>
                  <a:pt x="82" y="372"/>
                </a:lnTo>
                <a:lnTo>
                  <a:pt x="81" y="372"/>
                </a:lnTo>
                <a:lnTo>
                  <a:pt x="80" y="373"/>
                </a:lnTo>
                <a:lnTo>
                  <a:pt x="80" y="373"/>
                </a:lnTo>
                <a:lnTo>
                  <a:pt x="77" y="372"/>
                </a:lnTo>
                <a:lnTo>
                  <a:pt x="73" y="372"/>
                </a:lnTo>
                <a:lnTo>
                  <a:pt x="70" y="373"/>
                </a:lnTo>
                <a:lnTo>
                  <a:pt x="64" y="374"/>
                </a:lnTo>
                <a:lnTo>
                  <a:pt x="57" y="374"/>
                </a:lnTo>
                <a:lnTo>
                  <a:pt x="55" y="373"/>
                </a:lnTo>
                <a:lnTo>
                  <a:pt x="53" y="372"/>
                </a:lnTo>
                <a:lnTo>
                  <a:pt x="52" y="369"/>
                </a:lnTo>
                <a:lnTo>
                  <a:pt x="52" y="364"/>
                </a:lnTo>
                <a:lnTo>
                  <a:pt x="54" y="358"/>
                </a:lnTo>
                <a:lnTo>
                  <a:pt x="54" y="354"/>
                </a:lnTo>
                <a:lnTo>
                  <a:pt x="54" y="351"/>
                </a:lnTo>
                <a:lnTo>
                  <a:pt x="55" y="346"/>
                </a:lnTo>
                <a:lnTo>
                  <a:pt x="57" y="341"/>
                </a:lnTo>
                <a:lnTo>
                  <a:pt x="59" y="335"/>
                </a:lnTo>
                <a:lnTo>
                  <a:pt x="60" y="328"/>
                </a:lnTo>
                <a:lnTo>
                  <a:pt x="62" y="324"/>
                </a:lnTo>
                <a:lnTo>
                  <a:pt x="64" y="321"/>
                </a:lnTo>
                <a:lnTo>
                  <a:pt x="71" y="313"/>
                </a:lnTo>
                <a:lnTo>
                  <a:pt x="71" y="312"/>
                </a:lnTo>
                <a:lnTo>
                  <a:pt x="71" y="308"/>
                </a:lnTo>
                <a:lnTo>
                  <a:pt x="69" y="307"/>
                </a:lnTo>
                <a:lnTo>
                  <a:pt x="67" y="306"/>
                </a:lnTo>
                <a:lnTo>
                  <a:pt x="60" y="305"/>
                </a:lnTo>
                <a:lnTo>
                  <a:pt x="55" y="304"/>
                </a:lnTo>
                <a:lnTo>
                  <a:pt x="52" y="303"/>
                </a:lnTo>
                <a:lnTo>
                  <a:pt x="50" y="300"/>
                </a:lnTo>
                <a:lnTo>
                  <a:pt x="48" y="299"/>
                </a:lnTo>
                <a:lnTo>
                  <a:pt x="45" y="301"/>
                </a:lnTo>
                <a:lnTo>
                  <a:pt x="42" y="301"/>
                </a:lnTo>
                <a:lnTo>
                  <a:pt x="39" y="301"/>
                </a:lnTo>
                <a:lnTo>
                  <a:pt x="38" y="301"/>
                </a:lnTo>
                <a:lnTo>
                  <a:pt x="37" y="301"/>
                </a:lnTo>
                <a:lnTo>
                  <a:pt x="36" y="301"/>
                </a:lnTo>
                <a:lnTo>
                  <a:pt x="36" y="298"/>
                </a:lnTo>
                <a:lnTo>
                  <a:pt x="34" y="298"/>
                </a:lnTo>
                <a:lnTo>
                  <a:pt x="32" y="297"/>
                </a:lnTo>
                <a:lnTo>
                  <a:pt x="31" y="297"/>
                </a:lnTo>
                <a:lnTo>
                  <a:pt x="30" y="299"/>
                </a:lnTo>
                <a:lnTo>
                  <a:pt x="29" y="299"/>
                </a:lnTo>
                <a:lnTo>
                  <a:pt x="27" y="299"/>
                </a:lnTo>
                <a:lnTo>
                  <a:pt x="23" y="293"/>
                </a:lnTo>
                <a:lnTo>
                  <a:pt x="22" y="292"/>
                </a:lnTo>
                <a:lnTo>
                  <a:pt x="22" y="290"/>
                </a:lnTo>
                <a:lnTo>
                  <a:pt x="21" y="288"/>
                </a:lnTo>
                <a:lnTo>
                  <a:pt x="19" y="286"/>
                </a:lnTo>
                <a:lnTo>
                  <a:pt x="16" y="285"/>
                </a:lnTo>
                <a:lnTo>
                  <a:pt x="15" y="285"/>
                </a:lnTo>
                <a:lnTo>
                  <a:pt x="15" y="282"/>
                </a:lnTo>
                <a:lnTo>
                  <a:pt x="16" y="278"/>
                </a:lnTo>
                <a:lnTo>
                  <a:pt x="17" y="276"/>
                </a:lnTo>
                <a:lnTo>
                  <a:pt x="18" y="274"/>
                </a:lnTo>
                <a:lnTo>
                  <a:pt x="19" y="273"/>
                </a:lnTo>
                <a:lnTo>
                  <a:pt x="20" y="271"/>
                </a:lnTo>
                <a:lnTo>
                  <a:pt x="20" y="269"/>
                </a:lnTo>
                <a:lnTo>
                  <a:pt x="18" y="268"/>
                </a:lnTo>
                <a:lnTo>
                  <a:pt x="14" y="267"/>
                </a:lnTo>
                <a:lnTo>
                  <a:pt x="12" y="265"/>
                </a:lnTo>
                <a:lnTo>
                  <a:pt x="11" y="263"/>
                </a:lnTo>
                <a:lnTo>
                  <a:pt x="9" y="260"/>
                </a:lnTo>
                <a:lnTo>
                  <a:pt x="8" y="257"/>
                </a:lnTo>
                <a:lnTo>
                  <a:pt x="8" y="254"/>
                </a:lnTo>
                <a:lnTo>
                  <a:pt x="8" y="253"/>
                </a:lnTo>
                <a:lnTo>
                  <a:pt x="8" y="252"/>
                </a:lnTo>
                <a:lnTo>
                  <a:pt x="10" y="248"/>
                </a:lnTo>
                <a:lnTo>
                  <a:pt x="16" y="244"/>
                </a:lnTo>
                <a:lnTo>
                  <a:pt x="15" y="239"/>
                </a:lnTo>
                <a:lnTo>
                  <a:pt x="15" y="237"/>
                </a:lnTo>
                <a:lnTo>
                  <a:pt x="13" y="235"/>
                </a:lnTo>
                <a:lnTo>
                  <a:pt x="11" y="235"/>
                </a:lnTo>
                <a:lnTo>
                  <a:pt x="10" y="233"/>
                </a:lnTo>
                <a:lnTo>
                  <a:pt x="10" y="232"/>
                </a:lnTo>
                <a:lnTo>
                  <a:pt x="12" y="230"/>
                </a:lnTo>
                <a:lnTo>
                  <a:pt x="9" y="228"/>
                </a:lnTo>
                <a:lnTo>
                  <a:pt x="8" y="226"/>
                </a:lnTo>
                <a:lnTo>
                  <a:pt x="4" y="223"/>
                </a:lnTo>
                <a:lnTo>
                  <a:pt x="4" y="222"/>
                </a:lnTo>
                <a:lnTo>
                  <a:pt x="6" y="215"/>
                </a:lnTo>
                <a:lnTo>
                  <a:pt x="4" y="212"/>
                </a:lnTo>
                <a:lnTo>
                  <a:pt x="3" y="211"/>
                </a:lnTo>
                <a:lnTo>
                  <a:pt x="1" y="211"/>
                </a:lnTo>
                <a:lnTo>
                  <a:pt x="0" y="210"/>
                </a:lnTo>
                <a:lnTo>
                  <a:pt x="0" y="209"/>
                </a:lnTo>
                <a:lnTo>
                  <a:pt x="0" y="208"/>
                </a:lnTo>
                <a:lnTo>
                  <a:pt x="2" y="208"/>
                </a:lnTo>
                <a:lnTo>
                  <a:pt x="3" y="207"/>
                </a:lnTo>
                <a:lnTo>
                  <a:pt x="8" y="203"/>
                </a:lnTo>
                <a:lnTo>
                  <a:pt x="8" y="202"/>
                </a:lnTo>
                <a:lnTo>
                  <a:pt x="8" y="201"/>
                </a:lnTo>
                <a:lnTo>
                  <a:pt x="7" y="201"/>
                </a:lnTo>
                <a:lnTo>
                  <a:pt x="7" y="200"/>
                </a:lnTo>
                <a:lnTo>
                  <a:pt x="7" y="199"/>
                </a:lnTo>
                <a:lnTo>
                  <a:pt x="9" y="192"/>
                </a:lnTo>
                <a:lnTo>
                  <a:pt x="10" y="190"/>
                </a:lnTo>
                <a:lnTo>
                  <a:pt x="10" y="188"/>
                </a:lnTo>
                <a:lnTo>
                  <a:pt x="10" y="186"/>
                </a:lnTo>
                <a:lnTo>
                  <a:pt x="9" y="183"/>
                </a:lnTo>
                <a:lnTo>
                  <a:pt x="7" y="180"/>
                </a:lnTo>
                <a:lnTo>
                  <a:pt x="7" y="178"/>
                </a:lnTo>
                <a:lnTo>
                  <a:pt x="6" y="177"/>
                </a:lnTo>
                <a:lnTo>
                  <a:pt x="3" y="172"/>
                </a:lnTo>
                <a:lnTo>
                  <a:pt x="3" y="170"/>
                </a:lnTo>
                <a:lnTo>
                  <a:pt x="4" y="168"/>
                </a:lnTo>
                <a:lnTo>
                  <a:pt x="7" y="167"/>
                </a:lnTo>
                <a:lnTo>
                  <a:pt x="8" y="167"/>
                </a:lnTo>
                <a:lnTo>
                  <a:pt x="9" y="166"/>
                </a:lnTo>
                <a:lnTo>
                  <a:pt x="13" y="168"/>
                </a:lnTo>
                <a:lnTo>
                  <a:pt x="15" y="169"/>
                </a:lnTo>
                <a:lnTo>
                  <a:pt x="16" y="169"/>
                </a:lnTo>
                <a:lnTo>
                  <a:pt x="17" y="167"/>
                </a:lnTo>
                <a:lnTo>
                  <a:pt x="20" y="167"/>
                </a:lnTo>
                <a:lnTo>
                  <a:pt x="27" y="165"/>
                </a:lnTo>
                <a:lnTo>
                  <a:pt x="28" y="163"/>
                </a:lnTo>
                <a:lnTo>
                  <a:pt x="29" y="162"/>
                </a:lnTo>
                <a:lnTo>
                  <a:pt x="29" y="161"/>
                </a:lnTo>
                <a:lnTo>
                  <a:pt x="27" y="158"/>
                </a:lnTo>
                <a:lnTo>
                  <a:pt x="26" y="157"/>
                </a:lnTo>
                <a:lnTo>
                  <a:pt x="27" y="156"/>
                </a:lnTo>
                <a:lnTo>
                  <a:pt x="28" y="155"/>
                </a:lnTo>
                <a:lnTo>
                  <a:pt x="29" y="154"/>
                </a:lnTo>
                <a:lnTo>
                  <a:pt x="31" y="153"/>
                </a:lnTo>
                <a:lnTo>
                  <a:pt x="35" y="150"/>
                </a:lnTo>
                <a:lnTo>
                  <a:pt x="36" y="147"/>
                </a:lnTo>
                <a:lnTo>
                  <a:pt x="36" y="143"/>
                </a:lnTo>
                <a:lnTo>
                  <a:pt x="36" y="141"/>
                </a:lnTo>
                <a:lnTo>
                  <a:pt x="35" y="139"/>
                </a:lnTo>
                <a:lnTo>
                  <a:pt x="34" y="138"/>
                </a:lnTo>
                <a:lnTo>
                  <a:pt x="33" y="138"/>
                </a:lnTo>
                <a:lnTo>
                  <a:pt x="30" y="138"/>
                </a:lnTo>
                <a:lnTo>
                  <a:pt x="28" y="137"/>
                </a:lnTo>
                <a:lnTo>
                  <a:pt x="26" y="135"/>
                </a:lnTo>
                <a:lnTo>
                  <a:pt x="26" y="133"/>
                </a:lnTo>
                <a:lnTo>
                  <a:pt x="26" y="132"/>
                </a:lnTo>
                <a:lnTo>
                  <a:pt x="27" y="131"/>
                </a:lnTo>
                <a:lnTo>
                  <a:pt x="26" y="130"/>
                </a:lnTo>
                <a:lnTo>
                  <a:pt x="26" y="129"/>
                </a:lnTo>
                <a:lnTo>
                  <a:pt x="28" y="128"/>
                </a:lnTo>
                <a:lnTo>
                  <a:pt x="36" y="128"/>
                </a:lnTo>
                <a:lnTo>
                  <a:pt x="36" y="127"/>
                </a:lnTo>
                <a:lnTo>
                  <a:pt x="37" y="122"/>
                </a:lnTo>
                <a:lnTo>
                  <a:pt x="39" y="115"/>
                </a:lnTo>
                <a:lnTo>
                  <a:pt x="41" y="111"/>
                </a:lnTo>
                <a:lnTo>
                  <a:pt x="41" y="109"/>
                </a:lnTo>
                <a:lnTo>
                  <a:pt x="41" y="99"/>
                </a:lnTo>
                <a:lnTo>
                  <a:pt x="42" y="94"/>
                </a:lnTo>
                <a:lnTo>
                  <a:pt x="40" y="92"/>
                </a:lnTo>
                <a:lnTo>
                  <a:pt x="37" y="89"/>
                </a:lnTo>
                <a:lnTo>
                  <a:pt x="38" y="84"/>
                </a:lnTo>
                <a:lnTo>
                  <a:pt x="39" y="80"/>
                </a:lnTo>
                <a:lnTo>
                  <a:pt x="42" y="75"/>
                </a:lnTo>
                <a:lnTo>
                  <a:pt x="44" y="73"/>
                </a:lnTo>
                <a:lnTo>
                  <a:pt x="55" y="73"/>
                </a:lnTo>
                <a:lnTo>
                  <a:pt x="67" y="73"/>
                </a:lnTo>
                <a:lnTo>
                  <a:pt x="72" y="81"/>
                </a:lnTo>
                <a:lnTo>
                  <a:pt x="70" y="85"/>
                </a:lnTo>
                <a:lnTo>
                  <a:pt x="73" y="87"/>
                </a:lnTo>
                <a:lnTo>
                  <a:pt x="74" y="86"/>
                </a:lnTo>
                <a:lnTo>
                  <a:pt x="75" y="82"/>
                </a:lnTo>
                <a:lnTo>
                  <a:pt x="76" y="79"/>
                </a:lnTo>
                <a:lnTo>
                  <a:pt x="77" y="77"/>
                </a:lnTo>
                <a:lnTo>
                  <a:pt x="81" y="80"/>
                </a:lnTo>
                <a:lnTo>
                  <a:pt x="82" y="82"/>
                </a:lnTo>
                <a:lnTo>
                  <a:pt x="82" y="89"/>
                </a:lnTo>
                <a:lnTo>
                  <a:pt x="83" y="80"/>
                </a:lnTo>
                <a:lnTo>
                  <a:pt x="82" y="74"/>
                </a:lnTo>
                <a:lnTo>
                  <a:pt x="83" y="68"/>
                </a:lnTo>
                <a:lnTo>
                  <a:pt x="85" y="65"/>
                </a:lnTo>
                <a:lnTo>
                  <a:pt x="86" y="63"/>
                </a:lnTo>
                <a:lnTo>
                  <a:pt x="95" y="65"/>
                </a:lnTo>
                <a:lnTo>
                  <a:pt x="104" y="64"/>
                </a:lnTo>
                <a:lnTo>
                  <a:pt x="108" y="67"/>
                </a:lnTo>
                <a:lnTo>
                  <a:pt x="116" y="78"/>
                </a:lnTo>
                <a:lnTo>
                  <a:pt x="119" y="80"/>
                </a:lnTo>
                <a:lnTo>
                  <a:pt x="122" y="80"/>
                </a:lnTo>
                <a:lnTo>
                  <a:pt x="117" y="78"/>
                </a:lnTo>
                <a:lnTo>
                  <a:pt x="108" y="64"/>
                </a:lnTo>
                <a:lnTo>
                  <a:pt x="105" y="62"/>
                </a:lnTo>
                <a:lnTo>
                  <a:pt x="100" y="62"/>
                </a:lnTo>
                <a:lnTo>
                  <a:pt x="97" y="61"/>
                </a:lnTo>
                <a:lnTo>
                  <a:pt x="95" y="59"/>
                </a:lnTo>
                <a:lnTo>
                  <a:pt x="95" y="57"/>
                </a:lnTo>
                <a:lnTo>
                  <a:pt x="95" y="43"/>
                </a:lnTo>
                <a:lnTo>
                  <a:pt x="93" y="41"/>
                </a:lnTo>
                <a:lnTo>
                  <a:pt x="91" y="40"/>
                </a:lnTo>
                <a:lnTo>
                  <a:pt x="90" y="41"/>
                </a:lnTo>
                <a:lnTo>
                  <a:pt x="87" y="41"/>
                </a:lnTo>
                <a:lnTo>
                  <a:pt x="86" y="38"/>
                </a:lnTo>
                <a:lnTo>
                  <a:pt x="87" y="36"/>
                </a:lnTo>
                <a:lnTo>
                  <a:pt x="93" y="34"/>
                </a:lnTo>
                <a:lnTo>
                  <a:pt x="96" y="32"/>
                </a:lnTo>
                <a:lnTo>
                  <a:pt x="96" y="28"/>
                </a:lnTo>
                <a:lnTo>
                  <a:pt x="94" y="25"/>
                </a:lnTo>
                <a:lnTo>
                  <a:pt x="91" y="20"/>
                </a:lnTo>
                <a:lnTo>
                  <a:pt x="88" y="14"/>
                </a:lnTo>
                <a:lnTo>
                  <a:pt x="87" y="8"/>
                </a:lnTo>
                <a:lnTo>
                  <a:pt x="93" y="8"/>
                </a:lnTo>
                <a:lnTo>
                  <a:pt x="95" y="9"/>
                </a:lnTo>
                <a:lnTo>
                  <a:pt x="104" y="12"/>
                </a:lnTo>
                <a:lnTo>
                  <a:pt x="106" y="13"/>
                </a:lnTo>
                <a:lnTo>
                  <a:pt x="108" y="14"/>
                </a:lnTo>
                <a:lnTo>
                  <a:pt x="113" y="12"/>
                </a:lnTo>
                <a:lnTo>
                  <a:pt x="117" y="11"/>
                </a:lnTo>
                <a:lnTo>
                  <a:pt x="118" y="12"/>
                </a:lnTo>
                <a:lnTo>
                  <a:pt x="120" y="13"/>
                </a:lnTo>
                <a:lnTo>
                  <a:pt x="121" y="13"/>
                </a:lnTo>
                <a:lnTo>
                  <a:pt x="121" y="12"/>
                </a:lnTo>
                <a:close/>
                <a:moveTo>
                  <a:pt x="85" y="19"/>
                </a:moveTo>
                <a:lnTo>
                  <a:pt x="85" y="19"/>
                </a:lnTo>
                <a:lnTo>
                  <a:pt x="84" y="20"/>
                </a:lnTo>
                <a:lnTo>
                  <a:pt x="81" y="20"/>
                </a:lnTo>
                <a:lnTo>
                  <a:pt x="79" y="19"/>
                </a:lnTo>
                <a:lnTo>
                  <a:pt x="80" y="17"/>
                </a:lnTo>
                <a:lnTo>
                  <a:pt x="81" y="16"/>
                </a:lnTo>
                <a:lnTo>
                  <a:pt x="82" y="16"/>
                </a:lnTo>
                <a:lnTo>
                  <a:pt x="84" y="17"/>
                </a:lnTo>
                <a:lnTo>
                  <a:pt x="85" y="19"/>
                </a:lnTo>
                <a:close/>
                <a:moveTo>
                  <a:pt x="245" y="36"/>
                </a:moveTo>
                <a:lnTo>
                  <a:pt x="245" y="36"/>
                </a:lnTo>
                <a:lnTo>
                  <a:pt x="245" y="40"/>
                </a:lnTo>
                <a:lnTo>
                  <a:pt x="245" y="42"/>
                </a:lnTo>
                <a:lnTo>
                  <a:pt x="241" y="39"/>
                </a:lnTo>
                <a:lnTo>
                  <a:pt x="238" y="39"/>
                </a:lnTo>
                <a:lnTo>
                  <a:pt x="235" y="43"/>
                </a:lnTo>
                <a:lnTo>
                  <a:pt x="234" y="44"/>
                </a:lnTo>
                <a:lnTo>
                  <a:pt x="228" y="39"/>
                </a:lnTo>
                <a:lnTo>
                  <a:pt x="228" y="37"/>
                </a:lnTo>
                <a:lnTo>
                  <a:pt x="227" y="35"/>
                </a:lnTo>
                <a:lnTo>
                  <a:pt x="228" y="30"/>
                </a:lnTo>
                <a:lnTo>
                  <a:pt x="228" y="28"/>
                </a:lnTo>
                <a:lnTo>
                  <a:pt x="230" y="26"/>
                </a:lnTo>
                <a:lnTo>
                  <a:pt x="230" y="23"/>
                </a:lnTo>
                <a:lnTo>
                  <a:pt x="233" y="19"/>
                </a:lnTo>
                <a:lnTo>
                  <a:pt x="236" y="19"/>
                </a:lnTo>
                <a:lnTo>
                  <a:pt x="237" y="22"/>
                </a:lnTo>
                <a:lnTo>
                  <a:pt x="238" y="24"/>
                </a:lnTo>
                <a:lnTo>
                  <a:pt x="242" y="26"/>
                </a:lnTo>
                <a:lnTo>
                  <a:pt x="243" y="27"/>
                </a:lnTo>
                <a:lnTo>
                  <a:pt x="243" y="28"/>
                </a:lnTo>
                <a:lnTo>
                  <a:pt x="241" y="31"/>
                </a:lnTo>
                <a:lnTo>
                  <a:pt x="241" y="32"/>
                </a:lnTo>
                <a:lnTo>
                  <a:pt x="241" y="34"/>
                </a:lnTo>
                <a:lnTo>
                  <a:pt x="245" y="36"/>
                </a:lnTo>
                <a:close/>
                <a:moveTo>
                  <a:pt x="169" y="34"/>
                </a:moveTo>
                <a:lnTo>
                  <a:pt x="169" y="34"/>
                </a:lnTo>
                <a:lnTo>
                  <a:pt x="164" y="35"/>
                </a:lnTo>
                <a:lnTo>
                  <a:pt x="162" y="32"/>
                </a:lnTo>
                <a:lnTo>
                  <a:pt x="161" y="32"/>
                </a:lnTo>
                <a:lnTo>
                  <a:pt x="161" y="29"/>
                </a:lnTo>
                <a:lnTo>
                  <a:pt x="163" y="28"/>
                </a:lnTo>
                <a:lnTo>
                  <a:pt x="167" y="30"/>
                </a:lnTo>
                <a:lnTo>
                  <a:pt x="169" y="33"/>
                </a:lnTo>
                <a:lnTo>
                  <a:pt x="169" y="34"/>
                </a:lnTo>
                <a:close/>
                <a:moveTo>
                  <a:pt x="260" y="59"/>
                </a:moveTo>
                <a:lnTo>
                  <a:pt x="260" y="59"/>
                </a:lnTo>
                <a:lnTo>
                  <a:pt x="260" y="61"/>
                </a:lnTo>
                <a:lnTo>
                  <a:pt x="260" y="63"/>
                </a:lnTo>
                <a:lnTo>
                  <a:pt x="259" y="63"/>
                </a:lnTo>
                <a:lnTo>
                  <a:pt x="255" y="64"/>
                </a:lnTo>
                <a:lnTo>
                  <a:pt x="251" y="63"/>
                </a:lnTo>
                <a:lnTo>
                  <a:pt x="251" y="60"/>
                </a:lnTo>
                <a:lnTo>
                  <a:pt x="251" y="57"/>
                </a:lnTo>
                <a:lnTo>
                  <a:pt x="250" y="55"/>
                </a:lnTo>
                <a:lnTo>
                  <a:pt x="248" y="54"/>
                </a:lnTo>
                <a:lnTo>
                  <a:pt x="248" y="52"/>
                </a:lnTo>
                <a:lnTo>
                  <a:pt x="248" y="50"/>
                </a:lnTo>
                <a:lnTo>
                  <a:pt x="255" y="5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19" name="Denmark">
            <a:extLst>
              <a:ext uri="{FF2B5EF4-FFF2-40B4-BE49-F238E27FC236}">
                <a16:creationId xmlns:a16="http://schemas.microsoft.com/office/drawing/2014/main" id="{3E61FA52-DB1A-4AA8-9CC1-F68D8067038D}"/>
              </a:ext>
            </a:extLst>
          </p:cNvPr>
          <p:cNvSpPr>
            <a:spLocks noEditPoints="1"/>
          </p:cNvSpPr>
          <p:nvPr/>
        </p:nvSpPr>
        <p:spPr bwMode="auto">
          <a:xfrm>
            <a:off x="6062345" y="2773121"/>
            <a:ext cx="209808" cy="147121"/>
          </a:xfrm>
          <a:custGeom>
            <a:avLst/>
            <a:gdLst>
              <a:gd name="T0" fmla="*/ 47 w 219"/>
              <a:gd name="T1" fmla="*/ 162 h 174"/>
              <a:gd name="T2" fmla="*/ 25 w 219"/>
              <a:gd name="T3" fmla="*/ 160 h 174"/>
              <a:gd name="T4" fmla="*/ 14 w 219"/>
              <a:gd name="T5" fmla="*/ 147 h 174"/>
              <a:gd name="T6" fmla="*/ 1 w 219"/>
              <a:gd name="T7" fmla="*/ 121 h 174"/>
              <a:gd name="T8" fmla="*/ 2 w 219"/>
              <a:gd name="T9" fmla="*/ 65 h 174"/>
              <a:gd name="T10" fmla="*/ 16 w 219"/>
              <a:gd name="T11" fmla="*/ 70 h 174"/>
              <a:gd name="T12" fmla="*/ 28 w 219"/>
              <a:gd name="T13" fmla="*/ 56 h 174"/>
              <a:gd name="T14" fmla="*/ 36 w 219"/>
              <a:gd name="T15" fmla="*/ 42 h 174"/>
              <a:gd name="T16" fmla="*/ 15 w 219"/>
              <a:gd name="T17" fmla="*/ 59 h 174"/>
              <a:gd name="T18" fmla="*/ 5 w 219"/>
              <a:gd name="T19" fmla="*/ 51 h 174"/>
              <a:gd name="T20" fmla="*/ 29 w 219"/>
              <a:gd name="T21" fmla="*/ 34 h 174"/>
              <a:gd name="T22" fmla="*/ 58 w 219"/>
              <a:gd name="T23" fmla="*/ 9 h 174"/>
              <a:gd name="T24" fmla="*/ 73 w 219"/>
              <a:gd name="T25" fmla="*/ 7 h 174"/>
              <a:gd name="T26" fmla="*/ 73 w 219"/>
              <a:gd name="T27" fmla="*/ 33 h 174"/>
              <a:gd name="T28" fmla="*/ 68 w 219"/>
              <a:gd name="T29" fmla="*/ 64 h 174"/>
              <a:gd name="T30" fmla="*/ 88 w 219"/>
              <a:gd name="T31" fmla="*/ 74 h 174"/>
              <a:gd name="T32" fmla="*/ 76 w 219"/>
              <a:gd name="T33" fmla="*/ 88 h 174"/>
              <a:gd name="T34" fmla="*/ 65 w 219"/>
              <a:gd name="T35" fmla="*/ 107 h 174"/>
              <a:gd name="T36" fmla="*/ 58 w 219"/>
              <a:gd name="T37" fmla="*/ 110 h 174"/>
              <a:gd name="T38" fmla="*/ 52 w 219"/>
              <a:gd name="T39" fmla="*/ 121 h 174"/>
              <a:gd name="T40" fmla="*/ 49 w 219"/>
              <a:gd name="T41" fmla="*/ 140 h 174"/>
              <a:gd name="T42" fmla="*/ 48 w 219"/>
              <a:gd name="T43" fmla="*/ 153 h 174"/>
              <a:gd name="T44" fmla="*/ 92 w 219"/>
              <a:gd name="T45" fmla="*/ 28 h 174"/>
              <a:gd name="T46" fmla="*/ 93 w 219"/>
              <a:gd name="T47" fmla="*/ 24 h 174"/>
              <a:gd name="T48" fmla="*/ 139 w 219"/>
              <a:gd name="T49" fmla="*/ 111 h 174"/>
              <a:gd name="T50" fmla="*/ 131 w 219"/>
              <a:gd name="T51" fmla="*/ 122 h 174"/>
              <a:gd name="T52" fmla="*/ 134 w 219"/>
              <a:gd name="T53" fmla="*/ 138 h 174"/>
              <a:gd name="T54" fmla="*/ 124 w 219"/>
              <a:gd name="T55" fmla="*/ 159 h 174"/>
              <a:gd name="T56" fmla="*/ 112 w 219"/>
              <a:gd name="T57" fmla="*/ 152 h 174"/>
              <a:gd name="T58" fmla="*/ 100 w 219"/>
              <a:gd name="T59" fmla="*/ 143 h 174"/>
              <a:gd name="T60" fmla="*/ 94 w 219"/>
              <a:gd name="T61" fmla="*/ 123 h 174"/>
              <a:gd name="T62" fmla="*/ 92 w 219"/>
              <a:gd name="T63" fmla="*/ 114 h 174"/>
              <a:gd name="T64" fmla="*/ 104 w 219"/>
              <a:gd name="T65" fmla="*/ 104 h 174"/>
              <a:gd name="T66" fmla="*/ 112 w 219"/>
              <a:gd name="T67" fmla="*/ 114 h 174"/>
              <a:gd name="T68" fmla="*/ 119 w 219"/>
              <a:gd name="T69" fmla="*/ 109 h 174"/>
              <a:gd name="T70" fmla="*/ 128 w 219"/>
              <a:gd name="T71" fmla="*/ 92 h 174"/>
              <a:gd name="T72" fmla="*/ 140 w 219"/>
              <a:gd name="T73" fmla="*/ 97 h 174"/>
              <a:gd name="T74" fmla="*/ 78 w 219"/>
              <a:gd name="T75" fmla="*/ 111 h 174"/>
              <a:gd name="T76" fmla="*/ 75 w 219"/>
              <a:gd name="T77" fmla="*/ 101 h 174"/>
              <a:gd name="T78" fmla="*/ 78 w 219"/>
              <a:gd name="T79" fmla="*/ 111 h 174"/>
              <a:gd name="T80" fmla="*/ 138 w 219"/>
              <a:gd name="T81" fmla="*/ 120 h 174"/>
              <a:gd name="T82" fmla="*/ 142 w 219"/>
              <a:gd name="T83" fmla="*/ 121 h 174"/>
              <a:gd name="T84" fmla="*/ 84 w 219"/>
              <a:gd name="T85" fmla="*/ 137 h 174"/>
              <a:gd name="T86" fmla="*/ 73 w 219"/>
              <a:gd name="T87" fmla="*/ 151 h 174"/>
              <a:gd name="T88" fmla="*/ 55 w 219"/>
              <a:gd name="T89" fmla="*/ 135 h 174"/>
              <a:gd name="T90" fmla="*/ 72 w 219"/>
              <a:gd name="T91" fmla="*/ 123 h 174"/>
              <a:gd name="T92" fmla="*/ 218 w 219"/>
              <a:gd name="T93" fmla="*/ 153 h 174"/>
              <a:gd name="T94" fmla="*/ 208 w 219"/>
              <a:gd name="T95" fmla="*/ 138 h 174"/>
              <a:gd name="T96" fmla="*/ 82 w 219"/>
              <a:gd name="T97" fmla="*/ 168 h 174"/>
              <a:gd name="T98" fmla="*/ 82 w 219"/>
              <a:gd name="T99" fmla="*/ 156 h 174"/>
              <a:gd name="T100" fmla="*/ 83 w 219"/>
              <a:gd name="T101" fmla="*/ 165 h 174"/>
              <a:gd name="T102" fmla="*/ 56 w 219"/>
              <a:gd name="T103" fmla="*/ 160 h 174"/>
              <a:gd name="T104" fmla="*/ 59 w 219"/>
              <a:gd name="T105" fmla="*/ 155 h 174"/>
              <a:gd name="T106" fmla="*/ 137 w 219"/>
              <a:gd name="T107" fmla="*/ 157 h 174"/>
              <a:gd name="T108" fmla="*/ 126 w 219"/>
              <a:gd name="T109" fmla="*/ 155 h 174"/>
              <a:gd name="T110" fmla="*/ 134 w 219"/>
              <a:gd name="T111" fmla="*/ 152 h 174"/>
              <a:gd name="T112" fmla="*/ 74 w 219"/>
              <a:gd name="T113" fmla="*/ 162 h 174"/>
              <a:gd name="T114" fmla="*/ 67 w 219"/>
              <a:gd name="T115" fmla="*/ 157 h 174"/>
              <a:gd name="T116" fmla="*/ 101 w 219"/>
              <a:gd name="T117" fmla="*/ 160 h 174"/>
              <a:gd name="T118" fmla="*/ 114 w 219"/>
              <a:gd name="T119" fmla="*/ 167 h 174"/>
              <a:gd name="T120" fmla="*/ 91 w 219"/>
              <a:gd name="T121"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174">
                <a:moveTo>
                  <a:pt x="51" y="163"/>
                </a:moveTo>
                <a:lnTo>
                  <a:pt x="51" y="163"/>
                </a:lnTo>
                <a:lnTo>
                  <a:pt x="50" y="163"/>
                </a:lnTo>
                <a:lnTo>
                  <a:pt x="48" y="163"/>
                </a:lnTo>
                <a:lnTo>
                  <a:pt x="47" y="162"/>
                </a:lnTo>
                <a:lnTo>
                  <a:pt x="43" y="163"/>
                </a:lnTo>
                <a:lnTo>
                  <a:pt x="38" y="165"/>
                </a:lnTo>
                <a:lnTo>
                  <a:pt x="36" y="164"/>
                </a:lnTo>
                <a:lnTo>
                  <a:pt x="34" y="162"/>
                </a:lnTo>
                <a:lnTo>
                  <a:pt x="25" y="160"/>
                </a:lnTo>
                <a:lnTo>
                  <a:pt x="23" y="159"/>
                </a:lnTo>
                <a:lnTo>
                  <a:pt x="17" y="159"/>
                </a:lnTo>
                <a:lnTo>
                  <a:pt x="17" y="155"/>
                </a:lnTo>
                <a:lnTo>
                  <a:pt x="16" y="152"/>
                </a:lnTo>
                <a:lnTo>
                  <a:pt x="14" y="147"/>
                </a:lnTo>
                <a:lnTo>
                  <a:pt x="17" y="146"/>
                </a:lnTo>
                <a:lnTo>
                  <a:pt x="17" y="136"/>
                </a:lnTo>
                <a:lnTo>
                  <a:pt x="16" y="131"/>
                </a:lnTo>
                <a:lnTo>
                  <a:pt x="7" y="126"/>
                </a:lnTo>
                <a:lnTo>
                  <a:pt x="1" y="121"/>
                </a:lnTo>
                <a:lnTo>
                  <a:pt x="2" y="105"/>
                </a:lnTo>
                <a:lnTo>
                  <a:pt x="3" y="100"/>
                </a:lnTo>
                <a:lnTo>
                  <a:pt x="0" y="91"/>
                </a:lnTo>
                <a:lnTo>
                  <a:pt x="1" y="81"/>
                </a:lnTo>
                <a:lnTo>
                  <a:pt x="2" y="65"/>
                </a:lnTo>
                <a:lnTo>
                  <a:pt x="4" y="64"/>
                </a:lnTo>
                <a:lnTo>
                  <a:pt x="5" y="65"/>
                </a:lnTo>
                <a:lnTo>
                  <a:pt x="11" y="67"/>
                </a:lnTo>
                <a:lnTo>
                  <a:pt x="14" y="68"/>
                </a:lnTo>
                <a:lnTo>
                  <a:pt x="16" y="70"/>
                </a:lnTo>
                <a:lnTo>
                  <a:pt x="18" y="71"/>
                </a:lnTo>
                <a:lnTo>
                  <a:pt x="19" y="69"/>
                </a:lnTo>
                <a:lnTo>
                  <a:pt x="20" y="64"/>
                </a:lnTo>
                <a:lnTo>
                  <a:pt x="24" y="58"/>
                </a:lnTo>
                <a:lnTo>
                  <a:pt x="28" y="56"/>
                </a:lnTo>
                <a:lnTo>
                  <a:pt x="30" y="55"/>
                </a:lnTo>
                <a:lnTo>
                  <a:pt x="32" y="57"/>
                </a:lnTo>
                <a:lnTo>
                  <a:pt x="34" y="60"/>
                </a:lnTo>
                <a:lnTo>
                  <a:pt x="34" y="54"/>
                </a:lnTo>
                <a:lnTo>
                  <a:pt x="36" y="42"/>
                </a:lnTo>
                <a:lnTo>
                  <a:pt x="31" y="40"/>
                </a:lnTo>
                <a:lnTo>
                  <a:pt x="28" y="42"/>
                </a:lnTo>
                <a:lnTo>
                  <a:pt x="24" y="49"/>
                </a:lnTo>
                <a:lnTo>
                  <a:pt x="21" y="58"/>
                </a:lnTo>
                <a:lnTo>
                  <a:pt x="15" y="59"/>
                </a:lnTo>
                <a:lnTo>
                  <a:pt x="11" y="62"/>
                </a:lnTo>
                <a:lnTo>
                  <a:pt x="7" y="59"/>
                </a:lnTo>
                <a:lnTo>
                  <a:pt x="5" y="57"/>
                </a:lnTo>
                <a:lnTo>
                  <a:pt x="5" y="53"/>
                </a:lnTo>
                <a:lnTo>
                  <a:pt x="5" y="51"/>
                </a:lnTo>
                <a:lnTo>
                  <a:pt x="10" y="44"/>
                </a:lnTo>
                <a:lnTo>
                  <a:pt x="16" y="36"/>
                </a:lnTo>
                <a:lnTo>
                  <a:pt x="22" y="36"/>
                </a:lnTo>
                <a:lnTo>
                  <a:pt x="26" y="34"/>
                </a:lnTo>
                <a:lnTo>
                  <a:pt x="29" y="34"/>
                </a:lnTo>
                <a:lnTo>
                  <a:pt x="37" y="34"/>
                </a:lnTo>
                <a:lnTo>
                  <a:pt x="41" y="33"/>
                </a:lnTo>
                <a:lnTo>
                  <a:pt x="45" y="29"/>
                </a:lnTo>
                <a:lnTo>
                  <a:pt x="53" y="15"/>
                </a:lnTo>
                <a:lnTo>
                  <a:pt x="58" y="9"/>
                </a:lnTo>
                <a:lnTo>
                  <a:pt x="67" y="7"/>
                </a:lnTo>
                <a:lnTo>
                  <a:pt x="76" y="0"/>
                </a:lnTo>
                <a:lnTo>
                  <a:pt x="78" y="0"/>
                </a:lnTo>
                <a:lnTo>
                  <a:pt x="74" y="5"/>
                </a:lnTo>
                <a:lnTo>
                  <a:pt x="73" y="7"/>
                </a:lnTo>
                <a:lnTo>
                  <a:pt x="73" y="10"/>
                </a:lnTo>
                <a:lnTo>
                  <a:pt x="76" y="17"/>
                </a:lnTo>
                <a:lnTo>
                  <a:pt x="75" y="21"/>
                </a:lnTo>
                <a:lnTo>
                  <a:pt x="75" y="29"/>
                </a:lnTo>
                <a:lnTo>
                  <a:pt x="73" y="33"/>
                </a:lnTo>
                <a:lnTo>
                  <a:pt x="70" y="42"/>
                </a:lnTo>
                <a:lnTo>
                  <a:pt x="68" y="43"/>
                </a:lnTo>
                <a:lnTo>
                  <a:pt x="68" y="53"/>
                </a:lnTo>
                <a:lnTo>
                  <a:pt x="68" y="55"/>
                </a:lnTo>
                <a:lnTo>
                  <a:pt x="68" y="64"/>
                </a:lnTo>
                <a:lnTo>
                  <a:pt x="71" y="68"/>
                </a:lnTo>
                <a:lnTo>
                  <a:pt x="74" y="70"/>
                </a:lnTo>
                <a:lnTo>
                  <a:pt x="85" y="70"/>
                </a:lnTo>
                <a:lnTo>
                  <a:pt x="87" y="72"/>
                </a:lnTo>
                <a:lnTo>
                  <a:pt x="88" y="74"/>
                </a:lnTo>
                <a:lnTo>
                  <a:pt x="87" y="79"/>
                </a:lnTo>
                <a:lnTo>
                  <a:pt x="86" y="83"/>
                </a:lnTo>
                <a:lnTo>
                  <a:pt x="82" y="86"/>
                </a:lnTo>
                <a:lnTo>
                  <a:pt x="78" y="88"/>
                </a:lnTo>
                <a:lnTo>
                  <a:pt x="76" y="88"/>
                </a:lnTo>
                <a:lnTo>
                  <a:pt x="72" y="84"/>
                </a:lnTo>
                <a:lnTo>
                  <a:pt x="71" y="85"/>
                </a:lnTo>
                <a:lnTo>
                  <a:pt x="69" y="87"/>
                </a:lnTo>
                <a:lnTo>
                  <a:pt x="66" y="99"/>
                </a:lnTo>
                <a:lnTo>
                  <a:pt x="65" y="107"/>
                </a:lnTo>
                <a:lnTo>
                  <a:pt x="64" y="107"/>
                </a:lnTo>
                <a:lnTo>
                  <a:pt x="62" y="106"/>
                </a:lnTo>
                <a:lnTo>
                  <a:pt x="60" y="106"/>
                </a:lnTo>
                <a:lnTo>
                  <a:pt x="56" y="108"/>
                </a:lnTo>
                <a:lnTo>
                  <a:pt x="58" y="110"/>
                </a:lnTo>
                <a:lnTo>
                  <a:pt x="60" y="112"/>
                </a:lnTo>
                <a:lnTo>
                  <a:pt x="59" y="114"/>
                </a:lnTo>
                <a:lnTo>
                  <a:pt x="56" y="115"/>
                </a:lnTo>
                <a:lnTo>
                  <a:pt x="53" y="118"/>
                </a:lnTo>
                <a:lnTo>
                  <a:pt x="52" y="121"/>
                </a:lnTo>
                <a:lnTo>
                  <a:pt x="48" y="124"/>
                </a:lnTo>
                <a:lnTo>
                  <a:pt x="46" y="127"/>
                </a:lnTo>
                <a:lnTo>
                  <a:pt x="47" y="132"/>
                </a:lnTo>
                <a:lnTo>
                  <a:pt x="48" y="135"/>
                </a:lnTo>
                <a:lnTo>
                  <a:pt x="49" y="140"/>
                </a:lnTo>
                <a:lnTo>
                  <a:pt x="48" y="143"/>
                </a:lnTo>
                <a:lnTo>
                  <a:pt x="44" y="148"/>
                </a:lnTo>
                <a:lnTo>
                  <a:pt x="42" y="152"/>
                </a:lnTo>
                <a:lnTo>
                  <a:pt x="46" y="152"/>
                </a:lnTo>
                <a:lnTo>
                  <a:pt x="48" y="153"/>
                </a:lnTo>
                <a:lnTo>
                  <a:pt x="49" y="154"/>
                </a:lnTo>
                <a:lnTo>
                  <a:pt x="51" y="156"/>
                </a:lnTo>
                <a:lnTo>
                  <a:pt x="50" y="158"/>
                </a:lnTo>
                <a:lnTo>
                  <a:pt x="51" y="163"/>
                </a:lnTo>
                <a:close/>
                <a:moveTo>
                  <a:pt x="92" y="28"/>
                </a:moveTo>
                <a:lnTo>
                  <a:pt x="92" y="28"/>
                </a:lnTo>
                <a:lnTo>
                  <a:pt x="91" y="30"/>
                </a:lnTo>
                <a:lnTo>
                  <a:pt x="86" y="28"/>
                </a:lnTo>
                <a:lnTo>
                  <a:pt x="88" y="25"/>
                </a:lnTo>
                <a:lnTo>
                  <a:pt x="93" y="24"/>
                </a:lnTo>
                <a:lnTo>
                  <a:pt x="96" y="24"/>
                </a:lnTo>
                <a:lnTo>
                  <a:pt x="93" y="27"/>
                </a:lnTo>
                <a:lnTo>
                  <a:pt x="92" y="28"/>
                </a:lnTo>
                <a:close/>
                <a:moveTo>
                  <a:pt x="139" y="111"/>
                </a:moveTo>
                <a:lnTo>
                  <a:pt x="139" y="111"/>
                </a:lnTo>
                <a:lnTo>
                  <a:pt x="139" y="117"/>
                </a:lnTo>
                <a:lnTo>
                  <a:pt x="138" y="118"/>
                </a:lnTo>
                <a:lnTo>
                  <a:pt x="137" y="119"/>
                </a:lnTo>
                <a:lnTo>
                  <a:pt x="134" y="120"/>
                </a:lnTo>
                <a:lnTo>
                  <a:pt x="131" y="122"/>
                </a:lnTo>
                <a:lnTo>
                  <a:pt x="129" y="125"/>
                </a:lnTo>
                <a:lnTo>
                  <a:pt x="128" y="129"/>
                </a:lnTo>
                <a:lnTo>
                  <a:pt x="130" y="131"/>
                </a:lnTo>
                <a:lnTo>
                  <a:pt x="133" y="133"/>
                </a:lnTo>
                <a:lnTo>
                  <a:pt x="134" y="138"/>
                </a:lnTo>
                <a:lnTo>
                  <a:pt x="131" y="141"/>
                </a:lnTo>
                <a:lnTo>
                  <a:pt x="124" y="144"/>
                </a:lnTo>
                <a:lnTo>
                  <a:pt x="123" y="150"/>
                </a:lnTo>
                <a:lnTo>
                  <a:pt x="124" y="155"/>
                </a:lnTo>
                <a:lnTo>
                  <a:pt x="124" y="159"/>
                </a:lnTo>
                <a:lnTo>
                  <a:pt x="123" y="164"/>
                </a:lnTo>
                <a:lnTo>
                  <a:pt x="117" y="166"/>
                </a:lnTo>
                <a:lnTo>
                  <a:pt x="113" y="159"/>
                </a:lnTo>
                <a:lnTo>
                  <a:pt x="113" y="156"/>
                </a:lnTo>
                <a:lnTo>
                  <a:pt x="112" y="152"/>
                </a:lnTo>
                <a:lnTo>
                  <a:pt x="112" y="149"/>
                </a:lnTo>
                <a:lnTo>
                  <a:pt x="111" y="144"/>
                </a:lnTo>
                <a:lnTo>
                  <a:pt x="105" y="143"/>
                </a:lnTo>
                <a:lnTo>
                  <a:pt x="103" y="142"/>
                </a:lnTo>
                <a:lnTo>
                  <a:pt x="100" y="143"/>
                </a:lnTo>
                <a:lnTo>
                  <a:pt x="99" y="143"/>
                </a:lnTo>
                <a:lnTo>
                  <a:pt x="95" y="136"/>
                </a:lnTo>
                <a:lnTo>
                  <a:pt x="96" y="129"/>
                </a:lnTo>
                <a:lnTo>
                  <a:pt x="94" y="125"/>
                </a:lnTo>
                <a:lnTo>
                  <a:pt x="94" y="123"/>
                </a:lnTo>
                <a:lnTo>
                  <a:pt x="94" y="121"/>
                </a:lnTo>
                <a:lnTo>
                  <a:pt x="92" y="120"/>
                </a:lnTo>
                <a:lnTo>
                  <a:pt x="90" y="119"/>
                </a:lnTo>
                <a:lnTo>
                  <a:pt x="89" y="115"/>
                </a:lnTo>
                <a:lnTo>
                  <a:pt x="92" y="114"/>
                </a:lnTo>
                <a:lnTo>
                  <a:pt x="97" y="114"/>
                </a:lnTo>
                <a:lnTo>
                  <a:pt x="99" y="114"/>
                </a:lnTo>
                <a:lnTo>
                  <a:pt x="100" y="113"/>
                </a:lnTo>
                <a:lnTo>
                  <a:pt x="105" y="106"/>
                </a:lnTo>
                <a:lnTo>
                  <a:pt x="104" y="104"/>
                </a:lnTo>
                <a:lnTo>
                  <a:pt x="105" y="102"/>
                </a:lnTo>
                <a:lnTo>
                  <a:pt x="110" y="102"/>
                </a:lnTo>
                <a:lnTo>
                  <a:pt x="112" y="104"/>
                </a:lnTo>
                <a:lnTo>
                  <a:pt x="111" y="109"/>
                </a:lnTo>
                <a:lnTo>
                  <a:pt x="112" y="114"/>
                </a:lnTo>
                <a:lnTo>
                  <a:pt x="115" y="116"/>
                </a:lnTo>
                <a:lnTo>
                  <a:pt x="116" y="116"/>
                </a:lnTo>
                <a:lnTo>
                  <a:pt x="117" y="112"/>
                </a:lnTo>
                <a:lnTo>
                  <a:pt x="118" y="110"/>
                </a:lnTo>
                <a:lnTo>
                  <a:pt x="119" y="109"/>
                </a:lnTo>
                <a:lnTo>
                  <a:pt x="119" y="105"/>
                </a:lnTo>
                <a:lnTo>
                  <a:pt x="119" y="103"/>
                </a:lnTo>
                <a:lnTo>
                  <a:pt x="117" y="101"/>
                </a:lnTo>
                <a:lnTo>
                  <a:pt x="123" y="96"/>
                </a:lnTo>
                <a:lnTo>
                  <a:pt x="128" y="92"/>
                </a:lnTo>
                <a:lnTo>
                  <a:pt x="131" y="92"/>
                </a:lnTo>
                <a:lnTo>
                  <a:pt x="135" y="93"/>
                </a:lnTo>
                <a:lnTo>
                  <a:pt x="138" y="94"/>
                </a:lnTo>
                <a:lnTo>
                  <a:pt x="139" y="96"/>
                </a:lnTo>
                <a:lnTo>
                  <a:pt x="140" y="97"/>
                </a:lnTo>
                <a:lnTo>
                  <a:pt x="138" y="101"/>
                </a:lnTo>
                <a:lnTo>
                  <a:pt x="138" y="104"/>
                </a:lnTo>
                <a:lnTo>
                  <a:pt x="139" y="111"/>
                </a:lnTo>
                <a:close/>
                <a:moveTo>
                  <a:pt x="78" y="111"/>
                </a:moveTo>
                <a:lnTo>
                  <a:pt x="78" y="111"/>
                </a:lnTo>
                <a:lnTo>
                  <a:pt x="77" y="112"/>
                </a:lnTo>
                <a:lnTo>
                  <a:pt x="75" y="111"/>
                </a:lnTo>
                <a:lnTo>
                  <a:pt x="75" y="108"/>
                </a:lnTo>
                <a:lnTo>
                  <a:pt x="76" y="104"/>
                </a:lnTo>
                <a:lnTo>
                  <a:pt x="75" y="101"/>
                </a:lnTo>
                <a:lnTo>
                  <a:pt x="76" y="100"/>
                </a:lnTo>
                <a:lnTo>
                  <a:pt x="79" y="104"/>
                </a:lnTo>
                <a:lnTo>
                  <a:pt x="80" y="106"/>
                </a:lnTo>
                <a:lnTo>
                  <a:pt x="78" y="108"/>
                </a:lnTo>
                <a:lnTo>
                  <a:pt x="78" y="111"/>
                </a:lnTo>
                <a:close/>
                <a:moveTo>
                  <a:pt x="142" y="121"/>
                </a:moveTo>
                <a:lnTo>
                  <a:pt x="142" y="121"/>
                </a:lnTo>
                <a:lnTo>
                  <a:pt x="139" y="124"/>
                </a:lnTo>
                <a:lnTo>
                  <a:pt x="139" y="124"/>
                </a:lnTo>
                <a:lnTo>
                  <a:pt x="138" y="120"/>
                </a:lnTo>
                <a:lnTo>
                  <a:pt x="139" y="119"/>
                </a:lnTo>
                <a:lnTo>
                  <a:pt x="140" y="117"/>
                </a:lnTo>
                <a:lnTo>
                  <a:pt x="141" y="117"/>
                </a:lnTo>
                <a:lnTo>
                  <a:pt x="142" y="119"/>
                </a:lnTo>
                <a:lnTo>
                  <a:pt x="142" y="121"/>
                </a:lnTo>
                <a:close/>
                <a:moveTo>
                  <a:pt x="79" y="121"/>
                </a:moveTo>
                <a:lnTo>
                  <a:pt x="79" y="121"/>
                </a:lnTo>
                <a:lnTo>
                  <a:pt x="80" y="124"/>
                </a:lnTo>
                <a:lnTo>
                  <a:pt x="82" y="130"/>
                </a:lnTo>
                <a:lnTo>
                  <a:pt x="84" y="137"/>
                </a:lnTo>
                <a:lnTo>
                  <a:pt x="83" y="139"/>
                </a:lnTo>
                <a:lnTo>
                  <a:pt x="84" y="143"/>
                </a:lnTo>
                <a:lnTo>
                  <a:pt x="83" y="147"/>
                </a:lnTo>
                <a:lnTo>
                  <a:pt x="78" y="151"/>
                </a:lnTo>
                <a:lnTo>
                  <a:pt x="73" y="151"/>
                </a:lnTo>
                <a:lnTo>
                  <a:pt x="67" y="149"/>
                </a:lnTo>
                <a:lnTo>
                  <a:pt x="59" y="145"/>
                </a:lnTo>
                <a:lnTo>
                  <a:pt x="58" y="143"/>
                </a:lnTo>
                <a:lnTo>
                  <a:pt x="57" y="142"/>
                </a:lnTo>
                <a:lnTo>
                  <a:pt x="55" y="135"/>
                </a:lnTo>
                <a:lnTo>
                  <a:pt x="55" y="126"/>
                </a:lnTo>
                <a:lnTo>
                  <a:pt x="59" y="125"/>
                </a:lnTo>
                <a:lnTo>
                  <a:pt x="68" y="121"/>
                </a:lnTo>
                <a:lnTo>
                  <a:pt x="70" y="121"/>
                </a:lnTo>
                <a:lnTo>
                  <a:pt x="72" y="123"/>
                </a:lnTo>
                <a:lnTo>
                  <a:pt x="75" y="124"/>
                </a:lnTo>
                <a:lnTo>
                  <a:pt x="78" y="121"/>
                </a:lnTo>
                <a:lnTo>
                  <a:pt x="79" y="121"/>
                </a:lnTo>
                <a:close/>
                <a:moveTo>
                  <a:pt x="218" y="153"/>
                </a:moveTo>
                <a:lnTo>
                  <a:pt x="218" y="153"/>
                </a:lnTo>
                <a:lnTo>
                  <a:pt x="216" y="154"/>
                </a:lnTo>
                <a:lnTo>
                  <a:pt x="211" y="152"/>
                </a:lnTo>
                <a:lnTo>
                  <a:pt x="205" y="149"/>
                </a:lnTo>
                <a:lnTo>
                  <a:pt x="206" y="141"/>
                </a:lnTo>
                <a:lnTo>
                  <a:pt x="208" y="138"/>
                </a:lnTo>
                <a:lnTo>
                  <a:pt x="219" y="146"/>
                </a:lnTo>
                <a:lnTo>
                  <a:pt x="219" y="149"/>
                </a:lnTo>
                <a:lnTo>
                  <a:pt x="218" y="153"/>
                </a:lnTo>
                <a:close/>
                <a:moveTo>
                  <a:pt x="82" y="168"/>
                </a:moveTo>
                <a:lnTo>
                  <a:pt x="82" y="168"/>
                </a:lnTo>
                <a:lnTo>
                  <a:pt x="80" y="168"/>
                </a:lnTo>
                <a:lnTo>
                  <a:pt x="79" y="163"/>
                </a:lnTo>
                <a:lnTo>
                  <a:pt x="78" y="162"/>
                </a:lnTo>
                <a:lnTo>
                  <a:pt x="81" y="159"/>
                </a:lnTo>
                <a:lnTo>
                  <a:pt x="82" y="156"/>
                </a:lnTo>
                <a:lnTo>
                  <a:pt x="86" y="151"/>
                </a:lnTo>
                <a:lnTo>
                  <a:pt x="88" y="145"/>
                </a:lnTo>
                <a:lnTo>
                  <a:pt x="89" y="146"/>
                </a:lnTo>
                <a:lnTo>
                  <a:pt x="88" y="151"/>
                </a:lnTo>
                <a:lnTo>
                  <a:pt x="83" y="165"/>
                </a:lnTo>
                <a:lnTo>
                  <a:pt x="82" y="168"/>
                </a:lnTo>
                <a:close/>
                <a:moveTo>
                  <a:pt x="61" y="160"/>
                </a:moveTo>
                <a:lnTo>
                  <a:pt x="61" y="160"/>
                </a:lnTo>
                <a:lnTo>
                  <a:pt x="58" y="161"/>
                </a:lnTo>
                <a:lnTo>
                  <a:pt x="56" y="160"/>
                </a:lnTo>
                <a:lnTo>
                  <a:pt x="53" y="159"/>
                </a:lnTo>
                <a:lnTo>
                  <a:pt x="52" y="151"/>
                </a:lnTo>
                <a:lnTo>
                  <a:pt x="52" y="150"/>
                </a:lnTo>
                <a:lnTo>
                  <a:pt x="54" y="151"/>
                </a:lnTo>
                <a:lnTo>
                  <a:pt x="59" y="155"/>
                </a:lnTo>
                <a:lnTo>
                  <a:pt x="61" y="159"/>
                </a:lnTo>
                <a:lnTo>
                  <a:pt x="61" y="160"/>
                </a:lnTo>
                <a:close/>
                <a:moveTo>
                  <a:pt x="138" y="156"/>
                </a:moveTo>
                <a:lnTo>
                  <a:pt x="138" y="156"/>
                </a:lnTo>
                <a:lnTo>
                  <a:pt x="137" y="157"/>
                </a:lnTo>
                <a:lnTo>
                  <a:pt x="132" y="156"/>
                </a:lnTo>
                <a:lnTo>
                  <a:pt x="127" y="160"/>
                </a:lnTo>
                <a:lnTo>
                  <a:pt x="125" y="159"/>
                </a:lnTo>
                <a:lnTo>
                  <a:pt x="126" y="156"/>
                </a:lnTo>
                <a:lnTo>
                  <a:pt x="126" y="155"/>
                </a:lnTo>
                <a:lnTo>
                  <a:pt x="128" y="154"/>
                </a:lnTo>
                <a:lnTo>
                  <a:pt x="129" y="153"/>
                </a:lnTo>
                <a:lnTo>
                  <a:pt x="130" y="151"/>
                </a:lnTo>
                <a:lnTo>
                  <a:pt x="131" y="152"/>
                </a:lnTo>
                <a:lnTo>
                  <a:pt x="134" y="152"/>
                </a:lnTo>
                <a:lnTo>
                  <a:pt x="136" y="153"/>
                </a:lnTo>
                <a:lnTo>
                  <a:pt x="137" y="154"/>
                </a:lnTo>
                <a:lnTo>
                  <a:pt x="138" y="156"/>
                </a:lnTo>
                <a:close/>
                <a:moveTo>
                  <a:pt x="74" y="162"/>
                </a:moveTo>
                <a:lnTo>
                  <a:pt x="74" y="162"/>
                </a:lnTo>
                <a:lnTo>
                  <a:pt x="72" y="163"/>
                </a:lnTo>
                <a:lnTo>
                  <a:pt x="70" y="162"/>
                </a:lnTo>
                <a:lnTo>
                  <a:pt x="66" y="157"/>
                </a:lnTo>
                <a:lnTo>
                  <a:pt x="65" y="156"/>
                </a:lnTo>
                <a:lnTo>
                  <a:pt x="67" y="157"/>
                </a:lnTo>
                <a:lnTo>
                  <a:pt x="70" y="159"/>
                </a:lnTo>
                <a:lnTo>
                  <a:pt x="72" y="160"/>
                </a:lnTo>
                <a:lnTo>
                  <a:pt x="75" y="162"/>
                </a:lnTo>
                <a:lnTo>
                  <a:pt x="74" y="162"/>
                </a:lnTo>
                <a:close/>
                <a:moveTo>
                  <a:pt x="101" y="160"/>
                </a:moveTo>
                <a:lnTo>
                  <a:pt x="101" y="160"/>
                </a:lnTo>
                <a:lnTo>
                  <a:pt x="107" y="163"/>
                </a:lnTo>
                <a:lnTo>
                  <a:pt x="111" y="163"/>
                </a:lnTo>
                <a:lnTo>
                  <a:pt x="113" y="164"/>
                </a:lnTo>
                <a:lnTo>
                  <a:pt x="114" y="167"/>
                </a:lnTo>
                <a:lnTo>
                  <a:pt x="114" y="171"/>
                </a:lnTo>
                <a:lnTo>
                  <a:pt x="111" y="173"/>
                </a:lnTo>
                <a:lnTo>
                  <a:pt x="108" y="172"/>
                </a:lnTo>
                <a:lnTo>
                  <a:pt x="104" y="174"/>
                </a:lnTo>
                <a:lnTo>
                  <a:pt x="91" y="166"/>
                </a:lnTo>
                <a:lnTo>
                  <a:pt x="91" y="160"/>
                </a:lnTo>
                <a:lnTo>
                  <a:pt x="92" y="157"/>
                </a:lnTo>
                <a:lnTo>
                  <a:pt x="98" y="15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0" name="Estonia">
            <a:extLst>
              <a:ext uri="{FF2B5EF4-FFF2-40B4-BE49-F238E27FC236}">
                <a16:creationId xmlns:a16="http://schemas.microsoft.com/office/drawing/2014/main" id="{C1313B33-36BB-493D-8219-0BB0EEF6F140}"/>
              </a:ext>
            </a:extLst>
          </p:cNvPr>
          <p:cNvSpPr>
            <a:spLocks noEditPoints="1"/>
          </p:cNvSpPr>
          <p:nvPr/>
        </p:nvSpPr>
        <p:spPr bwMode="auto">
          <a:xfrm>
            <a:off x="6475264" y="2677002"/>
            <a:ext cx="189720" cy="105926"/>
          </a:xfrm>
          <a:custGeom>
            <a:avLst/>
            <a:gdLst>
              <a:gd name="T0" fmla="*/ 195 w 196"/>
              <a:gd name="T1" fmla="*/ 15 h 126"/>
              <a:gd name="T2" fmla="*/ 193 w 196"/>
              <a:gd name="T3" fmla="*/ 19 h 126"/>
              <a:gd name="T4" fmla="*/ 187 w 196"/>
              <a:gd name="T5" fmla="*/ 28 h 126"/>
              <a:gd name="T6" fmla="*/ 175 w 196"/>
              <a:gd name="T7" fmla="*/ 49 h 126"/>
              <a:gd name="T8" fmla="*/ 177 w 196"/>
              <a:gd name="T9" fmla="*/ 76 h 126"/>
              <a:gd name="T10" fmla="*/ 178 w 196"/>
              <a:gd name="T11" fmla="*/ 91 h 126"/>
              <a:gd name="T12" fmla="*/ 184 w 196"/>
              <a:gd name="T13" fmla="*/ 106 h 126"/>
              <a:gd name="T14" fmla="*/ 177 w 196"/>
              <a:gd name="T15" fmla="*/ 111 h 126"/>
              <a:gd name="T16" fmla="*/ 172 w 196"/>
              <a:gd name="T17" fmla="*/ 121 h 126"/>
              <a:gd name="T18" fmla="*/ 166 w 196"/>
              <a:gd name="T19" fmla="*/ 126 h 126"/>
              <a:gd name="T20" fmla="*/ 154 w 196"/>
              <a:gd name="T21" fmla="*/ 123 h 126"/>
              <a:gd name="T22" fmla="*/ 136 w 196"/>
              <a:gd name="T23" fmla="*/ 119 h 126"/>
              <a:gd name="T24" fmla="*/ 122 w 196"/>
              <a:gd name="T25" fmla="*/ 106 h 126"/>
              <a:gd name="T26" fmla="*/ 108 w 196"/>
              <a:gd name="T27" fmla="*/ 96 h 126"/>
              <a:gd name="T28" fmla="*/ 106 w 196"/>
              <a:gd name="T29" fmla="*/ 99 h 126"/>
              <a:gd name="T30" fmla="*/ 95 w 196"/>
              <a:gd name="T31" fmla="*/ 99 h 126"/>
              <a:gd name="T32" fmla="*/ 78 w 196"/>
              <a:gd name="T33" fmla="*/ 107 h 126"/>
              <a:gd name="T34" fmla="*/ 82 w 196"/>
              <a:gd name="T35" fmla="*/ 83 h 126"/>
              <a:gd name="T36" fmla="*/ 79 w 196"/>
              <a:gd name="T37" fmla="*/ 76 h 126"/>
              <a:gd name="T38" fmla="*/ 70 w 196"/>
              <a:gd name="T39" fmla="*/ 83 h 126"/>
              <a:gd name="T40" fmla="*/ 57 w 196"/>
              <a:gd name="T41" fmla="*/ 69 h 126"/>
              <a:gd name="T42" fmla="*/ 56 w 196"/>
              <a:gd name="T43" fmla="*/ 54 h 126"/>
              <a:gd name="T44" fmla="*/ 51 w 196"/>
              <a:gd name="T45" fmla="*/ 50 h 126"/>
              <a:gd name="T46" fmla="*/ 50 w 196"/>
              <a:gd name="T47" fmla="*/ 37 h 126"/>
              <a:gd name="T48" fmla="*/ 55 w 196"/>
              <a:gd name="T49" fmla="*/ 25 h 126"/>
              <a:gd name="T50" fmla="*/ 72 w 196"/>
              <a:gd name="T51" fmla="*/ 16 h 126"/>
              <a:gd name="T52" fmla="*/ 111 w 196"/>
              <a:gd name="T53" fmla="*/ 7 h 126"/>
              <a:gd name="T54" fmla="*/ 117 w 196"/>
              <a:gd name="T55" fmla="*/ 1 h 126"/>
              <a:gd name="T56" fmla="*/ 155 w 196"/>
              <a:gd name="T57" fmla="*/ 11 h 126"/>
              <a:gd name="T58" fmla="*/ 191 w 196"/>
              <a:gd name="T59" fmla="*/ 11 h 126"/>
              <a:gd name="T60" fmla="*/ 30 w 196"/>
              <a:gd name="T61" fmla="*/ 53 h 126"/>
              <a:gd name="T62" fmla="*/ 21 w 196"/>
              <a:gd name="T63" fmla="*/ 58 h 126"/>
              <a:gd name="T64" fmla="*/ 14 w 196"/>
              <a:gd name="T65" fmla="*/ 46 h 126"/>
              <a:gd name="T66" fmla="*/ 20 w 196"/>
              <a:gd name="T67" fmla="*/ 38 h 126"/>
              <a:gd name="T68" fmla="*/ 26 w 196"/>
              <a:gd name="T69" fmla="*/ 37 h 126"/>
              <a:gd name="T70" fmla="*/ 36 w 196"/>
              <a:gd name="T71" fmla="*/ 49 h 126"/>
              <a:gd name="T72" fmla="*/ 43 w 196"/>
              <a:gd name="T73" fmla="*/ 67 h 126"/>
              <a:gd name="T74" fmla="*/ 46 w 196"/>
              <a:gd name="T75" fmla="*/ 60 h 126"/>
              <a:gd name="T76" fmla="*/ 23 w 196"/>
              <a:gd name="T77" fmla="*/ 62 h 126"/>
              <a:gd name="T78" fmla="*/ 34 w 196"/>
              <a:gd name="T79" fmla="*/ 63 h 126"/>
              <a:gd name="T80" fmla="*/ 38 w 196"/>
              <a:gd name="T81" fmla="*/ 75 h 126"/>
              <a:gd name="T82" fmla="*/ 28 w 196"/>
              <a:gd name="T83" fmla="*/ 83 h 126"/>
              <a:gd name="T84" fmla="*/ 13 w 196"/>
              <a:gd name="T85" fmla="*/ 89 h 126"/>
              <a:gd name="T86" fmla="*/ 4 w 196"/>
              <a:gd name="T87" fmla="*/ 103 h 126"/>
              <a:gd name="T88" fmla="*/ 10 w 196"/>
              <a:gd name="T89" fmla="*/ 90 h 126"/>
              <a:gd name="T90" fmla="*/ 0 w 196"/>
              <a:gd name="T91" fmla="*/ 81 h 126"/>
              <a:gd name="T92" fmla="*/ 4 w 196"/>
              <a:gd name="T93" fmla="*/ 76 h 126"/>
              <a:gd name="T94" fmla="*/ 7 w 196"/>
              <a:gd name="T95" fmla="*/ 71 h 126"/>
              <a:gd name="T96" fmla="*/ 14 w 196"/>
              <a:gd name="T97" fmla="*/ 6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126">
                <a:moveTo>
                  <a:pt x="192" y="10"/>
                </a:moveTo>
                <a:lnTo>
                  <a:pt x="192" y="10"/>
                </a:lnTo>
                <a:lnTo>
                  <a:pt x="193" y="12"/>
                </a:lnTo>
                <a:lnTo>
                  <a:pt x="195" y="15"/>
                </a:lnTo>
                <a:lnTo>
                  <a:pt x="196" y="16"/>
                </a:lnTo>
                <a:lnTo>
                  <a:pt x="195" y="18"/>
                </a:lnTo>
                <a:lnTo>
                  <a:pt x="193" y="18"/>
                </a:lnTo>
                <a:lnTo>
                  <a:pt x="193" y="19"/>
                </a:lnTo>
                <a:lnTo>
                  <a:pt x="192" y="21"/>
                </a:lnTo>
                <a:lnTo>
                  <a:pt x="189" y="21"/>
                </a:lnTo>
                <a:lnTo>
                  <a:pt x="188" y="22"/>
                </a:lnTo>
                <a:lnTo>
                  <a:pt x="187" y="28"/>
                </a:lnTo>
                <a:lnTo>
                  <a:pt x="184" y="36"/>
                </a:lnTo>
                <a:lnTo>
                  <a:pt x="179" y="43"/>
                </a:lnTo>
                <a:lnTo>
                  <a:pt x="176" y="46"/>
                </a:lnTo>
                <a:lnTo>
                  <a:pt x="175" y="49"/>
                </a:lnTo>
                <a:lnTo>
                  <a:pt x="174" y="52"/>
                </a:lnTo>
                <a:lnTo>
                  <a:pt x="173" y="55"/>
                </a:lnTo>
                <a:lnTo>
                  <a:pt x="177" y="73"/>
                </a:lnTo>
                <a:lnTo>
                  <a:pt x="177" y="76"/>
                </a:lnTo>
                <a:lnTo>
                  <a:pt x="176" y="80"/>
                </a:lnTo>
                <a:lnTo>
                  <a:pt x="175" y="83"/>
                </a:lnTo>
                <a:lnTo>
                  <a:pt x="176" y="86"/>
                </a:lnTo>
                <a:lnTo>
                  <a:pt x="178" y="91"/>
                </a:lnTo>
                <a:lnTo>
                  <a:pt x="180" y="98"/>
                </a:lnTo>
                <a:lnTo>
                  <a:pt x="181" y="103"/>
                </a:lnTo>
                <a:lnTo>
                  <a:pt x="183" y="104"/>
                </a:lnTo>
                <a:lnTo>
                  <a:pt x="184" y="106"/>
                </a:lnTo>
                <a:lnTo>
                  <a:pt x="184" y="106"/>
                </a:lnTo>
                <a:lnTo>
                  <a:pt x="184" y="107"/>
                </a:lnTo>
                <a:lnTo>
                  <a:pt x="184" y="108"/>
                </a:lnTo>
                <a:lnTo>
                  <a:pt x="177" y="111"/>
                </a:lnTo>
                <a:lnTo>
                  <a:pt x="176" y="113"/>
                </a:lnTo>
                <a:lnTo>
                  <a:pt x="175" y="115"/>
                </a:lnTo>
                <a:lnTo>
                  <a:pt x="173" y="118"/>
                </a:lnTo>
                <a:lnTo>
                  <a:pt x="172" y="121"/>
                </a:lnTo>
                <a:lnTo>
                  <a:pt x="171" y="125"/>
                </a:lnTo>
                <a:lnTo>
                  <a:pt x="171" y="126"/>
                </a:lnTo>
                <a:lnTo>
                  <a:pt x="170" y="126"/>
                </a:lnTo>
                <a:lnTo>
                  <a:pt x="166" y="126"/>
                </a:lnTo>
                <a:lnTo>
                  <a:pt x="161" y="123"/>
                </a:lnTo>
                <a:lnTo>
                  <a:pt x="159" y="122"/>
                </a:lnTo>
                <a:lnTo>
                  <a:pt x="157" y="122"/>
                </a:lnTo>
                <a:lnTo>
                  <a:pt x="154" y="123"/>
                </a:lnTo>
                <a:lnTo>
                  <a:pt x="145" y="126"/>
                </a:lnTo>
                <a:lnTo>
                  <a:pt x="143" y="125"/>
                </a:lnTo>
                <a:lnTo>
                  <a:pt x="138" y="122"/>
                </a:lnTo>
                <a:lnTo>
                  <a:pt x="136" y="119"/>
                </a:lnTo>
                <a:lnTo>
                  <a:pt x="130" y="111"/>
                </a:lnTo>
                <a:lnTo>
                  <a:pt x="129" y="110"/>
                </a:lnTo>
                <a:lnTo>
                  <a:pt x="129" y="108"/>
                </a:lnTo>
                <a:lnTo>
                  <a:pt x="122" y="106"/>
                </a:lnTo>
                <a:lnTo>
                  <a:pt x="120" y="104"/>
                </a:lnTo>
                <a:lnTo>
                  <a:pt x="118" y="104"/>
                </a:lnTo>
                <a:lnTo>
                  <a:pt x="116" y="102"/>
                </a:lnTo>
                <a:lnTo>
                  <a:pt x="108" y="96"/>
                </a:lnTo>
                <a:lnTo>
                  <a:pt x="107" y="96"/>
                </a:lnTo>
                <a:lnTo>
                  <a:pt x="106" y="97"/>
                </a:lnTo>
                <a:lnTo>
                  <a:pt x="106" y="98"/>
                </a:lnTo>
                <a:lnTo>
                  <a:pt x="106" y="99"/>
                </a:lnTo>
                <a:lnTo>
                  <a:pt x="105" y="99"/>
                </a:lnTo>
                <a:lnTo>
                  <a:pt x="103" y="97"/>
                </a:lnTo>
                <a:lnTo>
                  <a:pt x="101" y="95"/>
                </a:lnTo>
                <a:lnTo>
                  <a:pt x="95" y="99"/>
                </a:lnTo>
                <a:lnTo>
                  <a:pt x="93" y="99"/>
                </a:lnTo>
                <a:lnTo>
                  <a:pt x="91" y="100"/>
                </a:lnTo>
                <a:lnTo>
                  <a:pt x="81" y="104"/>
                </a:lnTo>
                <a:lnTo>
                  <a:pt x="78" y="107"/>
                </a:lnTo>
                <a:lnTo>
                  <a:pt x="77" y="106"/>
                </a:lnTo>
                <a:lnTo>
                  <a:pt x="77" y="104"/>
                </a:lnTo>
                <a:lnTo>
                  <a:pt x="81" y="93"/>
                </a:lnTo>
                <a:lnTo>
                  <a:pt x="82" y="83"/>
                </a:lnTo>
                <a:lnTo>
                  <a:pt x="83" y="82"/>
                </a:lnTo>
                <a:lnTo>
                  <a:pt x="84" y="81"/>
                </a:lnTo>
                <a:lnTo>
                  <a:pt x="83" y="78"/>
                </a:lnTo>
                <a:lnTo>
                  <a:pt x="79" y="76"/>
                </a:lnTo>
                <a:lnTo>
                  <a:pt x="77" y="76"/>
                </a:lnTo>
                <a:lnTo>
                  <a:pt x="75" y="79"/>
                </a:lnTo>
                <a:lnTo>
                  <a:pt x="74" y="82"/>
                </a:lnTo>
                <a:lnTo>
                  <a:pt x="70" y="83"/>
                </a:lnTo>
                <a:lnTo>
                  <a:pt x="67" y="81"/>
                </a:lnTo>
                <a:lnTo>
                  <a:pt x="59" y="78"/>
                </a:lnTo>
                <a:lnTo>
                  <a:pt x="57" y="73"/>
                </a:lnTo>
                <a:lnTo>
                  <a:pt x="57" y="69"/>
                </a:lnTo>
                <a:lnTo>
                  <a:pt x="53" y="65"/>
                </a:lnTo>
                <a:lnTo>
                  <a:pt x="51" y="60"/>
                </a:lnTo>
                <a:lnTo>
                  <a:pt x="52" y="56"/>
                </a:lnTo>
                <a:lnTo>
                  <a:pt x="56" y="54"/>
                </a:lnTo>
                <a:lnTo>
                  <a:pt x="57" y="52"/>
                </a:lnTo>
                <a:lnTo>
                  <a:pt x="52" y="52"/>
                </a:lnTo>
                <a:lnTo>
                  <a:pt x="51" y="52"/>
                </a:lnTo>
                <a:lnTo>
                  <a:pt x="51" y="50"/>
                </a:lnTo>
                <a:lnTo>
                  <a:pt x="49" y="44"/>
                </a:lnTo>
                <a:lnTo>
                  <a:pt x="51" y="42"/>
                </a:lnTo>
                <a:lnTo>
                  <a:pt x="51" y="39"/>
                </a:lnTo>
                <a:lnTo>
                  <a:pt x="50" y="37"/>
                </a:lnTo>
                <a:lnTo>
                  <a:pt x="50" y="35"/>
                </a:lnTo>
                <a:lnTo>
                  <a:pt x="51" y="33"/>
                </a:lnTo>
                <a:lnTo>
                  <a:pt x="51" y="27"/>
                </a:lnTo>
                <a:lnTo>
                  <a:pt x="55" y="25"/>
                </a:lnTo>
                <a:lnTo>
                  <a:pt x="60" y="23"/>
                </a:lnTo>
                <a:lnTo>
                  <a:pt x="69" y="22"/>
                </a:lnTo>
                <a:lnTo>
                  <a:pt x="68" y="17"/>
                </a:lnTo>
                <a:lnTo>
                  <a:pt x="72" y="16"/>
                </a:lnTo>
                <a:lnTo>
                  <a:pt x="78" y="10"/>
                </a:lnTo>
                <a:lnTo>
                  <a:pt x="85" y="11"/>
                </a:lnTo>
                <a:lnTo>
                  <a:pt x="94" y="7"/>
                </a:lnTo>
                <a:lnTo>
                  <a:pt x="111" y="7"/>
                </a:lnTo>
                <a:lnTo>
                  <a:pt x="114" y="5"/>
                </a:lnTo>
                <a:lnTo>
                  <a:pt x="114" y="3"/>
                </a:lnTo>
                <a:lnTo>
                  <a:pt x="114" y="0"/>
                </a:lnTo>
                <a:lnTo>
                  <a:pt x="117" y="1"/>
                </a:lnTo>
                <a:lnTo>
                  <a:pt x="122" y="0"/>
                </a:lnTo>
                <a:lnTo>
                  <a:pt x="143" y="5"/>
                </a:lnTo>
                <a:lnTo>
                  <a:pt x="148" y="5"/>
                </a:lnTo>
                <a:lnTo>
                  <a:pt x="155" y="11"/>
                </a:lnTo>
                <a:lnTo>
                  <a:pt x="159" y="12"/>
                </a:lnTo>
                <a:lnTo>
                  <a:pt x="170" y="12"/>
                </a:lnTo>
                <a:lnTo>
                  <a:pt x="188" y="14"/>
                </a:lnTo>
                <a:lnTo>
                  <a:pt x="191" y="11"/>
                </a:lnTo>
                <a:lnTo>
                  <a:pt x="192" y="10"/>
                </a:lnTo>
                <a:close/>
                <a:moveTo>
                  <a:pt x="33" y="50"/>
                </a:moveTo>
                <a:lnTo>
                  <a:pt x="33" y="50"/>
                </a:lnTo>
                <a:lnTo>
                  <a:pt x="30" y="53"/>
                </a:lnTo>
                <a:lnTo>
                  <a:pt x="29" y="51"/>
                </a:lnTo>
                <a:lnTo>
                  <a:pt x="28" y="50"/>
                </a:lnTo>
                <a:lnTo>
                  <a:pt x="25" y="57"/>
                </a:lnTo>
                <a:lnTo>
                  <a:pt x="21" y="58"/>
                </a:lnTo>
                <a:lnTo>
                  <a:pt x="19" y="57"/>
                </a:lnTo>
                <a:lnTo>
                  <a:pt x="19" y="54"/>
                </a:lnTo>
                <a:lnTo>
                  <a:pt x="17" y="47"/>
                </a:lnTo>
                <a:lnTo>
                  <a:pt x="14" y="46"/>
                </a:lnTo>
                <a:lnTo>
                  <a:pt x="9" y="45"/>
                </a:lnTo>
                <a:lnTo>
                  <a:pt x="6" y="43"/>
                </a:lnTo>
                <a:lnTo>
                  <a:pt x="19" y="41"/>
                </a:lnTo>
                <a:lnTo>
                  <a:pt x="20" y="38"/>
                </a:lnTo>
                <a:lnTo>
                  <a:pt x="23" y="34"/>
                </a:lnTo>
                <a:lnTo>
                  <a:pt x="24" y="34"/>
                </a:lnTo>
                <a:lnTo>
                  <a:pt x="26" y="35"/>
                </a:lnTo>
                <a:lnTo>
                  <a:pt x="26" y="37"/>
                </a:lnTo>
                <a:lnTo>
                  <a:pt x="27" y="38"/>
                </a:lnTo>
                <a:lnTo>
                  <a:pt x="33" y="40"/>
                </a:lnTo>
                <a:lnTo>
                  <a:pt x="35" y="44"/>
                </a:lnTo>
                <a:lnTo>
                  <a:pt x="36" y="49"/>
                </a:lnTo>
                <a:lnTo>
                  <a:pt x="33" y="50"/>
                </a:lnTo>
                <a:close/>
                <a:moveTo>
                  <a:pt x="46" y="66"/>
                </a:moveTo>
                <a:lnTo>
                  <a:pt x="46" y="66"/>
                </a:lnTo>
                <a:lnTo>
                  <a:pt x="43" y="67"/>
                </a:lnTo>
                <a:lnTo>
                  <a:pt x="37" y="63"/>
                </a:lnTo>
                <a:lnTo>
                  <a:pt x="39" y="60"/>
                </a:lnTo>
                <a:lnTo>
                  <a:pt x="40" y="59"/>
                </a:lnTo>
                <a:lnTo>
                  <a:pt x="46" y="60"/>
                </a:lnTo>
                <a:lnTo>
                  <a:pt x="46" y="65"/>
                </a:lnTo>
                <a:lnTo>
                  <a:pt x="46" y="66"/>
                </a:lnTo>
                <a:close/>
                <a:moveTo>
                  <a:pt x="23" y="62"/>
                </a:moveTo>
                <a:lnTo>
                  <a:pt x="23" y="62"/>
                </a:lnTo>
                <a:lnTo>
                  <a:pt x="26" y="63"/>
                </a:lnTo>
                <a:lnTo>
                  <a:pt x="28" y="63"/>
                </a:lnTo>
                <a:lnTo>
                  <a:pt x="30" y="62"/>
                </a:lnTo>
                <a:lnTo>
                  <a:pt x="34" y="63"/>
                </a:lnTo>
                <a:lnTo>
                  <a:pt x="44" y="70"/>
                </a:lnTo>
                <a:lnTo>
                  <a:pt x="45" y="72"/>
                </a:lnTo>
                <a:lnTo>
                  <a:pt x="39" y="73"/>
                </a:lnTo>
                <a:lnTo>
                  <a:pt x="38" y="75"/>
                </a:lnTo>
                <a:lnTo>
                  <a:pt x="36" y="77"/>
                </a:lnTo>
                <a:lnTo>
                  <a:pt x="35" y="77"/>
                </a:lnTo>
                <a:lnTo>
                  <a:pt x="32" y="80"/>
                </a:lnTo>
                <a:lnTo>
                  <a:pt x="28" y="83"/>
                </a:lnTo>
                <a:lnTo>
                  <a:pt x="27" y="85"/>
                </a:lnTo>
                <a:lnTo>
                  <a:pt x="20" y="85"/>
                </a:lnTo>
                <a:lnTo>
                  <a:pt x="16" y="86"/>
                </a:lnTo>
                <a:lnTo>
                  <a:pt x="13" y="89"/>
                </a:lnTo>
                <a:lnTo>
                  <a:pt x="11" y="96"/>
                </a:lnTo>
                <a:lnTo>
                  <a:pt x="9" y="101"/>
                </a:lnTo>
                <a:lnTo>
                  <a:pt x="7" y="103"/>
                </a:lnTo>
                <a:lnTo>
                  <a:pt x="4" y="103"/>
                </a:lnTo>
                <a:lnTo>
                  <a:pt x="3" y="101"/>
                </a:lnTo>
                <a:lnTo>
                  <a:pt x="4" y="99"/>
                </a:lnTo>
                <a:lnTo>
                  <a:pt x="9" y="92"/>
                </a:lnTo>
                <a:lnTo>
                  <a:pt x="10" y="90"/>
                </a:lnTo>
                <a:lnTo>
                  <a:pt x="7" y="89"/>
                </a:lnTo>
                <a:lnTo>
                  <a:pt x="5" y="86"/>
                </a:lnTo>
                <a:lnTo>
                  <a:pt x="0" y="83"/>
                </a:lnTo>
                <a:lnTo>
                  <a:pt x="0" y="81"/>
                </a:lnTo>
                <a:lnTo>
                  <a:pt x="1" y="81"/>
                </a:lnTo>
                <a:lnTo>
                  <a:pt x="2" y="80"/>
                </a:lnTo>
                <a:lnTo>
                  <a:pt x="3" y="78"/>
                </a:lnTo>
                <a:lnTo>
                  <a:pt x="4" y="76"/>
                </a:lnTo>
                <a:lnTo>
                  <a:pt x="0" y="69"/>
                </a:lnTo>
                <a:lnTo>
                  <a:pt x="2" y="68"/>
                </a:lnTo>
                <a:lnTo>
                  <a:pt x="4" y="69"/>
                </a:lnTo>
                <a:lnTo>
                  <a:pt x="7" y="71"/>
                </a:lnTo>
                <a:lnTo>
                  <a:pt x="9" y="68"/>
                </a:lnTo>
                <a:lnTo>
                  <a:pt x="11" y="68"/>
                </a:lnTo>
                <a:lnTo>
                  <a:pt x="12" y="69"/>
                </a:lnTo>
                <a:lnTo>
                  <a:pt x="14" y="64"/>
                </a:lnTo>
                <a:lnTo>
                  <a:pt x="19" y="63"/>
                </a:lnTo>
                <a:lnTo>
                  <a:pt x="21" y="6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2" name="Faroe Islands">
            <a:extLst>
              <a:ext uri="{FF2B5EF4-FFF2-40B4-BE49-F238E27FC236}">
                <a16:creationId xmlns:a16="http://schemas.microsoft.com/office/drawing/2014/main" id="{96D81EEA-F523-49B1-BBB6-FBD363465790}"/>
              </a:ext>
            </a:extLst>
          </p:cNvPr>
          <p:cNvSpPr>
            <a:spLocks noEditPoints="1"/>
          </p:cNvSpPr>
          <p:nvPr/>
        </p:nvSpPr>
        <p:spPr bwMode="auto">
          <a:xfrm>
            <a:off x="5595857" y="2527920"/>
            <a:ext cx="29017" cy="52964"/>
          </a:xfrm>
          <a:custGeom>
            <a:avLst/>
            <a:gdLst>
              <a:gd name="T0" fmla="*/ 31 w 31"/>
              <a:gd name="T1" fmla="*/ 6 h 62"/>
              <a:gd name="T2" fmla="*/ 28 w 31"/>
              <a:gd name="T3" fmla="*/ 10 h 62"/>
              <a:gd name="T4" fmla="*/ 27 w 31"/>
              <a:gd name="T5" fmla="*/ 8 h 62"/>
              <a:gd name="T6" fmla="*/ 27 w 31"/>
              <a:gd name="T7" fmla="*/ 0 h 62"/>
              <a:gd name="T8" fmla="*/ 31 w 31"/>
              <a:gd name="T9" fmla="*/ 6 h 62"/>
              <a:gd name="T10" fmla="*/ 24 w 31"/>
              <a:gd name="T11" fmla="*/ 8 h 62"/>
              <a:gd name="T12" fmla="*/ 22 w 31"/>
              <a:gd name="T13" fmla="*/ 17 h 62"/>
              <a:gd name="T14" fmla="*/ 18 w 31"/>
              <a:gd name="T15" fmla="*/ 14 h 62"/>
              <a:gd name="T16" fmla="*/ 18 w 31"/>
              <a:gd name="T17" fmla="*/ 17 h 62"/>
              <a:gd name="T18" fmla="*/ 21 w 31"/>
              <a:gd name="T19" fmla="*/ 24 h 62"/>
              <a:gd name="T20" fmla="*/ 21 w 31"/>
              <a:gd name="T21" fmla="*/ 27 h 62"/>
              <a:gd name="T22" fmla="*/ 12 w 31"/>
              <a:gd name="T23" fmla="*/ 17 h 62"/>
              <a:gd name="T24" fmla="*/ 14 w 31"/>
              <a:gd name="T25" fmla="*/ 2 h 62"/>
              <a:gd name="T26" fmla="*/ 24 w 31"/>
              <a:gd name="T27" fmla="*/ 8 h 62"/>
              <a:gd name="T28" fmla="*/ 7 w 31"/>
              <a:gd name="T29" fmla="*/ 14 h 62"/>
              <a:gd name="T30" fmla="*/ 11 w 31"/>
              <a:gd name="T31" fmla="*/ 19 h 62"/>
              <a:gd name="T32" fmla="*/ 7 w 31"/>
              <a:gd name="T33" fmla="*/ 21 h 62"/>
              <a:gd name="T34" fmla="*/ 1 w 31"/>
              <a:gd name="T35" fmla="*/ 18 h 62"/>
              <a:gd name="T36" fmla="*/ 2 w 31"/>
              <a:gd name="T37" fmla="*/ 14 h 62"/>
              <a:gd name="T38" fmla="*/ 7 w 31"/>
              <a:gd name="T39" fmla="*/ 14 h 62"/>
              <a:gd name="T40" fmla="*/ 25 w 31"/>
              <a:gd name="T41" fmla="*/ 36 h 62"/>
              <a:gd name="T42" fmla="*/ 23 w 31"/>
              <a:gd name="T43" fmla="*/ 39 h 62"/>
              <a:gd name="T44" fmla="*/ 18 w 31"/>
              <a:gd name="T45" fmla="*/ 34 h 62"/>
              <a:gd name="T46" fmla="*/ 16 w 31"/>
              <a:gd name="T47" fmla="*/ 30 h 62"/>
              <a:gd name="T48" fmla="*/ 19 w 31"/>
              <a:gd name="T49" fmla="*/ 30 h 62"/>
              <a:gd name="T50" fmla="*/ 24 w 31"/>
              <a:gd name="T51" fmla="*/ 35 h 62"/>
              <a:gd name="T52" fmla="*/ 22 w 31"/>
              <a:gd name="T53" fmla="*/ 60 h 62"/>
              <a:gd name="T54" fmla="*/ 23 w 31"/>
              <a:gd name="T55" fmla="*/ 62 h 62"/>
              <a:gd name="T56" fmla="*/ 20 w 31"/>
              <a:gd name="T57" fmla="*/ 59 h 62"/>
              <a:gd name="T58" fmla="*/ 15 w 31"/>
              <a:gd name="T59" fmla="*/ 50 h 62"/>
              <a:gd name="T60" fmla="*/ 16 w 31"/>
              <a:gd name="T61" fmla="*/ 48 h 62"/>
              <a:gd name="T62" fmla="*/ 20 w 31"/>
              <a:gd name="T63" fmla="*/ 51 h 62"/>
              <a:gd name="T64" fmla="*/ 21 w 31"/>
              <a:gd name="T65"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62">
                <a:moveTo>
                  <a:pt x="31" y="6"/>
                </a:moveTo>
                <a:lnTo>
                  <a:pt x="31" y="6"/>
                </a:lnTo>
                <a:lnTo>
                  <a:pt x="30" y="11"/>
                </a:lnTo>
                <a:lnTo>
                  <a:pt x="28" y="10"/>
                </a:lnTo>
                <a:lnTo>
                  <a:pt x="27" y="10"/>
                </a:lnTo>
                <a:lnTo>
                  <a:pt x="27" y="8"/>
                </a:lnTo>
                <a:lnTo>
                  <a:pt x="27" y="5"/>
                </a:lnTo>
                <a:lnTo>
                  <a:pt x="27" y="0"/>
                </a:lnTo>
                <a:lnTo>
                  <a:pt x="29" y="4"/>
                </a:lnTo>
                <a:lnTo>
                  <a:pt x="31" y="6"/>
                </a:lnTo>
                <a:close/>
                <a:moveTo>
                  <a:pt x="24" y="8"/>
                </a:moveTo>
                <a:lnTo>
                  <a:pt x="24" y="8"/>
                </a:lnTo>
                <a:lnTo>
                  <a:pt x="24" y="17"/>
                </a:lnTo>
                <a:lnTo>
                  <a:pt x="22" y="17"/>
                </a:lnTo>
                <a:lnTo>
                  <a:pt x="20" y="15"/>
                </a:lnTo>
                <a:lnTo>
                  <a:pt x="18" y="14"/>
                </a:lnTo>
                <a:lnTo>
                  <a:pt x="18" y="15"/>
                </a:lnTo>
                <a:lnTo>
                  <a:pt x="18" y="17"/>
                </a:lnTo>
                <a:lnTo>
                  <a:pt x="19" y="18"/>
                </a:lnTo>
                <a:lnTo>
                  <a:pt x="21" y="24"/>
                </a:lnTo>
                <a:lnTo>
                  <a:pt x="22" y="26"/>
                </a:lnTo>
                <a:lnTo>
                  <a:pt x="21" y="27"/>
                </a:lnTo>
                <a:lnTo>
                  <a:pt x="19" y="25"/>
                </a:lnTo>
                <a:lnTo>
                  <a:pt x="12" y="17"/>
                </a:lnTo>
                <a:lnTo>
                  <a:pt x="7" y="4"/>
                </a:lnTo>
                <a:lnTo>
                  <a:pt x="14" y="2"/>
                </a:lnTo>
                <a:lnTo>
                  <a:pt x="19" y="6"/>
                </a:lnTo>
                <a:lnTo>
                  <a:pt x="24" y="8"/>
                </a:lnTo>
                <a:close/>
                <a:moveTo>
                  <a:pt x="7" y="14"/>
                </a:moveTo>
                <a:lnTo>
                  <a:pt x="7" y="14"/>
                </a:lnTo>
                <a:lnTo>
                  <a:pt x="10" y="17"/>
                </a:lnTo>
                <a:lnTo>
                  <a:pt x="11" y="19"/>
                </a:lnTo>
                <a:lnTo>
                  <a:pt x="9" y="20"/>
                </a:lnTo>
                <a:lnTo>
                  <a:pt x="7" y="21"/>
                </a:lnTo>
                <a:lnTo>
                  <a:pt x="5" y="20"/>
                </a:lnTo>
                <a:lnTo>
                  <a:pt x="1" y="18"/>
                </a:lnTo>
                <a:lnTo>
                  <a:pt x="0" y="14"/>
                </a:lnTo>
                <a:lnTo>
                  <a:pt x="2" y="14"/>
                </a:lnTo>
                <a:lnTo>
                  <a:pt x="6" y="13"/>
                </a:lnTo>
                <a:lnTo>
                  <a:pt x="7" y="14"/>
                </a:lnTo>
                <a:close/>
                <a:moveTo>
                  <a:pt x="25" y="36"/>
                </a:moveTo>
                <a:lnTo>
                  <a:pt x="25" y="36"/>
                </a:lnTo>
                <a:lnTo>
                  <a:pt x="24" y="39"/>
                </a:lnTo>
                <a:lnTo>
                  <a:pt x="23" y="39"/>
                </a:lnTo>
                <a:lnTo>
                  <a:pt x="20" y="36"/>
                </a:lnTo>
                <a:lnTo>
                  <a:pt x="18" y="34"/>
                </a:lnTo>
                <a:lnTo>
                  <a:pt x="17" y="33"/>
                </a:lnTo>
                <a:lnTo>
                  <a:pt x="16" y="30"/>
                </a:lnTo>
                <a:lnTo>
                  <a:pt x="18" y="30"/>
                </a:lnTo>
                <a:lnTo>
                  <a:pt x="19" y="30"/>
                </a:lnTo>
                <a:lnTo>
                  <a:pt x="23" y="33"/>
                </a:lnTo>
                <a:lnTo>
                  <a:pt x="24" y="35"/>
                </a:lnTo>
                <a:lnTo>
                  <a:pt x="25" y="36"/>
                </a:lnTo>
                <a:close/>
                <a:moveTo>
                  <a:pt x="22" y="60"/>
                </a:moveTo>
                <a:lnTo>
                  <a:pt x="22" y="60"/>
                </a:lnTo>
                <a:lnTo>
                  <a:pt x="23" y="62"/>
                </a:lnTo>
                <a:lnTo>
                  <a:pt x="22" y="62"/>
                </a:lnTo>
                <a:lnTo>
                  <a:pt x="20" y="59"/>
                </a:lnTo>
                <a:lnTo>
                  <a:pt x="16" y="54"/>
                </a:lnTo>
                <a:lnTo>
                  <a:pt x="15" y="50"/>
                </a:lnTo>
                <a:lnTo>
                  <a:pt x="15" y="48"/>
                </a:lnTo>
                <a:lnTo>
                  <a:pt x="16" y="48"/>
                </a:lnTo>
                <a:lnTo>
                  <a:pt x="17" y="50"/>
                </a:lnTo>
                <a:lnTo>
                  <a:pt x="20" y="51"/>
                </a:lnTo>
                <a:lnTo>
                  <a:pt x="21" y="52"/>
                </a:lnTo>
                <a:lnTo>
                  <a:pt x="21" y="54"/>
                </a:lnTo>
                <a:lnTo>
                  <a:pt x="22" y="5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3" name="France">
            <a:extLst>
              <a:ext uri="{FF2B5EF4-FFF2-40B4-BE49-F238E27FC236}">
                <a16:creationId xmlns:a16="http://schemas.microsoft.com/office/drawing/2014/main" id="{553AF87F-9BE4-405D-BEE2-5A19F356ACBD}"/>
              </a:ext>
            </a:extLst>
          </p:cNvPr>
          <p:cNvSpPr>
            <a:spLocks noEditPoints="1"/>
          </p:cNvSpPr>
          <p:nvPr/>
        </p:nvSpPr>
        <p:spPr bwMode="auto">
          <a:xfrm>
            <a:off x="5673977" y="3075208"/>
            <a:ext cx="430776" cy="370743"/>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4" name="Greece">
            <a:extLst>
              <a:ext uri="{FF2B5EF4-FFF2-40B4-BE49-F238E27FC236}">
                <a16:creationId xmlns:a16="http://schemas.microsoft.com/office/drawing/2014/main" id="{6E1D9D03-3867-4473-8C7C-AC6D7BEB67BF}"/>
              </a:ext>
            </a:extLst>
          </p:cNvPr>
          <p:cNvSpPr>
            <a:spLocks noEditPoints="1"/>
          </p:cNvSpPr>
          <p:nvPr/>
        </p:nvSpPr>
        <p:spPr bwMode="auto">
          <a:xfrm>
            <a:off x="6408304" y="3432219"/>
            <a:ext cx="256680" cy="229509"/>
          </a:xfrm>
          <a:custGeom>
            <a:avLst/>
            <a:gdLst>
              <a:gd name="T0" fmla="*/ 209 w 267"/>
              <a:gd name="T1" fmla="*/ 30 h 270"/>
              <a:gd name="T2" fmla="*/ 157 w 267"/>
              <a:gd name="T3" fmla="*/ 37 h 270"/>
              <a:gd name="T4" fmla="*/ 145 w 267"/>
              <a:gd name="T5" fmla="*/ 62 h 270"/>
              <a:gd name="T6" fmla="*/ 125 w 267"/>
              <a:gd name="T7" fmla="*/ 63 h 270"/>
              <a:gd name="T8" fmla="*/ 99 w 267"/>
              <a:gd name="T9" fmla="*/ 48 h 270"/>
              <a:gd name="T10" fmla="*/ 109 w 267"/>
              <a:gd name="T11" fmla="*/ 108 h 270"/>
              <a:gd name="T12" fmla="*/ 93 w 267"/>
              <a:gd name="T13" fmla="*/ 118 h 270"/>
              <a:gd name="T14" fmla="*/ 137 w 267"/>
              <a:gd name="T15" fmla="*/ 163 h 270"/>
              <a:gd name="T16" fmla="*/ 111 w 267"/>
              <a:gd name="T17" fmla="*/ 167 h 270"/>
              <a:gd name="T18" fmla="*/ 97 w 267"/>
              <a:gd name="T19" fmla="*/ 168 h 270"/>
              <a:gd name="T20" fmla="*/ 92 w 267"/>
              <a:gd name="T21" fmla="*/ 200 h 270"/>
              <a:gd name="T22" fmla="*/ 65 w 267"/>
              <a:gd name="T23" fmla="*/ 196 h 270"/>
              <a:gd name="T24" fmla="*/ 59 w 267"/>
              <a:gd name="T25" fmla="*/ 145 h 270"/>
              <a:gd name="T26" fmla="*/ 110 w 267"/>
              <a:gd name="T27" fmla="*/ 147 h 270"/>
              <a:gd name="T28" fmla="*/ 64 w 267"/>
              <a:gd name="T29" fmla="*/ 138 h 270"/>
              <a:gd name="T30" fmla="*/ 35 w 267"/>
              <a:gd name="T31" fmla="*/ 115 h 270"/>
              <a:gd name="T32" fmla="*/ 17 w 267"/>
              <a:gd name="T33" fmla="*/ 90 h 270"/>
              <a:gd name="T34" fmla="*/ 21 w 267"/>
              <a:gd name="T35" fmla="*/ 74 h 270"/>
              <a:gd name="T36" fmla="*/ 41 w 267"/>
              <a:gd name="T37" fmla="*/ 52 h 270"/>
              <a:gd name="T38" fmla="*/ 73 w 267"/>
              <a:gd name="T39" fmla="*/ 26 h 270"/>
              <a:gd name="T40" fmla="*/ 118 w 267"/>
              <a:gd name="T41" fmla="*/ 15 h 270"/>
              <a:gd name="T42" fmla="*/ 156 w 267"/>
              <a:gd name="T43" fmla="*/ 14 h 270"/>
              <a:gd name="T44" fmla="*/ 202 w 267"/>
              <a:gd name="T45" fmla="*/ 10 h 270"/>
              <a:gd name="T46" fmla="*/ 160 w 267"/>
              <a:gd name="T47" fmla="*/ 42 h 270"/>
              <a:gd name="T48" fmla="*/ 178 w 267"/>
              <a:gd name="T49" fmla="*/ 80 h 270"/>
              <a:gd name="T50" fmla="*/ 178 w 267"/>
              <a:gd name="T51" fmla="*/ 71 h 270"/>
              <a:gd name="T52" fmla="*/ 7 w 267"/>
              <a:gd name="T53" fmla="*/ 85 h 270"/>
              <a:gd name="T54" fmla="*/ 213 w 267"/>
              <a:gd name="T55" fmla="*/ 109 h 270"/>
              <a:gd name="T56" fmla="*/ 201 w 267"/>
              <a:gd name="T57" fmla="*/ 100 h 270"/>
              <a:gd name="T58" fmla="*/ 123 w 267"/>
              <a:gd name="T59" fmla="*/ 104 h 270"/>
              <a:gd name="T60" fmla="*/ 144 w 267"/>
              <a:gd name="T61" fmla="*/ 143 h 270"/>
              <a:gd name="T62" fmla="*/ 140 w 267"/>
              <a:gd name="T63" fmla="*/ 142 h 270"/>
              <a:gd name="T64" fmla="*/ 102 w 267"/>
              <a:gd name="T65" fmla="*/ 119 h 270"/>
              <a:gd name="T66" fmla="*/ 151 w 267"/>
              <a:gd name="T67" fmla="*/ 113 h 270"/>
              <a:gd name="T68" fmla="*/ 32 w 267"/>
              <a:gd name="T69" fmla="*/ 128 h 270"/>
              <a:gd name="T70" fmla="*/ 203 w 267"/>
              <a:gd name="T71" fmla="*/ 140 h 270"/>
              <a:gd name="T72" fmla="*/ 30 w 267"/>
              <a:gd name="T73" fmla="*/ 137 h 270"/>
              <a:gd name="T74" fmla="*/ 22 w 267"/>
              <a:gd name="T75" fmla="*/ 143 h 270"/>
              <a:gd name="T76" fmla="*/ 119 w 267"/>
              <a:gd name="T77" fmla="*/ 153 h 270"/>
              <a:gd name="T78" fmla="*/ 165 w 267"/>
              <a:gd name="T79" fmla="*/ 156 h 270"/>
              <a:gd name="T80" fmla="*/ 224 w 267"/>
              <a:gd name="T81" fmla="*/ 159 h 270"/>
              <a:gd name="T82" fmla="*/ 147 w 267"/>
              <a:gd name="T83" fmla="*/ 169 h 270"/>
              <a:gd name="T84" fmla="*/ 174 w 267"/>
              <a:gd name="T85" fmla="*/ 167 h 270"/>
              <a:gd name="T86" fmla="*/ 176 w 267"/>
              <a:gd name="T87" fmla="*/ 172 h 270"/>
              <a:gd name="T88" fmla="*/ 148 w 267"/>
              <a:gd name="T89" fmla="*/ 176 h 270"/>
              <a:gd name="T90" fmla="*/ 184 w 267"/>
              <a:gd name="T91" fmla="*/ 192 h 270"/>
              <a:gd name="T92" fmla="*/ 174 w 267"/>
              <a:gd name="T93" fmla="*/ 185 h 270"/>
              <a:gd name="T94" fmla="*/ 157 w 267"/>
              <a:gd name="T95" fmla="*/ 194 h 270"/>
              <a:gd name="T96" fmla="*/ 200 w 267"/>
              <a:gd name="T97" fmla="*/ 195 h 270"/>
              <a:gd name="T98" fmla="*/ 179 w 267"/>
              <a:gd name="T99" fmla="*/ 204 h 270"/>
              <a:gd name="T100" fmla="*/ 150 w 267"/>
              <a:gd name="T101" fmla="*/ 201 h 270"/>
              <a:gd name="T102" fmla="*/ 206 w 267"/>
              <a:gd name="T103" fmla="*/ 209 h 270"/>
              <a:gd name="T104" fmla="*/ 181 w 267"/>
              <a:gd name="T105" fmla="*/ 213 h 270"/>
              <a:gd name="T106" fmla="*/ 265 w 267"/>
              <a:gd name="T107" fmla="*/ 222 h 270"/>
              <a:gd name="T108" fmla="*/ 235 w 267"/>
              <a:gd name="T109" fmla="*/ 250 h 270"/>
              <a:gd name="T110" fmla="*/ 133 w 267"/>
              <a:gd name="T111" fmla="*/ 248 h 270"/>
              <a:gd name="T112" fmla="*/ 152 w 267"/>
              <a:gd name="T113" fmla="*/ 254 h 270"/>
              <a:gd name="T114" fmla="*/ 203 w 267"/>
              <a:gd name="T115" fmla="*/ 260 h 270"/>
              <a:gd name="T116" fmla="*/ 158 w 267"/>
              <a:gd name="T117" fmla="*/ 265 h 270"/>
              <a:gd name="T118" fmla="*/ 127 w 267"/>
              <a:gd name="T119" fmla="*/ 24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7" h="270">
                <a:moveTo>
                  <a:pt x="208" y="2"/>
                </a:moveTo>
                <a:lnTo>
                  <a:pt x="208" y="2"/>
                </a:lnTo>
                <a:lnTo>
                  <a:pt x="211" y="2"/>
                </a:lnTo>
                <a:lnTo>
                  <a:pt x="212" y="4"/>
                </a:lnTo>
                <a:lnTo>
                  <a:pt x="213" y="5"/>
                </a:lnTo>
                <a:lnTo>
                  <a:pt x="215" y="6"/>
                </a:lnTo>
                <a:lnTo>
                  <a:pt x="216" y="6"/>
                </a:lnTo>
                <a:lnTo>
                  <a:pt x="217" y="10"/>
                </a:lnTo>
                <a:lnTo>
                  <a:pt x="217" y="15"/>
                </a:lnTo>
                <a:lnTo>
                  <a:pt x="217" y="17"/>
                </a:lnTo>
                <a:lnTo>
                  <a:pt x="215" y="17"/>
                </a:lnTo>
                <a:lnTo>
                  <a:pt x="208" y="21"/>
                </a:lnTo>
                <a:lnTo>
                  <a:pt x="208" y="25"/>
                </a:lnTo>
                <a:lnTo>
                  <a:pt x="208" y="27"/>
                </a:lnTo>
                <a:lnTo>
                  <a:pt x="208" y="29"/>
                </a:lnTo>
                <a:lnTo>
                  <a:pt x="209" y="30"/>
                </a:lnTo>
                <a:lnTo>
                  <a:pt x="209" y="31"/>
                </a:lnTo>
                <a:lnTo>
                  <a:pt x="208" y="33"/>
                </a:lnTo>
                <a:lnTo>
                  <a:pt x="205" y="36"/>
                </a:lnTo>
                <a:lnTo>
                  <a:pt x="203" y="38"/>
                </a:lnTo>
                <a:lnTo>
                  <a:pt x="201" y="42"/>
                </a:lnTo>
                <a:lnTo>
                  <a:pt x="200" y="42"/>
                </a:lnTo>
                <a:lnTo>
                  <a:pt x="199" y="42"/>
                </a:lnTo>
                <a:lnTo>
                  <a:pt x="198" y="41"/>
                </a:lnTo>
                <a:lnTo>
                  <a:pt x="193" y="38"/>
                </a:lnTo>
                <a:lnTo>
                  <a:pt x="182" y="36"/>
                </a:lnTo>
                <a:lnTo>
                  <a:pt x="177" y="34"/>
                </a:lnTo>
                <a:lnTo>
                  <a:pt x="175" y="34"/>
                </a:lnTo>
                <a:lnTo>
                  <a:pt x="170" y="31"/>
                </a:lnTo>
                <a:lnTo>
                  <a:pt x="167" y="33"/>
                </a:lnTo>
                <a:lnTo>
                  <a:pt x="160" y="37"/>
                </a:lnTo>
                <a:lnTo>
                  <a:pt x="157" y="37"/>
                </a:lnTo>
                <a:lnTo>
                  <a:pt x="153" y="34"/>
                </a:lnTo>
                <a:lnTo>
                  <a:pt x="150" y="33"/>
                </a:lnTo>
                <a:lnTo>
                  <a:pt x="148" y="35"/>
                </a:lnTo>
                <a:lnTo>
                  <a:pt x="143" y="40"/>
                </a:lnTo>
                <a:lnTo>
                  <a:pt x="138" y="43"/>
                </a:lnTo>
                <a:lnTo>
                  <a:pt x="134" y="42"/>
                </a:lnTo>
                <a:lnTo>
                  <a:pt x="128" y="42"/>
                </a:lnTo>
                <a:lnTo>
                  <a:pt x="128" y="45"/>
                </a:lnTo>
                <a:lnTo>
                  <a:pt x="129" y="47"/>
                </a:lnTo>
                <a:lnTo>
                  <a:pt x="132" y="50"/>
                </a:lnTo>
                <a:lnTo>
                  <a:pt x="130" y="53"/>
                </a:lnTo>
                <a:lnTo>
                  <a:pt x="131" y="55"/>
                </a:lnTo>
                <a:lnTo>
                  <a:pt x="133" y="56"/>
                </a:lnTo>
                <a:lnTo>
                  <a:pt x="136" y="55"/>
                </a:lnTo>
                <a:lnTo>
                  <a:pt x="142" y="59"/>
                </a:lnTo>
                <a:lnTo>
                  <a:pt x="145" y="62"/>
                </a:lnTo>
                <a:lnTo>
                  <a:pt x="146" y="66"/>
                </a:lnTo>
                <a:lnTo>
                  <a:pt x="143" y="63"/>
                </a:lnTo>
                <a:lnTo>
                  <a:pt x="140" y="61"/>
                </a:lnTo>
                <a:lnTo>
                  <a:pt x="137" y="60"/>
                </a:lnTo>
                <a:lnTo>
                  <a:pt x="133" y="58"/>
                </a:lnTo>
                <a:lnTo>
                  <a:pt x="130" y="57"/>
                </a:lnTo>
                <a:lnTo>
                  <a:pt x="127" y="59"/>
                </a:lnTo>
                <a:lnTo>
                  <a:pt x="127" y="60"/>
                </a:lnTo>
                <a:lnTo>
                  <a:pt x="130" y="64"/>
                </a:lnTo>
                <a:lnTo>
                  <a:pt x="133" y="66"/>
                </a:lnTo>
                <a:lnTo>
                  <a:pt x="134" y="67"/>
                </a:lnTo>
                <a:lnTo>
                  <a:pt x="136" y="71"/>
                </a:lnTo>
                <a:lnTo>
                  <a:pt x="135" y="72"/>
                </a:lnTo>
                <a:lnTo>
                  <a:pt x="134" y="74"/>
                </a:lnTo>
                <a:lnTo>
                  <a:pt x="130" y="71"/>
                </a:lnTo>
                <a:lnTo>
                  <a:pt x="125" y="63"/>
                </a:lnTo>
                <a:lnTo>
                  <a:pt x="118" y="61"/>
                </a:lnTo>
                <a:lnTo>
                  <a:pt x="116" y="63"/>
                </a:lnTo>
                <a:lnTo>
                  <a:pt x="118" y="67"/>
                </a:lnTo>
                <a:lnTo>
                  <a:pt x="119" y="69"/>
                </a:lnTo>
                <a:lnTo>
                  <a:pt x="125" y="74"/>
                </a:lnTo>
                <a:lnTo>
                  <a:pt x="125" y="75"/>
                </a:lnTo>
                <a:lnTo>
                  <a:pt x="124" y="75"/>
                </a:lnTo>
                <a:lnTo>
                  <a:pt x="117" y="72"/>
                </a:lnTo>
                <a:lnTo>
                  <a:pt x="115" y="68"/>
                </a:lnTo>
                <a:lnTo>
                  <a:pt x="114" y="63"/>
                </a:lnTo>
                <a:lnTo>
                  <a:pt x="107" y="60"/>
                </a:lnTo>
                <a:lnTo>
                  <a:pt x="101" y="56"/>
                </a:lnTo>
                <a:lnTo>
                  <a:pt x="100" y="52"/>
                </a:lnTo>
                <a:lnTo>
                  <a:pt x="101" y="51"/>
                </a:lnTo>
                <a:lnTo>
                  <a:pt x="102" y="48"/>
                </a:lnTo>
                <a:lnTo>
                  <a:pt x="99" y="48"/>
                </a:lnTo>
                <a:lnTo>
                  <a:pt x="96" y="50"/>
                </a:lnTo>
                <a:lnTo>
                  <a:pt x="93" y="52"/>
                </a:lnTo>
                <a:lnTo>
                  <a:pt x="93" y="55"/>
                </a:lnTo>
                <a:lnTo>
                  <a:pt x="93" y="57"/>
                </a:lnTo>
                <a:lnTo>
                  <a:pt x="92" y="61"/>
                </a:lnTo>
                <a:lnTo>
                  <a:pt x="91" y="67"/>
                </a:lnTo>
                <a:lnTo>
                  <a:pt x="92" y="71"/>
                </a:lnTo>
                <a:lnTo>
                  <a:pt x="99" y="80"/>
                </a:lnTo>
                <a:lnTo>
                  <a:pt x="102" y="87"/>
                </a:lnTo>
                <a:lnTo>
                  <a:pt x="104" y="90"/>
                </a:lnTo>
                <a:lnTo>
                  <a:pt x="108" y="93"/>
                </a:lnTo>
                <a:lnTo>
                  <a:pt x="112" y="98"/>
                </a:lnTo>
                <a:lnTo>
                  <a:pt x="113" y="101"/>
                </a:lnTo>
                <a:lnTo>
                  <a:pt x="115" y="105"/>
                </a:lnTo>
                <a:lnTo>
                  <a:pt x="111" y="108"/>
                </a:lnTo>
                <a:lnTo>
                  <a:pt x="109" y="108"/>
                </a:lnTo>
                <a:lnTo>
                  <a:pt x="108" y="107"/>
                </a:lnTo>
                <a:lnTo>
                  <a:pt x="110" y="104"/>
                </a:lnTo>
                <a:lnTo>
                  <a:pt x="109" y="102"/>
                </a:lnTo>
                <a:lnTo>
                  <a:pt x="104" y="99"/>
                </a:lnTo>
                <a:lnTo>
                  <a:pt x="102" y="100"/>
                </a:lnTo>
                <a:lnTo>
                  <a:pt x="99" y="102"/>
                </a:lnTo>
                <a:lnTo>
                  <a:pt x="101" y="106"/>
                </a:lnTo>
                <a:lnTo>
                  <a:pt x="102" y="108"/>
                </a:lnTo>
                <a:lnTo>
                  <a:pt x="103" y="111"/>
                </a:lnTo>
                <a:lnTo>
                  <a:pt x="106" y="111"/>
                </a:lnTo>
                <a:lnTo>
                  <a:pt x="102" y="114"/>
                </a:lnTo>
                <a:lnTo>
                  <a:pt x="98" y="116"/>
                </a:lnTo>
                <a:lnTo>
                  <a:pt x="94" y="116"/>
                </a:lnTo>
                <a:lnTo>
                  <a:pt x="92" y="117"/>
                </a:lnTo>
                <a:lnTo>
                  <a:pt x="91" y="118"/>
                </a:lnTo>
                <a:lnTo>
                  <a:pt x="93" y="118"/>
                </a:lnTo>
                <a:lnTo>
                  <a:pt x="95" y="118"/>
                </a:lnTo>
                <a:lnTo>
                  <a:pt x="97" y="120"/>
                </a:lnTo>
                <a:lnTo>
                  <a:pt x="105" y="123"/>
                </a:lnTo>
                <a:lnTo>
                  <a:pt x="109" y="126"/>
                </a:lnTo>
                <a:lnTo>
                  <a:pt x="112" y="126"/>
                </a:lnTo>
                <a:lnTo>
                  <a:pt x="116" y="131"/>
                </a:lnTo>
                <a:lnTo>
                  <a:pt x="122" y="133"/>
                </a:lnTo>
                <a:lnTo>
                  <a:pt x="126" y="138"/>
                </a:lnTo>
                <a:lnTo>
                  <a:pt x="130" y="139"/>
                </a:lnTo>
                <a:lnTo>
                  <a:pt x="135" y="141"/>
                </a:lnTo>
                <a:lnTo>
                  <a:pt x="136" y="143"/>
                </a:lnTo>
                <a:lnTo>
                  <a:pt x="136" y="146"/>
                </a:lnTo>
                <a:lnTo>
                  <a:pt x="137" y="154"/>
                </a:lnTo>
                <a:lnTo>
                  <a:pt x="137" y="159"/>
                </a:lnTo>
                <a:lnTo>
                  <a:pt x="138" y="161"/>
                </a:lnTo>
                <a:lnTo>
                  <a:pt x="137" y="163"/>
                </a:lnTo>
                <a:lnTo>
                  <a:pt x="136" y="165"/>
                </a:lnTo>
                <a:lnTo>
                  <a:pt x="135" y="165"/>
                </a:lnTo>
                <a:lnTo>
                  <a:pt x="132" y="161"/>
                </a:lnTo>
                <a:lnTo>
                  <a:pt x="127" y="157"/>
                </a:lnTo>
                <a:lnTo>
                  <a:pt x="122" y="152"/>
                </a:lnTo>
                <a:lnTo>
                  <a:pt x="121" y="151"/>
                </a:lnTo>
                <a:lnTo>
                  <a:pt x="120" y="151"/>
                </a:lnTo>
                <a:lnTo>
                  <a:pt x="117" y="152"/>
                </a:lnTo>
                <a:lnTo>
                  <a:pt x="110" y="154"/>
                </a:lnTo>
                <a:lnTo>
                  <a:pt x="107" y="155"/>
                </a:lnTo>
                <a:lnTo>
                  <a:pt x="106" y="156"/>
                </a:lnTo>
                <a:lnTo>
                  <a:pt x="106" y="157"/>
                </a:lnTo>
                <a:lnTo>
                  <a:pt x="107" y="158"/>
                </a:lnTo>
                <a:lnTo>
                  <a:pt x="109" y="160"/>
                </a:lnTo>
                <a:lnTo>
                  <a:pt x="109" y="163"/>
                </a:lnTo>
                <a:lnTo>
                  <a:pt x="111" y="167"/>
                </a:lnTo>
                <a:lnTo>
                  <a:pt x="113" y="168"/>
                </a:lnTo>
                <a:lnTo>
                  <a:pt x="115" y="168"/>
                </a:lnTo>
                <a:lnTo>
                  <a:pt x="117" y="169"/>
                </a:lnTo>
                <a:lnTo>
                  <a:pt x="117" y="170"/>
                </a:lnTo>
                <a:lnTo>
                  <a:pt x="119" y="172"/>
                </a:lnTo>
                <a:lnTo>
                  <a:pt x="120" y="173"/>
                </a:lnTo>
                <a:lnTo>
                  <a:pt x="120" y="174"/>
                </a:lnTo>
                <a:lnTo>
                  <a:pt x="112" y="176"/>
                </a:lnTo>
                <a:lnTo>
                  <a:pt x="111" y="178"/>
                </a:lnTo>
                <a:lnTo>
                  <a:pt x="109" y="178"/>
                </a:lnTo>
                <a:lnTo>
                  <a:pt x="107" y="177"/>
                </a:lnTo>
                <a:lnTo>
                  <a:pt x="107" y="174"/>
                </a:lnTo>
                <a:lnTo>
                  <a:pt x="105" y="172"/>
                </a:lnTo>
                <a:lnTo>
                  <a:pt x="103" y="171"/>
                </a:lnTo>
                <a:lnTo>
                  <a:pt x="100" y="170"/>
                </a:lnTo>
                <a:lnTo>
                  <a:pt x="97" y="168"/>
                </a:lnTo>
                <a:lnTo>
                  <a:pt x="96" y="170"/>
                </a:lnTo>
                <a:lnTo>
                  <a:pt x="97" y="176"/>
                </a:lnTo>
                <a:lnTo>
                  <a:pt x="100" y="180"/>
                </a:lnTo>
                <a:lnTo>
                  <a:pt x="104" y="191"/>
                </a:lnTo>
                <a:lnTo>
                  <a:pt x="106" y="197"/>
                </a:lnTo>
                <a:lnTo>
                  <a:pt x="107" y="200"/>
                </a:lnTo>
                <a:lnTo>
                  <a:pt x="106" y="205"/>
                </a:lnTo>
                <a:lnTo>
                  <a:pt x="108" y="209"/>
                </a:lnTo>
                <a:lnTo>
                  <a:pt x="109" y="213"/>
                </a:lnTo>
                <a:lnTo>
                  <a:pt x="108" y="212"/>
                </a:lnTo>
                <a:lnTo>
                  <a:pt x="106" y="211"/>
                </a:lnTo>
                <a:lnTo>
                  <a:pt x="104" y="209"/>
                </a:lnTo>
                <a:lnTo>
                  <a:pt x="99" y="203"/>
                </a:lnTo>
                <a:lnTo>
                  <a:pt x="98" y="199"/>
                </a:lnTo>
                <a:lnTo>
                  <a:pt x="96" y="199"/>
                </a:lnTo>
                <a:lnTo>
                  <a:pt x="92" y="200"/>
                </a:lnTo>
                <a:lnTo>
                  <a:pt x="88" y="208"/>
                </a:lnTo>
                <a:lnTo>
                  <a:pt x="88" y="213"/>
                </a:lnTo>
                <a:lnTo>
                  <a:pt x="87" y="211"/>
                </a:lnTo>
                <a:lnTo>
                  <a:pt x="85" y="210"/>
                </a:lnTo>
                <a:lnTo>
                  <a:pt x="85" y="205"/>
                </a:lnTo>
                <a:lnTo>
                  <a:pt x="85" y="203"/>
                </a:lnTo>
                <a:lnTo>
                  <a:pt x="80" y="196"/>
                </a:lnTo>
                <a:lnTo>
                  <a:pt x="78" y="195"/>
                </a:lnTo>
                <a:lnTo>
                  <a:pt x="77" y="193"/>
                </a:lnTo>
                <a:lnTo>
                  <a:pt x="76" y="190"/>
                </a:lnTo>
                <a:lnTo>
                  <a:pt x="74" y="190"/>
                </a:lnTo>
                <a:lnTo>
                  <a:pt x="72" y="192"/>
                </a:lnTo>
                <a:lnTo>
                  <a:pt x="71" y="195"/>
                </a:lnTo>
                <a:lnTo>
                  <a:pt x="71" y="199"/>
                </a:lnTo>
                <a:lnTo>
                  <a:pt x="70" y="201"/>
                </a:lnTo>
                <a:lnTo>
                  <a:pt x="65" y="196"/>
                </a:lnTo>
                <a:lnTo>
                  <a:pt x="60" y="188"/>
                </a:lnTo>
                <a:lnTo>
                  <a:pt x="60" y="183"/>
                </a:lnTo>
                <a:lnTo>
                  <a:pt x="64" y="179"/>
                </a:lnTo>
                <a:lnTo>
                  <a:pt x="63" y="176"/>
                </a:lnTo>
                <a:lnTo>
                  <a:pt x="60" y="170"/>
                </a:lnTo>
                <a:lnTo>
                  <a:pt x="55" y="166"/>
                </a:lnTo>
                <a:lnTo>
                  <a:pt x="52" y="165"/>
                </a:lnTo>
                <a:lnTo>
                  <a:pt x="51" y="161"/>
                </a:lnTo>
                <a:lnTo>
                  <a:pt x="48" y="159"/>
                </a:lnTo>
                <a:lnTo>
                  <a:pt x="46" y="158"/>
                </a:lnTo>
                <a:lnTo>
                  <a:pt x="46" y="156"/>
                </a:lnTo>
                <a:lnTo>
                  <a:pt x="47" y="155"/>
                </a:lnTo>
                <a:lnTo>
                  <a:pt x="52" y="151"/>
                </a:lnTo>
                <a:lnTo>
                  <a:pt x="55" y="144"/>
                </a:lnTo>
                <a:lnTo>
                  <a:pt x="56" y="144"/>
                </a:lnTo>
                <a:lnTo>
                  <a:pt x="59" y="145"/>
                </a:lnTo>
                <a:lnTo>
                  <a:pt x="63" y="145"/>
                </a:lnTo>
                <a:lnTo>
                  <a:pt x="65" y="141"/>
                </a:lnTo>
                <a:lnTo>
                  <a:pt x="68" y="139"/>
                </a:lnTo>
                <a:lnTo>
                  <a:pt x="72" y="139"/>
                </a:lnTo>
                <a:lnTo>
                  <a:pt x="81" y="145"/>
                </a:lnTo>
                <a:lnTo>
                  <a:pt x="91" y="148"/>
                </a:lnTo>
                <a:lnTo>
                  <a:pt x="95" y="150"/>
                </a:lnTo>
                <a:lnTo>
                  <a:pt x="98" y="153"/>
                </a:lnTo>
                <a:lnTo>
                  <a:pt x="100" y="153"/>
                </a:lnTo>
                <a:lnTo>
                  <a:pt x="102" y="154"/>
                </a:lnTo>
                <a:lnTo>
                  <a:pt x="102" y="152"/>
                </a:lnTo>
                <a:lnTo>
                  <a:pt x="101" y="150"/>
                </a:lnTo>
                <a:lnTo>
                  <a:pt x="103" y="149"/>
                </a:lnTo>
                <a:lnTo>
                  <a:pt x="108" y="149"/>
                </a:lnTo>
                <a:lnTo>
                  <a:pt x="109" y="148"/>
                </a:lnTo>
                <a:lnTo>
                  <a:pt x="110" y="147"/>
                </a:lnTo>
                <a:lnTo>
                  <a:pt x="109" y="145"/>
                </a:lnTo>
                <a:lnTo>
                  <a:pt x="107" y="144"/>
                </a:lnTo>
                <a:lnTo>
                  <a:pt x="106" y="144"/>
                </a:lnTo>
                <a:lnTo>
                  <a:pt x="104" y="144"/>
                </a:lnTo>
                <a:lnTo>
                  <a:pt x="102" y="144"/>
                </a:lnTo>
                <a:lnTo>
                  <a:pt x="99" y="143"/>
                </a:lnTo>
                <a:lnTo>
                  <a:pt x="98" y="142"/>
                </a:lnTo>
                <a:lnTo>
                  <a:pt x="97" y="141"/>
                </a:lnTo>
                <a:lnTo>
                  <a:pt x="91" y="138"/>
                </a:lnTo>
                <a:lnTo>
                  <a:pt x="86" y="135"/>
                </a:lnTo>
                <a:lnTo>
                  <a:pt x="85" y="137"/>
                </a:lnTo>
                <a:lnTo>
                  <a:pt x="83" y="138"/>
                </a:lnTo>
                <a:lnTo>
                  <a:pt x="80" y="138"/>
                </a:lnTo>
                <a:lnTo>
                  <a:pt x="72" y="136"/>
                </a:lnTo>
                <a:lnTo>
                  <a:pt x="67" y="137"/>
                </a:lnTo>
                <a:lnTo>
                  <a:pt x="64" y="138"/>
                </a:lnTo>
                <a:lnTo>
                  <a:pt x="62" y="138"/>
                </a:lnTo>
                <a:lnTo>
                  <a:pt x="60" y="139"/>
                </a:lnTo>
                <a:lnTo>
                  <a:pt x="57" y="139"/>
                </a:lnTo>
                <a:lnTo>
                  <a:pt x="54" y="136"/>
                </a:lnTo>
                <a:lnTo>
                  <a:pt x="53" y="133"/>
                </a:lnTo>
                <a:lnTo>
                  <a:pt x="52" y="133"/>
                </a:lnTo>
                <a:lnTo>
                  <a:pt x="52" y="135"/>
                </a:lnTo>
                <a:lnTo>
                  <a:pt x="52" y="137"/>
                </a:lnTo>
                <a:lnTo>
                  <a:pt x="48" y="138"/>
                </a:lnTo>
                <a:lnTo>
                  <a:pt x="46" y="137"/>
                </a:lnTo>
                <a:lnTo>
                  <a:pt x="44" y="132"/>
                </a:lnTo>
                <a:lnTo>
                  <a:pt x="42" y="126"/>
                </a:lnTo>
                <a:lnTo>
                  <a:pt x="38" y="121"/>
                </a:lnTo>
                <a:lnTo>
                  <a:pt x="35" y="120"/>
                </a:lnTo>
                <a:lnTo>
                  <a:pt x="35" y="117"/>
                </a:lnTo>
                <a:lnTo>
                  <a:pt x="35" y="115"/>
                </a:lnTo>
                <a:lnTo>
                  <a:pt x="39" y="115"/>
                </a:lnTo>
                <a:lnTo>
                  <a:pt x="44" y="117"/>
                </a:lnTo>
                <a:lnTo>
                  <a:pt x="46" y="116"/>
                </a:lnTo>
                <a:lnTo>
                  <a:pt x="47" y="115"/>
                </a:lnTo>
                <a:lnTo>
                  <a:pt x="47" y="113"/>
                </a:lnTo>
                <a:lnTo>
                  <a:pt x="46" y="111"/>
                </a:lnTo>
                <a:lnTo>
                  <a:pt x="44" y="111"/>
                </a:lnTo>
                <a:lnTo>
                  <a:pt x="43" y="111"/>
                </a:lnTo>
                <a:lnTo>
                  <a:pt x="40" y="111"/>
                </a:lnTo>
                <a:lnTo>
                  <a:pt x="35" y="112"/>
                </a:lnTo>
                <a:lnTo>
                  <a:pt x="33" y="111"/>
                </a:lnTo>
                <a:lnTo>
                  <a:pt x="32" y="110"/>
                </a:lnTo>
                <a:lnTo>
                  <a:pt x="29" y="106"/>
                </a:lnTo>
                <a:lnTo>
                  <a:pt x="25" y="102"/>
                </a:lnTo>
                <a:lnTo>
                  <a:pt x="20" y="99"/>
                </a:lnTo>
                <a:lnTo>
                  <a:pt x="17" y="90"/>
                </a:lnTo>
                <a:lnTo>
                  <a:pt x="14" y="87"/>
                </a:lnTo>
                <a:lnTo>
                  <a:pt x="11" y="84"/>
                </a:lnTo>
                <a:lnTo>
                  <a:pt x="12" y="84"/>
                </a:lnTo>
                <a:lnTo>
                  <a:pt x="13" y="84"/>
                </a:lnTo>
                <a:lnTo>
                  <a:pt x="15" y="86"/>
                </a:lnTo>
                <a:lnTo>
                  <a:pt x="17" y="86"/>
                </a:lnTo>
                <a:lnTo>
                  <a:pt x="19" y="85"/>
                </a:lnTo>
                <a:lnTo>
                  <a:pt x="19" y="84"/>
                </a:lnTo>
                <a:lnTo>
                  <a:pt x="20" y="83"/>
                </a:lnTo>
                <a:lnTo>
                  <a:pt x="20" y="81"/>
                </a:lnTo>
                <a:lnTo>
                  <a:pt x="20" y="80"/>
                </a:lnTo>
                <a:lnTo>
                  <a:pt x="22" y="80"/>
                </a:lnTo>
                <a:lnTo>
                  <a:pt x="23" y="80"/>
                </a:lnTo>
                <a:lnTo>
                  <a:pt x="23" y="78"/>
                </a:lnTo>
                <a:lnTo>
                  <a:pt x="22" y="76"/>
                </a:lnTo>
                <a:lnTo>
                  <a:pt x="21" y="74"/>
                </a:lnTo>
                <a:lnTo>
                  <a:pt x="21" y="73"/>
                </a:lnTo>
                <a:lnTo>
                  <a:pt x="21" y="72"/>
                </a:lnTo>
                <a:lnTo>
                  <a:pt x="23" y="71"/>
                </a:lnTo>
                <a:lnTo>
                  <a:pt x="24" y="70"/>
                </a:lnTo>
                <a:lnTo>
                  <a:pt x="25" y="69"/>
                </a:lnTo>
                <a:lnTo>
                  <a:pt x="27" y="69"/>
                </a:lnTo>
                <a:lnTo>
                  <a:pt x="30" y="69"/>
                </a:lnTo>
                <a:lnTo>
                  <a:pt x="31" y="67"/>
                </a:lnTo>
                <a:lnTo>
                  <a:pt x="32" y="66"/>
                </a:lnTo>
                <a:lnTo>
                  <a:pt x="33" y="62"/>
                </a:lnTo>
                <a:lnTo>
                  <a:pt x="33" y="60"/>
                </a:lnTo>
                <a:lnTo>
                  <a:pt x="34" y="58"/>
                </a:lnTo>
                <a:lnTo>
                  <a:pt x="35" y="56"/>
                </a:lnTo>
                <a:lnTo>
                  <a:pt x="36" y="54"/>
                </a:lnTo>
                <a:lnTo>
                  <a:pt x="38" y="53"/>
                </a:lnTo>
                <a:lnTo>
                  <a:pt x="41" y="52"/>
                </a:lnTo>
                <a:lnTo>
                  <a:pt x="42" y="49"/>
                </a:lnTo>
                <a:lnTo>
                  <a:pt x="43" y="47"/>
                </a:lnTo>
                <a:lnTo>
                  <a:pt x="43" y="45"/>
                </a:lnTo>
                <a:lnTo>
                  <a:pt x="42" y="43"/>
                </a:lnTo>
                <a:lnTo>
                  <a:pt x="41" y="40"/>
                </a:lnTo>
                <a:lnTo>
                  <a:pt x="41" y="37"/>
                </a:lnTo>
                <a:lnTo>
                  <a:pt x="45" y="37"/>
                </a:lnTo>
                <a:lnTo>
                  <a:pt x="47" y="37"/>
                </a:lnTo>
                <a:lnTo>
                  <a:pt x="52" y="37"/>
                </a:lnTo>
                <a:lnTo>
                  <a:pt x="55" y="35"/>
                </a:lnTo>
                <a:lnTo>
                  <a:pt x="56" y="35"/>
                </a:lnTo>
                <a:lnTo>
                  <a:pt x="60" y="37"/>
                </a:lnTo>
                <a:lnTo>
                  <a:pt x="62" y="35"/>
                </a:lnTo>
                <a:lnTo>
                  <a:pt x="66" y="33"/>
                </a:lnTo>
                <a:lnTo>
                  <a:pt x="71" y="27"/>
                </a:lnTo>
                <a:lnTo>
                  <a:pt x="73" y="26"/>
                </a:lnTo>
                <a:lnTo>
                  <a:pt x="78" y="25"/>
                </a:lnTo>
                <a:lnTo>
                  <a:pt x="79" y="25"/>
                </a:lnTo>
                <a:lnTo>
                  <a:pt x="81" y="25"/>
                </a:lnTo>
                <a:lnTo>
                  <a:pt x="86" y="26"/>
                </a:lnTo>
                <a:lnTo>
                  <a:pt x="89" y="26"/>
                </a:lnTo>
                <a:lnTo>
                  <a:pt x="92" y="25"/>
                </a:lnTo>
                <a:lnTo>
                  <a:pt x="96" y="24"/>
                </a:lnTo>
                <a:lnTo>
                  <a:pt x="97" y="18"/>
                </a:lnTo>
                <a:lnTo>
                  <a:pt x="98" y="17"/>
                </a:lnTo>
                <a:lnTo>
                  <a:pt x="100" y="17"/>
                </a:lnTo>
                <a:lnTo>
                  <a:pt x="102" y="17"/>
                </a:lnTo>
                <a:lnTo>
                  <a:pt x="105" y="18"/>
                </a:lnTo>
                <a:lnTo>
                  <a:pt x="109" y="18"/>
                </a:lnTo>
                <a:lnTo>
                  <a:pt x="112" y="15"/>
                </a:lnTo>
                <a:lnTo>
                  <a:pt x="116" y="15"/>
                </a:lnTo>
                <a:lnTo>
                  <a:pt x="118" y="15"/>
                </a:lnTo>
                <a:lnTo>
                  <a:pt x="121" y="15"/>
                </a:lnTo>
                <a:lnTo>
                  <a:pt x="124" y="15"/>
                </a:lnTo>
                <a:lnTo>
                  <a:pt x="128" y="14"/>
                </a:lnTo>
                <a:lnTo>
                  <a:pt x="132" y="12"/>
                </a:lnTo>
                <a:lnTo>
                  <a:pt x="135" y="12"/>
                </a:lnTo>
                <a:lnTo>
                  <a:pt x="136" y="12"/>
                </a:lnTo>
                <a:lnTo>
                  <a:pt x="137" y="12"/>
                </a:lnTo>
                <a:lnTo>
                  <a:pt x="137" y="9"/>
                </a:lnTo>
                <a:lnTo>
                  <a:pt x="143" y="9"/>
                </a:lnTo>
                <a:lnTo>
                  <a:pt x="145" y="9"/>
                </a:lnTo>
                <a:lnTo>
                  <a:pt x="148" y="10"/>
                </a:lnTo>
                <a:lnTo>
                  <a:pt x="151" y="8"/>
                </a:lnTo>
                <a:lnTo>
                  <a:pt x="152" y="8"/>
                </a:lnTo>
                <a:lnTo>
                  <a:pt x="153" y="12"/>
                </a:lnTo>
                <a:lnTo>
                  <a:pt x="154" y="13"/>
                </a:lnTo>
                <a:lnTo>
                  <a:pt x="156" y="14"/>
                </a:lnTo>
                <a:lnTo>
                  <a:pt x="160" y="16"/>
                </a:lnTo>
                <a:lnTo>
                  <a:pt x="160" y="16"/>
                </a:lnTo>
                <a:lnTo>
                  <a:pt x="162" y="15"/>
                </a:lnTo>
                <a:lnTo>
                  <a:pt x="167" y="16"/>
                </a:lnTo>
                <a:lnTo>
                  <a:pt x="171" y="18"/>
                </a:lnTo>
                <a:lnTo>
                  <a:pt x="175" y="21"/>
                </a:lnTo>
                <a:lnTo>
                  <a:pt x="179" y="20"/>
                </a:lnTo>
                <a:lnTo>
                  <a:pt x="183" y="19"/>
                </a:lnTo>
                <a:lnTo>
                  <a:pt x="186" y="18"/>
                </a:lnTo>
                <a:lnTo>
                  <a:pt x="189" y="18"/>
                </a:lnTo>
                <a:lnTo>
                  <a:pt x="191" y="18"/>
                </a:lnTo>
                <a:lnTo>
                  <a:pt x="196" y="18"/>
                </a:lnTo>
                <a:lnTo>
                  <a:pt x="200" y="17"/>
                </a:lnTo>
                <a:lnTo>
                  <a:pt x="202" y="15"/>
                </a:lnTo>
                <a:lnTo>
                  <a:pt x="203" y="13"/>
                </a:lnTo>
                <a:lnTo>
                  <a:pt x="202" y="10"/>
                </a:lnTo>
                <a:lnTo>
                  <a:pt x="201" y="6"/>
                </a:lnTo>
                <a:lnTo>
                  <a:pt x="200" y="5"/>
                </a:lnTo>
                <a:lnTo>
                  <a:pt x="200" y="3"/>
                </a:lnTo>
                <a:lnTo>
                  <a:pt x="201" y="2"/>
                </a:lnTo>
                <a:lnTo>
                  <a:pt x="201" y="1"/>
                </a:lnTo>
                <a:lnTo>
                  <a:pt x="204" y="0"/>
                </a:lnTo>
                <a:lnTo>
                  <a:pt x="208" y="2"/>
                </a:lnTo>
                <a:close/>
                <a:moveTo>
                  <a:pt x="160" y="47"/>
                </a:moveTo>
                <a:lnTo>
                  <a:pt x="160" y="47"/>
                </a:lnTo>
                <a:lnTo>
                  <a:pt x="156" y="48"/>
                </a:lnTo>
                <a:lnTo>
                  <a:pt x="152" y="46"/>
                </a:lnTo>
                <a:lnTo>
                  <a:pt x="152" y="44"/>
                </a:lnTo>
                <a:lnTo>
                  <a:pt x="154" y="41"/>
                </a:lnTo>
                <a:lnTo>
                  <a:pt x="155" y="40"/>
                </a:lnTo>
                <a:lnTo>
                  <a:pt x="158" y="40"/>
                </a:lnTo>
                <a:lnTo>
                  <a:pt x="160" y="42"/>
                </a:lnTo>
                <a:lnTo>
                  <a:pt x="160" y="43"/>
                </a:lnTo>
                <a:lnTo>
                  <a:pt x="159" y="45"/>
                </a:lnTo>
                <a:lnTo>
                  <a:pt x="160" y="47"/>
                </a:lnTo>
                <a:close/>
                <a:moveTo>
                  <a:pt x="188" y="55"/>
                </a:moveTo>
                <a:lnTo>
                  <a:pt x="188" y="55"/>
                </a:lnTo>
                <a:lnTo>
                  <a:pt x="185" y="56"/>
                </a:lnTo>
                <a:lnTo>
                  <a:pt x="181" y="52"/>
                </a:lnTo>
                <a:lnTo>
                  <a:pt x="184" y="51"/>
                </a:lnTo>
                <a:lnTo>
                  <a:pt x="186" y="52"/>
                </a:lnTo>
                <a:lnTo>
                  <a:pt x="187" y="53"/>
                </a:lnTo>
                <a:lnTo>
                  <a:pt x="188" y="55"/>
                </a:lnTo>
                <a:close/>
                <a:moveTo>
                  <a:pt x="180" y="73"/>
                </a:moveTo>
                <a:lnTo>
                  <a:pt x="180" y="73"/>
                </a:lnTo>
                <a:lnTo>
                  <a:pt x="179" y="74"/>
                </a:lnTo>
                <a:lnTo>
                  <a:pt x="178" y="76"/>
                </a:lnTo>
                <a:lnTo>
                  <a:pt x="178" y="80"/>
                </a:lnTo>
                <a:lnTo>
                  <a:pt x="176" y="80"/>
                </a:lnTo>
                <a:lnTo>
                  <a:pt x="175" y="79"/>
                </a:lnTo>
                <a:lnTo>
                  <a:pt x="175" y="78"/>
                </a:lnTo>
                <a:lnTo>
                  <a:pt x="174" y="76"/>
                </a:lnTo>
                <a:lnTo>
                  <a:pt x="174" y="76"/>
                </a:lnTo>
                <a:lnTo>
                  <a:pt x="173" y="78"/>
                </a:lnTo>
                <a:lnTo>
                  <a:pt x="172" y="79"/>
                </a:lnTo>
                <a:lnTo>
                  <a:pt x="171" y="79"/>
                </a:lnTo>
                <a:lnTo>
                  <a:pt x="169" y="78"/>
                </a:lnTo>
                <a:lnTo>
                  <a:pt x="169" y="76"/>
                </a:lnTo>
                <a:lnTo>
                  <a:pt x="168" y="73"/>
                </a:lnTo>
                <a:lnTo>
                  <a:pt x="169" y="72"/>
                </a:lnTo>
                <a:lnTo>
                  <a:pt x="174" y="72"/>
                </a:lnTo>
                <a:lnTo>
                  <a:pt x="176" y="74"/>
                </a:lnTo>
                <a:lnTo>
                  <a:pt x="178" y="73"/>
                </a:lnTo>
                <a:lnTo>
                  <a:pt x="178" y="71"/>
                </a:lnTo>
                <a:lnTo>
                  <a:pt x="181" y="71"/>
                </a:lnTo>
                <a:lnTo>
                  <a:pt x="180" y="73"/>
                </a:lnTo>
                <a:close/>
                <a:moveTo>
                  <a:pt x="13" y="95"/>
                </a:moveTo>
                <a:lnTo>
                  <a:pt x="13" y="95"/>
                </a:lnTo>
                <a:lnTo>
                  <a:pt x="14" y="97"/>
                </a:lnTo>
                <a:lnTo>
                  <a:pt x="10" y="96"/>
                </a:lnTo>
                <a:lnTo>
                  <a:pt x="7" y="94"/>
                </a:lnTo>
                <a:lnTo>
                  <a:pt x="5" y="89"/>
                </a:lnTo>
                <a:lnTo>
                  <a:pt x="0" y="83"/>
                </a:lnTo>
                <a:lnTo>
                  <a:pt x="0" y="82"/>
                </a:lnTo>
                <a:lnTo>
                  <a:pt x="2" y="80"/>
                </a:lnTo>
                <a:lnTo>
                  <a:pt x="6" y="79"/>
                </a:lnTo>
                <a:lnTo>
                  <a:pt x="7" y="80"/>
                </a:lnTo>
                <a:lnTo>
                  <a:pt x="8" y="81"/>
                </a:lnTo>
                <a:lnTo>
                  <a:pt x="9" y="82"/>
                </a:lnTo>
                <a:lnTo>
                  <a:pt x="7" y="85"/>
                </a:lnTo>
                <a:lnTo>
                  <a:pt x="6" y="86"/>
                </a:lnTo>
                <a:lnTo>
                  <a:pt x="8" y="88"/>
                </a:lnTo>
                <a:lnTo>
                  <a:pt x="8" y="88"/>
                </a:lnTo>
                <a:lnTo>
                  <a:pt x="9" y="92"/>
                </a:lnTo>
                <a:lnTo>
                  <a:pt x="9" y="93"/>
                </a:lnTo>
                <a:lnTo>
                  <a:pt x="12" y="95"/>
                </a:lnTo>
                <a:lnTo>
                  <a:pt x="13" y="95"/>
                </a:lnTo>
                <a:close/>
                <a:moveTo>
                  <a:pt x="211" y="99"/>
                </a:moveTo>
                <a:lnTo>
                  <a:pt x="211" y="99"/>
                </a:lnTo>
                <a:lnTo>
                  <a:pt x="210" y="102"/>
                </a:lnTo>
                <a:lnTo>
                  <a:pt x="214" y="105"/>
                </a:lnTo>
                <a:lnTo>
                  <a:pt x="216" y="108"/>
                </a:lnTo>
                <a:lnTo>
                  <a:pt x="216" y="110"/>
                </a:lnTo>
                <a:lnTo>
                  <a:pt x="216" y="111"/>
                </a:lnTo>
                <a:lnTo>
                  <a:pt x="214" y="110"/>
                </a:lnTo>
                <a:lnTo>
                  <a:pt x="213" y="109"/>
                </a:lnTo>
                <a:lnTo>
                  <a:pt x="214" y="111"/>
                </a:lnTo>
                <a:lnTo>
                  <a:pt x="215" y="113"/>
                </a:lnTo>
                <a:lnTo>
                  <a:pt x="213" y="113"/>
                </a:lnTo>
                <a:lnTo>
                  <a:pt x="210" y="113"/>
                </a:lnTo>
                <a:lnTo>
                  <a:pt x="203" y="111"/>
                </a:lnTo>
                <a:lnTo>
                  <a:pt x="201" y="109"/>
                </a:lnTo>
                <a:lnTo>
                  <a:pt x="206" y="106"/>
                </a:lnTo>
                <a:lnTo>
                  <a:pt x="206" y="104"/>
                </a:lnTo>
                <a:lnTo>
                  <a:pt x="203" y="105"/>
                </a:lnTo>
                <a:lnTo>
                  <a:pt x="200" y="109"/>
                </a:lnTo>
                <a:lnTo>
                  <a:pt x="195" y="107"/>
                </a:lnTo>
                <a:lnTo>
                  <a:pt x="193" y="105"/>
                </a:lnTo>
                <a:lnTo>
                  <a:pt x="193" y="104"/>
                </a:lnTo>
                <a:lnTo>
                  <a:pt x="195" y="101"/>
                </a:lnTo>
                <a:lnTo>
                  <a:pt x="199" y="101"/>
                </a:lnTo>
                <a:lnTo>
                  <a:pt x="201" y="100"/>
                </a:lnTo>
                <a:lnTo>
                  <a:pt x="203" y="99"/>
                </a:lnTo>
                <a:lnTo>
                  <a:pt x="203" y="97"/>
                </a:lnTo>
                <a:lnTo>
                  <a:pt x="209" y="97"/>
                </a:lnTo>
                <a:lnTo>
                  <a:pt x="211" y="99"/>
                </a:lnTo>
                <a:close/>
                <a:moveTo>
                  <a:pt x="132" y="106"/>
                </a:moveTo>
                <a:lnTo>
                  <a:pt x="132" y="106"/>
                </a:lnTo>
                <a:lnTo>
                  <a:pt x="131" y="107"/>
                </a:lnTo>
                <a:lnTo>
                  <a:pt x="132" y="103"/>
                </a:lnTo>
                <a:lnTo>
                  <a:pt x="135" y="102"/>
                </a:lnTo>
                <a:lnTo>
                  <a:pt x="134" y="104"/>
                </a:lnTo>
                <a:lnTo>
                  <a:pt x="132" y="106"/>
                </a:lnTo>
                <a:close/>
                <a:moveTo>
                  <a:pt x="129" y="108"/>
                </a:moveTo>
                <a:lnTo>
                  <a:pt x="129" y="108"/>
                </a:lnTo>
                <a:lnTo>
                  <a:pt x="127" y="109"/>
                </a:lnTo>
                <a:lnTo>
                  <a:pt x="125" y="109"/>
                </a:lnTo>
                <a:lnTo>
                  <a:pt x="123" y="104"/>
                </a:lnTo>
                <a:lnTo>
                  <a:pt x="129" y="108"/>
                </a:lnTo>
                <a:close/>
                <a:moveTo>
                  <a:pt x="117" y="114"/>
                </a:moveTo>
                <a:lnTo>
                  <a:pt x="117" y="114"/>
                </a:lnTo>
                <a:lnTo>
                  <a:pt x="119" y="118"/>
                </a:lnTo>
                <a:lnTo>
                  <a:pt x="121" y="120"/>
                </a:lnTo>
                <a:lnTo>
                  <a:pt x="124" y="122"/>
                </a:lnTo>
                <a:lnTo>
                  <a:pt x="126" y="122"/>
                </a:lnTo>
                <a:lnTo>
                  <a:pt x="132" y="125"/>
                </a:lnTo>
                <a:lnTo>
                  <a:pt x="139" y="125"/>
                </a:lnTo>
                <a:lnTo>
                  <a:pt x="139" y="126"/>
                </a:lnTo>
                <a:lnTo>
                  <a:pt x="140" y="129"/>
                </a:lnTo>
                <a:lnTo>
                  <a:pt x="142" y="131"/>
                </a:lnTo>
                <a:lnTo>
                  <a:pt x="142" y="132"/>
                </a:lnTo>
                <a:lnTo>
                  <a:pt x="141" y="134"/>
                </a:lnTo>
                <a:lnTo>
                  <a:pt x="142" y="139"/>
                </a:lnTo>
                <a:lnTo>
                  <a:pt x="144" y="143"/>
                </a:lnTo>
                <a:lnTo>
                  <a:pt x="147" y="146"/>
                </a:lnTo>
                <a:lnTo>
                  <a:pt x="150" y="146"/>
                </a:lnTo>
                <a:lnTo>
                  <a:pt x="153" y="146"/>
                </a:lnTo>
                <a:lnTo>
                  <a:pt x="154" y="147"/>
                </a:lnTo>
                <a:lnTo>
                  <a:pt x="154" y="151"/>
                </a:lnTo>
                <a:lnTo>
                  <a:pt x="152" y="153"/>
                </a:lnTo>
                <a:lnTo>
                  <a:pt x="151" y="153"/>
                </a:lnTo>
                <a:lnTo>
                  <a:pt x="150" y="153"/>
                </a:lnTo>
                <a:lnTo>
                  <a:pt x="149" y="152"/>
                </a:lnTo>
                <a:lnTo>
                  <a:pt x="148" y="151"/>
                </a:lnTo>
                <a:lnTo>
                  <a:pt x="147" y="151"/>
                </a:lnTo>
                <a:lnTo>
                  <a:pt x="145" y="150"/>
                </a:lnTo>
                <a:lnTo>
                  <a:pt x="142" y="147"/>
                </a:lnTo>
                <a:lnTo>
                  <a:pt x="141" y="146"/>
                </a:lnTo>
                <a:lnTo>
                  <a:pt x="141" y="144"/>
                </a:lnTo>
                <a:lnTo>
                  <a:pt x="140" y="142"/>
                </a:lnTo>
                <a:lnTo>
                  <a:pt x="139" y="140"/>
                </a:lnTo>
                <a:lnTo>
                  <a:pt x="137" y="139"/>
                </a:lnTo>
                <a:lnTo>
                  <a:pt x="137" y="137"/>
                </a:lnTo>
                <a:lnTo>
                  <a:pt x="137" y="137"/>
                </a:lnTo>
                <a:lnTo>
                  <a:pt x="132" y="136"/>
                </a:lnTo>
                <a:lnTo>
                  <a:pt x="128" y="136"/>
                </a:lnTo>
                <a:lnTo>
                  <a:pt x="125" y="135"/>
                </a:lnTo>
                <a:lnTo>
                  <a:pt x="124" y="130"/>
                </a:lnTo>
                <a:lnTo>
                  <a:pt x="122" y="129"/>
                </a:lnTo>
                <a:lnTo>
                  <a:pt x="120" y="128"/>
                </a:lnTo>
                <a:lnTo>
                  <a:pt x="119" y="126"/>
                </a:lnTo>
                <a:lnTo>
                  <a:pt x="116" y="123"/>
                </a:lnTo>
                <a:lnTo>
                  <a:pt x="112" y="120"/>
                </a:lnTo>
                <a:lnTo>
                  <a:pt x="109" y="119"/>
                </a:lnTo>
                <a:lnTo>
                  <a:pt x="105" y="117"/>
                </a:lnTo>
                <a:lnTo>
                  <a:pt x="102" y="119"/>
                </a:lnTo>
                <a:lnTo>
                  <a:pt x="101" y="118"/>
                </a:lnTo>
                <a:lnTo>
                  <a:pt x="100" y="118"/>
                </a:lnTo>
                <a:lnTo>
                  <a:pt x="104" y="116"/>
                </a:lnTo>
                <a:lnTo>
                  <a:pt x="109" y="112"/>
                </a:lnTo>
                <a:lnTo>
                  <a:pt x="112" y="111"/>
                </a:lnTo>
                <a:lnTo>
                  <a:pt x="114" y="111"/>
                </a:lnTo>
                <a:lnTo>
                  <a:pt x="117" y="114"/>
                </a:lnTo>
                <a:close/>
                <a:moveTo>
                  <a:pt x="157" y="120"/>
                </a:moveTo>
                <a:lnTo>
                  <a:pt x="157" y="120"/>
                </a:lnTo>
                <a:lnTo>
                  <a:pt x="153" y="121"/>
                </a:lnTo>
                <a:lnTo>
                  <a:pt x="152" y="121"/>
                </a:lnTo>
                <a:lnTo>
                  <a:pt x="153" y="120"/>
                </a:lnTo>
                <a:lnTo>
                  <a:pt x="153" y="119"/>
                </a:lnTo>
                <a:lnTo>
                  <a:pt x="150" y="117"/>
                </a:lnTo>
                <a:lnTo>
                  <a:pt x="150" y="114"/>
                </a:lnTo>
                <a:lnTo>
                  <a:pt x="151" y="113"/>
                </a:lnTo>
                <a:lnTo>
                  <a:pt x="153" y="115"/>
                </a:lnTo>
                <a:lnTo>
                  <a:pt x="154" y="117"/>
                </a:lnTo>
                <a:lnTo>
                  <a:pt x="157" y="120"/>
                </a:lnTo>
                <a:close/>
                <a:moveTo>
                  <a:pt x="32" y="128"/>
                </a:moveTo>
                <a:lnTo>
                  <a:pt x="32" y="128"/>
                </a:lnTo>
                <a:lnTo>
                  <a:pt x="31" y="128"/>
                </a:lnTo>
                <a:lnTo>
                  <a:pt x="30" y="128"/>
                </a:lnTo>
                <a:lnTo>
                  <a:pt x="29" y="128"/>
                </a:lnTo>
                <a:lnTo>
                  <a:pt x="28" y="129"/>
                </a:lnTo>
                <a:lnTo>
                  <a:pt x="28" y="126"/>
                </a:lnTo>
                <a:lnTo>
                  <a:pt x="29" y="122"/>
                </a:lnTo>
                <a:lnTo>
                  <a:pt x="31" y="120"/>
                </a:lnTo>
                <a:lnTo>
                  <a:pt x="32" y="119"/>
                </a:lnTo>
                <a:lnTo>
                  <a:pt x="33" y="120"/>
                </a:lnTo>
                <a:lnTo>
                  <a:pt x="33" y="127"/>
                </a:lnTo>
                <a:lnTo>
                  <a:pt x="32" y="128"/>
                </a:lnTo>
                <a:close/>
                <a:moveTo>
                  <a:pt x="201" y="143"/>
                </a:moveTo>
                <a:lnTo>
                  <a:pt x="201" y="143"/>
                </a:lnTo>
                <a:lnTo>
                  <a:pt x="198" y="146"/>
                </a:lnTo>
                <a:lnTo>
                  <a:pt x="194" y="142"/>
                </a:lnTo>
                <a:lnTo>
                  <a:pt x="194" y="141"/>
                </a:lnTo>
                <a:lnTo>
                  <a:pt x="196" y="140"/>
                </a:lnTo>
                <a:lnTo>
                  <a:pt x="198" y="138"/>
                </a:lnTo>
                <a:lnTo>
                  <a:pt x="197" y="136"/>
                </a:lnTo>
                <a:lnTo>
                  <a:pt x="193" y="132"/>
                </a:lnTo>
                <a:lnTo>
                  <a:pt x="193" y="129"/>
                </a:lnTo>
                <a:lnTo>
                  <a:pt x="198" y="128"/>
                </a:lnTo>
                <a:lnTo>
                  <a:pt x="201" y="130"/>
                </a:lnTo>
                <a:lnTo>
                  <a:pt x="203" y="131"/>
                </a:lnTo>
                <a:lnTo>
                  <a:pt x="202" y="133"/>
                </a:lnTo>
                <a:lnTo>
                  <a:pt x="203" y="134"/>
                </a:lnTo>
                <a:lnTo>
                  <a:pt x="203" y="140"/>
                </a:lnTo>
                <a:lnTo>
                  <a:pt x="201" y="141"/>
                </a:lnTo>
                <a:lnTo>
                  <a:pt x="201" y="143"/>
                </a:lnTo>
                <a:lnTo>
                  <a:pt x="201" y="143"/>
                </a:lnTo>
                <a:close/>
                <a:moveTo>
                  <a:pt x="34" y="139"/>
                </a:moveTo>
                <a:lnTo>
                  <a:pt x="34" y="139"/>
                </a:lnTo>
                <a:lnTo>
                  <a:pt x="33" y="139"/>
                </a:lnTo>
                <a:lnTo>
                  <a:pt x="31" y="136"/>
                </a:lnTo>
                <a:lnTo>
                  <a:pt x="30" y="133"/>
                </a:lnTo>
                <a:lnTo>
                  <a:pt x="31" y="133"/>
                </a:lnTo>
                <a:lnTo>
                  <a:pt x="32" y="133"/>
                </a:lnTo>
                <a:lnTo>
                  <a:pt x="33" y="134"/>
                </a:lnTo>
                <a:lnTo>
                  <a:pt x="33" y="135"/>
                </a:lnTo>
                <a:lnTo>
                  <a:pt x="33" y="136"/>
                </a:lnTo>
                <a:lnTo>
                  <a:pt x="34" y="138"/>
                </a:lnTo>
                <a:lnTo>
                  <a:pt x="34" y="139"/>
                </a:lnTo>
                <a:close/>
                <a:moveTo>
                  <a:pt x="30" y="137"/>
                </a:moveTo>
                <a:lnTo>
                  <a:pt x="30" y="137"/>
                </a:lnTo>
                <a:lnTo>
                  <a:pt x="30" y="141"/>
                </a:lnTo>
                <a:lnTo>
                  <a:pt x="32" y="142"/>
                </a:lnTo>
                <a:lnTo>
                  <a:pt x="35" y="146"/>
                </a:lnTo>
                <a:lnTo>
                  <a:pt x="35" y="149"/>
                </a:lnTo>
                <a:lnTo>
                  <a:pt x="35" y="149"/>
                </a:lnTo>
                <a:lnTo>
                  <a:pt x="30" y="147"/>
                </a:lnTo>
                <a:lnTo>
                  <a:pt x="29" y="148"/>
                </a:lnTo>
                <a:lnTo>
                  <a:pt x="27" y="148"/>
                </a:lnTo>
                <a:lnTo>
                  <a:pt x="26" y="146"/>
                </a:lnTo>
                <a:lnTo>
                  <a:pt x="26" y="145"/>
                </a:lnTo>
                <a:lnTo>
                  <a:pt x="26" y="143"/>
                </a:lnTo>
                <a:lnTo>
                  <a:pt x="25" y="143"/>
                </a:lnTo>
                <a:lnTo>
                  <a:pt x="23" y="145"/>
                </a:lnTo>
                <a:lnTo>
                  <a:pt x="22" y="145"/>
                </a:lnTo>
                <a:lnTo>
                  <a:pt x="22" y="143"/>
                </a:lnTo>
                <a:lnTo>
                  <a:pt x="24" y="139"/>
                </a:lnTo>
                <a:lnTo>
                  <a:pt x="24" y="138"/>
                </a:lnTo>
                <a:lnTo>
                  <a:pt x="26" y="139"/>
                </a:lnTo>
                <a:lnTo>
                  <a:pt x="27" y="139"/>
                </a:lnTo>
                <a:lnTo>
                  <a:pt x="28" y="136"/>
                </a:lnTo>
                <a:lnTo>
                  <a:pt x="28" y="134"/>
                </a:lnTo>
                <a:lnTo>
                  <a:pt x="28" y="133"/>
                </a:lnTo>
                <a:lnTo>
                  <a:pt x="30" y="137"/>
                </a:lnTo>
                <a:close/>
                <a:moveTo>
                  <a:pt x="122" y="155"/>
                </a:moveTo>
                <a:lnTo>
                  <a:pt x="122" y="155"/>
                </a:lnTo>
                <a:lnTo>
                  <a:pt x="120" y="156"/>
                </a:lnTo>
                <a:lnTo>
                  <a:pt x="119" y="156"/>
                </a:lnTo>
                <a:lnTo>
                  <a:pt x="118" y="156"/>
                </a:lnTo>
                <a:lnTo>
                  <a:pt x="117" y="155"/>
                </a:lnTo>
                <a:lnTo>
                  <a:pt x="118" y="154"/>
                </a:lnTo>
                <a:lnTo>
                  <a:pt x="119" y="153"/>
                </a:lnTo>
                <a:lnTo>
                  <a:pt x="119" y="152"/>
                </a:lnTo>
                <a:lnTo>
                  <a:pt x="120" y="153"/>
                </a:lnTo>
                <a:lnTo>
                  <a:pt x="121" y="153"/>
                </a:lnTo>
                <a:lnTo>
                  <a:pt x="122" y="155"/>
                </a:lnTo>
                <a:close/>
                <a:moveTo>
                  <a:pt x="166" y="162"/>
                </a:moveTo>
                <a:lnTo>
                  <a:pt x="166" y="162"/>
                </a:lnTo>
                <a:lnTo>
                  <a:pt x="166" y="164"/>
                </a:lnTo>
                <a:lnTo>
                  <a:pt x="163" y="161"/>
                </a:lnTo>
                <a:lnTo>
                  <a:pt x="160" y="159"/>
                </a:lnTo>
                <a:lnTo>
                  <a:pt x="159" y="157"/>
                </a:lnTo>
                <a:lnTo>
                  <a:pt x="158" y="156"/>
                </a:lnTo>
                <a:lnTo>
                  <a:pt x="157" y="154"/>
                </a:lnTo>
                <a:lnTo>
                  <a:pt x="159" y="153"/>
                </a:lnTo>
                <a:lnTo>
                  <a:pt x="160" y="152"/>
                </a:lnTo>
                <a:lnTo>
                  <a:pt x="162" y="155"/>
                </a:lnTo>
                <a:lnTo>
                  <a:pt x="165" y="156"/>
                </a:lnTo>
                <a:lnTo>
                  <a:pt x="165" y="158"/>
                </a:lnTo>
                <a:lnTo>
                  <a:pt x="166" y="160"/>
                </a:lnTo>
                <a:lnTo>
                  <a:pt x="166" y="162"/>
                </a:lnTo>
                <a:close/>
                <a:moveTo>
                  <a:pt x="39" y="160"/>
                </a:moveTo>
                <a:lnTo>
                  <a:pt x="39" y="160"/>
                </a:lnTo>
                <a:lnTo>
                  <a:pt x="42" y="164"/>
                </a:lnTo>
                <a:lnTo>
                  <a:pt x="39" y="163"/>
                </a:lnTo>
                <a:lnTo>
                  <a:pt x="36" y="165"/>
                </a:lnTo>
                <a:lnTo>
                  <a:pt x="33" y="162"/>
                </a:lnTo>
                <a:lnTo>
                  <a:pt x="31" y="159"/>
                </a:lnTo>
                <a:lnTo>
                  <a:pt x="30" y="158"/>
                </a:lnTo>
                <a:lnTo>
                  <a:pt x="32" y="155"/>
                </a:lnTo>
                <a:lnTo>
                  <a:pt x="34" y="158"/>
                </a:lnTo>
                <a:lnTo>
                  <a:pt x="37" y="158"/>
                </a:lnTo>
                <a:lnTo>
                  <a:pt x="39" y="160"/>
                </a:lnTo>
                <a:close/>
                <a:moveTo>
                  <a:pt x="224" y="159"/>
                </a:moveTo>
                <a:lnTo>
                  <a:pt x="224" y="159"/>
                </a:lnTo>
                <a:lnTo>
                  <a:pt x="227" y="161"/>
                </a:lnTo>
                <a:lnTo>
                  <a:pt x="229" y="161"/>
                </a:lnTo>
                <a:lnTo>
                  <a:pt x="230" y="161"/>
                </a:lnTo>
                <a:lnTo>
                  <a:pt x="231" y="163"/>
                </a:lnTo>
                <a:lnTo>
                  <a:pt x="228" y="164"/>
                </a:lnTo>
                <a:lnTo>
                  <a:pt x="224" y="166"/>
                </a:lnTo>
                <a:lnTo>
                  <a:pt x="222" y="166"/>
                </a:lnTo>
                <a:lnTo>
                  <a:pt x="220" y="164"/>
                </a:lnTo>
                <a:lnTo>
                  <a:pt x="217" y="163"/>
                </a:lnTo>
                <a:lnTo>
                  <a:pt x="216" y="163"/>
                </a:lnTo>
                <a:lnTo>
                  <a:pt x="218" y="161"/>
                </a:lnTo>
                <a:lnTo>
                  <a:pt x="221" y="160"/>
                </a:lnTo>
                <a:lnTo>
                  <a:pt x="224" y="159"/>
                </a:lnTo>
                <a:close/>
                <a:moveTo>
                  <a:pt x="147" y="169"/>
                </a:moveTo>
                <a:lnTo>
                  <a:pt x="147" y="169"/>
                </a:lnTo>
                <a:lnTo>
                  <a:pt x="145" y="171"/>
                </a:lnTo>
                <a:lnTo>
                  <a:pt x="144" y="168"/>
                </a:lnTo>
                <a:lnTo>
                  <a:pt x="146" y="165"/>
                </a:lnTo>
                <a:lnTo>
                  <a:pt x="147" y="164"/>
                </a:lnTo>
                <a:lnTo>
                  <a:pt x="148" y="166"/>
                </a:lnTo>
                <a:lnTo>
                  <a:pt x="147" y="169"/>
                </a:lnTo>
                <a:close/>
                <a:moveTo>
                  <a:pt x="175" y="168"/>
                </a:moveTo>
                <a:lnTo>
                  <a:pt x="175" y="168"/>
                </a:lnTo>
                <a:lnTo>
                  <a:pt x="174" y="170"/>
                </a:lnTo>
                <a:lnTo>
                  <a:pt x="172" y="170"/>
                </a:lnTo>
                <a:lnTo>
                  <a:pt x="168" y="167"/>
                </a:lnTo>
                <a:lnTo>
                  <a:pt x="167" y="166"/>
                </a:lnTo>
                <a:lnTo>
                  <a:pt x="167" y="165"/>
                </a:lnTo>
                <a:lnTo>
                  <a:pt x="168" y="165"/>
                </a:lnTo>
                <a:lnTo>
                  <a:pt x="170" y="166"/>
                </a:lnTo>
                <a:lnTo>
                  <a:pt x="174" y="167"/>
                </a:lnTo>
                <a:lnTo>
                  <a:pt x="175" y="168"/>
                </a:lnTo>
                <a:close/>
                <a:moveTo>
                  <a:pt x="199" y="171"/>
                </a:moveTo>
                <a:lnTo>
                  <a:pt x="199" y="171"/>
                </a:lnTo>
                <a:lnTo>
                  <a:pt x="197" y="171"/>
                </a:lnTo>
                <a:lnTo>
                  <a:pt x="198" y="169"/>
                </a:lnTo>
                <a:lnTo>
                  <a:pt x="201" y="166"/>
                </a:lnTo>
                <a:lnTo>
                  <a:pt x="204" y="166"/>
                </a:lnTo>
                <a:lnTo>
                  <a:pt x="208" y="165"/>
                </a:lnTo>
                <a:lnTo>
                  <a:pt x="209" y="165"/>
                </a:lnTo>
                <a:lnTo>
                  <a:pt x="207" y="167"/>
                </a:lnTo>
                <a:lnTo>
                  <a:pt x="204" y="169"/>
                </a:lnTo>
                <a:lnTo>
                  <a:pt x="199" y="171"/>
                </a:lnTo>
                <a:close/>
                <a:moveTo>
                  <a:pt x="179" y="175"/>
                </a:moveTo>
                <a:lnTo>
                  <a:pt x="179" y="175"/>
                </a:lnTo>
                <a:lnTo>
                  <a:pt x="176" y="175"/>
                </a:lnTo>
                <a:lnTo>
                  <a:pt x="176" y="172"/>
                </a:lnTo>
                <a:lnTo>
                  <a:pt x="178" y="171"/>
                </a:lnTo>
                <a:lnTo>
                  <a:pt x="181" y="173"/>
                </a:lnTo>
                <a:lnTo>
                  <a:pt x="181" y="174"/>
                </a:lnTo>
                <a:lnTo>
                  <a:pt x="179" y="175"/>
                </a:lnTo>
                <a:close/>
                <a:moveTo>
                  <a:pt x="165" y="172"/>
                </a:moveTo>
                <a:lnTo>
                  <a:pt x="165" y="172"/>
                </a:lnTo>
                <a:lnTo>
                  <a:pt x="165" y="176"/>
                </a:lnTo>
                <a:lnTo>
                  <a:pt x="164" y="176"/>
                </a:lnTo>
                <a:lnTo>
                  <a:pt x="163" y="175"/>
                </a:lnTo>
                <a:lnTo>
                  <a:pt x="163" y="174"/>
                </a:lnTo>
                <a:lnTo>
                  <a:pt x="164" y="171"/>
                </a:lnTo>
                <a:lnTo>
                  <a:pt x="165" y="172"/>
                </a:lnTo>
                <a:close/>
                <a:moveTo>
                  <a:pt x="149" y="178"/>
                </a:moveTo>
                <a:lnTo>
                  <a:pt x="149" y="178"/>
                </a:lnTo>
                <a:lnTo>
                  <a:pt x="147" y="179"/>
                </a:lnTo>
                <a:lnTo>
                  <a:pt x="148" y="176"/>
                </a:lnTo>
                <a:lnTo>
                  <a:pt x="147" y="175"/>
                </a:lnTo>
                <a:lnTo>
                  <a:pt x="148" y="174"/>
                </a:lnTo>
                <a:lnTo>
                  <a:pt x="149" y="173"/>
                </a:lnTo>
                <a:lnTo>
                  <a:pt x="150" y="174"/>
                </a:lnTo>
                <a:lnTo>
                  <a:pt x="150" y="175"/>
                </a:lnTo>
                <a:lnTo>
                  <a:pt x="149" y="178"/>
                </a:lnTo>
                <a:close/>
                <a:moveTo>
                  <a:pt x="152" y="186"/>
                </a:moveTo>
                <a:lnTo>
                  <a:pt x="152" y="186"/>
                </a:lnTo>
                <a:lnTo>
                  <a:pt x="151" y="187"/>
                </a:lnTo>
                <a:lnTo>
                  <a:pt x="149" y="186"/>
                </a:lnTo>
                <a:lnTo>
                  <a:pt x="149" y="184"/>
                </a:lnTo>
                <a:lnTo>
                  <a:pt x="151" y="183"/>
                </a:lnTo>
                <a:lnTo>
                  <a:pt x="152" y="184"/>
                </a:lnTo>
                <a:lnTo>
                  <a:pt x="152" y="185"/>
                </a:lnTo>
                <a:lnTo>
                  <a:pt x="152" y="186"/>
                </a:lnTo>
                <a:close/>
                <a:moveTo>
                  <a:pt x="184" y="192"/>
                </a:moveTo>
                <a:lnTo>
                  <a:pt x="184" y="192"/>
                </a:lnTo>
                <a:lnTo>
                  <a:pt x="181" y="194"/>
                </a:lnTo>
                <a:lnTo>
                  <a:pt x="179" y="192"/>
                </a:lnTo>
                <a:lnTo>
                  <a:pt x="178" y="188"/>
                </a:lnTo>
                <a:lnTo>
                  <a:pt x="183" y="184"/>
                </a:lnTo>
                <a:lnTo>
                  <a:pt x="184" y="184"/>
                </a:lnTo>
                <a:lnTo>
                  <a:pt x="185" y="185"/>
                </a:lnTo>
                <a:lnTo>
                  <a:pt x="185" y="190"/>
                </a:lnTo>
                <a:lnTo>
                  <a:pt x="184" y="192"/>
                </a:lnTo>
                <a:close/>
                <a:moveTo>
                  <a:pt x="175" y="189"/>
                </a:moveTo>
                <a:lnTo>
                  <a:pt x="175" y="189"/>
                </a:lnTo>
                <a:lnTo>
                  <a:pt x="173" y="192"/>
                </a:lnTo>
                <a:lnTo>
                  <a:pt x="171" y="191"/>
                </a:lnTo>
                <a:lnTo>
                  <a:pt x="170" y="190"/>
                </a:lnTo>
                <a:lnTo>
                  <a:pt x="171" y="187"/>
                </a:lnTo>
                <a:lnTo>
                  <a:pt x="174" y="185"/>
                </a:lnTo>
                <a:lnTo>
                  <a:pt x="175" y="186"/>
                </a:lnTo>
                <a:lnTo>
                  <a:pt x="175" y="188"/>
                </a:lnTo>
                <a:lnTo>
                  <a:pt x="175" y="189"/>
                </a:lnTo>
                <a:close/>
                <a:moveTo>
                  <a:pt x="230" y="193"/>
                </a:moveTo>
                <a:lnTo>
                  <a:pt x="230" y="193"/>
                </a:lnTo>
                <a:lnTo>
                  <a:pt x="227" y="193"/>
                </a:lnTo>
                <a:lnTo>
                  <a:pt x="227" y="190"/>
                </a:lnTo>
                <a:lnTo>
                  <a:pt x="226" y="188"/>
                </a:lnTo>
                <a:lnTo>
                  <a:pt x="228" y="189"/>
                </a:lnTo>
                <a:lnTo>
                  <a:pt x="230" y="191"/>
                </a:lnTo>
                <a:lnTo>
                  <a:pt x="230" y="191"/>
                </a:lnTo>
                <a:lnTo>
                  <a:pt x="230" y="192"/>
                </a:lnTo>
                <a:lnTo>
                  <a:pt x="230" y="193"/>
                </a:lnTo>
                <a:close/>
                <a:moveTo>
                  <a:pt x="158" y="194"/>
                </a:moveTo>
                <a:lnTo>
                  <a:pt x="158" y="194"/>
                </a:lnTo>
                <a:lnTo>
                  <a:pt x="157" y="194"/>
                </a:lnTo>
                <a:lnTo>
                  <a:pt x="157" y="193"/>
                </a:lnTo>
                <a:lnTo>
                  <a:pt x="156" y="191"/>
                </a:lnTo>
                <a:lnTo>
                  <a:pt x="157" y="190"/>
                </a:lnTo>
                <a:lnTo>
                  <a:pt x="158" y="190"/>
                </a:lnTo>
                <a:lnTo>
                  <a:pt x="159" y="193"/>
                </a:lnTo>
                <a:lnTo>
                  <a:pt x="158" y="194"/>
                </a:lnTo>
                <a:close/>
                <a:moveTo>
                  <a:pt x="194" y="199"/>
                </a:moveTo>
                <a:lnTo>
                  <a:pt x="194" y="199"/>
                </a:lnTo>
                <a:lnTo>
                  <a:pt x="191" y="200"/>
                </a:lnTo>
                <a:lnTo>
                  <a:pt x="190" y="199"/>
                </a:lnTo>
                <a:lnTo>
                  <a:pt x="192" y="199"/>
                </a:lnTo>
                <a:lnTo>
                  <a:pt x="193" y="198"/>
                </a:lnTo>
                <a:lnTo>
                  <a:pt x="193" y="197"/>
                </a:lnTo>
                <a:lnTo>
                  <a:pt x="196" y="196"/>
                </a:lnTo>
                <a:lnTo>
                  <a:pt x="198" y="194"/>
                </a:lnTo>
                <a:lnTo>
                  <a:pt x="200" y="195"/>
                </a:lnTo>
                <a:lnTo>
                  <a:pt x="197" y="196"/>
                </a:lnTo>
                <a:lnTo>
                  <a:pt x="194" y="199"/>
                </a:lnTo>
                <a:close/>
                <a:moveTo>
                  <a:pt x="227" y="202"/>
                </a:moveTo>
                <a:lnTo>
                  <a:pt x="227" y="202"/>
                </a:lnTo>
                <a:lnTo>
                  <a:pt x="227" y="202"/>
                </a:lnTo>
                <a:lnTo>
                  <a:pt x="228" y="200"/>
                </a:lnTo>
                <a:lnTo>
                  <a:pt x="231" y="197"/>
                </a:lnTo>
                <a:lnTo>
                  <a:pt x="236" y="195"/>
                </a:lnTo>
                <a:lnTo>
                  <a:pt x="237" y="195"/>
                </a:lnTo>
                <a:lnTo>
                  <a:pt x="240" y="196"/>
                </a:lnTo>
                <a:lnTo>
                  <a:pt x="235" y="199"/>
                </a:lnTo>
                <a:lnTo>
                  <a:pt x="234" y="200"/>
                </a:lnTo>
                <a:lnTo>
                  <a:pt x="230" y="200"/>
                </a:lnTo>
                <a:lnTo>
                  <a:pt x="227" y="202"/>
                </a:lnTo>
                <a:close/>
                <a:moveTo>
                  <a:pt x="179" y="204"/>
                </a:moveTo>
                <a:lnTo>
                  <a:pt x="179" y="204"/>
                </a:lnTo>
                <a:lnTo>
                  <a:pt x="178" y="204"/>
                </a:lnTo>
                <a:lnTo>
                  <a:pt x="176" y="202"/>
                </a:lnTo>
                <a:lnTo>
                  <a:pt x="175" y="201"/>
                </a:lnTo>
                <a:lnTo>
                  <a:pt x="176" y="199"/>
                </a:lnTo>
                <a:lnTo>
                  <a:pt x="179" y="202"/>
                </a:lnTo>
                <a:lnTo>
                  <a:pt x="179" y="204"/>
                </a:lnTo>
                <a:close/>
                <a:moveTo>
                  <a:pt x="152" y="200"/>
                </a:moveTo>
                <a:lnTo>
                  <a:pt x="152" y="200"/>
                </a:lnTo>
                <a:lnTo>
                  <a:pt x="152" y="203"/>
                </a:lnTo>
                <a:lnTo>
                  <a:pt x="152" y="203"/>
                </a:lnTo>
                <a:lnTo>
                  <a:pt x="146" y="205"/>
                </a:lnTo>
                <a:lnTo>
                  <a:pt x="146" y="202"/>
                </a:lnTo>
                <a:lnTo>
                  <a:pt x="147" y="201"/>
                </a:lnTo>
                <a:lnTo>
                  <a:pt x="149" y="202"/>
                </a:lnTo>
                <a:lnTo>
                  <a:pt x="150" y="202"/>
                </a:lnTo>
                <a:lnTo>
                  <a:pt x="150" y="201"/>
                </a:lnTo>
                <a:lnTo>
                  <a:pt x="152" y="200"/>
                </a:lnTo>
                <a:close/>
                <a:moveTo>
                  <a:pt x="256" y="208"/>
                </a:moveTo>
                <a:lnTo>
                  <a:pt x="256" y="208"/>
                </a:lnTo>
                <a:lnTo>
                  <a:pt x="255" y="209"/>
                </a:lnTo>
                <a:lnTo>
                  <a:pt x="254" y="207"/>
                </a:lnTo>
                <a:lnTo>
                  <a:pt x="254" y="206"/>
                </a:lnTo>
                <a:lnTo>
                  <a:pt x="255" y="205"/>
                </a:lnTo>
                <a:lnTo>
                  <a:pt x="256" y="205"/>
                </a:lnTo>
                <a:lnTo>
                  <a:pt x="256" y="206"/>
                </a:lnTo>
                <a:lnTo>
                  <a:pt x="256" y="207"/>
                </a:lnTo>
                <a:lnTo>
                  <a:pt x="256" y="208"/>
                </a:lnTo>
                <a:close/>
                <a:moveTo>
                  <a:pt x="212" y="207"/>
                </a:moveTo>
                <a:lnTo>
                  <a:pt x="212" y="207"/>
                </a:lnTo>
                <a:lnTo>
                  <a:pt x="210" y="208"/>
                </a:lnTo>
                <a:lnTo>
                  <a:pt x="208" y="210"/>
                </a:lnTo>
                <a:lnTo>
                  <a:pt x="206" y="209"/>
                </a:lnTo>
                <a:lnTo>
                  <a:pt x="206" y="207"/>
                </a:lnTo>
                <a:lnTo>
                  <a:pt x="208" y="207"/>
                </a:lnTo>
                <a:lnTo>
                  <a:pt x="210" y="206"/>
                </a:lnTo>
                <a:lnTo>
                  <a:pt x="209" y="205"/>
                </a:lnTo>
                <a:lnTo>
                  <a:pt x="211" y="206"/>
                </a:lnTo>
                <a:lnTo>
                  <a:pt x="212" y="207"/>
                </a:lnTo>
                <a:close/>
                <a:moveTo>
                  <a:pt x="182" y="215"/>
                </a:moveTo>
                <a:lnTo>
                  <a:pt x="182" y="215"/>
                </a:lnTo>
                <a:lnTo>
                  <a:pt x="180" y="217"/>
                </a:lnTo>
                <a:lnTo>
                  <a:pt x="178" y="216"/>
                </a:lnTo>
                <a:lnTo>
                  <a:pt x="179" y="215"/>
                </a:lnTo>
                <a:lnTo>
                  <a:pt x="180" y="214"/>
                </a:lnTo>
                <a:lnTo>
                  <a:pt x="180" y="213"/>
                </a:lnTo>
                <a:lnTo>
                  <a:pt x="179" y="212"/>
                </a:lnTo>
                <a:lnTo>
                  <a:pt x="179" y="212"/>
                </a:lnTo>
                <a:lnTo>
                  <a:pt x="181" y="213"/>
                </a:lnTo>
                <a:lnTo>
                  <a:pt x="182" y="215"/>
                </a:lnTo>
                <a:close/>
                <a:moveTo>
                  <a:pt x="255" y="233"/>
                </a:moveTo>
                <a:lnTo>
                  <a:pt x="255" y="233"/>
                </a:lnTo>
                <a:lnTo>
                  <a:pt x="253" y="233"/>
                </a:lnTo>
                <a:lnTo>
                  <a:pt x="252" y="233"/>
                </a:lnTo>
                <a:lnTo>
                  <a:pt x="251" y="231"/>
                </a:lnTo>
                <a:lnTo>
                  <a:pt x="253" y="227"/>
                </a:lnTo>
                <a:lnTo>
                  <a:pt x="252" y="224"/>
                </a:lnTo>
                <a:lnTo>
                  <a:pt x="251" y="223"/>
                </a:lnTo>
                <a:lnTo>
                  <a:pt x="253" y="222"/>
                </a:lnTo>
                <a:lnTo>
                  <a:pt x="254" y="219"/>
                </a:lnTo>
                <a:lnTo>
                  <a:pt x="258" y="217"/>
                </a:lnTo>
                <a:lnTo>
                  <a:pt x="266" y="213"/>
                </a:lnTo>
                <a:lnTo>
                  <a:pt x="267" y="213"/>
                </a:lnTo>
                <a:lnTo>
                  <a:pt x="267" y="216"/>
                </a:lnTo>
                <a:lnTo>
                  <a:pt x="265" y="222"/>
                </a:lnTo>
                <a:lnTo>
                  <a:pt x="262" y="225"/>
                </a:lnTo>
                <a:lnTo>
                  <a:pt x="263" y="227"/>
                </a:lnTo>
                <a:lnTo>
                  <a:pt x="259" y="228"/>
                </a:lnTo>
                <a:lnTo>
                  <a:pt x="255" y="233"/>
                </a:lnTo>
                <a:close/>
                <a:moveTo>
                  <a:pt x="106" y="223"/>
                </a:moveTo>
                <a:lnTo>
                  <a:pt x="106" y="223"/>
                </a:lnTo>
                <a:lnTo>
                  <a:pt x="106" y="224"/>
                </a:lnTo>
                <a:lnTo>
                  <a:pt x="102" y="223"/>
                </a:lnTo>
                <a:lnTo>
                  <a:pt x="102" y="221"/>
                </a:lnTo>
                <a:lnTo>
                  <a:pt x="101" y="217"/>
                </a:lnTo>
                <a:lnTo>
                  <a:pt x="102" y="216"/>
                </a:lnTo>
                <a:lnTo>
                  <a:pt x="103" y="215"/>
                </a:lnTo>
                <a:lnTo>
                  <a:pt x="104" y="217"/>
                </a:lnTo>
                <a:lnTo>
                  <a:pt x="107" y="220"/>
                </a:lnTo>
                <a:lnTo>
                  <a:pt x="106" y="223"/>
                </a:lnTo>
                <a:close/>
                <a:moveTo>
                  <a:pt x="235" y="250"/>
                </a:moveTo>
                <a:lnTo>
                  <a:pt x="235" y="250"/>
                </a:lnTo>
                <a:lnTo>
                  <a:pt x="233" y="252"/>
                </a:lnTo>
                <a:lnTo>
                  <a:pt x="232" y="251"/>
                </a:lnTo>
                <a:lnTo>
                  <a:pt x="233" y="249"/>
                </a:lnTo>
                <a:lnTo>
                  <a:pt x="231" y="245"/>
                </a:lnTo>
                <a:lnTo>
                  <a:pt x="234" y="240"/>
                </a:lnTo>
                <a:lnTo>
                  <a:pt x="234" y="238"/>
                </a:lnTo>
                <a:lnTo>
                  <a:pt x="236" y="237"/>
                </a:lnTo>
                <a:lnTo>
                  <a:pt x="236" y="241"/>
                </a:lnTo>
                <a:lnTo>
                  <a:pt x="234" y="244"/>
                </a:lnTo>
                <a:lnTo>
                  <a:pt x="236" y="247"/>
                </a:lnTo>
                <a:lnTo>
                  <a:pt x="236" y="250"/>
                </a:lnTo>
                <a:lnTo>
                  <a:pt x="235" y="250"/>
                </a:lnTo>
                <a:close/>
                <a:moveTo>
                  <a:pt x="131" y="248"/>
                </a:moveTo>
                <a:lnTo>
                  <a:pt x="131" y="248"/>
                </a:lnTo>
                <a:lnTo>
                  <a:pt x="133" y="248"/>
                </a:lnTo>
                <a:lnTo>
                  <a:pt x="136" y="248"/>
                </a:lnTo>
                <a:lnTo>
                  <a:pt x="137" y="248"/>
                </a:lnTo>
                <a:lnTo>
                  <a:pt x="138" y="245"/>
                </a:lnTo>
                <a:lnTo>
                  <a:pt x="141" y="245"/>
                </a:lnTo>
                <a:lnTo>
                  <a:pt x="142" y="248"/>
                </a:lnTo>
                <a:lnTo>
                  <a:pt x="139" y="249"/>
                </a:lnTo>
                <a:lnTo>
                  <a:pt x="139" y="249"/>
                </a:lnTo>
                <a:lnTo>
                  <a:pt x="139" y="250"/>
                </a:lnTo>
                <a:lnTo>
                  <a:pt x="141" y="250"/>
                </a:lnTo>
                <a:lnTo>
                  <a:pt x="143" y="250"/>
                </a:lnTo>
                <a:lnTo>
                  <a:pt x="144" y="252"/>
                </a:lnTo>
                <a:lnTo>
                  <a:pt x="144" y="253"/>
                </a:lnTo>
                <a:lnTo>
                  <a:pt x="145" y="254"/>
                </a:lnTo>
                <a:lnTo>
                  <a:pt x="147" y="254"/>
                </a:lnTo>
                <a:lnTo>
                  <a:pt x="149" y="254"/>
                </a:lnTo>
                <a:lnTo>
                  <a:pt x="152" y="254"/>
                </a:lnTo>
                <a:lnTo>
                  <a:pt x="155" y="252"/>
                </a:lnTo>
                <a:lnTo>
                  <a:pt x="158" y="252"/>
                </a:lnTo>
                <a:lnTo>
                  <a:pt x="167" y="252"/>
                </a:lnTo>
                <a:lnTo>
                  <a:pt x="170" y="255"/>
                </a:lnTo>
                <a:lnTo>
                  <a:pt x="176" y="255"/>
                </a:lnTo>
                <a:lnTo>
                  <a:pt x="182" y="256"/>
                </a:lnTo>
                <a:lnTo>
                  <a:pt x="184" y="256"/>
                </a:lnTo>
                <a:lnTo>
                  <a:pt x="190" y="255"/>
                </a:lnTo>
                <a:lnTo>
                  <a:pt x="190" y="256"/>
                </a:lnTo>
                <a:lnTo>
                  <a:pt x="190" y="261"/>
                </a:lnTo>
                <a:lnTo>
                  <a:pt x="190" y="263"/>
                </a:lnTo>
                <a:lnTo>
                  <a:pt x="191" y="263"/>
                </a:lnTo>
                <a:lnTo>
                  <a:pt x="193" y="263"/>
                </a:lnTo>
                <a:lnTo>
                  <a:pt x="195" y="261"/>
                </a:lnTo>
                <a:lnTo>
                  <a:pt x="199" y="260"/>
                </a:lnTo>
                <a:lnTo>
                  <a:pt x="203" y="260"/>
                </a:lnTo>
                <a:lnTo>
                  <a:pt x="207" y="256"/>
                </a:lnTo>
                <a:lnTo>
                  <a:pt x="208" y="256"/>
                </a:lnTo>
                <a:lnTo>
                  <a:pt x="207" y="258"/>
                </a:lnTo>
                <a:lnTo>
                  <a:pt x="207" y="262"/>
                </a:lnTo>
                <a:lnTo>
                  <a:pt x="206" y="264"/>
                </a:lnTo>
                <a:lnTo>
                  <a:pt x="206" y="266"/>
                </a:lnTo>
                <a:lnTo>
                  <a:pt x="203" y="267"/>
                </a:lnTo>
                <a:lnTo>
                  <a:pt x="199" y="267"/>
                </a:lnTo>
                <a:lnTo>
                  <a:pt x="193" y="267"/>
                </a:lnTo>
                <a:lnTo>
                  <a:pt x="186" y="268"/>
                </a:lnTo>
                <a:lnTo>
                  <a:pt x="173" y="269"/>
                </a:lnTo>
                <a:lnTo>
                  <a:pt x="160" y="270"/>
                </a:lnTo>
                <a:lnTo>
                  <a:pt x="159" y="270"/>
                </a:lnTo>
                <a:lnTo>
                  <a:pt x="159" y="267"/>
                </a:lnTo>
                <a:lnTo>
                  <a:pt x="158" y="266"/>
                </a:lnTo>
                <a:lnTo>
                  <a:pt x="158" y="265"/>
                </a:lnTo>
                <a:lnTo>
                  <a:pt x="154" y="264"/>
                </a:lnTo>
                <a:lnTo>
                  <a:pt x="150" y="262"/>
                </a:lnTo>
                <a:lnTo>
                  <a:pt x="135" y="260"/>
                </a:lnTo>
                <a:lnTo>
                  <a:pt x="132" y="259"/>
                </a:lnTo>
                <a:lnTo>
                  <a:pt x="126" y="259"/>
                </a:lnTo>
                <a:lnTo>
                  <a:pt x="124" y="259"/>
                </a:lnTo>
                <a:lnTo>
                  <a:pt x="123" y="258"/>
                </a:lnTo>
                <a:lnTo>
                  <a:pt x="122" y="257"/>
                </a:lnTo>
                <a:lnTo>
                  <a:pt x="121" y="252"/>
                </a:lnTo>
                <a:lnTo>
                  <a:pt x="122" y="248"/>
                </a:lnTo>
                <a:lnTo>
                  <a:pt x="123" y="246"/>
                </a:lnTo>
                <a:lnTo>
                  <a:pt x="124" y="248"/>
                </a:lnTo>
                <a:lnTo>
                  <a:pt x="125" y="248"/>
                </a:lnTo>
                <a:lnTo>
                  <a:pt x="127" y="247"/>
                </a:lnTo>
                <a:lnTo>
                  <a:pt x="127" y="245"/>
                </a:lnTo>
                <a:lnTo>
                  <a:pt x="127" y="243"/>
                </a:lnTo>
                <a:lnTo>
                  <a:pt x="128" y="244"/>
                </a:lnTo>
                <a:lnTo>
                  <a:pt x="129" y="247"/>
                </a:lnTo>
                <a:lnTo>
                  <a:pt x="131" y="24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5" name="Croatia">
            <a:extLst>
              <a:ext uri="{FF2B5EF4-FFF2-40B4-BE49-F238E27FC236}">
                <a16:creationId xmlns:a16="http://schemas.microsoft.com/office/drawing/2014/main" id="{259FE9CC-B74B-46C3-A8BB-B48503DB2E00}"/>
              </a:ext>
            </a:extLst>
          </p:cNvPr>
          <p:cNvSpPr>
            <a:spLocks noEditPoints="1"/>
          </p:cNvSpPr>
          <p:nvPr/>
        </p:nvSpPr>
        <p:spPr bwMode="auto">
          <a:xfrm>
            <a:off x="6225281" y="3257635"/>
            <a:ext cx="176329" cy="151044"/>
          </a:xfrm>
          <a:custGeom>
            <a:avLst/>
            <a:gdLst>
              <a:gd name="T0" fmla="*/ 109 w 183"/>
              <a:gd name="T1" fmla="*/ 15 h 179"/>
              <a:gd name="T2" fmla="*/ 128 w 183"/>
              <a:gd name="T3" fmla="*/ 30 h 179"/>
              <a:gd name="T4" fmla="*/ 153 w 183"/>
              <a:gd name="T5" fmla="*/ 34 h 179"/>
              <a:gd name="T6" fmla="*/ 168 w 183"/>
              <a:gd name="T7" fmla="*/ 27 h 179"/>
              <a:gd name="T8" fmla="*/ 169 w 183"/>
              <a:gd name="T9" fmla="*/ 44 h 179"/>
              <a:gd name="T10" fmla="*/ 179 w 183"/>
              <a:gd name="T11" fmla="*/ 56 h 179"/>
              <a:gd name="T12" fmla="*/ 180 w 183"/>
              <a:gd name="T13" fmla="*/ 61 h 179"/>
              <a:gd name="T14" fmla="*/ 173 w 183"/>
              <a:gd name="T15" fmla="*/ 71 h 179"/>
              <a:gd name="T16" fmla="*/ 165 w 183"/>
              <a:gd name="T17" fmla="*/ 73 h 179"/>
              <a:gd name="T18" fmla="*/ 153 w 183"/>
              <a:gd name="T19" fmla="*/ 64 h 179"/>
              <a:gd name="T20" fmla="*/ 135 w 183"/>
              <a:gd name="T21" fmla="*/ 65 h 179"/>
              <a:gd name="T22" fmla="*/ 118 w 183"/>
              <a:gd name="T23" fmla="*/ 61 h 179"/>
              <a:gd name="T24" fmla="*/ 91 w 183"/>
              <a:gd name="T25" fmla="*/ 61 h 179"/>
              <a:gd name="T26" fmla="*/ 74 w 183"/>
              <a:gd name="T27" fmla="*/ 59 h 179"/>
              <a:gd name="T28" fmla="*/ 79 w 183"/>
              <a:gd name="T29" fmla="*/ 89 h 179"/>
              <a:gd name="T30" fmla="*/ 92 w 183"/>
              <a:gd name="T31" fmla="*/ 112 h 179"/>
              <a:gd name="T32" fmla="*/ 117 w 183"/>
              <a:gd name="T33" fmla="*/ 136 h 179"/>
              <a:gd name="T34" fmla="*/ 128 w 183"/>
              <a:gd name="T35" fmla="*/ 156 h 179"/>
              <a:gd name="T36" fmla="*/ 89 w 183"/>
              <a:gd name="T37" fmla="*/ 132 h 179"/>
              <a:gd name="T38" fmla="*/ 75 w 183"/>
              <a:gd name="T39" fmla="*/ 127 h 179"/>
              <a:gd name="T40" fmla="*/ 53 w 183"/>
              <a:gd name="T41" fmla="*/ 100 h 179"/>
              <a:gd name="T42" fmla="*/ 43 w 183"/>
              <a:gd name="T43" fmla="*/ 81 h 179"/>
              <a:gd name="T44" fmla="*/ 24 w 183"/>
              <a:gd name="T45" fmla="*/ 53 h 179"/>
              <a:gd name="T46" fmla="*/ 10 w 183"/>
              <a:gd name="T47" fmla="*/ 75 h 179"/>
              <a:gd name="T48" fmla="*/ 3 w 183"/>
              <a:gd name="T49" fmla="*/ 47 h 179"/>
              <a:gd name="T50" fmla="*/ 20 w 183"/>
              <a:gd name="T51" fmla="*/ 47 h 179"/>
              <a:gd name="T52" fmla="*/ 33 w 183"/>
              <a:gd name="T53" fmla="*/ 40 h 179"/>
              <a:gd name="T54" fmla="*/ 44 w 183"/>
              <a:gd name="T55" fmla="*/ 46 h 179"/>
              <a:gd name="T56" fmla="*/ 55 w 183"/>
              <a:gd name="T57" fmla="*/ 41 h 179"/>
              <a:gd name="T58" fmla="*/ 66 w 183"/>
              <a:gd name="T59" fmla="*/ 30 h 179"/>
              <a:gd name="T60" fmla="*/ 66 w 183"/>
              <a:gd name="T61" fmla="*/ 15 h 179"/>
              <a:gd name="T62" fmla="*/ 80 w 183"/>
              <a:gd name="T63" fmla="*/ 7 h 179"/>
              <a:gd name="T64" fmla="*/ 90 w 183"/>
              <a:gd name="T65" fmla="*/ 0 h 179"/>
              <a:gd name="T66" fmla="*/ 31 w 183"/>
              <a:gd name="T67" fmla="*/ 67 h 179"/>
              <a:gd name="T68" fmla="*/ 38 w 183"/>
              <a:gd name="T69" fmla="*/ 65 h 179"/>
              <a:gd name="T70" fmla="*/ 24 w 183"/>
              <a:gd name="T71" fmla="*/ 73 h 179"/>
              <a:gd name="T72" fmla="*/ 26 w 183"/>
              <a:gd name="T73" fmla="*/ 65 h 179"/>
              <a:gd name="T74" fmla="*/ 41 w 183"/>
              <a:gd name="T75" fmla="*/ 79 h 179"/>
              <a:gd name="T76" fmla="*/ 36 w 183"/>
              <a:gd name="T77" fmla="*/ 75 h 179"/>
              <a:gd name="T78" fmla="*/ 49 w 183"/>
              <a:gd name="T79" fmla="*/ 96 h 179"/>
              <a:gd name="T80" fmla="*/ 40 w 183"/>
              <a:gd name="T81" fmla="*/ 84 h 179"/>
              <a:gd name="T82" fmla="*/ 52 w 183"/>
              <a:gd name="T83" fmla="*/ 97 h 179"/>
              <a:gd name="T84" fmla="*/ 42 w 183"/>
              <a:gd name="T85" fmla="*/ 106 h 179"/>
              <a:gd name="T86" fmla="*/ 50 w 183"/>
              <a:gd name="T87" fmla="*/ 108 h 179"/>
              <a:gd name="T88" fmla="*/ 58 w 183"/>
              <a:gd name="T89" fmla="*/ 115 h 179"/>
              <a:gd name="T90" fmla="*/ 92 w 183"/>
              <a:gd name="T91" fmla="*/ 142 h 179"/>
              <a:gd name="T92" fmla="*/ 104 w 183"/>
              <a:gd name="T93" fmla="*/ 142 h 179"/>
              <a:gd name="T94" fmla="*/ 90 w 183"/>
              <a:gd name="T95" fmla="*/ 146 h 179"/>
              <a:gd name="T96" fmla="*/ 129 w 183"/>
              <a:gd name="T97" fmla="*/ 159 h 179"/>
              <a:gd name="T98" fmla="*/ 143 w 183"/>
              <a:gd name="T99" fmla="*/ 168 h 179"/>
              <a:gd name="T100" fmla="*/ 150 w 183"/>
              <a:gd name="T101" fmla="*/ 175 h 179"/>
              <a:gd name="T102" fmla="*/ 115 w 183"/>
              <a:gd name="T103" fmla="*/ 154 h 179"/>
              <a:gd name="T104" fmla="*/ 111 w 183"/>
              <a:gd name="T105" fmla="*/ 156 h 179"/>
              <a:gd name="T106" fmla="*/ 99 w 183"/>
              <a:gd name="T107" fmla="*/ 157 h 179"/>
              <a:gd name="T108" fmla="*/ 120 w 183"/>
              <a:gd name="T109"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3" h="179">
                <a:moveTo>
                  <a:pt x="93" y="1"/>
                </a:moveTo>
                <a:lnTo>
                  <a:pt x="93" y="1"/>
                </a:lnTo>
                <a:lnTo>
                  <a:pt x="95" y="2"/>
                </a:lnTo>
                <a:lnTo>
                  <a:pt x="100" y="5"/>
                </a:lnTo>
                <a:lnTo>
                  <a:pt x="104" y="9"/>
                </a:lnTo>
                <a:lnTo>
                  <a:pt x="106" y="12"/>
                </a:lnTo>
                <a:lnTo>
                  <a:pt x="109" y="15"/>
                </a:lnTo>
                <a:lnTo>
                  <a:pt x="113" y="18"/>
                </a:lnTo>
                <a:lnTo>
                  <a:pt x="116" y="20"/>
                </a:lnTo>
                <a:lnTo>
                  <a:pt x="118" y="24"/>
                </a:lnTo>
                <a:lnTo>
                  <a:pt x="121" y="26"/>
                </a:lnTo>
                <a:lnTo>
                  <a:pt x="125" y="27"/>
                </a:lnTo>
                <a:lnTo>
                  <a:pt x="127" y="28"/>
                </a:lnTo>
                <a:lnTo>
                  <a:pt x="128" y="30"/>
                </a:lnTo>
                <a:lnTo>
                  <a:pt x="130" y="32"/>
                </a:lnTo>
                <a:lnTo>
                  <a:pt x="133" y="33"/>
                </a:lnTo>
                <a:lnTo>
                  <a:pt x="138" y="34"/>
                </a:lnTo>
                <a:lnTo>
                  <a:pt x="148" y="34"/>
                </a:lnTo>
                <a:lnTo>
                  <a:pt x="148" y="34"/>
                </a:lnTo>
                <a:lnTo>
                  <a:pt x="151" y="35"/>
                </a:lnTo>
                <a:lnTo>
                  <a:pt x="153" y="34"/>
                </a:lnTo>
                <a:lnTo>
                  <a:pt x="156" y="33"/>
                </a:lnTo>
                <a:lnTo>
                  <a:pt x="157" y="32"/>
                </a:lnTo>
                <a:lnTo>
                  <a:pt x="160" y="28"/>
                </a:lnTo>
                <a:lnTo>
                  <a:pt x="162" y="28"/>
                </a:lnTo>
                <a:lnTo>
                  <a:pt x="165" y="28"/>
                </a:lnTo>
                <a:lnTo>
                  <a:pt x="168" y="27"/>
                </a:lnTo>
                <a:lnTo>
                  <a:pt x="168" y="27"/>
                </a:lnTo>
                <a:lnTo>
                  <a:pt x="168" y="28"/>
                </a:lnTo>
                <a:lnTo>
                  <a:pt x="167" y="30"/>
                </a:lnTo>
                <a:lnTo>
                  <a:pt x="166" y="31"/>
                </a:lnTo>
                <a:lnTo>
                  <a:pt x="167" y="34"/>
                </a:lnTo>
                <a:lnTo>
                  <a:pt x="169" y="39"/>
                </a:lnTo>
                <a:lnTo>
                  <a:pt x="168" y="42"/>
                </a:lnTo>
                <a:lnTo>
                  <a:pt x="169" y="44"/>
                </a:lnTo>
                <a:lnTo>
                  <a:pt x="172" y="45"/>
                </a:lnTo>
                <a:lnTo>
                  <a:pt x="173" y="45"/>
                </a:lnTo>
                <a:lnTo>
                  <a:pt x="172" y="46"/>
                </a:lnTo>
                <a:lnTo>
                  <a:pt x="171" y="48"/>
                </a:lnTo>
                <a:lnTo>
                  <a:pt x="171" y="51"/>
                </a:lnTo>
                <a:lnTo>
                  <a:pt x="174" y="53"/>
                </a:lnTo>
                <a:lnTo>
                  <a:pt x="179" y="56"/>
                </a:lnTo>
                <a:lnTo>
                  <a:pt x="181" y="56"/>
                </a:lnTo>
                <a:lnTo>
                  <a:pt x="182" y="57"/>
                </a:lnTo>
                <a:lnTo>
                  <a:pt x="183" y="58"/>
                </a:lnTo>
                <a:lnTo>
                  <a:pt x="183" y="59"/>
                </a:lnTo>
                <a:lnTo>
                  <a:pt x="183" y="60"/>
                </a:lnTo>
                <a:lnTo>
                  <a:pt x="183" y="61"/>
                </a:lnTo>
                <a:lnTo>
                  <a:pt x="180" y="61"/>
                </a:lnTo>
                <a:lnTo>
                  <a:pt x="177" y="61"/>
                </a:lnTo>
                <a:lnTo>
                  <a:pt x="175" y="60"/>
                </a:lnTo>
                <a:lnTo>
                  <a:pt x="175" y="61"/>
                </a:lnTo>
                <a:lnTo>
                  <a:pt x="175" y="62"/>
                </a:lnTo>
                <a:lnTo>
                  <a:pt x="173" y="62"/>
                </a:lnTo>
                <a:lnTo>
                  <a:pt x="174" y="69"/>
                </a:lnTo>
                <a:lnTo>
                  <a:pt x="173" y="71"/>
                </a:lnTo>
                <a:lnTo>
                  <a:pt x="172" y="72"/>
                </a:lnTo>
                <a:lnTo>
                  <a:pt x="172" y="72"/>
                </a:lnTo>
                <a:lnTo>
                  <a:pt x="171" y="72"/>
                </a:lnTo>
                <a:lnTo>
                  <a:pt x="170" y="72"/>
                </a:lnTo>
                <a:lnTo>
                  <a:pt x="171" y="74"/>
                </a:lnTo>
                <a:lnTo>
                  <a:pt x="169" y="74"/>
                </a:lnTo>
                <a:lnTo>
                  <a:pt x="165" y="73"/>
                </a:lnTo>
                <a:lnTo>
                  <a:pt x="164" y="72"/>
                </a:lnTo>
                <a:lnTo>
                  <a:pt x="164" y="71"/>
                </a:lnTo>
                <a:lnTo>
                  <a:pt x="164" y="69"/>
                </a:lnTo>
                <a:lnTo>
                  <a:pt x="163" y="67"/>
                </a:lnTo>
                <a:lnTo>
                  <a:pt x="160" y="65"/>
                </a:lnTo>
                <a:lnTo>
                  <a:pt x="155" y="64"/>
                </a:lnTo>
                <a:lnTo>
                  <a:pt x="153" y="64"/>
                </a:lnTo>
                <a:lnTo>
                  <a:pt x="151" y="63"/>
                </a:lnTo>
                <a:lnTo>
                  <a:pt x="148" y="62"/>
                </a:lnTo>
                <a:lnTo>
                  <a:pt x="146" y="62"/>
                </a:lnTo>
                <a:lnTo>
                  <a:pt x="144" y="63"/>
                </a:lnTo>
                <a:lnTo>
                  <a:pt x="139" y="62"/>
                </a:lnTo>
                <a:lnTo>
                  <a:pt x="138" y="63"/>
                </a:lnTo>
                <a:lnTo>
                  <a:pt x="135" y="65"/>
                </a:lnTo>
                <a:lnTo>
                  <a:pt x="134" y="65"/>
                </a:lnTo>
                <a:lnTo>
                  <a:pt x="130" y="61"/>
                </a:lnTo>
                <a:lnTo>
                  <a:pt x="129" y="61"/>
                </a:lnTo>
                <a:lnTo>
                  <a:pt x="125" y="63"/>
                </a:lnTo>
                <a:lnTo>
                  <a:pt x="124" y="63"/>
                </a:lnTo>
                <a:lnTo>
                  <a:pt x="123" y="62"/>
                </a:lnTo>
                <a:lnTo>
                  <a:pt x="118" y="61"/>
                </a:lnTo>
                <a:lnTo>
                  <a:pt x="116" y="61"/>
                </a:lnTo>
                <a:lnTo>
                  <a:pt x="115" y="61"/>
                </a:lnTo>
                <a:lnTo>
                  <a:pt x="112" y="61"/>
                </a:lnTo>
                <a:lnTo>
                  <a:pt x="106" y="56"/>
                </a:lnTo>
                <a:lnTo>
                  <a:pt x="102" y="60"/>
                </a:lnTo>
                <a:lnTo>
                  <a:pt x="94" y="59"/>
                </a:lnTo>
                <a:lnTo>
                  <a:pt x="91" y="61"/>
                </a:lnTo>
                <a:lnTo>
                  <a:pt x="88" y="66"/>
                </a:lnTo>
                <a:lnTo>
                  <a:pt x="86" y="68"/>
                </a:lnTo>
                <a:lnTo>
                  <a:pt x="84" y="67"/>
                </a:lnTo>
                <a:lnTo>
                  <a:pt x="82" y="65"/>
                </a:lnTo>
                <a:lnTo>
                  <a:pt x="78" y="60"/>
                </a:lnTo>
                <a:lnTo>
                  <a:pt x="76" y="59"/>
                </a:lnTo>
                <a:lnTo>
                  <a:pt x="74" y="59"/>
                </a:lnTo>
                <a:lnTo>
                  <a:pt x="71" y="59"/>
                </a:lnTo>
                <a:lnTo>
                  <a:pt x="70" y="60"/>
                </a:lnTo>
                <a:lnTo>
                  <a:pt x="70" y="68"/>
                </a:lnTo>
                <a:lnTo>
                  <a:pt x="69" y="75"/>
                </a:lnTo>
                <a:lnTo>
                  <a:pt x="69" y="79"/>
                </a:lnTo>
                <a:lnTo>
                  <a:pt x="73" y="82"/>
                </a:lnTo>
                <a:lnTo>
                  <a:pt x="79" y="89"/>
                </a:lnTo>
                <a:lnTo>
                  <a:pt x="80" y="89"/>
                </a:lnTo>
                <a:lnTo>
                  <a:pt x="81" y="91"/>
                </a:lnTo>
                <a:lnTo>
                  <a:pt x="82" y="97"/>
                </a:lnTo>
                <a:lnTo>
                  <a:pt x="84" y="103"/>
                </a:lnTo>
                <a:lnTo>
                  <a:pt x="86" y="106"/>
                </a:lnTo>
                <a:lnTo>
                  <a:pt x="89" y="109"/>
                </a:lnTo>
                <a:lnTo>
                  <a:pt x="92" y="112"/>
                </a:lnTo>
                <a:lnTo>
                  <a:pt x="95" y="116"/>
                </a:lnTo>
                <a:lnTo>
                  <a:pt x="98" y="120"/>
                </a:lnTo>
                <a:lnTo>
                  <a:pt x="99" y="121"/>
                </a:lnTo>
                <a:lnTo>
                  <a:pt x="105" y="127"/>
                </a:lnTo>
                <a:lnTo>
                  <a:pt x="111" y="133"/>
                </a:lnTo>
                <a:lnTo>
                  <a:pt x="116" y="135"/>
                </a:lnTo>
                <a:lnTo>
                  <a:pt x="117" y="136"/>
                </a:lnTo>
                <a:lnTo>
                  <a:pt x="117" y="140"/>
                </a:lnTo>
                <a:lnTo>
                  <a:pt x="117" y="142"/>
                </a:lnTo>
                <a:lnTo>
                  <a:pt x="121" y="146"/>
                </a:lnTo>
                <a:lnTo>
                  <a:pt x="128" y="153"/>
                </a:lnTo>
                <a:lnTo>
                  <a:pt x="128" y="154"/>
                </a:lnTo>
                <a:lnTo>
                  <a:pt x="129" y="156"/>
                </a:lnTo>
                <a:lnTo>
                  <a:pt x="128" y="156"/>
                </a:lnTo>
                <a:lnTo>
                  <a:pt x="126" y="157"/>
                </a:lnTo>
                <a:lnTo>
                  <a:pt x="125" y="156"/>
                </a:lnTo>
                <a:lnTo>
                  <a:pt x="118" y="150"/>
                </a:lnTo>
                <a:lnTo>
                  <a:pt x="112" y="146"/>
                </a:lnTo>
                <a:lnTo>
                  <a:pt x="105" y="138"/>
                </a:lnTo>
                <a:lnTo>
                  <a:pt x="96" y="135"/>
                </a:lnTo>
                <a:lnTo>
                  <a:pt x="89" y="132"/>
                </a:lnTo>
                <a:lnTo>
                  <a:pt x="85" y="132"/>
                </a:lnTo>
                <a:lnTo>
                  <a:pt x="81" y="133"/>
                </a:lnTo>
                <a:lnTo>
                  <a:pt x="78" y="133"/>
                </a:lnTo>
                <a:lnTo>
                  <a:pt x="77" y="133"/>
                </a:lnTo>
                <a:lnTo>
                  <a:pt x="75" y="130"/>
                </a:lnTo>
                <a:lnTo>
                  <a:pt x="75" y="129"/>
                </a:lnTo>
                <a:lnTo>
                  <a:pt x="75" y="127"/>
                </a:lnTo>
                <a:lnTo>
                  <a:pt x="71" y="123"/>
                </a:lnTo>
                <a:lnTo>
                  <a:pt x="66" y="120"/>
                </a:lnTo>
                <a:lnTo>
                  <a:pt x="61" y="116"/>
                </a:lnTo>
                <a:lnTo>
                  <a:pt x="52" y="104"/>
                </a:lnTo>
                <a:lnTo>
                  <a:pt x="50" y="101"/>
                </a:lnTo>
                <a:lnTo>
                  <a:pt x="52" y="100"/>
                </a:lnTo>
                <a:lnTo>
                  <a:pt x="53" y="100"/>
                </a:lnTo>
                <a:lnTo>
                  <a:pt x="55" y="99"/>
                </a:lnTo>
                <a:lnTo>
                  <a:pt x="57" y="99"/>
                </a:lnTo>
                <a:lnTo>
                  <a:pt x="60" y="100"/>
                </a:lnTo>
                <a:lnTo>
                  <a:pt x="58" y="98"/>
                </a:lnTo>
                <a:lnTo>
                  <a:pt x="54" y="95"/>
                </a:lnTo>
                <a:lnTo>
                  <a:pt x="45" y="86"/>
                </a:lnTo>
                <a:lnTo>
                  <a:pt x="43" y="81"/>
                </a:lnTo>
                <a:lnTo>
                  <a:pt x="42" y="76"/>
                </a:lnTo>
                <a:lnTo>
                  <a:pt x="43" y="70"/>
                </a:lnTo>
                <a:lnTo>
                  <a:pt x="41" y="65"/>
                </a:lnTo>
                <a:lnTo>
                  <a:pt x="34" y="58"/>
                </a:lnTo>
                <a:lnTo>
                  <a:pt x="32" y="55"/>
                </a:lnTo>
                <a:lnTo>
                  <a:pt x="27" y="53"/>
                </a:lnTo>
                <a:lnTo>
                  <a:pt x="24" y="53"/>
                </a:lnTo>
                <a:lnTo>
                  <a:pt x="23" y="56"/>
                </a:lnTo>
                <a:lnTo>
                  <a:pt x="22" y="61"/>
                </a:lnTo>
                <a:lnTo>
                  <a:pt x="17" y="68"/>
                </a:lnTo>
                <a:lnTo>
                  <a:pt x="16" y="71"/>
                </a:lnTo>
                <a:lnTo>
                  <a:pt x="14" y="75"/>
                </a:lnTo>
                <a:lnTo>
                  <a:pt x="11" y="76"/>
                </a:lnTo>
                <a:lnTo>
                  <a:pt x="10" y="75"/>
                </a:lnTo>
                <a:lnTo>
                  <a:pt x="7" y="69"/>
                </a:lnTo>
                <a:lnTo>
                  <a:pt x="3" y="64"/>
                </a:lnTo>
                <a:lnTo>
                  <a:pt x="3" y="61"/>
                </a:lnTo>
                <a:lnTo>
                  <a:pt x="2" y="58"/>
                </a:lnTo>
                <a:lnTo>
                  <a:pt x="0" y="47"/>
                </a:lnTo>
                <a:lnTo>
                  <a:pt x="1" y="45"/>
                </a:lnTo>
                <a:lnTo>
                  <a:pt x="3" y="47"/>
                </a:lnTo>
                <a:lnTo>
                  <a:pt x="11" y="49"/>
                </a:lnTo>
                <a:lnTo>
                  <a:pt x="13" y="48"/>
                </a:lnTo>
                <a:lnTo>
                  <a:pt x="14" y="47"/>
                </a:lnTo>
                <a:lnTo>
                  <a:pt x="14" y="46"/>
                </a:lnTo>
                <a:lnTo>
                  <a:pt x="14" y="46"/>
                </a:lnTo>
                <a:lnTo>
                  <a:pt x="17" y="47"/>
                </a:lnTo>
                <a:lnTo>
                  <a:pt x="20" y="47"/>
                </a:lnTo>
                <a:lnTo>
                  <a:pt x="23" y="47"/>
                </a:lnTo>
                <a:lnTo>
                  <a:pt x="26" y="47"/>
                </a:lnTo>
                <a:lnTo>
                  <a:pt x="28" y="46"/>
                </a:lnTo>
                <a:lnTo>
                  <a:pt x="30" y="42"/>
                </a:lnTo>
                <a:lnTo>
                  <a:pt x="31" y="40"/>
                </a:lnTo>
                <a:lnTo>
                  <a:pt x="32" y="39"/>
                </a:lnTo>
                <a:lnTo>
                  <a:pt x="33" y="40"/>
                </a:lnTo>
                <a:lnTo>
                  <a:pt x="34" y="41"/>
                </a:lnTo>
                <a:lnTo>
                  <a:pt x="35" y="43"/>
                </a:lnTo>
                <a:lnTo>
                  <a:pt x="37" y="46"/>
                </a:lnTo>
                <a:lnTo>
                  <a:pt x="39" y="47"/>
                </a:lnTo>
                <a:lnTo>
                  <a:pt x="41" y="48"/>
                </a:lnTo>
                <a:lnTo>
                  <a:pt x="43" y="47"/>
                </a:lnTo>
                <a:lnTo>
                  <a:pt x="44" y="46"/>
                </a:lnTo>
                <a:lnTo>
                  <a:pt x="49" y="48"/>
                </a:lnTo>
                <a:lnTo>
                  <a:pt x="53" y="49"/>
                </a:lnTo>
                <a:lnTo>
                  <a:pt x="56" y="48"/>
                </a:lnTo>
                <a:lnTo>
                  <a:pt x="56" y="46"/>
                </a:lnTo>
                <a:lnTo>
                  <a:pt x="55" y="44"/>
                </a:lnTo>
                <a:lnTo>
                  <a:pt x="55" y="43"/>
                </a:lnTo>
                <a:lnTo>
                  <a:pt x="55" y="41"/>
                </a:lnTo>
                <a:lnTo>
                  <a:pt x="57" y="40"/>
                </a:lnTo>
                <a:lnTo>
                  <a:pt x="57" y="39"/>
                </a:lnTo>
                <a:lnTo>
                  <a:pt x="54" y="37"/>
                </a:lnTo>
                <a:lnTo>
                  <a:pt x="54" y="36"/>
                </a:lnTo>
                <a:lnTo>
                  <a:pt x="60" y="33"/>
                </a:lnTo>
                <a:lnTo>
                  <a:pt x="65" y="31"/>
                </a:lnTo>
                <a:lnTo>
                  <a:pt x="66" y="30"/>
                </a:lnTo>
                <a:lnTo>
                  <a:pt x="67" y="28"/>
                </a:lnTo>
                <a:lnTo>
                  <a:pt x="67" y="25"/>
                </a:lnTo>
                <a:lnTo>
                  <a:pt x="67" y="22"/>
                </a:lnTo>
                <a:lnTo>
                  <a:pt x="64" y="19"/>
                </a:lnTo>
                <a:lnTo>
                  <a:pt x="64" y="18"/>
                </a:lnTo>
                <a:lnTo>
                  <a:pt x="65" y="16"/>
                </a:lnTo>
                <a:lnTo>
                  <a:pt x="66" y="15"/>
                </a:lnTo>
                <a:lnTo>
                  <a:pt x="68" y="14"/>
                </a:lnTo>
                <a:lnTo>
                  <a:pt x="70" y="13"/>
                </a:lnTo>
                <a:lnTo>
                  <a:pt x="72" y="12"/>
                </a:lnTo>
                <a:lnTo>
                  <a:pt x="75" y="11"/>
                </a:lnTo>
                <a:lnTo>
                  <a:pt x="77" y="10"/>
                </a:lnTo>
                <a:lnTo>
                  <a:pt x="79" y="7"/>
                </a:lnTo>
                <a:lnTo>
                  <a:pt x="80" y="7"/>
                </a:lnTo>
                <a:lnTo>
                  <a:pt x="84" y="7"/>
                </a:lnTo>
                <a:lnTo>
                  <a:pt x="85" y="6"/>
                </a:lnTo>
                <a:lnTo>
                  <a:pt x="84" y="2"/>
                </a:lnTo>
                <a:lnTo>
                  <a:pt x="85" y="1"/>
                </a:lnTo>
                <a:lnTo>
                  <a:pt x="86" y="1"/>
                </a:lnTo>
                <a:lnTo>
                  <a:pt x="87" y="0"/>
                </a:lnTo>
                <a:lnTo>
                  <a:pt x="90" y="0"/>
                </a:lnTo>
                <a:lnTo>
                  <a:pt x="93" y="1"/>
                </a:lnTo>
                <a:close/>
                <a:moveTo>
                  <a:pt x="40" y="69"/>
                </a:moveTo>
                <a:lnTo>
                  <a:pt x="40" y="69"/>
                </a:lnTo>
                <a:lnTo>
                  <a:pt x="36" y="70"/>
                </a:lnTo>
                <a:lnTo>
                  <a:pt x="34" y="68"/>
                </a:lnTo>
                <a:lnTo>
                  <a:pt x="34" y="67"/>
                </a:lnTo>
                <a:lnTo>
                  <a:pt x="31" y="67"/>
                </a:lnTo>
                <a:lnTo>
                  <a:pt x="29" y="65"/>
                </a:lnTo>
                <a:lnTo>
                  <a:pt x="28" y="64"/>
                </a:lnTo>
                <a:lnTo>
                  <a:pt x="31" y="62"/>
                </a:lnTo>
                <a:lnTo>
                  <a:pt x="33" y="58"/>
                </a:lnTo>
                <a:lnTo>
                  <a:pt x="34" y="60"/>
                </a:lnTo>
                <a:lnTo>
                  <a:pt x="37" y="64"/>
                </a:lnTo>
                <a:lnTo>
                  <a:pt x="38" y="65"/>
                </a:lnTo>
                <a:lnTo>
                  <a:pt x="40" y="69"/>
                </a:lnTo>
                <a:close/>
                <a:moveTo>
                  <a:pt x="30" y="83"/>
                </a:moveTo>
                <a:lnTo>
                  <a:pt x="30" y="83"/>
                </a:lnTo>
                <a:lnTo>
                  <a:pt x="30" y="85"/>
                </a:lnTo>
                <a:lnTo>
                  <a:pt x="28" y="83"/>
                </a:lnTo>
                <a:lnTo>
                  <a:pt x="27" y="79"/>
                </a:lnTo>
                <a:lnTo>
                  <a:pt x="24" y="73"/>
                </a:lnTo>
                <a:lnTo>
                  <a:pt x="24" y="71"/>
                </a:lnTo>
                <a:lnTo>
                  <a:pt x="25" y="69"/>
                </a:lnTo>
                <a:lnTo>
                  <a:pt x="25" y="67"/>
                </a:lnTo>
                <a:lnTo>
                  <a:pt x="24" y="62"/>
                </a:lnTo>
                <a:lnTo>
                  <a:pt x="25" y="61"/>
                </a:lnTo>
                <a:lnTo>
                  <a:pt x="26" y="61"/>
                </a:lnTo>
                <a:lnTo>
                  <a:pt x="26" y="65"/>
                </a:lnTo>
                <a:lnTo>
                  <a:pt x="27" y="67"/>
                </a:lnTo>
                <a:lnTo>
                  <a:pt x="29" y="70"/>
                </a:lnTo>
                <a:lnTo>
                  <a:pt x="29" y="74"/>
                </a:lnTo>
                <a:lnTo>
                  <a:pt x="29" y="80"/>
                </a:lnTo>
                <a:lnTo>
                  <a:pt x="30" y="82"/>
                </a:lnTo>
                <a:lnTo>
                  <a:pt x="30" y="83"/>
                </a:lnTo>
                <a:close/>
                <a:moveTo>
                  <a:pt x="41" y="79"/>
                </a:moveTo>
                <a:lnTo>
                  <a:pt x="41" y="79"/>
                </a:lnTo>
                <a:lnTo>
                  <a:pt x="41" y="81"/>
                </a:lnTo>
                <a:lnTo>
                  <a:pt x="38" y="79"/>
                </a:lnTo>
                <a:lnTo>
                  <a:pt x="36" y="78"/>
                </a:lnTo>
                <a:lnTo>
                  <a:pt x="35" y="77"/>
                </a:lnTo>
                <a:lnTo>
                  <a:pt x="36" y="76"/>
                </a:lnTo>
                <a:lnTo>
                  <a:pt x="36" y="75"/>
                </a:lnTo>
                <a:lnTo>
                  <a:pt x="38" y="75"/>
                </a:lnTo>
                <a:lnTo>
                  <a:pt x="39" y="76"/>
                </a:lnTo>
                <a:lnTo>
                  <a:pt x="41" y="79"/>
                </a:lnTo>
                <a:close/>
                <a:moveTo>
                  <a:pt x="52" y="97"/>
                </a:moveTo>
                <a:lnTo>
                  <a:pt x="52" y="97"/>
                </a:lnTo>
                <a:lnTo>
                  <a:pt x="51" y="98"/>
                </a:lnTo>
                <a:lnTo>
                  <a:pt x="49" y="96"/>
                </a:lnTo>
                <a:lnTo>
                  <a:pt x="47" y="95"/>
                </a:lnTo>
                <a:lnTo>
                  <a:pt x="46" y="93"/>
                </a:lnTo>
                <a:lnTo>
                  <a:pt x="43" y="91"/>
                </a:lnTo>
                <a:lnTo>
                  <a:pt x="42" y="88"/>
                </a:lnTo>
                <a:lnTo>
                  <a:pt x="38" y="83"/>
                </a:lnTo>
                <a:lnTo>
                  <a:pt x="38" y="82"/>
                </a:lnTo>
                <a:lnTo>
                  <a:pt x="40" y="84"/>
                </a:lnTo>
                <a:lnTo>
                  <a:pt x="41" y="85"/>
                </a:lnTo>
                <a:lnTo>
                  <a:pt x="43" y="85"/>
                </a:lnTo>
                <a:lnTo>
                  <a:pt x="46" y="89"/>
                </a:lnTo>
                <a:lnTo>
                  <a:pt x="49" y="93"/>
                </a:lnTo>
                <a:lnTo>
                  <a:pt x="53" y="97"/>
                </a:lnTo>
                <a:lnTo>
                  <a:pt x="53" y="97"/>
                </a:lnTo>
                <a:lnTo>
                  <a:pt x="52" y="97"/>
                </a:lnTo>
                <a:close/>
                <a:moveTo>
                  <a:pt x="52" y="115"/>
                </a:moveTo>
                <a:lnTo>
                  <a:pt x="52" y="115"/>
                </a:lnTo>
                <a:lnTo>
                  <a:pt x="52" y="116"/>
                </a:lnTo>
                <a:lnTo>
                  <a:pt x="52" y="116"/>
                </a:lnTo>
                <a:lnTo>
                  <a:pt x="51" y="116"/>
                </a:lnTo>
                <a:lnTo>
                  <a:pt x="50" y="116"/>
                </a:lnTo>
                <a:lnTo>
                  <a:pt x="42" y="106"/>
                </a:lnTo>
                <a:lnTo>
                  <a:pt x="42" y="105"/>
                </a:lnTo>
                <a:lnTo>
                  <a:pt x="44" y="107"/>
                </a:lnTo>
                <a:lnTo>
                  <a:pt x="52" y="115"/>
                </a:lnTo>
                <a:close/>
                <a:moveTo>
                  <a:pt x="53" y="109"/>
                </a:moveTo>
                <a:lnTo>
                  <a:pt x="53" y="109"/>
                </a:lnTo>
                <a:lnTo>
                  <a:pt x="54" y="111"/>
                </a:lnTo>
                <a:lnTo>
                  <a:pt x="50" y="108"/>
                </a:lnTo>
                <a:lnTo>
                  <a:pt x="48" y="106"/>
                </a:lnTo>
                <a:lnTo>
                  <a:pt x="48" y="105"/>
                </a:lnTo>
                <a:lnTo>
                  <a:pt x="53" y="109"/>
                </a:lnTo>
                <a:close/>
                <a:moveTo>
                  <a:pt x="57" y="113"/>
                </a:moveTo>
                <a:lnTo>
                  <a:pt x="57" y="113"/>
                </a:lnTo>
                <a:lnTo>
                  <a:pt x="59" y="116"/>
                </a:lnTo>
                <a:lnTo>
                  <a:pt x="58" y="115"/>
                </a:lnTo>
                <a:lnTo>
                  <a:pt x="55" y="114"/>
                </a:lnTo>
                <a:lnTo>
                  <a:pt x="54" y="111"/>
                </a:lnTo>
                <a:lnTo>
                  <a:pt x="57" y="113"/>
                </a:lnTo>
                <a:close/>
                <a:moveTo>
                  <a:pt x="102" y="143"/>
                </a:moveTo>
                <a:lnTo>
                  <a:pt x="102" y="143"/>
                </a:lnTo>
                <a:lnTo>
                  <a:pt x="97" y="143"/>
                </a:lnTo>
                <a:lnTo>
                  <a:pt x="92" y="142"/>
                </a:lnTo>
                <a:lnTo>
                  <a:pt x="90" y="141"/>
                </a:lnTo>
                <a:lnTo>
                  <a:pt x="90" y="140"/>
                </a:lnTo>
                <a:lnTo>
                  <a:pt x="91" y="138"/>
                </a:lnTo>
                <a:lnTo>
                  <a:pt x="96" y="138"/>
                </a:lnTo>
                <a:lnTo>
                  <a:pt x="103" y="140"/>
                </a:lnTo>
                <a:lnTo>
                  <a:pt x="105" y="141"/>
                </a:lnTo>
                <a:lnTo>
                  <a:pt x="104" y="142"/>
                </a:lnTo>
                <a:lnTo>
                  <a:pt x="102" y="143"/>
                </a:lnTo>
                <a:close/>
                <a:moveTo>
                  <a:pt x="114" y="149"/>
                </a:moveTo>
                <a:lnTo>
                  <a:pt x="114" y="149"/>
                </a:lnTo>
                <a:lnTo>
                  <a:pt x="112" y="150"/>
                </a:lnTo>
                <a:lnTo>
                  <a:pt x="98" y="149"/>
                </a:lnTo>
                <a:lnTo>
                  <a:pt x="94" y="149"/>
                </a:lnTo>
                <a:lnTo>
                  <a:pt x="90" y="146"/>
                </a:lnTo>
                <a:lnTo>
                  <a:pt x="89" y="146"/>
                </a:lnTo>
                <a:lnTo>
                  <a:pt x="93" y="145"/>
                </a:lnTo>
                <a:lnTo>
                  <a:pt x="98" y="146"/>
                </a:lnTo>
                <a:lnTo>
                  <a:pt x="99" y="147"/>
                </a:lnTo>
                <a:lnTo>
                  <a:pt x="110" y="149"/>
                </a:lnTo>
                <a:lnTo>
                  <a:pt x="114" y="149"/>
                </a:lnTo>
                <a:close/>
                <a:moveTo>
                  <a:pt x="129" y="159"/>
                </a:moveTo>
                <a:lnTo>
                  <a:pt x="129" y="159"/>
                </a:lnTo>
                <a:lnTo>
                  <a:pt x="131" y="158"/>
                </a:lnTo>
                <a:lnTo>
                  <a:pt x="133" y="159"/>
                </a:lnTo>
                <a:lnTo>
                  <a:pt x="134" y="161"/>
                </a:lnTo>
                <a:lnTo>
                  <a:pt x="137" y="163"/>
                </a:lnTo>
                <a:lnTo>
                  <a:pt x="141" y="166"/>
                </a:lnTo>
                <a:lnTo>
                  <a:pt x="143" y="168"/>
                </a:lnTo>
                <a:lnTo>
                  <a:pt x="149" y="172"/>
                </a:lnTo>
                <a:lnTo>
                  <a:pt x="150" y="172"/>
                </a:lnTo>
                <a:lnTo>
                  <a:pt x="153" y="173"/>
                </a:lnTo>
                <a:lnTo>
                  <a:pt x="153" y="175"/>
                </a:lnTo>
                <a:lnTo>
                  <a:pt x="154" y="177"/>
                </a:lnTo>
                <a:lnTo>
                  <a:pt x="156" y="179"/>
                </a:lnTo>
                <a:lnTo>
                  <a:pt x="150" y="175"/>
                </a:lnTo>
                <a:lnTo>
                  <a:pt x="144" y="170"/>
                </a:lnTo>
                <a:lnTo>
                  <a:pt x="134" y="163"/>
                </a:lnTo>
                <a:lnTo>
                  <a:pt x="126" y="162"/>
                </a:lnTo>
                <a:lnTo>
                  <a:pt x="116" y="156"/>
                </a:lnTo>
                <a:lnTo>
                  <a:pt x="110" y="154"/>
                </a:lnTo>
                <a:lnTo>
                  <a:pt x="112" y="154"/>
                </a:lnTo>
                <a:lnTo>
                  <a:pt x="115" y="154"/>
                </a:lnTo>
                <a:lnTo>
                  <a:pt x="131" y="161"/>
                </a:lnTo>
                <a:lnTo>
                  <a:pt x="129" y="159"/>
                </a:lnTo>
                <a:close/>
                <a:moveTo>
                  <a:pt x="97" y="155"/>
                </a:moveTo>
                <a:lnTo>
                  <a:pt x="97" y="155"/>
                </a:lnTo>
                <a:lnTo>
                  <a:pt x="103" y="156"/>
                </a:lnTo>
                <a:lnTo>
                  <a:pt x="107" y="155"/>
                </a:lnTo>
                <a:lnTo>
                  <a:pt x="111" y="156"/>
                </a:lnTo>
                <a:lnTo>
                  <a:pt x="114" y="158"/>
                </a:lnTo>
                <a:lnTo>
                  <a:pt x="114" y="158"/>
                </a:lnTo>
                <a:lnTo>
                  <a:pt x="111" y="158"/>
                </a:lnTo>
                <a:lnTo>
                  <a:pt x="108" y="158"/>
                </a:lnTo>
                <a:lnTo>
                  <a:pt x="104" y="159"/>
                </a:lnTo>
                <a:lnTo>
                  <a:pt x="100" y="158"/>
                </a:lnTo>
                <a:lnTo>
                  <a:pt x="99" y="157"/>
                </a:lnTo>
                <a:lnTo>
                  <a:pt x="98" y="156"/>
                </a:lnTo>
                <a:lnTo>
                  <a:pt x="97" y="155"/>
                </a:lnTo>
                <a:close/>
                <a:moveTo>
                  <a:pt x="127" y="164"/>
                </a:moveTo>
                <a:lnTo>
                  <a:pt x="127" y="164"/>
                </a:lnTo>
                <a:lnTo>
                  <a:pt x="131" y="167"/>
                </a:lnTo>
                <a:lnTo>
                  <a:pt x="119" y="164"/>
                </a:lnTo>
                <a:lnTo>
                  <a:pt x="120" y="163"/>
                </a:lnTo>
                <a:lnTo>
                  <a:pt x="122" y="163"/>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6" name="Hungary">
            <a:extLst>
              <a:ext uri="{FF2B5EF4-FFF2-40B4-BE49-F238E27FC236}">
                <a16:creationId xmlns:a16="http://schemas.microsoft.com/office/drawing/2014/main" id="{A7F25CB8-A9BA-42AA-8D41-0E14A36C8C5F}"/>
              </a:ext>
            </a:extLst>
          </p:cNvPr>
          <p:cNvSpPr>
            <a:spLocks/>
          </p:cNvSpPr>
          <p:nvPr/>
        </p:nvSpPr>
        <p:spPr bwMode="auto">
          <a:xfrm>
            <a:off x="6301168" y="3179172"/>
            <a:ext cx="203112" cy="107888"/>
          </a:xfrm>
          <a:custGeom>
            <a:avLst/>
            <a:gdLst>
              <a:gd name="T0" fmla="*/ 191 w 211"/>
              <a:gd name="T1" fmla="*/ 6 h 128"/>
              <a:gd name="T2" fmla="*/ 193 w 211"/>
              <a:gd name="T3" fmla="*/ 10 h 128"/>
              <a:gd name="T4" fmla="*/ 200 w 211"/>
              <a:gd name="T5" fmla="*/ 16 h 128"/>
              <a:gd name="T6" fmla="*/ 206 w 211"/>
              <a:gd name="T7" fmla="*/ 21 h 128"/>
              <a:gd name="T8" fmla="*/ 211 w 211"/>
              <a:gd name="T9" fmla="*/ 24 h 128"/>
              <a:gd name="T10" fmla="*/ 211 w 211"/>
              <a:gd name="T11" fmla="*/ 29 h 128"/>
              <a:gd name="T12" fmla="*/ 199 w 211"/>
              <a:gd name="T13" fmla="*/ 36 h 128"/>
              <a:gd name="T14" fmla="*/ 192 w 211"/>
              <a:gd name="T15" fmla="*/ 40 h 128"/>
              <a:gd name="T16" fmla="*/ 184 w 211"/>
              <a:gd name="T17" fmla="*/ 49 h 128"/>
              <a:gd name="T18" fmla="*/ 180 w 211"/>
              <a:gd name="T19" fmla="*/ 58 h 128"/>
              <a:gd name="T20" fmla="*/ 173 w 211"/>
              <a:gd name="T21" fmla="*/ 71 h 128"/>
              <a:gd name="T22" fmla="*/ 168 w 211"/>
              <a:gd name="T23" fmla="*/ 83 h 128"/>
              <a:gd name="T24" fmla="*/ 163 w 211"/>
              <a:gd name="T25" fmla="*/ 90 h 128"/>
              <a:gd name="T26" fmla="*/ 161 w 211"/>
              <a:gd name="T27" fmla="*/ 98 h 128"/>
              <a:gd name="T28" fmla="*/ 157 w 211"/>
              <a:gd name="T29" fmla="*/ 104 h 128"/>
              <a:gd name="T30" fmla="*/ 145 w 211"/>
              <a:gd name="T31" fmla="*/ 107 h 128"/>
              <a:gd name="T32" fmla="*/ 141 w 211"/>
              <a:gd name="T33" fmla="*/ 111 h 128"/>
              <a:gd name="T34" fmla="*/ 128 w 211"/>
              <a:gd name="T35" fmla="*/ 111 h 128"/>
              <a:gd name="T36" fmla="*/ 113 w 211"/>
              <a:gd name="T37" fmla="*/ 110 h 128"/>
              <a:gd name="T38" fmla="*/ 104 w 211"/>
              <a:gd name="T39" fmla="*/ 114 h 128"/>
              <a:gd name="T40" fmla="*/ 97 w 211"/>
              <a:gd name="T41" fmla="*/ 118 h 128"/>
              <a:gd name="T42" fmla="*/ 92 w 211"/>
              <a:gd name="T43" fmla="*/ 118 h 128"/>
              <a:gd name="T44" fmla="*/ 85 w 211"/>
              <a:gd name="T45" fmla="*/ 121 h 128"/>
              <a:gd name="T46" fmla="*/ 76 w 211"/>
              <a:gd name="T47" fmla="*/ 126 h 128"/>
              <a:gd name="T48" fmla="*/ 68 w 211"/>
              <a:gd name="T49" fmla="*/ 127 h 128"/>
              <a:gd name="T50" fmla="*/ 48 w 211"/>
              <a:gd name="T51" fmla="*/ 123 h 128"/>
              <a:gd name="T52" fmla="*/ 38 w 211"/>
              <a:gd name="T53" fmla="*/ 117 h 128"/>
              <a:gd name="T54" fmla="*/ 26 w 211"/>
              <a:gd name="T55" fmla="*/ 105 h 128"/>
              <a:gd name="T56" fmla="*/ 13 w 211"/>
              <a:gd name="T57" fmla="*/ 94 h 128"/>
              <a:gd name="T58" fmla="*/ 9 w 211"/>
              <a:gd name="T59" fmla="*/ 86 h 128"/>
              <a:gd name="T60" fmla="*/ 7 w 211"/>
              <a:gd name="T61" fmla="*/ 80 h 128"/>
              <a:gd name="T62" fmla="*/ 7 w 211"/>
              <a:gd name="T63" fmla="*/ 72 h 128"/>
              <a:gd name="T64" fmla="*/ 12 w 211"/>
              <a:gd name="T65" fmla="*/ 69 h 128"/>
              <a:gd name="T66" fmla="*/ 11 w 211"/>
              <a:gd name="T67" fmla="*/ 65 h 128"/>
              <a:gd name="T68" fmla="*/ 11 w 211"/>
              <a:gd name="T69" fmla="*/ 55 h 128"/>
              <a:gd name="T70" fmla="*/ 16 w 211"/>
              <a:gd name="T71" fmla="*/ 51 h 128"/>
              <a:gd name="T72" fmla="*/ 11 w 211"/>
              <a:gd name="T73" fmla="*/ 42 h 128"/>
              <a:gd name="T74" fmla="*/ 14 w 211"/>
              <a:gd name="T75" fmla="*/ 37 h 128"/>
              <a:gd name="T76" fmla="*/ 22 w 211"/>
              <a:gd name="T77" fmla="*/ 41 h 128"/>
              <a:gd name="T78" fmla="*/ 30 w 211"/>
              <a:gd name="T79" fmla="*/ 39 h 128"/>
              <a:gd name="T80" fmla="*/ 30 w 211"/>
              <a:gd name="T81" fmla="*/ 32 h 128"/>
              <a:gd name="T82" fmla="*/ 34 w 211"/>
              <a:gd name="T83" fmla="*/ 25 h 128"/>
              <a:gd name="T84" fmla="*/ 43 w 211"/>
              <a:gd name="T85" fmla="*/ 31 h 128"/>
              <a:gd name="T86" fmla="*/ 64 w 211"/>
              <a:gd name="T87" fmla="*/ 37 h 128"/>
              <a:gd name="T88" fmla="*/ 84 w 211"/>
              <a:gd name="T89" fmla="*/ 33 h 128"/>
              <a:gd name="T90" fmla="*/ 88 w 211"/>
              <a:gd name="T91" fmla="*/ 23 h 128"/>
              <a:gd name="T92" fmla="*/ 108 w 211"/>
              <a:gd name="T93" fmla="*/ 16 h 128"/>
              <a:gd name="T94" fmla="*/ 119 w 211"/>
              <a:gd name="T95" fmla="*/ 20 h 128"/>
              <a:gd name="T96" fmla="*/ 137 w 211"/>
              <a:gd name="T97" fmla="*/ 3 h 128"/>
              <a:gd name="T98" fmla="*/ 152 w 211"/>
              <a:gd name="T99" fmla="*/ 1 h 128"/>
              <a:gd name="T100" fmla="*/ 167 w 211"/>
              <a:gd name="T101" fmla="*/ 0 h 128"/>
              <a:gd name="T102" fmla="*/ 173 w 211"/>
              <a:gd name="T103" fmla="*/ 6 h 128"/>
              <a:gd name="T104" fmla="*/ 177 w 211"/>
              <a:gd name="T105" fmla="*/ 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28">
                <a:moveTo>
                  <a:pt x="188" y="7"/>
                </a:moveTo>
                <a:lnTo>
                  <a:pt x="188" y="7"/>
                </a:lnTo>
                <a:lnTo>
                  <a:pt x="191" y="6"/>
                </a:lnTo>
                <a:lnTo>
                  <a:pt x="191" y="6"/>
                </a:lnTo>
                <a:lnTo>
                  <a:pt x="192" y="7"/>
                </a:lnTo>
                <a:lnTo>
                  <a:pt x="193" y="9"/>
                </a:lnTo>
                <a:lnTo>
                  <a:pt x="193" y="9"/>
                </a:lnTo>
                <a:lnTo>
                  <a:pt x="193" y="10"/>
                </a:lnTo>
                <a:lnTo>
                  <a:pt x="194" y="12"/>
                </a:lnTo>
                <a:lnTo>
                  <a:pt x="195" y="14"/>
                </a:lnTo>
                <a:lnTo>
                  <a:pt x="197" y="14"/>
                </a:lnTo>
                <a:lnTo>
                  <a:pt x="200" y="16"/>
                </a:lnTo>
                <a:lnTo>
                  <a:pt x="202" y="19"/>
                </a:lnTo>
                <a:lnTo>
                  <a:pt x="205" y="21"/>
                </a:lnTo>
                <a:lnTo>
                  <a:pt x="205" y="21"/>
                </a:lnTo>
                <a:lnTo>
                  <a:pt x="206" y="21"/>
                </a:lnTo>
                <a:lnTo>
                  <a:pt x="208" y="21"/>
                </a:lnTo>
                <a:lnTo>
                  <a:pt x="209" y="21"/>
                </a:lnTo>
                <a:lnTo>
                  <a:pt x="210" y="23"/>
                </a:lnTo>
                <a:lnTo>
                  <a:pt x="211" y="24"/>
                </a:lnTo>
                <a:lnTo>
                  <a:pt x="211" y="26"/>
                </a:lnTo>
                <a:lnTo>
                  <a:pt x="211" y="28"/>
                </a:lnTo>
                <a:lnTo>
                  <a:pt x="211" y="28"/>
                </a:lnTo>
                <a:lnTo>
                  <a:pt x="211" y="29"/>
                </a:lnTo>
                <a:lnTo>
                  <a:pt x="205" y="35"/>
                </a:lnTo>
                <a:lnTo>
                  <a:pt x="203" y="37"/>
                </a:lnTo>
                <a:lnTo>
                  <a:pt x="202" y="37"/>
                </a:lnTo>
                <a:lnTo>
                  <a:pt x="199" y="36"/>
                </a:lnTo>
                <a:lnTo>
                  <a:pt x="197" y="37"/>
                </a:lnTo>
                <a:lnTo>
                  <a:pt x="195" y="38"/>
                </a:lnTo>
                <a:lnTo>
                  <a:pt x="193" y="38"/>
                </a:lnTo>
                <a:lnTo>
                  <a:pt x="192" y="40"/>
                </a:lnTo>
                <a:lnTo>
                  <a:pt x="190" y="43"/>
                </a:lnTo>
                <a:lnTo>
                  <a:pt x="188" y="45"/>
                </a:lnTo>
                <a:lnTo>
                  <a:pt x="185" y="47"/>
                </a:lnTo>
                <a:lnTo>
                  <a:pt x="184" y="49"/>
                </a:lnTo>
                <a:lnTo>
                  <a:pt x="184" y="54"/>
                </a:lnTo>
                <a:lnTo>
                  <a:pt x="183" y="55"/>
                </a:lnTo>
                <a:lnTo>
                  <a:pt x="181" y="57"/>
                </a:lnTo>
                <a:lnTo>
                  <a:pt x="180" y="58"/>
                </a:lnTo>
                <a:lnTo>
                  <a:pt x="177" y="65"/>
                </a:lnTo>
                <a:lnTo>
                  <a:pt x="176" y="68"/>
                </a:lnTo>
                <a:lnTo>
                  <a:pt x="174" y="70"/>
                </a:lnTo>
                <a:lnTo>
                  <a:pt x="173" y="71"/>
                </a:lnTo>
                <a:lnTo>
                  <a:pt x="173" y="73"/>
                </a:lnTo>
                <a:lnTo>
                  <a:pt x="171" y="77"/>
                </a:lnTo>
                <a:lnTo>
                  <a:pt x="168" y="81"/>
                </a:lnTo>
                <a:lnTo>
                  <a:pt x="168" y="83"/>
                </a:lnTo>
                <a:lnTo>
                  <a:pt x="168" y="85"/>
                </a:lnTo>
                <a:lnTo>
                  <a:pt x="166" y="88"/>
                </a:lnTo>
                <a:lnTo>
                  <a:pt x="164" y="89"/>
                </a:lnTo>
                <a:lnTo>
                  <a:pt x="163" y="90"/>
                </a:lnTo>
                <a:lnTo>
                  <a:pt x="162" y="91"/>
                </a:lnTo>
                <a:lnTo>
                  <a:pt x="161" y="95"/>
                </a:lnTo>
                <a:lnTo>
                  <a:pt x="161" y="97"/>
                </a:lnTo>
                <a:lnTo>
                  <a:pt x="161" y="98"/>
                </a:lnTo>
                <a:lnTo>
                  <a:pt x="159" y="99"/>
                </a:lnTo>
                <a:lnTo>
                  <a:pt x="158" y="101"/>
                </a:lnTo>
                <a:lnTo>
                  <a:pt x="158" y="103"/>
                </a:lnTo>
                <a:lnTo>
                  <a:pt x="157" y="104"/>
                </a:lnTo>
                <a:lnTo>
                  <a:pt x="154" y="106"/>
                </a:lnTo>
                <a:lnTo>
                  <a:pt x="148" y="105"/>
                </a:lnTo>
                <a:lnTo>
                  <a:pt x="145" y="106"/>
                </a:lnTo>
                <a:lnTo>
                  <a:pt x="145" y="107"/>
                </a:lnTo>
                <a:lnTo>
                  <a:pt x="145" y="108"/>
                </a:lnTo>
                <a:lnTo>
                  <a:pt x="144" y="109"/>
                </a:lnTo>
                <a:lnTo>
                  <a:pt x="142" y="110"/>
                </a:lnTo>
                <a:lnTo>
                  <a:pt x="141" y="111"/>
                </a:lnTo>
                <a:lnTo>
                  <a:pt x="138" y="109"/>
                </a:lnTo>
                <a:lnTo>
                  <a:pt x="131" y="111"/>
                </a:lnTo>
                <a:lnTo>
                  <a:pt x="129" y="112"/>
                </a:lnTo>
                <a:lnTo>
                  <a:pt x="128" y="111"/>
                </a:lnTo>
                <a:lnTo>
                  <a:pt x="127" y="111"/>
                </a:lnTo>
                <a:lnTo>
                  <a:pt x="120" y="110"/>
                </a:lnTo>
                <a:lnTo>
                  <a:pt x="117" y="110"/>
                </a:lnTo>
                <a:lnTo>
                  <a:pt x="113" y="110"/>
                </a:lnTo>
                <a:lnTo>
                  <a:pt x="110" y="109"/>
                </a:lnTo>
                <a:lnTo>
                  <a:pt x="107" y="110"/>
                </a:lnTo>
                <a:lnTo>
                  <a:pt x="105" y="113"/>
                </a:lnTo>
                <a:lnTo>
                  <a:pt x="104" y="114"/>
                </a:lnTo>
                <a:lnTo>
                  <a:pt x="103" y="115"/>
                </a:lnTo>
                <a:lnTo>
                  <a:pt x="101" y="116"/>
                </a:lnTo>
                <a:lnTo>
                  <a:pt x="99" y="117"/>
                </a:lnTo>
                <a:lnTo>
                  <a:pt x="97" y="118"/>
                </a:lnTo>
                <a:lnTo>
                  <a:pt x="95" y="117"/>
                </a:lnTo>
                <a:lnTo>
                  <a:pt x="93" y="116"/>
                </a:lnTo>
                <a:lnTo>
                  <a:pt x="93" y="116"/>
                </a:lnTo>
                <a:lnTo>
                  <a:pt x="92" y="118"/>
                </a:lnTo>
                <a:lnTo>
                  <a:pt x="91" y="119"/>
                </a:lnTo>
                <a:lnTo>
                  <a:pt x="88" y="120"/>
                </a:lnTo>
                <a:lnTo>
                  <a:pt x="88" y="120"/>
                </a:lnTo>
                <a:lnTo>
                  <a:pt x="85" y="121"/>
                </a:lnTo>
                <a:lnTo>
                  <a:pt x="82" y="121"/>
                </a:lnTo>
                <a:lnTo>
                  <a:pt x="80" y="121"/>
                </a:lnTo>
                <a:lnTo>
                  <a:pt x="77" y="125"/>
                </a:lnTo>
                <a:lnTo>
                  <a:pt x="76" y="126"/>
                </a:lnTo>
                <a:lnTo>
                  <a:pt x="73" y="127"/>
                </a:lnTo>
                <a:lnTo>
                  <a:pt x="71" y="128"/>
                </a:lnTo>
                <a:lnTo>
                  <a:pt x="68" y="127"/>
                </a:lnTo>
                <a:lnTo>
                  <a:pt x="68" y="127"/>
                </a:lnTo>
                <a:lnTo>
                  <a:pt x="58" y="127"/>
                </a:lnTo>
                <a:lnTo>
                  <a:pt x="53" y="126"/>
                </a:lnTo>
                <a:lnTo>
                  <a:pt x="50" y="125"/>
                </a:lnTo>
                <a:lnTo>
                  <a:pt x="48" y="123"/>
                </a:lnTo>
                <a:lnTo>
                  <a:pt x="47" y="121"/>
                </a:lnTo>
                <a:lnTo>
                  <a:pt x="45" y="120"/>
                </a:lnTo>
                <a:lnTo>
                  <a:pt x="41" y="119"/>
                </a:lnTo>
                <a:lnTo>
                  <a:pt x="38" y="117"/>
                </a:lnTo>
                <a:lnTo>
                  <a:pt x="36" y="113"/>
                </a:lnTo>
                <a:lnTo>
                  <a:pt x="33" y="111"/>
                </a:lnTo>
                <a:lnTo>
                  <a:pt x="29" y="108"/>
                </a:lnTo>
                <a:lnTo>
                  <a:pt x="26" y="105"/>
                </a:lnTo>
                <a:lnTo>
                  <a:pt x="24" y="102"/>
                </a:lnTo>
                <a:lnTo>
                  <a:pt x="20" y="98"/>
                </a:lnTo>
                <a:lnTo>
                  <a:pt x="15" y="95"/>
                </a:lnTo>
                <a:lnTo>
                  <a:pt x="13" y="94"/>
                </a:lnTo>
                <a:lnTo>
                  <a:pt x="13" y="93"/>
                </a:lnTo>
                <a:lnTo>
                  <a:pt x="10" y="90"/>
                </a:lnTo>
                <a:lnTo>
                  <a:pt x="9" y="88"/>
                </a:lnTo>
                <a:lnTo>
                  <a:pt x="9" y="86"/>
                </a:lnTo>
                <a:lnTo>
                  <a:pt x="9" y="85"/>
                </a:lnTo>
                <a:lnTo>
                  <a:pt x="8" y="84"/>
                </a:lnTo>
                <a:lnTo>
                  <a:pt x="7" y="82"/>
                </a:lnTo>
                <a:lnTo>
                  <a:pt x="7" y="80"/>
                </a:lnTo>
                <a:lnTo>
                  <a:pt x="6" y="78"/>
                </a:lnTo>
                <a:lnTo>
                  <a:pt x="0" y="78"/>
                </a:lnTo>
                <a:lnTo>
                  <a:pt x="5" y="73"/>
                </a:lnTo>
                <a:lnTo>
                  <a:pt x="7" y="72"/>
                </a:lnTo>
                <a:lnTo>
                  <a:pt x="10" y="72"/>
                </a:lnTo>
                <a:lnTo>
                  <a:pt x="11" y="71"/>
                </a:lnTo>
                <a:lnTo>
                  <a:pt x="11" y="71"/>
                </a:lnTo>
                <a:lnTo>
                  <a:pt x="12" y="69"/>
                </a:lnTo>
                <a:lnTo>
                  <a:pt x="12" y="68"/>
                </a:lnTo>
                <a:lnTo>
                  <a:pt x="12" y="66"/>
                </a:lnTo>
                <a:lnTo>
                  <a:pt x="12" y="65"/>
                </a:lnTo>
                <a:lnTo>
                  <a:pt x="11" y="65"/>
                </a:lnTo>
                <a:lnTo>
                  <a:pt x="10" y="61"/>
                </a:lnTo>
                <a:lnTo>
                  <a:pt x="11" y="60"/>
                </a:lnTo>
                <a:lnTo>
                  <a:pt x="11" y="59"/>
                </a:lnTo>
                <a:lnTo>
                  <a:pt x="11" y="55"/>
                </a:lnTo>
                <a:lnTo>
                  <a:pt x="11" y="53"/>
                </a:lnTo>
                <a:lnTo>
                  <a:pt x="13" y="53"/>
                </a:lnTo>
                <a:lnTo>
                  <a:pt x="15" y="52"/>
                </a:lnTo>
                <a:lnTo>
                  <a:pt x="16" y="51"/>
                </a:lnTo>
                <a:lnTo>
                  <a:pt x="17" y="50"/>
                </a:lnTo>
                <a:lnTo>
                  <a:pt x="18" y="47"/>
                </a:lnTo>
                <a:lnTo>
                  <a:pt x="17" y="44"/>
                </a:lnTo>
                <a:lnTo>
                  <a:pt x="11" y="42"/>
                </a:lnTo>
                <a:lnTo>
                  <a:pt x="10" y="41"/>
                </a:lnTo>
                <a:lnTo>
                  <a:pt x="12" y="40"/>
                </a:lnTo>
                <a:lnTo>
                  <a:pt x="13" y="38"/>
                </a:lnTo>
                <a:lnTo>
                  <a:pt x="14" y="37"/>
                </a:lnTo>
                <a:lnTo>
                  <a:pt x="16" y="37"/>
                </a:lnTo>
                <a:lnTo>
                  <a:pt x="17" y="38"/>
                </a:lnTo>
                <a:lnTo>
                  <a:pt x="20" y="40"/>
                </a:lnTo>
                <a:lnTo>
                  <a:pt x="22" y="41"/>
                </a:lnTo>
                <a:lnTo>
                  <a:pt x="23" y="40"/>
                </a:lnTo>
                <a:lnTo>
                  <a:pt x="24" y="40"/>
                </a:lnTo>
                <a:lnTo>
                  <a:pt x="27" y="40"/>
                </a:lnTo>
                <a:lnTo>
                  <a:pt x="30" y="39"/>
                </a:lnTo>
                <a:lnTo>
                  <a:pt x="30" y="37"/>
                </a:lnTo>
                <a:lnTo>
                  <a:pt x="30" y="35"/>
                </a:lnTo>
                <a:lnTo>
                  <a:pt x="29" y="33"/>
                </a:lnTo>
                <a:lnTo>
                  <a:pt x="30" y="32"/>
                </a:lnTo>
                <a:lnTo>
                  <a:pt x="31" y="30"/>
                </a:lnTo>
                <a:lnTo>
                  <a:pt x="31" y="27"/>
                </a:lnTo>
                <a:lnTo>
                  <a:pt x="33" y="25"/>
                </a:lnTo>
                <a:lnTo>
                  <a:pt x="34" y="25"/>
                </a:lnTo>
                <a:lnTo>
                  <a:pt x="37" y="26"/>
                </a:lnTo>
                <a:lnTo>
                  <a:pt x="38" y="26"/>
                </a:lnTo>
                <a:lnTo>
                  <a:pt x="38" y="26"/>
                </a:lnTo>
                <a:lnTo>
                  <a:pt x="43" y="31"/>
                </a:lnTo>
                <a:lnTo>
                  <a:pt x="48" y="35"/>
                </a:lnTo>
                <a:lnTo>
                  <a:pt x="52" y="36"/>
                </a:lnTo>
                <a:lnTo>
                  <a:pt x="58" y="36"/>
                </a:lnTo>
                <a:lnTo>
                  <a:pt x="64" y="37"/>
                </a:lnTo>
                <a:lnTo>
                  <a:pt x="74" y="36"/>
                </a:lnTo>
                <a:lnTo>
                  <a:pt x="82" y="36"/>
                </a:lnTo>
                <a:lnTo>
                  <a:pt x="83" y="35"/>
                </a:lnTo>
                <a:lnTo>
                  <a:pt x="84" y="33"/>
                </a:lnTo>
                <a:lnTo>
                  <a:pt x="83" y="31"/>
                </a:lnTo>
                <a:lnTo>
                  <a:pt x="83" y="29"/>
                </a:lnTo>
                <a:lnTo>
                  <a:pt x="84" y="26"/>
                </a:lnTo>
                <a:lnTo>
                  <a:pt x="88" y="23"/>
                </a:lnTo>
                <a:lnTo>
                  <a:pt x="99" y="22"/>
                </a:lnTo>
                <a:lnTo>
                  <a:pt x="105" y="21"/>
                </a:lnTo>
                <a:lnTo>
                  <a:pt x="106" y="18"/>
                </a:lnTo>
                <a:lnTo>
                  <a:pt x="108" y="16"/>
                </a:lnTo>
                <a:lnTo>
                  <a:pt x="110" y="15"/>
                </a:lnTo>
                <a:lnTo>
                  <a:pt x="113" y="16"/>
                </a:lnTo>
                <a:lnTo>
                  <a:pt x="116" y="18"/>
                </a:lnTo>
                <a:lnTo>
                  <a:pt x="119" y="20"/>
                </a:lnTo>
                <a:lnTo>
                  <a:pt x="120" y="19"/>
                </a:lnTo>
                <a:lnTo>
                  <a:pt x="126" y="15"/>
                </a:lnTo>
                <a:lnTo>
                  <a:pt x="132" y="12"/>
                </a:lnTo>
                <a:lnTo>
                  <a:pt x="137" y="3"/>
                </a:lnTo>
                <a:lnTo>
                  <a:pt x="137" y="1"/>
                </a:lnTo>
                <a:lnTo>
                  <a:pt x="142" y="0"/>
                </a:lnTo>
                <a:lnTo>
                  <a:pt x="149" y="0"/>
                </a:lnTo>
                <a:lnTo>
                  <a:pt x="152" y="1"/>
                </a:lnTo>
                <a:lnTo>
                  <a:pt x="155" y="2"/>
                </a:lnTo>
                <a:lnTo>
                  <a:pt x="159" y="2"/>
                </a:lnTo>
                <a:lnTo>
                  <a:pt x="165" y="0"/>
                </a:lnTo>
                <a:lnTo>
                  <a:pt x="167" y="0"/>
                </a:lnTo>
                <a:lnTo>
                  <a:pt x="169" y="1"/>
                </a:lnTo>
                <a:lnTo>
                  <a:pt x="171" y="3"/>
                </a:lnTo>
                <a:lnTo>
                  <a:pt x="172" y="4"/>
                </a:lnTo>
                <a:lnTo>
                  <a:pt x="173" y="6"/>
                </a:lnTo>
                <a:lnTo>
                  <a:pt x="173" y="7"/>
                </a:lnTo>
                <a:lnTo>
                  <a:pt x="174" y="8"/>
                </a:lnTo>
                <a:lnTo>
                  <a:pt x="175" y="10"/>
                </a:lnTo>
                <a:lnTo>
                  <a:pt x="177" y="10"/>
                </a:lnTo>
                <a:lnTo>
                  <a:pt x="188" y="7"/>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8" name="Kosovo">
            <a:extLst>
              <a:ext uri="{FF2B5EF4-FFF2-40B4-BE49-F238E27FC236}">
                <a16:creationId xmlns:a16="http://schemas.microsoft.com/office/drawing/2014/main" id="{E055AA01-55AD-4190-9AB4-2849226A34BC}"/>
              </a:ext>
            </a:extLst>
          </p:cNvPr>
          <p:cNvSpPr>
            <a:spLocks/>
          </p:cNvSpPr>
          <p:nvPr/>
        </p:nvSpPr>
        <p:spPr bwMode="auto">
          <a:xfrm>
            <a:off x="6419465" y="3379256"/>
            <a:ext cx="51337" cy="51002"/>
          </a:xfrm>
          <a:custGeom>
            <a:avLst/>
            <a:gdLst>
              <a:gd name="T0" fmla="*/ 48 w 53"/>
              <a:gd name="T1" fmla="*/ 42 h 59"/>
              <a:gd name="T2" fmla="*/ 42 w 53"/>
              <a:gd name="T3" fmla="*/ 44 h 59"/>
              <a:gd name="T4" fmla="*/ 39 w 53"/>
              <a:gd name="T5" fmla="*/ 47 h 59"/>
              <a:gd name="T6" fmla="*/ 38 w 53"/>
              <a:gd name="T7" fmla="*/ 49 h 59"/>
              <a:gd name="T8" fmla="*/ 34 w 53"/>
              <a:gd name="T9" fmla="*/ 45 h 59"/>
              <a:gd name="T10" fmla="*/ 23 w 53"/>
              <a:gd name="T11" fmla="*/ 50 h 59"/>
              <a:gd name="T12" fmla="*/ 22 w 53"/>
              <a:gd name="T13" fmla="*/ 57 h 59"/>
              <a:gd name="T14" fmla="*/ 20 w 53"/>
              <a:gd name="T15" fmla="*/ 59 h 59"/>
              <a:gd name="T16" fmla="*/ 16 w 53"/>
              <a:gd name="T17" fmla="*/ 58 h 59"/>
              <a:gd name="T18" fmla="*/ 17 w 53"/>
              <a:gd name="T19" fmla="*/ 52 h 59"/>
              <a:gd name="T20" fmla="*/ 14 w 53"/>
              <a:gd name="T21" fmla="*/ 43 h 59"/>
              <a:gd name="T22" fmla="*/ 10 w 53"/>
              <a:gd name="T23" fmla="*/ 40 h 59"/>
              <a:gd name="T24" fmla="*/ 5 w 53"/>
              <a:gd name="T25" fmla="*/ 35 h 59"/>
              <a:gd name="T26" fmla="*/ 1 w 53"/>
              <a:gd name="T27" fmla="*/ 30 h 59"/>
              <a:gd name="T28" fmla="*/ 2 w 53"/>
              <a:gd name="T29" fmla="*/ 26 h 59"/>
              <a:gd name="T30" fmla="*/ 0 w 53"/>
              <a:gd name="T31" fmla="*/ 22 h 59"/>
              <a:gd name="T32" fmla="*/ 3 w 53"/>
              <a:gd name="T33" fmla="*/ 21 h 59"/>
              <a:gd name="T34" fmla="*/ 6 w 53"/>
              <a:gd name="T35" fmla="*/ 19 h 59"/>
              <a:gd name="T36" fmla="*/ 13 w 53"/>
              <a:gd name="T37" fmla="*/ 17 h 59"/>
              <a:gd name="T38" fmla="*/ 13 w 53"/>
              <a:gd name="T39" fmla="*/ 14 h 59"/>
              <a:gd name="T40" fmla="*/ 18 w 53"/>
              <a:gd name="T41" fmla="*/ 9 h 59"/>
              <a:gd name="T42" fmla="*/ 19 w 53"/>
              <a:gd name="T43" fmla="*/ 6 h 59"/>
              <a:gd name="T44" fmla="*/ 18 w 53"/>
              <a:gd name="T45" fmla="*/ 3 h 59"/>
              <a:gd name="T46" fmla="*/ 21 w 53"/>
              <a:gd name="T47" fmla="*/ 1 h 59"/>
              <a:gd name="T48" fmla="*/ 24 w 53"/>
              <a:gd name="T49" fmla="*/ 0 h 59"/>
              <a:gd name="T50" fmla="*/ 24 w 53"/>
              <a:gd name="T51" fmla="*/ 2 h 59"/>
              <a:gd name="T52" fmla="*/ 27 w 53"/>
              <a:gd name="T53" fmla="*/ 4 h 59"/>
              <a:gd name="T54" fmla="*/ 32 w 53"/>
              <a:gd name="T55" fmla="*/ 7 h 59"/>
              <a:gd name="T56" fmla="*/ 37 w 53"/>
              <a:gd name="T57" fmla="*/ 12 h 59"/>
              <a:gd name="T58" fmla="*/ 40 w 53"/>
              <a:gd name="T59" fmla="*/ 16 h 59"/>
              <a:gd name="T60" fmla="*/ 42 w 53"/>
              <a:gd name="T61" fmla="*/ 21 h 59"/>
              <a:gd name="T62" fmla="*/ 53 w 53"/>
              <a:gd name="T63" fmla="*/ 24 h 59"/>
              <a:gd name="T64" fmla="*/ 53 w 53"/>
              <a:gd name="T65" fmla="*/ 25 h 59"/>
              <a:gd name="T66" fmla="*/ 49 w 53"/>
              <a:gd name="T67" fmla="*/ 35 h 59"/>
              <a:gd name="T68" fmla="*/ 46 w 53"/>
              <a:gd name="T69" fmla="*/ 38 h 59"/>
              <a:gd name="T70" fmla="*/ 47 w 53"/>
              <a:gd name="T71"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59">
                <a:moveTo>
                  <a:pt x="48" y="42"/>
                </a:moveTo>
                <a:lnTo>
                  <a:pt x="48" y="42"/>
                </a:lnTo>
                <a:lnTo>
                  <a:pt x="47" y="42"/>
                </a:lnTo>
                <a:lnTo>
                  <a:pt x="42" y="44"/>
                </a:lnTo>
                <a:lnTo>
                  <a:pt x="40" y="45"/>
                </a:lnTo>
                <a:lnTo>
                  <a:pt x="39" y="47"/>
                </a:lnTo>
                <a:lnTo>
                  <a:pt x="39" y="49"/>
                </a:lnTo>
                <a:lnTo>
                  <a:pt x="38" y="49"/>
                </a:lnTo>
                <a:lnTo>
                  <a:pt x="36" y="47"/>
                </a:lnTo>
                <a:lnTo>
                  <a:pt x="34" y="45"/>
                </a:lnTo>
                <a:lnTo>
                  <a:pt x="32" y="46"/>
                </a:lnTo>
                <a:lnTo>
                  <a:pt x="23" y="50"/>
                </a:lnTo>
                <a:lnTo>
                  <a:pt x="22" y="52"/>
                </a:lnTo>
                <a:lnTo>
                  <a:pt x="22" y="57"/>
                </a:lnTo>
                <a:lnTo>
                  <a:pt x="21" y="58"/>
                </a:lnTo>
                <a:lnTo>
                  <a:pt x="20" y="59"/>
                </a:lnTo>
                <a:lnTo>
                  <a:pt x="17" y="58"/>
                </a:lnTo>
                <a:lnTo>
                  <a:pt x="16" y="58"/>
                </a:lnTo>
                <a:lnTo>
                  <a:pt x="17" y="56"/>
                </a:lnTo>
                <a:lnTo>
                  <a:pt x="17" y="52"/>
                </a:lnTo>
                <a:lnTo>
                  <a:pt x="15" y="46"/>
                </a:lnTo>
                <a:lnTo>
                  <a:pt x="14" y="43"/>
                </a:lnTo>
                <a:lnTo>
                  <a:pt x="12" y="41"/>
                </a:lnTo>
                <a:lnTo>
                  <a:pt x="10" y="40"/>
                </a:lnTo>
                <a:lnTo>
                  <a:pt x="6" y="39"/>
                </a:lnTo>
                <a:lnTo>
                  <a:pt x="5" y="35"/>
                </a:lnTo>
                <a:lnTo>
                  <a:pt x="2" y="31"/>
                </a:lnTo>
                <a:lnTo>
                  <a:pt x="1" y="30"/>
                </a:lnTo>
                <a:lnTo>
                  <a:pt x="1" y="29"/>
                </a:lnTo>
                <a:lnTo>
                  <a:pt x="2" y="26"/>
                </a:lnTo>
                <a:lnTo>
                  <a:pt x="1" y="24"/>
                </a:lnTo>
                <a:lnTo>
                  <a:pt x="0" y="22"/>
                </a:lnTo>
                <a:lnTo>
                  <a:pt x="0" y="21"/>
                </a:lnTo>
                <a:lnTo>
                  <a:pt x="3" y="21"/>
                </a:lnTo>
                <a:lnTo>
                  <a:pt x="5" y="21"/>
                </a:lnTo>
                <a:lnTo>
                  <a:pt x="6" y="19"/>
                </a:lnTo>
                <a:lnTo>
                  <a:pt x="10" y="18"/>
                </a:lnTo>
                <a:lnTo>
                  <a:pt x="13" y="17"/>
                </a:lnTo>
                <a:lnTo>
                  <a:pt x="14" y="16"/>
                </a:lnTo>
                <a:lnTo>
                  <a:pt x="13" y="14"/>
                </a:lnTo>
                <a:lnTo>
                  <a:pt x="14" y="13"/>
                </a:lnTo>
                <a:lnTo>
                  <a:pt x="18" y="9"/>
                </a:lnTo>
                <a:lnTo>
                  <a:pt x="19" y="8"/>
                </a:lnTo>
                <a:lnTo>
                  <a:pt x="19" y="6"/>
                </a:lnTo>
                <a:lnTo>
                  <a:pt x="19" y="5"/>
                </a:lnTo>
                <a:lnTo>
                  <a:pt x="18" y="3"/>
                </a:lnTo>
                <a:lnTo>
                  <a:pt x="18" y="2"/>
                </a:lnTo>
                <a:lnTo>
                  <a:pt x="21" y="1"/>
                </a:lnTo>
                <a:lnTo>
                  <a:pt x="23" y="0"/>
                </a:lnTo>
                <a:lnTo>
                  <a:pt x="24" y="0"/>
                </a:lnTo>
                <a:lnTo>
                  <a:pt x="24" y="1"/>
                </a:lnTo>
                <a:lnTo>
                  <a:pt x="24" y="2"/>
                </a:lnTo>
                <a:lnTo>
                  <a:pt x="25" y="3"/>
                </a:lnTo>
                <a:lnTo>
                  <a:pt x="27" y="4"/>
                </a:lnTo>
                <a:lnTo>
                  <a:pt x="29" y="6"/>
                </a:lnTo>
                <a:lnTo>
                  <a:pt x="32" y="7"/>
                </a:lnTo>
                <a:lnTo>
                  <a:pt x="34" y="9"/>
                </a:lnTo>
                <a:lnTo>
                  <a:pt x="37" y="12"/>
                </a:lnTo>
                <a:lnTo>
                  <a:pt x="37" y="14"/>
                </a:lnTo>
                <a:lnTo>
                  <a:pt x="40" y="16"/>
                </a:lnTo>
                <a:lnTo>
                  <a:pt x="43" y="18"/>
                </a:lnTo>
                <a:lnTo>
                  <a:pt x="42" y="21"/>
                </a:lnTo>
                <a:lnTo>
                  <a:pt x="51" y="24"/>
                </a:lnTo>
                <a:lnTo>
                  <a:pt x="53" y="24"/>
                </a:lnTo>
                <a:lnTo>
                  <a:pt x="53" y="25"/>
                </a:lnTo>
                <a:lnTo>
                  <a:pt x="53" y="25"/>
                </a:lnTo>
                <a:lnTo>
                  <a:pt x="53" y="28"/>
                </a:lnTo>
                <a:lnTo>
                  <a:pt x="49" y="35"/>
                </a:lnTo>
                <a:lnTo>
                  <a:pt x="49" y="37"/>
                </a:lnTo>
                <a:lnTo>
                  <a:pt x="46" y="38"/>
                </a:lnTo>
                <a:lnTo>
                  <a:pt x="46" y="39"/>
                </a:lnTo>
                <a:lnTo>
                  <a:pt x="47" y="4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9" name="Lithuania">
            <a:extLst>
              <a:ext uri="{FF2B5EF4-FFF2-40B4-BE49-F238E27FC236}">
                <a16:creationId xmlns:a16="http://schemas.microsoft.com/office/drawing/2014/main" id="{4C673A08-3DD8-473A-8D88-3E23E1F4C4A1}"/>
              </a:ext>
            </a:extLst>
          </p:cNvPr>
          <p:cNvSpPr>
            <a:spLocks noEditPoints="1"/>
          </p:cNvSpPr>
          <p:nvPr/>
        </p:nvSpPr>
        <p:spPr bwMode="auto">
          <a:xfrm>
            <a:off x="6446249" y="2837852"/>
            <a:ext cx="176329" cy="115735"/>
          </a:xfrm>
          <a:custGeom>
            <a:avLst/>
            <a:gdLst>
              <a:gd name="T0" fmla="*/ 177 w 183"/>
              <a:gd name="T1" fmla="*/ 44 h 137"/>
              <a:gd name="T2" fmla="*/ 174 w 183"/>
              <a:gd name="T3" fmla="*/ 58 h 137"/>
              <a:gd name="T4" fmla="*/ 180 w 183"/>
              <a:gd name="T5" fmla="*/ 61 h 137"/>
              <a:gd name="T6" fmla="*/ 182 w 183"/>
              <a:gd name="T7" fmla="*/ 65 h 137"/>
              <a:gd name="T8" fmla="*/ 178 w 183"/>
              <a:gd name="T9" fmla="*/ 71 h 137"/>
              <a:gd name="T10" fmla="*/ 166 w 183"/>
              <a:gd name="T11" fmla="*/ 73 h 137"/>
              <a:gd name="T12" fmla="*/ 162 w 183"/>
              <a:gd name="T13" fmla="*/ 80 h 137"/>
              <a:gd name="T14" fmla="*/ 152 w 183"/>
              <a:gd name="T15" fmla="*/ 87 h 137"/>
              <a:gd name="T16" fmla="*/ 151 w 183"/>
              <a:gd name="T17" fmla="*/ 100 h 137"/>
              <a:gd name="T18" fmla="*/ 147 w 183"/>
              <a:gd name="T19" fmla="*/ 107 h 137"/>
              <a:gd name="T20" fmla="*/ 145 w 183"/>
              <a:gd name="T21" fmla="*/ 115 h 137"/>
              <a:gd name="T22" fmla="*/ 151 w 183"/>
              <a:gd name="T23" fmla="*/ 118 h 137"/>
              <a:gd name="T24" fmla="*/ 151 w 183"/>
              <a:gd name="T25" fmla="*/ 123 h 137"/>
              <a:gd name="T26" fmla="*/ 144 w 183"/>
              <a:gd name="T27" fmla="*/ 123 h 137"/>
              <a:gd name="T28" fmla="*/ 143 w 183"/>
              <a:gd name="T29" fmla="*/ 118 h 137"/>
              <a:gd name="T30" fmla="*/ 137 w 183"/>
              <a:gd name="T31" fmla="*/ 118 h 137"/>
              <a:gd name="T32" fmla="*/ 129 w 183"/>
              <a:gd name="T33" fmla="*/ 125 h 137"/>
              <a:gd name="T34" fmla="*/ 121 w 183"/>
              <a:gd name="T35" fmla="*/ 132 h 137"/>
              <a:gd name="T36" fmla="*/ 111 w 183"/>
              <a:gd name="T37" fmla="*/ 135 h 137"/>
              <a:gd name="T38" fmla="*/ 102 w 183"/>
              <a:gd name="T39" fmla="*/ 134 h 137"/>
              <a:gd name="T40" fmla="*/ 95 w 183"/>
              <a:gd name="T41" fmla="*/ 135 h 137"/>
              <a:gd name="T42" fmla="*/ 83 w 183"/>
              <a:gd name="T43" fmla="*/ 136 h 137"/>
              <a:gd name="T44" fmla="*/ 80 w 183"/>
              <a:gd name="T45" fmla="*/ 131 h 137"/>
              <a:gd name="T46" fmla="*/ 77 w 183"/>
              <a:gd name="T47" fmla="*/ 121 h 137"/>
              <a:gd name="T48" fmla="*/ 68 w 183"/>
              <a:gd name="T49" fmla="*/ 116 h 137"/>
              <a:gd name="T50" fmla="*/ 66 w 183"/>
              <a:gd name="T51" fmla="*/ 113 h 137"/>
              <a:gd name="T52" fmla="*/ 60 w 183"/>
              <a:gd name="T53" fmla="*/ 111 h 137"/>
              <a:gd name="T54" fmla="*/ 55 w 183"/>
              <a:gd name="T55" fmla="*/ 105 h 137"/>
              <a:gd name="T56" fmla="*/ 60 w 183"/>
              <a:gd name="T57" fmla="*/ 87 h 137"/>
              <a:gd name="T58" fmla="*/ 54 w 183"/>
              <a:gd name="T59" fmla="*/ 80 h 137"/>
              <a:gd name="T60" fmla="*/ 38 w 183"/>
              <a:gd name="T61" fmla="*/ 75 h 137"/>
              <a:gd name="T62" fmla="*/ 24 w 183"/>
              <a:gd name="T63" fmla="*/ 69 h 137"/>
              <a:gd name="T64" fmla="*/ 15 w 183"/>
              <a:gd name="T65" fmla="*/ 63 h 137"/>
              <a:gd name="T66" fmla="*/ 10 w 183"/>
              <a:gd name="T67" fmla="*/ 63 h 137"/>
              <a:gd name="T68" fmla="*/ 8 w 183"/>
              <a:gd name="T69" fmla="*/ 44 h 137"/>
              <a:gd name="T70" fmla="*/ 4 w 183"/>
              <a:gd name="T71" fmla="*/ 19 h 137"/>
              <a:gd name="T72" fmla="*/ 26 w 183"/>
              <a:gd name="T73" fmla="*/ 5 h 137"/>
              <a:gd name="T74" fmla="*/ 46 w 183"/>
              <a:gd name="T75" fmla="*/ 1 h 137"/>
              <a:gd name="T76" fmla="*/ 61 w 183"/>
              <a:gd name="T77" fmla="*/ 1 h 137"/>
              <a:gd name="T78" fmla="*/ 69 w 183"/>
              <a:gd name="T79" fmla="*/ 5 h 137"/>
              <a:gd name="T80" fmla="*/ 87 w 183"/>
              <a:gd name="T81" fmla="*/ 4 h 137"/>
              <a:gd name="T82" fmla="*/ 100 w 183"/>
              <a:gd name="T83" fmla="*/ 8 h 137"/>
              <a:gd name="T84" fmla="*/ 113 w 183"/>
              <a:gd name="T85" fmla="*/ 7 h 137"/>
              <a:gd name="T86" fmla="*/ 123 w 183"/>
              <a:gd name="T87" fmla="*/ 0 h 137"/>
              <a:gd name="T88" fmla="*/ 130 w 183"/>
              <a:gd name="T89" fmla="*/ 12 h 137"/>
              <a:gd name="T90" fmla="*/ 148 w 183"/>
              <a:gd name="T91" fmla="*/ 17 h 137"/>
              <a:gd name="T92" fmla="*/ 161 w 183"/>
              <a:gd name="T93" fmla="*/ 29 h 137"/>
              <a:gd name="T94" fmla="*/ 171 w 183"/>
              <a:gd name="T95" fmla="*/ 40 h 137"/>
              <a:gd name="T96" fmla="*/ 2 w 183"/>
              <a:gd name="T97" fmla="*/ 63 h 137"/>
              <a:gd name="T98" fmla="*/ 3 w 183"/>
              <a:gd name="T99" fmla="*/ 56 h 137"/>
              <a:gd name="T100" fmla="*/ 7 w 183"/>
              <a:gd name="T101" fmla="*/ 44 h 137"/>
              <a:gd name="T102" fmla="*/ 4 w 183"/>
              <a:gd name="T103" fmla="*/ 5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3" h="137">
                <a:moveTo>
                  <a:pt x="177" y="42"/>
                </a:moveTo>
                <a:lnTo>
                  <a:pt x="177" y="42"/>
                </a:lnTo>
                <a:lnTo>
                  <a:pt x="177" y="44"/>
                </a:lnTo>
                <a:lnTo>
                  <a:pt x="177" y="48"/>
                </a:lnTo>
                <a:lnTo>
                  <a:pt x="175" y="54"/>
                </a:lnTo>
                <a:lnTo>
                  <a:pt x="174" y="58"/>
                </a:lnTo>
                <a:lnTo>
                  <a:pt x="173" y="59"/>
                </a:lnTo>
                <a:lnTo>
                  <a:pt x="174" y="61"/>
                </a:lnTo>
                <a:lnTo>
                  <a:pt x="180" y="61"/>
                </a:lnTo>
                <a:lnTo>
                  <a:pt x="183" y="62"/>
                </a:lnTo>
                <a:lnTo>
                  <a:pt x="183" y="63"/>
                </a:lnTo>
                <a:lnTo>
                  <a:pt x="182" y="65"/>
                </a:lnTo>
                <a:lnTo>
                  <a:pt x="180" y="66"/>
                </a:lnTo>
                <a:lnTo>
                  <a:pt x="179" y="67"/>
                </a:lnTo>
                <a:lnTo>
                  <a:pt x="178" y="71"/>
                </a:lnTo>
                <a:lnTo>
                  <a:pt x="168" y="70"/>
                </a:lnTo>
                <a:lnTo>
                  <a:pt x="167" y="71"/>
                </a:lnTo>
                <a:lnTo>
                  <a:pt x="166" y="73"/>
                </a:lnTo>
                <a:lnTo>
                  <a:pt x="166" y="75"/>
                </a:lnTo>
                <a:lnTo>
                  <a:pt x="164" y="78"/>
                </a:lnTo>
                <a:lnTo>
                  <a:pt x="162" y="80"/>
                </a:lnTo>
                <a:lnTo>
                  <a:pt x="158" y="81"/>
                </a:lnTo>
                <a:lnTo>
                  <a:pt x="155" y="82"/>
                </a:lnTo>
                <a:lnTo>
                  <a:pt x="152" y="87"/>
                </a:lnTo>
                <a:lnTo>
                  <a:pt x="150" y="93"/>
                </a:lnTo>
                <a:lnTo>
                  <a:pt x="150" y="98"/>
                </a:lnTo>
                <a:lnTo>
                  <a:pt x="151" y="100"/>
                </a:lnTo>
                <a:lnTo>
                  <a:pt x="150" y="102"/>
                </a:lnTo>
                <a:lnTo>
                  <a:pt x="149" y="103"/>
                </a:lnTo>
                <a:lnTo>
                  <a:pt x="147" y="107"/>
                </a:lnTo>
                <a:lnTo>
                  <a:pt x="145" y="112"/>
                </a:lnTo>
                <a:lnTo>
                  <a:pt x="145" y="114"/>
                </a:lnTo>
                <a:lnTo>
                  <a:pt x="145" y="115"/>
                </a:lnTo>
                <a:lnTo>
                  <a:pt x="147" y="115"/>
                </a:lnTo>
                <a:lnTo>
                  <a:pt x="150" y="116"/>
                </a:lnTo>
                <a:lnTo>
                  <a:pt x="151" y="118"/>
                </a:lnTo>
                <a:lnTo>
                  <a:pt x="152" y="120"/>
                </a:lnTo>
                <a:lnTo>
                  <a:pt x="152" y="122"/>
                </a:lnTo>
                <a:lnTo>
                  <a:pt x="151" y="123"/>
                </a:lnTo>
                <a:lnTo>
                  <a:pt x="149" y="124"/>
                </a:lnTo>
                <a:lnTo>
                  <a:pt x="146" y="124"/>
                </a:lnTo>
                <a:lnTo>
                  <a:pt x="144" y="123"/>
                </a:lnTo>
                <a:lnTo>
                  <a:pt x="143" y="122"/>
                </a:lnTo>
                <a:lnTo>
                  <a:pt x="144" y="120"/>
                </a:lnTo>
                <a:lnTo>
                  <a:pt x="143" y="118"/>
                </a:lnTo>
                <a:lnTo>
                  <a:pt x="142" y="116"/>
                </a:lnTo>
                <a:lnTo>
                  <a:pt x="139" y="118"/>
                </a:lnTo>
                <a:lnTo>
                  <a:pt x="137" y="118"/>
                </a:lnTo>
                <a:lnTo>
                  <a:pt x="133" y="120"/>
                </a:lnTo>
                <a:lnTo>
                  <a:pt x="131" y="123"/>
                </a:lnTo>
                <a:lnTo>
                  <a:pt x="129" y="125"/>
                </a:lnTo>
                <a:lnTo>
                  <a:pt x="124" y="124"/>
                </a:lnTo>
                <a:lnTo>
                  <a:pt x="122" y="125"/>
                </a:lnTo>
                <a:lnTo>
                  <a:pt x="121" y="132"/>
                </a:lnTo>
                <a:lnTo>
                  <a:pt x="120" y="133"/>
                </a:lnTo>
                <a:lnTo>
                  <a:pt x="116" y="133"/>
                </a:lnTo>
                <a:lnTo>
                  <a:pt x="111" y="135"/>
                </a:lnTo>
                <a:lnTo>
                  <a:pt x="106" y="137"/>
                </a:lnTo>
                <a:lnTo>
                  <a:pt x="104" y="136"/>
                </a:lnTo>
                <a:lnTo>
                  <a:pt x="102" y="134"/>
                </a:lnTo>
                <a:lnTo>
                  <a:pt x="100" y="135"/>
                </a:lnTo>
                <a:lnTo>
                  <a:pt x="97" y="135"/>
                </a:lnTo>
                <a:lnTo>
                  <a:pt x="95" y="135"/>
                </a:lnTo>
                <a:lnTo>
                  <a:pt x="93" y="135"/>
                </a:lnTo>
                <a:lnTo>
                  <a:pt x="88" y="136"/>
                </a:lnTo>
                <a:lnTo>
                  <a:pt x="83" y="136"/>
                </a:lnTo>
                <a:lnTo>
                  <a:pt x="80" y="135"/>
                </a:lnTo>
                <a:lnTo>
                  <a:pt x="80" y="134"/>
                </a:lnTo>
                <a:lnTo>
                  <a:pt x="80" y="131"/>
                </a:lnTo>
                <a:lnTo>
                  <a:pt x="80" y="127"/>
                </a:lnTo>
                <a:lnTo>
                  <a:pt x="79" y="124"/>
                </a:lnTo>
                <a:lnTo>
                  <a:pt x="77" y="121"/>
                </a:lnTo>
                <a:lnTo>
                  <a:pt x="74" y="119"/>
                </a:lnTo>
                <a:lnTo>
                  <a:pt x="71" y="117"/>
                </a:lnTo>
                <a:lnTo>
                  <a:pt x="68" y="116"/>
                </a:lnTo>
                <a:lnTo>
                  <a:pt x="67" y="115"/>
                </a:lnTo>
                <a:lnTo>
                  <a:pt x="66" y="114"/>
                </a:lnTo>
                <a:lnTo>
                  <a:pt x="66" y="113"/>
                </a:lnTo>
                <a:lnTo>
                  <a:pt x="65" y="112"/>
                </a:lnTo>
                <a:lnTo>
                  <a:pt x="62" y="111"/>
                </a:lnTo>
                <a:lnTo>
                  <a:pt x="60" y="111"/>
                </a:lnTo>
                <a:lnTo>
                  <a:pt x="58" y="113"/>
                </a:lnTo>
                <a:lnTo>
                  <a:pt x="57" y="110"/>
                </a:lnTo>
                <a:lnTo>
                  <a:pt x="55" y="105"/>
                </a:lnTo>
                <a:lnTo>
                  <a:pt x="55" y="102"/>
                </a:lnTo>
                <a:lnTo>
                  <a:pt x="56" y="98"/>
                </a:lnTo>
                <a:lnTo>
                  <a:pt x="60" y="87"/>
                </a:lnTo>
                <a:lnTo>
                  <a:pt x="60" y="85"/>
                </a:lnTo>
                <a:lnTo>
                  <a:pt x="57" y="82"/>
                </a:lnTo>
                <a:lnTo>
                  <a:pt x="54" y="80"/>
                </a:lnTo>
                <a:lnTo>
                  <a:pt x="52" y="75"/>
                </a:lnTo>
                <a:lnTo>
                  <a:pt x="45" y="75"/>
                </a:lnTo>
                <a:lnTo>
                  <a:pt x="38" y="75"/>
                </a:lnTo>
                <a:lnTo>
                  <a:pt x="36" y="75"/>
                </a:lnTo>
                <a:lnTo>
                  <a:pt x="30" y="73"/>
                </a:lnTo>
                <a:lnTo>
                  <a:pt x="24" y="69"/>
                </a:lnTo>
                <a:lnTo>
                  <a:pt x="20" y="67"/>
                </a:lnTo>
                <a:lnTo>
                  <a:pt x="17" y="65"/>
                </a:lnTo>
                <a:lnTo>
                  <a:pt x="15" y="63"/>
                </a:lnTo>
                <a:lnTo>
                  <a:pt x="12" y="64"/>
                </a:lnTo>
                <a:lnTo>
                  <a:pt x="10" y="64"/>
                </a:lnTo>
                <a:lnTo>
                  <a:pt x="10" y="63"/>
                </a:lnTo>
                <a:lnTo>
                  <a:pt x="9" y="59"/>
                </a:lnTo>
                <a:lnTo>
                  <a:pt x="10" y="53"/>
                </a:lnTo>
                <a:lnTo>
                  <a:pt x="8" y="44"/>
                </a:lnTo>
                <a:lnTo>
                  <a:pt x="5" y="34"/>
                </a:lnTo>
                <a:lnTo>
                  <a:pt x="5" y="22"/>
                </a:lnTo>
                <a:lnTo>
                  <a:pt x="4" y="19"/>
                </a:lnTo>
                <a:lnTo>
                  <a:pt x="13" y="13"/>
                </a:lnTo>
                <a:lnTo>
                  <a:pt x="23" y="6"/>
                </a:lnTo>
                <a:lnTo>
                  <a:pt x="26" y="5"/>
                </a:lnTo>
                <a:lnTo>
                  <a:pt x="35" y="1"/>
                </a:lnTo>
                <a:lnTo>
                  <a:pt x="37" y="0"/>
                </a:lnTo>
                <a:lnTo>
                  <a:pt x="46" y="1"/>
                </a:lnTo>
                <a:lnTo>
                  <a:pt x="52" y="2"/>
                </a:lnTo>
                <a:lnTo>
                  <a:pt x="58" y="2"/>
                </a:lnTo>
                <a:lnTo>
                  <a:pt x="61" y="1"/>
                </a:lnTo>
                <a:lnTo>
                  <a:pt x="64" y="2"/>
                </a:lnTo>
                <a:lnTo>
                  <a:pt x="67" y="5"/>
                </a:lnTo>
                <a:lnTo>
                  <a:pt x="69" y="5"/>
                </a:lnTo>
                <a:lnTo>
                  <a:pt x="71" y="3"/>
                </a:lnTo>
                <a:lnTo>
                  <a:pt x="84" y="4"/>
                </a:lnTo>
                <a:lnTo>
                  <a:pt x="87" y="4"/>
                </a:lnTo>
                <a:lnTo>
                  <a:pt x="91" y="5"/>
                </a:lnTo>
                <a:lnTo>
                  <a:pt x="97" y="7"/>
                </a:lnTo>
                <a:lnTo>
                  <a:pt x="100" y="8"/>
                </a:lnTo>
                <a:lnTo>
                  <a:pt x="108" y="7"/>
                </a:lnTo>
                <a:lnTo>
                  <a:pt x="111" y="7"/>
                </a:lnTo>
                <a:lnTo>
                  <a:pt x="113" y="7"/>
                </a:lnTo>
                <a:lnTo>
                  <a:pt x="118" y="2"/>
                </a:lnTo>
                <a:lnTo>
                  <a:pt x="121" y="1"/>
                </a:lnTo>
                <a:lnTo>
                  <a:pt x="123" y="0"/>
                </a:lnTo>
                <a:lnTo>
                  <a:pt x="125" y="1"/>
                </a:lnTo>
                <a:lnTo>
                  <a:pt x="126" y="5"/>
                </a:lnTo>
                <a:lnTo>
                  <a:pt x="130" y="12"/>
                </a:lnTo>
                <a:lnTo>
                  <a:pt x="134" y="13"/>
                </a:lnTo>
                <a:lnTo>
                  <a:pt x="146" y="16"/>
                </a:lnTo>
                <a:lnTo>
                  <a:pt x="148" y="17"/>
                </a:lnTo>
                <a:lnTo>
                  <a:pt x="155" y="23"/>
                </a:lnTo>
                <a:lnTo>
                  <a:pt x="159" y="26"/>
                </a:lnTo>
                <a:lnTo>
                  <a:pt x="161" y="29"/>
                </a:lnTo>
                <a:lnTo>
                  <a:pt x="165" y="34"/>
                </a:lnTo>
                <a:lnTo>
                  <a:pt x="168" y="37"/>
                </a:lnTo>
                <a:lnTo>
                  <a:pt x="171" y="40"/>
                </a:lnTo>
                <a:lnTo>
                  <a:pt x="176" y="41"/>
                </a:lnTo>
                <a:lnTo>
                  <a:pt x="177" y="42"/>
                </a:lnTo>
                <a:close/>
                <a:moveTo>
                  <a:pt x="2" y="63"/>
                </a:moveTo>
                <a:lnTo>
                  <a:pt x="2" y="63"/>
                </a:lnTo>
                <a:lnTo>
                  <a:pt x="0" y="62"/>
                </a:lnTo>
                <a:lnTo>
                  <a:pt x="3" y="56"/>
                </a:lnTo>
                <a:lnTo>
                  <a:pt x="5" y="52"/>
                </a:lnTo>
                <a:lnTo>
                  <a:pt x="6" y="46"/>
                </a:lnTo>
                <a:lnTo>
                  <a:pt x="7" y="44"/>
                </a:lnTo>
                <a:lnTo>
                  <a:pt x="7" y="47"/>
                </a:lnTo>
                <a:lnTo>
                  <a:pt x="6" y="51"/>
                </a:lnTo>
                <a:lnTo>
                  <a:pt x="4" y="59"/>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0" name="Luxembourg">
            <a:extLst>
              <a:ext uri="{FF2B5EF4-FFF2-40B4-BE49-F238E27FC236}">
                <a16:creationId xmlns:a16="http://schemas.microsoft.com/office/drawing/2014/main" id="{424E6A08-627A-4BFF-961B-9C66CF2B71F3}"/>
              </a:ext>
            </a:extLst>
          </p:cNvPr>
          <p:cNvSpPr>
            <a:spLocks/>
          </p:cNvSpPr>
          <p:nvPr/>
        </p:nvSpPr>
        <p:spPr bwMode="auto">
          <a:xfrm>
            <a:off x="5990921" y="3112477"/>
            <a:ext cx="22319" cy="31386"/>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1" name="Latvia">
            <a:extLst>
              <a:ext uri="{FF2B5EF4-FFF2-40B4-BE49-F238E27FC236}">
                <a16:creationId xmlns:a16="http://schemas.microsoft.com/office/drawing/2014/main" id="{09180B6C-341C-465F-A344-BA76F8D2BF9E}"/>
              </a:ext>
            </a:extLst>
          </p:cNvPr>
          <p:cNvSpPr>
            <a:spLocks/>
          </p:cNvSpPr>
          <p:nvPr/>
        </p:nvSpPr>
        <p:spPr bwMode="auto">
          <a:xfrm>
            <a:off x="6448480" y="2757428"/>
            <a:ext cx="216505" cy="115735"/>
          </a:xfrm>
          <a:custGeom>
            <a:avLst/>
            <a:gdLst>
              <a:gd name="T0" fmla="*/ 202 w 225"/>
              <a:gd name="T1" fmla="*/ 32 h 137"/>
              <a:gd name="T2" fmla="*/ 208 w 225"/>
              <a:gd name="T3" fmla="*/ 41 h 137"/>
              <a:gd name="T4" fmla="*/ 213 w 225"/>
              <a:gd name="T5" fmla="*/ 48 h 137"/>
              <a:gd name="T6" fmla="*/ 211 w 225"/>
              <a:gd name="T7" fmla="*/ 54 h 137"/>
              <a:gd name="T8" fmla="*/ 207 w 225"/>
              <a:gd name="T9" fmla="*/ 71 h 137"/>
              <a:gd name="T10" fmla="*/ 214 w 225"/>
              <a:gd name="T11" fmla="*/ 70 h 137"/>
              <a:gd name="T12" fmla="*/ 216 w 225"/>
              <a:gd name="T13" fmla="*/ 79 h 137"/>
              <a:gd name="T14" fmla="*/ 221 w 225"/>
              <a:gd name="T15" fmla="*/ 88 h 137"/>
              <a:gd name="T16" fmla="*/ 224 w 225"/>
              <a:gd name="T17" fmla="*/ 101 h 137"/>
              <a:gd name="T18" fmla="*/ 223 w 225"/>
              <a:gd name="T19" fmla="*/ 110 h 137"/>
              <a:gd name="T20" fmla="*/ 215 w 225"/>
              <a:gd name="T21" fmla="*/ 114 h 137"/>
              <a:gd name="T22" fmla="*/ 205 w 225"/>
              <a:gd name="T23" fmla="*/ 129 h 137"/>
              <a:gd name="T24" fmla="*/ 200 w 225"/>
              <a:gd name="T25" fmla="*/ 129 h 137"/>
              <a:gd name="T26" fmla="*/ 186 w 225"/>
              <a:gd name="T27" fmla="*/ 129 h 137"/>
              <a:gd name="T28" fmla="*/ 175 w 225"/>
              <a:gd name="T29" fmla="*/ 136 h 137"/>
              <a:gd name="T30" fmla="*/ 168 w 225"/>
              <a:gd name="T31" fmla="*/ 135 h 137"/>
              <a:gd name="T32" fmla="*/ 159 w 225"/>
              <a:gd name="T33" fmla="*/ 124 h 137"/>
              <a:gd name="T34" fmla="*/ 145 w 225"/>
              <a:gd name="T35" fmla="*/ 112 h 137"/>
              <a:gd name="T36" fmla="*/ 127 w 225"/>
              <a:gd name="T37" fmla="*/ 107 h 137"/>
              <a:gd name="T38" fmla="*/ 120 w 225"/>
              <a:gd name="T39" fmla="*/ 95 h 137"/>
              <a:gd name="T40" fmla="*/ 110 w 225"/>
              <a:gd name="T41" fmla="*/ 102 h 137"/>
              <a:gd name="T42" fmla="*/ 97 w 225"/>
              <a:gd name="T43" fmla="*/ 103 h 137"/>
              <a:gd name="T44" fmla="*/ 84 w 225"/>
              <a:gd name="T45" fmla="*/ 99 h 137"/>
              <a:gd name="T46" fmla="*/ 66 w 225"/>
              <a:gd name="T47" fmla="*/ 100 h 137"/>
              <a:gd name="T48" fmla="*/ 58 w 225"/>
              <a:gd name="T49" fmla="*/ 96 h 137"/>
              <a:gd name="T50" fmla="*/ 43 w 225"/>
              <a:gd name="T51" fmla="*/ 96 h 137"/>
              <a:gd name="T52" fmla="*/ 23 w 225"/>
              <a:gd name="T53" fmla="*/ 100 h 137"/>
              <a:gd name="T54" fmla="*/ 1 w 225"/>
              <a:gd name="T55" fmla="*/ 114 h 137"/>
              <a:gd name="T56" fmla="*/ 2 w 225"/>
              <a:gd name="T57" fmla="*/ 72 h 137"/>
              <a:gd name="T58" fmla="*/ 13 w 225"/>
              <a:gd name="T59" fmla="*/ 54 h 137"/>
              <a:gd name="T60" fmla="*/ 23 w 225"/>
              <a:gd name="T61" fmla="*/ 29 h 137"/>
              <a:gd name="T62" fmla="*/ 48 w 225"/>
              <a:gd name="T63" fmla="*/ 20 h 137"/>
              <a:gd name="T64" fmla="*/ 64 w 225"/>
              <a:gd name="T65" fmla="*/ 39 h 137"/>
              <a:gd name="T66" fmla="*/ 83 w 225"/>
              <a:gd name="T67" fmla="*/ 63 h 137"/>
              <a:gd name="T68" fmla="*/ 102 w 225"/>
              <a:gd name="T69" fmla="*/ 52 h 137"/>
              <a:gd name="T70" fmla="*/ 105 w 225"/>
              <a:gd name="T71" fmla="*/ 24 h 137"/>
              <a:gd name="T72" fmla="*/ 105 w 225"/>
              <a:gd name="T73" fmla="*/ 12 h 137"/>
              <a:gd name="T74" fmla="*/ 120 w 225"/>
              <a:gd name="T75" fmla="*/ 4 h 137"/>
              <a:gd name="T76" fmla="*/ 130 w 225"/>
              <a:gd name="T77" fmla="*/ 2 h 137"/>
              <a:gd name="T78" fmla="*/ 133 w 225"/>
              <a:gd name="T79" fmla="*/ 3 h 137"/>
              <a:gd name="T80" fmla="*/ 135 w 225"/>
              <a:gd name="T81" fmla="*/ 2 h 137"/>
              <a:gd name="T82" fmla="*/ 147 w 225"/>
              <a:gd name="T83" fmla="*/ 9 h 137"/>
              <a:gd name="T84" fmla="*/ 156 w 225"/>
              <a:gd name="T85" fmla="*/ 15 h 137"/>
              <a:gd name="T86" fmla="*/ 165 w 225"/>
              <a:gd name="T87" fmla="*/ 27 h 137"/>
              <a:gd name="T88" fmla="*/ 181 w 225"/>
              <a:gd name="T89" fmla="*/ 28 h 137"/>
              <a:gd name="T90" fmla="*/ 188 w 225"/>
              <a:gd name="T91" fmla="*/ 2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37">
                <a:moveTo>
                  <a:pt x="198" y="31"/>
                </a:moveTo>
                <a:lnTo>
                  <a:pt x="198" y="31"/>
                </a:lnTo>
                <a:lnTo>
                  <a:pt x="202" y="32"/>
                </a:lnTo>
                <a:lnTo>
                  <a:pt x="203" y="32"/>
                </a:lnTo>
                <a:lnTo>
                  <a:pt x="204" y="37"/>
                </a:lnTo>
                <a:lnTo>
                  <a:pt x="208" y="41"/>
                </a:lnTo>
                <a:lnTo>
                  <a:pt x="212" y="44"/>
                </a:lnTo>
                <a:lnTo>
                  <a:pt x="213" y="45"/>
                </a:lnTo>
                <a:lnTo>
                  <a:pt x="213" y="48"/>
                </a:lnTo>
                <a:lnTo>
                  <a:pt x="213" y="51"/>
                </a:lnTo>
                <a:lnTo>
                  <a:pt x="212" y="52"/>
                </a:lnTo>
                <a:lnTo>
                  <a:pt x="211" y="54"/>
                </a:lnTo>
                <a:lnTo>
                  <a:pt x="209" y="59"/>
                </a:lnTo>
                <a:lnTo>
                  <a:pt x="209" y="63"/>
                </a:lnTo>
                <a:lnTo>
                  <a:pt x="207" y="71"/>
                </a:lnTo>
                <a:lnTo>
                  <a:pt x="208" y="71"/>
                </a:lnTo>
                <a:lnTo>
                  <a:pt x="212" y="69"/>
                </a:lnTo>
                <a:lnTo>
                  <a:pt x="214" y="70"/>
                </a:lnTo>
                <a:lnTo>
                  <a:pt x="215" y="72"/>
                </a:lnTo>
                <a:lnTo>
                  <a:pt x="215" y="76"/>
                </a:lnTo>
                <a:lnTo>
                  <a:pt x="216" y="79"/>
                </a:lnTo>
                <a:lnTo>
                  <a:pt x="218" y="82"/>
                </a:lnTo>
                <a:lnTo>
                  <a:pt x="218" y="84"/>
                </a:lnTo>
                <a:lnTo>
                  <a:pt x="221" y="88"/>
                </a:lnTo>
                <a:lnTo>
                  <a:pt x="222" y="90"/>
                </a:lnTo>
                <a:lnTo>
                  <a:pt x="224" y="96"/>
                </a:lnTo>
                <a:lnTo>
                  <a:pt x="224" y="101"/>
                </a:lnTo>
                <a:lnTo>
                  <a:pt x="225" y="104"/>
                </a:lnTo>
                <a:lnTo>
                  <a:pt x="224" y="108"/>
                </a:lnTo>
                <a:lnTo>
                  <a:pt x="223" y="110"/>
                </a:lnTo>
                <a:lnTo>
                  <a:pt x="222" y="110"/>
                </a:lnTo>
                <a:lnTo>
                  <a:pt x="219" y="111"/>
                </a:lnTo>
                <a:lnTo>
                  <a:pt x="215" y="114"/>
                </a:lnTo>
                <a:lnTo>
                  <a:pt x="209" y="121"/>
                </a:lnTo>
                <a:lnTo>
                  <a:pt x="207" y="123"/>
                </a:lnTo>
                <a:lnTo>
                  <a:pt x="205" y="129"/>
                </a:lnTo>
                <a:lnTo>
                  <a:pt x="205" y="129"/>
                </a:lnTo>
                <a:lnTo>
                  <a:pt x="201" y="129"/>
                </a:lnTo>
                <a:lnTo>
                  <a:pt x="200" y="129"/>
                </a:lnTo>
                <a:lnTo>
                  <a:pt x="197" y="129"/>
                </a:lnTo>
                <a:lnTo>
                  <a:pt x="189" y="128"/>
                </a:lnTo>
                <a:lnTo>
                  <a:pt x="186" y="129"/>
                </a:lnTo>
                <a:lnTo>
                  <a:pt x="182" y="134"/>
                </a:lnTo>
                <a:lnTo>
                  <a:pt x="180" y="135"/>
                </a:lnTo>
                <a:lnTo>
                  <a:pt x="175" y="136"/>
                </a:lnTo>
                <a:lnTo>
                  <a:pt x="174" y="137"/>
                </a:lnTo>
                <a:lnTo>
                  <a:pt x="173" y="136"/>
                </a:lnTo>
                <a:lnTo>
                  <a:pt x="168" y="135"/>
                </a:lnTo>
                <a:lnTo>
                  <a:pt x="165" y="132"/>
                </a:lnTo>
                <a:lnTo>
                  <a:pt x="162" y="129"/>
                </a:lnTo>
                <a:lnTo>
                  <a:pt x="159" y="124"/>
                </a:lnTo>
                <a:lnTo>
                  <a:pt x="156" y="121"/>
                </a:lnTo>
                <a:lnTo>
                  <a:pt x="152" y="118"/>
                </a:lnTo>
                <a:lnTo>
                  <a:pt x="145" y="112"/>
                </a:lnTo>
                <a:lnTo>
                  <a:pt x="143" y="111"/>
                </a:lnTo>
                <a:lnTo>
                  <a:pt x="131" y="108"/>
                </a:lnTo>
                <a:lnTo>
                  <a:pt x="127" y="107"/>
                </a:lnTo>
                <a:lnTo>
                  <a:pt x="123" y="100"/>
                </a:lnTo>
                <a:lnTo>
                  <a:pt x="122" y="96"/>
                </a:lnTo>
                <a:lnTo>
                  <a:pt x="120" y="95"/>
                </a:lnTo>
                <a:lnTo>
                  <a:pt x="118" y="96"/>
                </a:lnTo>
                <a:lnTo>
                  <a:pt x="115" y="97"/>
                </a:lnTo>
                <a:lnTo>
                  <a:pt x="110" y="102"/>
                </a:lnTo>
                <a:lnTo>
                  <a:pt x="108" y="102"/>
                </a:lnTo>
                <a:lnTo>
                  <a:pt x="105" y="102"/>
                </a:lnTo>
                <a:lnTo>
                  <a:pt x="97" y="103"/>
                </a:lnTo>
                <a:lnTo>
                  <a:pt x="94" y="102"/>
                </a:lnTo>
                <a:lnTo>
                  <a:pt x="88" y="100"/>
                </a:lnTo>
                <a:lnTo>
                  <a:pt x="84" y="99"/>
                </a:lnTo>
                <a:lnTo>
                  <a:pt x="81" y="99"/>
                </a:lnTo>
                <a:lnTo>
                  <a:pt x="68" y="98"/>
                </a:lnTo>
                <a:lnTo>
                  <a:pt x="66" y="100"/>
                </a:lnTo>
                <a:lnTo>
                  <a:pt x="64" y="100"/>
                </a:lnTo>
                <a:lnTo>
                  <a:pt x="61" y="97"/>
                </a:lnTo>
                <a:lnTo>
                  <a:pt x="58" y="96"/>
                </a:lnTo>
                <a:lnTo>
                  <a:pt x="55" y="97"/>
                </a:lnTo>
                <a:lnTo>
                  <a:pt x="49" y="97"/>
                </a:lnTo>
                <a:lnTo>
                  <a:pt x="43" y="96"/>
                </a:lnTo>
                <a:lnTo>
                  <a:pt x="34" y="95"/>
                </a:lnTo>
                <a:lnTo>
                  <a:pt x="32" y="96"/>
                </a:lnTo>
                <a:lnTo>
                  <a:pt x="23" y="100"/>
                </a:lnTo>
                <a:lnTo>
                  <a:pt x="20" y="101"/>
                </a:lnTo>
                <a:lnTo>
                  <a:pt x="10" y="108"/>
                </a:lnTo>
                <a:lnTo>
                  <a:pt x="1" y="114"/>
                </a:lnTo>
                <a:lnTo>
                  <a:pt x="0" y="104"/>
                </a:lnTo>
                <a:lnTo>
                  <a:pt x="1" y="82"/>
                </a:lnTo>
                <a:lnTo>
                  <a:pt x="2" y="72"/>
                </a:lnTo>
                <a:lnTo>
                  <a:pt x="8" y="66"/>
                </a:lnTo>
                <a:lnTo>
                  <a:pt x="11" y="61"/>
                </a:lnTo>
                <a:lnTo>
                  <a:pt x="13" y="54"/>
                </a:lnTo>
                <a:lnTo>
                  <a:pt x="13" y="48"/>
                </a:lnTo>
                <a:lnTo>
                  <a:pt x="14" y="43"/>
                </a:lnTo>
                <a:lnTo>
                  <a:pt x="23" y="29"/>
                </a:lnTo>
                <a:lnTo>
                  <a:pt x="29" y="27"/>
                </a:lnTo>
                <a:lnTo>
                  <a:pt x="38" y="23"/>
                </a:lnTo>
                <a:lnTo>
                  <a:pt x="48" y="20"/>
                </a:lnTo>
                <a:lnTo>
                  <a:pt x="50" y="24"/>
                </a:lnTo>
                <a:lnTo>
                  <a:pt x="51" y="27"/>
                </a:lnTo>
                <a:lnTo>
                  <a:pt x="64" y="39"/>
                </a:lnTo>
                <a:lnTo>
                  <a:pt x="67" y="43"/>
                </a:lnTo>
                <a:lnTo>
                  <a:pt x="71" y="57"/>
                </a:lnTo>
                <a:lnTo>
                  <a:pt x="83" y="63"/>
                </a:lnTo>
                <a:lnTo>
                  <a:pt x="91" y="61"/>
                </a:lnTo>
                <a:lnTo>
                  <a:pt x="95" y="58"/>
                </a:lnTo>
                <a:lnTo>
                  <a:pt x="102" y="52"/>
                </a:lnTo>
                <a:lnTo>
                  <a:pt x="105" y="47"/>
                </a:lnTo>
                <a:lnTo>
                  <a:pt x="106" y="43"/>
                </a:lnTo>
                <a:lnTo>
                  <a:pt x="105" y="24"/>
                </a:lnTo>
                <a:lnTo>
                  <a:pt x="103" y="16"/>
                </a:lnTo>
                <a:lnTo>
                  <a:pt x="104" y="11"/>
                </a:lnTo>
                <a:lnTo>
                  <a:pt x="105" y="12"/>
                </a:lnTo>
                <a:lnTo>
                  <a:pt x="108" y="9"/>
                </a:lnTo>
                <a:lnTo>
                  <a:pt x="118" y="5"/>
                </a:lnTo>
                <a:lnTo>
                  <a:pt x="120" y="4"/>
                </a:lnTo>
                <a:lnTo>
                  <a:pt x="122" y="4"/>
                </a:lnTo>
                <a:lnTo>
                  <a:pt x="128" y="0"/>
                </a:lnTo>
                <a:lnTo>
                  <a:pt x="130" y="2"/>
                </a:lnTo>
                <a:lnTo>
                  <a:pt x="132" y="4"/>
                </a:lnTo>
                <a:lnTo>
                  <a:pt x="133" y="4"/>
                </a:lnTo>
                <a:lnTo>
                  <a:pt x="133" y="3"/>
                </a:lnTo>
                <a:lnTo>
                  <a:pt x="133" y="2"/>
                </a:lnTo>
                <a:lnTo>
                  <a:pt x="134" y="1"/>
                </a:lnTo>
                <a:lnTo>
                  <a:pt x="135" y="2"/>
                </a:lnTo>
                <a:lnTo>
                  <a:pt x="143" y="7"/>
                </a:lnTo>
                <a:lnTo>
                  <a:pt x="145" y="9"/>
                </a:lnTo>
                <a:lnTo>
                  <a:pt x="147" y="9"/>
                </a:lnTo>
                <a:lnTo>
                  <a:pt x="149" y="12"/>
                </a:lnTo>
                <a:lnTo>
                  <a:pt x="156" y="13"/>
                </a:lnTo>
                <a:lnTo>
                  <a:pt x="156" y="15"/>
                </a:lnTo>
                <a:lnTo>
                  <a:pt x="157" y="16"/>
                </a:lnTo>
                <a:lnTo>
                  <a:pt x="163" y="24"/>
                </a:lnTo>
                <a:lnTo>
                  <a:pt x="165" y="27"/>
                </a:lnTo>
                <a:lnTo>
                  <a:pt x="170" y="30"/>
                </a:lnTo>
                <a:lnTo>
                  <a:pt x="173" y="31"/>
                </a:lnTo>
                <a:lnTo>
                  <a:pt x="181" y="28"/>
                </a:lnTo>
                <a:lnTo>
                  <a:pt x="184" y="27"/>
                </a:lnTo>
                <a:lnTo>
                  <a:pt x="186" y="27"/>
                </a:lnTo>
                <a:lnTo>
                  <a:pt x="188" y="28"/>
                </a:lnTo>
                <a:lnTo>
                  <a:pt x="193" y="31"/>
                </a:lnTo>
                <a:lnTo>
                  <a:pt x="197" y="3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2" name="Monaco">
            <a:extLst>
              <a:ext uri="{FF2B5EF4-FFF2-40B4-BE49-F238E27FC236}">
                <a16:creationId xmlns:a16="http://schemas.microsoft.com/office/drawing/2014/main" id="{67A14519-2987-403E-8C1B-0018D3AF6AB8}"/>
              </a:ext>
            </a:extLst>
          </p:cNvPr>
          <p:cNvSpPr>
            <a:spLocks/>
          </p:cNvSpPr>
          <p:nvPr/>
        </p:nvSpPr>
        <p:spPr bwMode="auto">
          <a:xfrm>
            <a:off x="6040025" y="3361602"/>
            <a:ext cx="2233"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3" name="Moldova">
            <a:extLst>
              <a:ext uri="{FF2B5EF4-FFF2-40B4-BE49-F238E27FC236}">
                <a16:creationId xmlns:a16="http://schemas.microsoft.com/office/drawing/2014/main" id="{CA66EE98-CD30-46B9-AEB5-1490216A74E4}"/>
              </a:ext>
            </a:extLst>
          </p:cNvPr>
          <p:cNvSpPr>
            <a:spLocks/>
          </p:cNvSpPr>
          <p:nvPr/>
        </p:nvSpPr>
        <p:spPr bwMode="auto">
          <a:xfrm>
            <a:off x="6618112" y="3181134"/>
            <a:ext cx="104905" cy="117696"/>
          </a:xfrm>
          <a:custGeom>
            <a:avLst/>
            <a:gdLst>
              <a:gd name="T0" fmla="*/ 48 w 110"/>
              <a:gd name="T1" fmla="*/ 136 h 138"/>
              <a:gd name="T2" fmla="*/ 46 w 110"/>
              <a:gd name="T3" fmla="*/ 131 h 138"/>
              <a:gd name="T4" fmla="*/ 48 w 110"/>
              <a:gd name="T5" fmla="*/ 127 h 138"/>
              <a:gd name="T6" fmla="*/ 47 w 110"/>
              <a:gd name="T7" fmla="*/ 119 h 138"/>
              <a:gd name="T8" fmla="*/ 49 w 110"/>
              <a:gd name="T9" fmla="*/ 98 h 138"/>
              <a:gd name="T10" fmla="*/ 51 w 110"/>
              <a:gd name="T11" fmla="*/ 85 h 138"/>
              <a:gd name="T12" fmla="*/ 45 w 110"/>
              <a:gd name="T13" fmla="*/ 70 h 138"/>
              <a:gd name="T14" fmla="*/ 37 w 110"/>
              <a:gd name="T15" fmla="*/ 61 h 138"/>
              <a:gd name="T16" fmla="*/ 31 w 110"/>
              <a:gd name="T17" fmla="*/ 53 h 138"/>
              <a:gd name="T18" fmla="*/ 26 w 110"/>
              <a:gd name="T19" fmla="*/ 43 h 138"/>
              <a:gd name="T20" fmla="*/ 20 w 110"/>
              <a:gd name="T21" fmla="*/ 33 h 138"/>
              <a:gd name="T22" fmla="*/ 15 w 110"/>
              <a:gd name="T23" fmla="*/ 21 h 138"/>
              <a:gd name="T24" fmla="*/ 9 w 110"/>
              <a:gd name="T25" fmla="*/ 13 h 138"/>
              <a:gd name="T26" fmla="*/ 0 w 110"/>
              <a:gd name="T27" fmla="*/ 11 h 138"/>
              <a:gd name="T28" fmla="*/ 9 w 110"/>
              <a:gd name="T29" fmla="*/ 5 h 138"/>
              <a:gd name="T30" fmla="*/ 23 w 110"/>
              <a:gd name="T31" fmla="*/ 3 h 138"/>
              <a:gd name="T32" fmla="*/ 29 w 110"/>
              <a:gd name="T33" fmla="*/ 0 h 138"/>
              <a:gd name="T34" fmla="*/ 34 w 110"/>
              <a:gd name="T35" fmla="*/ 2 h 138"/>
              <a:gd name="T36" fmla="*/ 42 w 110"/>
              <a:gd name="T37" fmla="*/ 7 h 138"/>
              <a:gd name="T38" fmla="*/ 46 w 110"/>
              <a:gd name="T39" fmla="*/ 11 h 138"/>
              <a:gd name="T40" fmla="*/ 54 w 110"/>
              <a:gd name="T41" fmla="*/ 13 h 138"/>
              <a:gd name="T42" fmla="*/ 55 w 110"/>
              <a:gd name="T43" fmla="*/ 15 h 138"/>
              <a:gd name="T44" fmla="*/ 58 w 110"/>
              <a:gd name="T45" fmla="*/ 19 h 138"/>
              <a:gd name="T46" fmla="*/ 67 w 110"/>
              <a:gd name="T47" fmla="*/ 17 h 138"/>
              <a:gd name="T48" fmla="*/ 74 w 110"/>
              <a:gd name="T49" fmla="*/ 26 h 138"/>
              <a:gd name="T50" fmla="*/ 78 w 110"/>
              <a:gd name="T51" fmla="*/ 24 h 138"/>
              <a:gd name="T52" fmla="*/ 81 w 110"/>
              <a:gd name="T53" fmla="*/ 35 h 138"/>
              <a:gd name="T54" fmla="*/ 78 w 110"/>
              <a:gd name="T55" fmla="*/ 44 h 138"/>
              <a:gd name="T56" fmla="*/ 81 w 110"/>
              <a:gd name="T57" fmla="*/ 48 h 138"/>
              <a:gd name="T58" fmla="*/ 89 w 110"/>
              <a:gd name="T59" fmla="*/ 55 h 138"/>
              <a:gd name="T60" fmla="*/ 92 w 110"/>
              <a:gd name="T61" fmla="*/ 57 h 138"/>
              <a:gd name="T62" fmla="*/ 91 w 110"/>
              <a:gd name="T63" fmla="*/ 65 h 138"/>
              <a:gd name="T64" fmla="*/ 93 w 110"/>
              <a:gd name="T65" fmla="*/ 72 h 138"/>
              <a:gd name="T66" fmla="*/ 103 w 110"/>
              <a:gd name="T67" fmla="*/ 79 h 138"/>
              <a:gd name="T68" fmla="*/ 103 w 110"/>
              <a:gd name="T69" fmla="*/ 90 h 138"/>
              <a:gd name="T70" fmla="*/ 108 w 110"/>
              <a:gd name="T71" fmla="*/ 97 h 138"/>
              <a:gd name="T72" fmla="*/ 98 w 110"/>
              <a:gd name="T73" fmla="*/ 94 h 138"/>
              <a:gd name="T74" fmla="*/ 94 w 110"/>
              <a:gd name="T75" fmla="*/ 96 h 138"/>
              <a:gd name="T76" fmla="*/ 89 w 110"/>
              <a:gd name="T77" fmla="*/ 93 h 138"/>
              <a:gd name="T78" fmla="*/ 85 w 110"/>
              <a:gd name="T79" fmla="*/ 94 h 138"/>
              <a:gd name="T80" fmla="*/ 81 w 110"/>
              <a:gd name="T81" fmla="*/ 97 h 138"/>
              <a:gd name="T82" fmla="*/ 80 w 110"/>
              <a:gd name="T83" fmla="*/ 90 h 138"/>
              <a:gd name="T84" fmla="*/ 73 w 110"/>
              <a:gd name="T85" fmla="*/ 93 h 138"/>
              <a:gd name="T86" fmla="*/ 73 w 110"/>
              <a:gd name="T87" fmla="*/ 101 h 138"/>
              <a:gd name="T88" fmla="*/ 73 w 110"/>
              <a:gd name="T89" fmla="*/ 112 h 138"/>
              <a:gd name="T90" fmla="*/ 66 w 110"/>
              <a:gd name="T91" fmla="*/ 121 h 138"/>
              <a:gd name="T92" fmla="*/ 59 w 110"/>
              <a:gd name="T93" fmla="*/ 129 h 138"/>
              <a:gd name="T94" fmla="*/ 59 w 110"/>
              <a:gd name="T95" fmla="*/ 134 h 138"/>
              <a:gd name="T96" fmla="*/ 53 w 110"/>
              <a:gd name="T97" fmla="*/ 13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38">
                <a:moveTo>
                  <a:pt x="50" y="138"/>
                </a:moveTo>
                <a:lnTo>
                  <a:pt x="50" y="138"/>
                </a:lnTo>
                <a:lnTo>
                  <a:pt x="48" y="136"/>
                </a:lnTo>
                <a:lnTo>
                  <a:pt x="47" y="133"/>
                </a:lnTo>
                <a:lnTo>
                  <a:pt x="46" y="132"/>
                </a:lnTo>
                <a:lnTo>
                  <a:pt x="46" y="131"/>
                </a:lnTo>
                <a:lnTo>
                  <a:pt x="47" y="130"/>
                </a:lnTo>
                <a:lnTo>
                  <a:pt x="48" y="130"/>
                </a:lnTo>
                <a:lnTo>
                  <a:pt x="48" y="127"/>
                </a:lnTo>
                <a:lnTo>
                  <a:pt x="47" y="123"/>
                </a:lnTo>
                <a:lnTo>
                  <a:pt x="47" y="122"/>
                </a:lnTo>
                <a:lnTo>
                  <a:pt x="47" y="119"/>
                </a:lnTo>
                <a:lnTo>
                  <a:pt x="46" y="115"/>
                </a:lnTo>
                <a:lnTo>
                  <a:pt x="47" y="108"/>
                </a:lnTo>
                <a:lnTo>
                  <a:pt x="49" y="98"/>
                </a:lnTo>
                <a:lnTo>
                  <a:pt x="51" y="94"/>
                </a:lnTo>
                <a:lnTo>
                  <a:pt x="50" y="91"/>
                </a:lnTo>
                <a:lnTo>
                  <a:pt x="51" y="85"/>
                </a:lnTo>
                <a:lnTo>
                  <a:pt x="50" y="82"/>
                </a:lnTo>
                <a:lnTo>
                  <a:pt x="48" y="78"/>
                </a:lnTo>
                <a:lnTo>
                  <a:pt x="45" y="70"/>
                </a:lnTo>
                <a:lnTo>
                  <a:pt x="42" y="67"/>
                </a:lnTo>
                <a:lnTo>
                  <a:pt x="39" y="63"/>
                </a:lnTo>
                <a:lnTo>
                  <a:pt x="37" y="61"/>
                </a:lnTo>
                <a:lnTo>
                  <a:pt x="36" y="58"/>
                </a:lnTo>
                <a:lnTo>
                  <a:pt x="34" y="56"/>
                </a:lnTo>
                <a:lnTo>
                  <a:pt x="31" y="53"/>
                </a:lnTo>
                <a:lnTo>
                  <a:pt x="28" y="47"/>
                </a:lnTo>
                <a:lnTo>
                  <a:pt x="27" y="44"/>
                </a:lnTo>
                <a:lnTo>
                  <a:pt x="26" y="43"/>
                </a:lnTo>
                <a:lnTo>
                  <a:pt x="23" y="39"/>
                </a:lnTo>
                <a:lnTo>
                  <a:pt x="21" y="36"/>
                </a:lnTo>
                <a:lnTo>
                  <a:pt x="20" y="33"/>
                </a:lnTo>
                <a:lnTo>
                  <a:pt x="19" y="30"/>
                </a:lnTo>
                <a:lnTo>
                  <a:pt x="17" y="25"/>
                </a:lnTo>
                <a:lnTo>
                  <a:pt x="15" y="21"/>
                </a:lnTo>
                <a:lnTo>
                  <a:pt x="12" y="18"/>
                </a:lnTo>
                <a:lnTo>
                  <a:pt x="11" y="15"/>
                </a:lnTo>
                <a:lnTo>
                  <a:pt x="9" y="13"/>
                </a:lnTo>
                <a:lnTo>
                  <a:pt x="5" y="11"/>
                </a:lnTo>
                <a:lnTo>
                  <a:pt x="3" y="10"/>
                </a:lnTo>
                <a:lnTo>
                  <a:pt x="0" y="11"/>
                </a:lnTo>
                <a:lnTo>
                  <a:pt x="1" y="9"/>
                </a:lnTo>
                <a:lnTo>
                  <a:pt x="7" y="5"/>
                </a:lnTo>
                <a:lnTo>
                  <a:pt x="9" y="5"/>
                </a:lnTo>
                <a:lnTo>
                  <a:pt x="12" y="6"/>
                </a:lnTo>
                <a:lnTo>
                  <a:pt x="19" y="5"/>
                </a:lnTo>
                <a:lnTo>
                  <a:pt x="23" y="3"/>
                </a:lnTo>
                <a:lnTo>
                  <a:pt x="25" y="3"/>
                </a:lnTo>
                <a:lnTo>
                  <a:pt x="26" y="2"/>
                </a:lnTo>
                <a:lnTo>
                  <a:pt x="29" y="0"/>
                </a:lnTo>
                <a:lnTo>
                  <a:pt x="30" y="1"/>
                </a:lnTo>
                <a:lnTo>
                  <a:pt x="30" y="1"/>
                </a:lnTo>
                <a:lnTo>
                  <a:pt x="34" y="2"/>
                </a:lnTo>
                <a:lnTo>
                  <a:pt x="38" y="3"/>
                </a:lnTo>
                <a:lnTo>
                  <a:pt x="40" y="6"/>
                </a:lnTo>
                <a:lnTo>
                  <a:pt x="42" y="7"/>
                </a:lnTo>
                <a:lnTo>
                  <a:pt x="44" y="8"/>
                </a:lnTo>
                <a:lnTo>
                  <a:pt x="46" y="9"/>
                </a:lnTo>
                <a:lnTo>
                  <a:pt x="46" y="11"/>
                </a:lnTo>
                <a:lnTo>
                  <a:pt x="48" y="12"/>
                </a:lnTo>
                <a:lnTo>
                  <a:pt x="52" y="12"/>
                </a:lnTo>
                <a:lnTo>
                  <a:pt x="54" y="13"/>
                </a:lnTo>
                <a:lnTo>
                  <a:pt x="53" y="15"/>
                </a:lnTo>
                <a:lnTo>
                  <a:pt x="54" y="16"/>
                </a:lnTo>
                <a:lnTo>
                  <a:pt x="55" y="15"/>
                </a:lnTo>
                <a:lnTo>
                  <a:pt x="56" y="16"/>
                </a:lnTo>
                <a:lnTo>
                  <a:pt x="57" y="18"/>
                </a:lnTo>
                <a:lnTo>
                  <a:pt x="58" y="19"/>
                </a:lnTo>
                <a:lnTo>
                  <a:pt x="60" y="16"/>
                </a:lnTo>
                <a:lnTo>
                  <a:pt x="62" y="16"/>
                </a:lnTo>
                <a:lnTo>
                  <a:pt x="67" y="17"/>
                </a:lnTo>
                <a:lnTo>
                  <a:pt x="70" y="23"/>
                </a:lnTo>
                <a:lnTo>
                  <a:pt x="72" y="25"/>
                </a:lnTo>
                <a:lnTo>
                  <a:pt x="74" y="26"/>
                </a:lnTo>
                <a:lnTo>
                  <a:pt x="76" y="25"/>
                </a:lnTo>
                <a:lnTo>
                  <a:pt x="77" y="24"/>
                </a:lnTo>
                <a:lnTo>
                  <a:pt x="78" y="24"/>
                </a:lnTo>
                <a:lnTo>
                  <a:pt x="81" y="28"/>
                </a:lnTo>
                <a:lnTo>
                  <a:pt x="81" y="33"/>
                </a:lnTo>
                <a:lnTo>
                  <a:pt x="81" y="35"/>
                </a:lnTo>
                <a:lnTo>
                  <a:pt x="80" y="39"/>
                </a:lnTo>
                <a:lnTo>
                  <a:pt x="79" y="42"/>
                </a:lnTo>
                <a:lnTo>
                  <a:pt x="78" y="44"/>
                </a:lnTo>
                <a:lnTo>
                  <a:pt x="79" y="46"/>
                </a:lnTo>
                <a:lnTo>
                  <a:pt x="79" y="48"/>
                </a:lnTo>
                <a:lnTo>
                  <a:pt x="81" y="48"/>
                </a:lnTo>
                <a:lnTo>
                  <a:pt x="85" y="52"/>
                </a:lnTo>
                <a:lnTo>
                  <a:pt x="86" y="54"/>
                </a:lnTo>
                <a:lnTo>
                  <a:pt x="89" y="55"/>
                </a:lnTo>
                <a:lnTo>
                  <a:pt x="90" y="55"/>
                </a:lnTo>
                <a:lnTo>
                  <a:pt x="91" y="56"/>
                </a:lnTo>
                <a:lnTo>
                  <a:pt x="92" y="57"/>
                </a:lnTo>
                <a:lnTo>
                  <a:pt x="91" y="60"/>
                </a:lnTo>
                <a:lnTo>
                  <a:pt x="90" y="63"/>
                </a:lnTo>
                <a:lnTo>
                  <a:pt x="91" y="65"/>
                </a:lnTo>
                <a:lnTo>
                  <a:pt x="92" y="67"/>
                </a:lnTo>
                <a:lnTo>
                  <a:pt x="92" y="70"/>
                </a:lnTo>
                <a:lnTo>
                  <a:pt x="93" y="72"/>
                </a:lnTo>
                <a:lnTo>
                  <a:pt x="97" y="74"/>
                </a:lnTo>
                <a:lnTo>
                  <a:pt x="102" y="77"/>
                </a:lnTo>
                <a:lnTo>
                  <a:pt x="103" y="79"/>
                </a:lnTo>
                <a:lnTo>
                  <a:pt x="104" y="81"/>
                </a:lnTo>
                <a:lnTo>
                  <a:pt x="104" y="86"/>
                </a:lnTo>
                <a:lnTo>
                  <a:pt x="103" y="90"/>
                </a:lnTo>
                <a:lnTo>
                  <a:pt x="110" y="95"/>
                </a:lnTo>
                <a:lnTo>
                  <a:pt x="109" y="96"/>
                </a:lnTo>
                <a:lnTo>
                  <a:pt x="108" y="97"/>
                </a:lnTo>
                <a:lnTo>
                  <a:pt x="102" y="98"/>
                </a:lnTo>
                <a:lnTo>
                  <a:pt x="101" y="98"/>
                </a:lnTo>
                <a:lnTo>
                  <a:pt x="98" y="94"/>
                </a:lnTo>
                <a:lnTo>
                  <a:pt x="96" y="94"/>
                </a:lnTo>
                <a:lnTo>
                  <a:pt x="95" y="95"/>
                </a:lnTo>
                <a:lnTo>
                  <a:pt x="94" y="96"/>
                </a:lnTo>
                <a:lnTo>
                  <a:pt x="92" y="96"/>
                </a:lnTo>
                <a:lnTo>
                  <a:pt x="90" y="94"/>
                </a:lnTo>
                <a:lnTo>
                  <a:pt x="89" y="93"/>
                </a:lnTo>
                <a:lnTo>
                  <a:pt x="88" y="93"/>
                </a:lnTo>
                <a:lnTo>
                  <a:pt x="87" y="94"/>
                </a:lnTo>
                <a:lnTo>
                  <a:pt x="85" y="94"/>
                </a:lnTo>
                <a:lnTo>
                  <a:pt x="84" y="93"/>
                </a:lnTo>
                <a:lnTo>
                  <a:pt x="82" y="96"/>
                </a:lnTo>
                <a:lnTo>
                  <a:pt x="81" y="97"/>
                </a:lnTo>
                <a:lnTo>
                  <a:pt x="81" y="97"/>
                </a:lnTo>
                <a:lnTo>
                  <a:pt x="81" y="91"/>
                </a:lnTo>
                <a:lnTo>
                  <a:pt x="80" y="90"/>
                </a:lnTo>
                <a:lnTo>
                  <a:pt x="79" y="90"/>
                </a:lnTo>
                <a:lnTo>
                  <a:pt x="76" y="92"/>
                </a:lnTo>
                <a:lnTo>
                  <a:pt x="73" y="93"/>
                </a:lnTo>
                <a:lnTo>
                  <a:pt x="72" y="95"/>
                </a:lnTo>
                <a:lnTo>
                  <a:pt x="72" y="98"/>
                </a:lnTo>
                <a:lnTo>
                  <a:pt x="73" y="101"/>
                </a:lnTo>
                <a:lnTo>
                  <a:pt x="75" y="106"/>
                </a:lnTo>
                <a:lnTo>
                  <a:pt x="74" y="108"/>
                </a:lnTo>
                <a:lnTo>
                  <a:pt x="73" y="112"/>
                </a:lnTo>
                <a:lnTo>
                  <a:pt x="70" y="115"/>
                </a:lnTo>
                <a:lnTo>
                  <a:pt x="66" y="117"/>
                </a:lnTo>
                <a:lnTo>
                  <a:pt x="66" y="121"/>
                </a:lnTo>
                <a:lnTo>
                  <a:pt x="64" y="123"/>
                </a:lnTo>
                <a:lnTo>
                  <a:pt x="61" y="126"/>
                </a:lnTo>
                <a:lnTo>
                  <a:pt x="59" y="129"/>
                </a:lnTo>
                <a:lnTo>
                  <a:pt x="59" y="131"/>
                </a:lnTo>
                <a:lnTo>
                  <a:pt x="59" y="133"/>
                </a:lnTo>
                <a:lnTo>
                  <a:pt x="59" y="134"/>
                </a:lnTo>
                <a:lnTo>
                  <a:pt x="59" y="135"/>
                </a:lnTo>
                <a:lnTo>
                  <a:pt x="58" y="136"/>
                </a:lnTo>
                <a:lnTo>
                  <a:pt x="53" y="136"/>
                </a:lnTo>
                <a:lnTo>
                  <a:pt x="51" y="13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4" name="Montenegro">
            <a:extLst>
              <a:ext uri="{FF2B5EF4-FFF2-40B4-BE49-F238E27FC236}">
                <a16:creationId xmlns:a16="http://schemas.microsoft.com/office/drawing/2014/main" id="{997F3482-24B6-478C-90EE-77B4536CF810}"/>
              </a:ext>
            </a:extLst>
          </p:cNvPr>
          <p:cNvSpPr>
            <a:spLocks/>
          </p:cNvSpPr>
          <p:nvPr/>
        </p:nvSpPr>
        <p:spPr bwMode="auto">
          <a:xfrm>
            <a:off x="6372591" y="3369448"/>
            <a:ext cx="58032" cy="58849"/>
          </a:xfrm>
          <a:custGeom>
            <a:avLst/>
            <a:gdLst>
              <a:gd name="T0" fmla="*/ 24 w 60"/>
              <a:gd name="T1" fmla="*/ 1 h 71"/>
              <a:gd name="T2" fmla="*/ 24 w 60"/>
              <a:gd name="T3" fmla="*/ 3 h 71"/>
              <a:gd name="T4" fmla="*/ 27 w 60"/>
              <a:gd name="T5" fmla="*/ 6 h 71"/>
              <a:gd name="T6" fmla="*/ 35 w 60"/>
              <a:gd name="T7" fmla="*/ 15 h 71"/>
              <a:gd name="T8" fmla="*/ 39 w 60"/>
              <a:gd name="T9" fmla="*/ 17 h 71"/>
              <a:gd name="T10" fmla="*/ 44 w 60"/>
              <a:gd name="T11" fmla="*/ 20 h 71"/>
              <a:gd name="T12" fmla="*/ 54 w 60"/>
              <a:gd name="T13" fmla="*/ 25 h 71"/>
              <a:gd name="T14" fmla="*/ 59 w 60"/>
              <a:gd name="T15" fmla="*/ 28 h 71"/>
              <a:gd name="T16" fmla="*/ 60 w 60"/>
              <a:gd name="T17" fmla="*/ 31 h 71"/>
              <a:gd name="T18" fmla="*/ 55 w 60"/>
              <a:gd name="T19" fmla="*/ 34 h 71"/>
              <a:gd name="T20" fmla="*/ 50 w 60"/>
              <a:gd name="T21" fmla="*/ 34 h 71"/>
              <a:gd name="T22" fmla="*/ 51 w 60"/>
              <a:gd name="T23" fmla="*/ 37 h 71"/>
              <a:gd name="T24" fmla="*/ 51 w 60"/>
              <a:gd name="T25" fmla="*/ 42 h 71"/>
              <a:gd name="T26" fmla="*/ 50 w 60"/>
              <a:gd name="T27" fmla="*/ 43 h 71"/>
              <a:gd name="T28" fmla="*/ 44 w 60"/>
              <a:gd name="T29" fmla="*/ 45 h 71"/>
              <a:gd name="T30" fmla="*/ 41 w 60"/>
              <a:gd name="T31" fmla="*/ 45 h 71"/>
              <a:gd name="T32" fmla="*/ 41 w 60"/>
              <a:gd name="T33" fmla="*/ 40 h 71"/>
              <a:gd name="T34" fmla="*/ 40 w 60"/>
              <a:gd name="T35" fmla="*/ 39 h 71"/>
              <a:gd name="T36" fmla="*/ 36 w 60"/>
              <a:gd name="T37" fmla="*/ 42 h 71"/>
              <a:gd name="T38" fmla="*/ 32 w 60"/>
              <a:gd name="T39" fmla="*/ 48 h 71"/>
              <a:gd name="T40" fmla="*/ 28 w 60"/>
              <a:gd name="T41" fmla="*/ 55 h 71"/>
              <a:gd name="T42" fmla="*/ 28 w 60"/>
              <a:gd name="T43" fmla="*/ 60 h 71"/>
              <a:gd name="T44" fmla="*/ 29 w 60"/>
              <a:gd name="T45" fmla="*/ 65 h 71"/>
              <a:gd name="T46" fmla="*/ 28 w 60"/>
              <a:gd name="T47" fmla="*/ 69 h 71"/>
              <a:gd name="T48" fmla="*/ 23 w 60"/>
              <a:gd name="T49" fmla="*/ 68 h 71"/>
              <a:gd name="T50" fmla="*/ 14 w 60"/>
              <a:gd name="T51" fmla="*/ 55 h 71"/>
              <a:gd name="T52" fmla="*/ 6 w 60"/>
              <a:gd name="T53" fmla="*/ 49 h 71"/>
              <a:gd name="T54" fmla="*/ 7 w 60"/>
              <a:gd name="T55" fmla="*/ 47 h 71"/>
              <a:gd name="T56" fmla="*/ 4 w 60"/>
              <a:gd name="T57" fmla="*/ 48 h 71"/>
              <a:gd name="T58" fmla="*/ 1 w 60"/>
              <a:gd name="T59" fmla="*/ 46 h 71"/>
              <a:gd name="T60" fmla="*/ 0 w 60"/>
              <a:gd name="T61" fmla="*/ 42 h 71"/>
              <a:gd name="T62" fmla="*/ 1 w 60"/>
              <a:gd name="T63" fmla="*/ 41 h 71"/>
              <a:gd name="T64" fmla="*/ 3 w 60"/>
              <a:gd name="T65" fmla="*/ 39 h 71"/>
              <a:gd name="T66" fmla="*/ 1 w 60"/>
              <a:gd name="T67" fmla="*/ 33 h 71"/>
              <a:gd name="T68" fmla="*/ 0 w 60"/>
              <a:gd name="T69" fmla="*/ 25 h 71"/>
              <a:gd name="T70" fmla="*/ 2 w 60"/>
              <a:gd name="T71" fmla="*/ 23 h 71"/>
              <a:gd name="T72" fmla="*/ 6 w 60"/>
              <a:gd name="T73" fmla="*/ 18 h 71"/>
              <a:gd name="T74" fmla="*/ 7 w 60"/>
              <a:gd name="T75" fmla="*/ 15 h 71"/>
              <a:gd name="T76" fmla="*/ 10 w 60"/>
              <a:gd name="T77" fmla="*/ 12 h 71"/>
              <a:gd name="T78" fmla="*/ 14 w 60"/>
              <a:gd name="T79" fmla="*/ 9 h 71"/>
              <a:gd name="T80" fmla="*/ 17 w 60"/>
              <a:gd name="T81" fmla="*/ 11 h 71"/>
              <a:gd name="T82" fmla="*/ 19 w 60"/>
              <a:gd name="T83" fmla="*/ 8 h 71"/>
              <a:gd name="T84" fmla="*/ 16 w 60"/>
              <a:gd name="T85" fmla="*/ 2 h 71"/>
              <a:gd name="T86" fmla="*/ 17 w 60"/>
              <a:gd name="T87" fmla="*/ 0 h 71"/>
              <a:gd name="T88" fmla="*/ 20 w 60"/>
              <a:gd name="T89" fmla="*/ 2 h 71"/>
              <a:gd name="T90" fmla="*/ 23 w 60"/>
              <a:gd name="T91"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71">
                <a:moveTo>
                  <a:pt x="24" y="1"/>
                </a:moveTo>
                <a:lnTo>
                  <a:pt x="24" y="1"/>
                </a:lnTo>
                <a:lnTo>
                  <a:pt x="24" y="1"/>
                </a:lnTo>
                <a:lnTo>
                  <a:pt x="24" y="3"/>
                </a:lnTo>
                <a:lnTo>
                  <a:pt x="24" y="4"/>
                </a:lnTo>
                <a:lnTo>
                  <a:pt x="27" y="6"/>
                </a:lnTo>
                <a:lnTo>
                  <a:pt x="31" y="9"/>
                </a:lnTo>
                <a:lnTo>
                  <a:pt x="35" y="15"/>
                </a:lnTo>
                <a:lnTo>
                  <a:pt x="37" y="16"/>
                </a:lnTo>
                <a:lnTo>
                  <a:pt x="39" y="17"/>
                </a:lnTo>
                <a:lnTo>
                  <a:pt x="42" y="19"/>
                </a:lnTo>
                <a:lnTo>
                  <a:pt x="44" y="20"/>
                </a:lnTo>
                <a:lnTo>
                  <a:pt x="47" y="20"/>
                </a:lnTo>
                <a:lnTo>
                  <a:pt x="54" y="25"/>
                </a:lnTo>
                <a:lnTo>
                  <a:pt x="57" y="26"/>
                </a:lnTo>
                <a:lnTo>
                  <a:pt x="59" y="28"/>
                </a:lnTo>
                <a:lnTo>
                  <a:pt x="60" y="30"/>
                </a:lnTo>
                <a:lnTo>
                  <a:pt x="60" y="31"/>
                </a:lnTo>
                <a:lnTo>
                  <a:pt x="56" y="32"/>
                </a:lnTo>
                <a:lnTo>
                  <a:pt x="55" y="34"/>
                </a:lnTo>
                <a:lnTo>
                  <a:pt x="53" y="34"/>
                </a:lnTo>
                <a:lnTo>
                  <a:pt x="50" y="34"/>
                </a:lnTo>
                <a:lnTo>
                  <a:pt x="50" y="35"/>
                </a:lnTo>
                <a:lnTo>
                  <a:pt x="51" y="37"/>
                </a:lnTo>
                <a:lnTo>
                  <a:pt x="52" y="39"/>
                </a:lnTo>
                <a:lnTo>
                  <a:pt x="51" y="42"/>
                </a:lnTo>
                <a:lnTo>
                  <a:pt x="51" y="43"/>
                </a:lnTo>
                <a:lnTo>
                  <a:pt x="50" y="43"/>
                </a:lnTo>
                <a:lnTo>
                  <a:pt x="47" y="45"/>
                </a:lnTo>
                <a:lnTo>
                  <a:pt x="44" y="45"/>
                </a:lnTo>
                <a:lnTo>
                  <a:pt x="42" y="46"/>
                </a:lnTo>
                <a:lnTo>
                  <a:pt x="41" y="45"/>
                </a:lnTo>
                <a:lnTo>
                  <a:pt x="41" y="44"/>
                </a:lnTo>
                <a:lnTo>
                  <a:pt x="41" y="40"/>
                </a:lnTo>
                <a:lnTo>
                  <a:pt x="40" y="39"/>
                </a:lnTo>
                <a:lnTo>
                  <a:pt x="40" y="39"/>
                </a:lnTo>
                <a:lnTo>
                  <a:pt x="38" y="39"/>
                </a:lnTo>
                <a:lnTo>
                  <a:pt x="36" y="42"/>
                </a:lnTo>
                <a:lnTo>
                  <a:pt x="35" y="45"/>
                </a:lnTo>
                <a:lnTo>
                  <a:pt x="32" y="48"/>
                </a:lnTo>
                <a:lnTo>
                  <a:pt x="30" y="51"/>
                </a:lnTo>
                <a:lnTo>
                  <a:pt x="28" y="55"/>
                </a:lnTo>
                <a:lnTo>
                  <a:pt x="26" y="59"/>
                </a:lnTo>
                <a:lnTo>
                  <a:pt x="28" y="60"/>
                </a:lnTo>
                <a:lnTo>
                  <a:pt x="29" y="63"/>
                </a:lnTo>
                <a:lnTo>
                  <a:pt x="29" y="65"/>
                </a:lnTo>
                <a:lnTo>
                  <a:pt x="29" y="66"/>
                </a:lnTo>
                <a:lnTo>
                  <a:pt x="28" y="69"/>
                </a:lnTo>
                <a:lnTo>
                  <a:pt x="28" y="71"/>
                </a:lnTo>
                <a:lnTo>
                  <a:pt x="23" y="68"/>
                </a:lnTo>
                <a:lnTo>
                  <a:pt x="21" y="63"/>
                </a:lnTo>
                <a:lnTo>
                  <a:pt x="14" y="55"/>
                </a:lnTo>
                <a:lnTo>
                  <a:pt x="6" y="50"/>
                </a:lnTo>
                <a:lnTo>
                  <a:pt x="6" y="49"/>
                </a:lnTo>
                <a:lnTo>
                  <a:pt x="6" y="48"/>
                </a:lnTo>
                <a:lnTo>
                  <a:pt x="7" y="47"/>
                </a:lnTo>
                <a:lnTo>
                  <a:pt x="5" y="47"/>
                </a:lnTo>
                <a:lnTo>
                  <a:pt x="4" y="48"/>
                </a:lnTo>
                <a:lnTo>
                  <a:pt x="3" y="48"/>
                </a:lnTo>
                <a:lnTo>
                  <a:pt x="1" y="46"/>
                </a:lnTo>
                <a:lnTo>
                  <a:pt x="0" y="44"/>
                </a:lnTo>
                <a:lnTo>
                  <a:pt x="0" y="42"/>
                </a:lnTo>
                <a:lnTo>
                  <a:pt x="1" y="42"/>
                </a:lnTo>
                <a:lnTo>
                  <a:pt x="1" y="41"/>
                </a:lnTo>
                <a:lnTo>
                  <a:pt x="3" y="40"/>
                </a:lnTo>
                <a:lnTo>
                  <a:pt x="3" y="39"/>
                </a:lnTo>
                <a:lnTo>
                  <a:pt x="3" y="37"/>
                </a:lnTo>
                <a:lnTo>
                  <a:pt x="1" y="33"/>
                </a:lnTo>
                <a:lnTo>
                  <a:pt x="1" y="30"/>
                </a:lnTo>
                <a:lnTo>
                  <a:pt x="0" y="25"/>
                </a:lnTo>
                <a:lnTo>
                  <a:pt x="1" y="24"/>
                </a:lnTo>
                <a:lnTo>
                  <a:pt x="2" y="23"/>
                </a:lnTo>
                <a:lnTo>
                  <a:pt x="6" y="22"/>
                </a:lnTo>
                <a:lnTo>
                  <a:pt x="6" y="18"/>
                </a:lnTo>
                <a:lnTo>
                  <a:pt x="6" y="17"/>
                </a:lnTo>
                <a:lnTo>
                  <a:pt x="7" y="15"/>
                </a:lnTo>
                <a:lnTo>
                  <a:pt x="7" y="14"/>
                </a:lnTo>
                <a:lnTo>
                  <a:pt x="10" y="12"/>
                </a:lnTo>
                <a:lnTo>
                  <a:pt x="13" y="9"/>
                </a:lnTo>
                <a:lnTo>
                  <a:pt x="14" y="9"/>
                </a:lnTo>
                <a:lnTo>
                  <a:pt x="16" y="9"/>
                </a:lnTo>
                <a:lnTo>
                  <a:pt x="17" y="11"/>
                </a:lnTo>
                <a:lnTo>
                  <a:pt x="18" y="11"/>
                </a:lnTo>
                <a:lnTo>
                  <a:pt x="19" y="8"/>
                </a:lnTo>
                <a:lnTo>
                  <a:pt x="17" y="5"/>
                </a:lnTo>
                <a:lnTo>
                  <a:pt x="16" y="2"/>
                </a:lnTo>
                <a:lnTo>
                  <a:pt x="16" y="1"/>
                </a:lnTo>
                <a:lnTo>
                  <a:pt x="17" y="0"/>
                </a:lnTo>
                <a:lnTo>
                  <a:pt x="19" y="1"/>
                </a:lnTo>
                <a:lnTo>
                  <a:pt x="20" y="2"/>
                </a:lnTo>
                <a:lnTo>
                  <a:pt x="21" y="1"/>
                </a:lnTo>
                <a:lnTo>
                  <a:pt x="23" y="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5" name="Macedonia">
            <a:extLst>
              <a:ext uri="{FF2B5EF4-FFF2-40B4-BE49-F238E27FC236}">
                <a16:creationId xmlns:a16="http://schemas.microsoft.com/office/drawing/2014/main" id="{018E533A-1866-49FC-8840-019EB22C151B}"/>
              </a:ext>
            </a:extLst>
          </p:cNvPr>
          <p:cNvSpPr>
            <a:spLocks/>
          </p:cNvSpPr>
          <p:nvPr/>
        </p:nvSpPr>
        <p:spPr bwMode="auto">
          <a:xfrm>
            <a:off x="6432856" y="3412602"/>
            <a:ext cx="78121" cy="51002"/>
          </a:xfrm>
          <a:custGeom>
            <a:avLst/>
            <a:gdLst>
              <a:gd name="T0" fmla="*/ 59 w 80"/>
              <a:gd name="T1" fmla="*/ 2 h 62"/>
              <a:gd name="T2" fmla="*/ 66 w 80"/>
              <a:gd name="T3" fmla="*/ 10 h 62"/>
              <a:gd name="T4" fmla="*/ 73 w 80"/>
              <a:gd name="T5" fmla="*/ 14 h 62"/>
              <a:gd name="T6" fmla="*/ 77 w 80"/>
              <a:gd name="T7" fmla="*/ 22 h 62"/>
              <a:gd name="T8" fmla="*/ 79 w 80"/>
              <a:gd name="T9" fmla="*/ 25 h 62"/>
              <a:gd name="T10" fmla="*/ 80 w 80"/>
              <a:gd name="T11" fmla="*/ 27 h 62"/>
              <a:gd name="T12" fmla="*/ 77 w 80"/>
              <a:gd name="T13" fmla="*/ 42 h 62"/>
              <a:gd name="T14" fmla="*/ 75 w 80"/>
              <a:gd name="T15" fmla="*/ 42 h 62"/>
              <a:gd name="T16" fmla="*/ 72 w 80"/>
              <a:gd name="T17" fmla="*/ 43 h 62"/>
              <a:gd name="T18" fmla="*/ 67 w 80"/>
              <a:gd name="T19" fmla="*/ 51 h 62"/>
              <a:gd name="T20" fmla="*/ 61 w 80"/>
              <a:gd name="T21" fmla="*/ 51 h 62"/>
              <a:gd name="T22" fmla="*/ 54 w 80"/>
              <a:gd name="T23" fmla="*/ 50 h 62"/>
              <a:gd name="T24" fmla="*/ 48 w 80"/>
              <a:gd name="T25" fmla="*/ 51 h 62"/>
              <a:gd name="T26" fmla="*/ 41 w 80"/>
              <a:gd name="T27" fmla="*/ 58 h 62"/>
              <a:gd name="T28" fmla="*/ 35 w 80"/>
              <a:gd name="T29" fmla="*/ 62 h 62"/>
              <a:gd name="T30" fmla="*/ 30 w 80"/>
              <a:gd name="T31" fmla="*/ 60 h 62"/>
              <a:gd name="T32" fmla="*/ 22 w 80"/>
              <a:gd name="T33" fmla="*/ 62 h 62"/>
              <a:gd name="T34" fmla="*/ 16 w 80"/>
              <a:gd name="T35" fmla="*/ 62 h 62"/>
              <a:gd name="T36" fmla="*/ 15 w 80"/>
              <a:gd name="T37" fmla="*/ 60 h 62"/>
              <a:gd name="T38" fmla="*/ 9 w 80"/>
              <a:gd name="T39" fmla="*/ 60 h 62"/>
              <a:gd name="T40" fmla="*/ 6 w 80"/>
              <a:gd name="T41" fmla="*/ 54 h 62"/>
              <a:gd name="T42" fmla="*/ 3 w 80"/>
              <a:gd name="T43" fmla="*/ 51 h 62"/>
              <a:gd name="T44" fmla="*/ 1 w 80"/>
              <a:gd name="T45" fmla="*/ 42 h 62"/>
              <a:gd name="T46" fmla="*/ 0 w 80"/>
              <a:gd name="T47" fmla="*/ 35 h 62"/>
              <a:gd name="T48" fmla="*/ 2 w 80"/>
              <a:gd name="T49" fmla="*/ 32 h 62"/>
              <a:gd name="T50" fmla="*/ 2 w 80"/>
              <a:gd name="T51" fmla="*/ 27 h 62"/>
              <a:gd name="T52" fmla="*/ 3 w 80"/>
              <a:gd name="T53" fmla="*/ 20 h 62"/>
              <a:gd name="T54" fmla="*/ 7 w 80"/>
              <a:gd name="T55" fmla="*/ 21 h 62"/>
              <a:gd name="T56" fmla="*/ 9 w 80"/>
              <a:gd name="T57" fmla="*/ 19 h 62"/>
              <a:gd name="T58" fmla="*/ 10 w 80"/>
              <a:gd name="T59" fmla="*/ 12 h 62"/>
              <a:gd name="T60" fmla="*/ 21 w 80"/>
              <a:gd name="T61" fmla="*/ 7 h 62"/>
              <a:gd name="T62" fmla="*/ 25 w 80"/>
              <a:gd name="T63" fmla="*/ 11 h 62"/>
              <a:gd name="T64" fmla="*/ 26 w 80"/>
              <a:gd name="T65" fmla="*/ 9 h 62"/>
              <a:gd name="T66" fmla="*/ 29 w 80"/>
              <a:gd name="T67" fmla="*/ 6 h 62"/>
              <a:gd name="T68" fmla="*/ 35 w 80"/>
              <a:gd name="T69" fmla="*/ 4 h 62"/>
              <a:gd name="T70" fmla="*/ 40 w 80"/>
              <a:gd name="T71" fmla="*/ 4 h 62"/>
              <a:gd name="T72" fmla="*/ 44 w 80"/>
              <a:gd name="T73" fmla="*/ 2 h 62"/>
              <a:gd name="T74" fmla="*/ 47 w 80"/>
              <a:gd name="T75" fmla="*/ 1 h 62"/>
              <a:gd name="T76" fmla="*/ 53 w 80"/>
              <a:gd name="T77" fmla="*/ 1 h 62"/>
              <a:gd name="T78" fmla="*/ 57 w 80"/>
              <a:gd name="T7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62">
                <a:moveTo>
                  <a:pt x="59" y="2"/>
                </a:moveTo>
                <a:lnTo>
                  <a:pt x="59" y="2"/>
                </a:lnTo>
                <a:lnTo>
                  <a:pt x="64" y="8"/>
                </a:lnTo>
                <a:lnTo>
                  <a:pt x="66" y="10"/>
                </a:lnTo>
                <a:lnTo>
                  <a:pt x="69" y="12"/>
                </a:lnTo>
                <a:lnTo>
                  <a:pt x="73" y="14"/>
                </a:lnTo>
                <a:lnTo>
                  <a:pt x="74" y="15"/>
                </a:lnTo>
                <a:lnTo>
                  <a:pt x="77" y="22"/>
                </a:lnTo>
                <a:lnTo>
                  <a:pt x="78" y="24"/>
                </a:lnTo>
                <a:lnTo>
                  <a:pt x="79" y="25"/>
                </a:lnTo>
                <a:lnTo>
                  <a:pt x="79" y="26"/>
                </a:lnTo>
                <a:lnTo>
                  <a:pt x="80" y="27"/>
                </a:lnTo>
                <a:lnTo>
                  <a:pt x="78" y="31"/>
                </a:lnTo>
                <a:lnTo>
                  <a:pt x="77" y="42"/>
                </a:lnTo>
                <a:lnTo>
                  <a:pt x="77" y="42"/>
                </a:lnTo>
                <a:lnTo>
                  <a:pt x="75" y="42"/>
                </a:lnTo>
                <a:lnTo>
                  <a:pt x="73" y="43"/>
                </a:lnTo>
                <a:lnTo>
                  <a:pt x="72" y="43"/>
                </a:lnTo>
                <a:lnTo>
                  <a:pt x="71" y="49"/>
                </a:lnTo>
                <a:lnTo>
                  <a:pt x="67" y="51"/>
                </a:lnTo>
                <a:lnTo>
                  <a:pt x="64" y="51"/>
                </a:lnTo>
                <a:lnTo>
                  <a:pt x="61" y="51"/>
                </a:lnTo>
                <a:lnTo>
                  <a:pt x="56" y="50"/>
                </a:lnTo>
                <a:lnTo>
                  <a:pt x="54" y="50"/>
                </a:lnTo>
                <a:lnTo>
                  <a:pt x="52" y="50"/>
                </a:lnTo>
                <a:lnTo>
                  <a:pt x="48" y="51"/>
                </a:lnTo>
                <a:lnTo>
                  <a:pt x="46" y="52"/>
                </a:lnTo>
                <a:lnTo>
                  <a:pt x="41" y="58"/>
                </a:lnTo>
                <a:lnTo>
                  <a:pt x="37" y="61"/>
                </a:lnTo>
                <a:lnTo>
                  <a:pt x="35" y="62"/>
                </a:lnTo>
                <a:lnTo>
                  <a:pt x="31" y="60"/>
                </a:lnTo>
                <a:lnTo>
                  <a:pt x="30" y="60"/>
                </a:lnTo>
                <a:lnTo>
                  <a:pt x="27" y="62"/>
                </a:lnTo>
                <a:lnTo>
                  <a:pt x="22" y="62"/>
                </a:lnTo>
                <a:lnTo>
                  <a:pt x="20" y="62"/>
                </a:lnTo>
                <a:lnTo>
                  <a:pt x="16" y="62"/>
                </a:lnTo>
                <a:lnTo>
                  <a:pt x="16" y="62"/>
                </a:lnTo>
                <a:lnTo>
                  <a:pt x="15" y="60"/>
                </a:lnTo>
                <a:lnTo>
                  <a:pt x="13" y="60"/>
                </a:lnTo>
                <a:lnTo>
                  <a:pt x="9" y="60"/>
                </a:lnTo>
                <a:lnTo>
                  <a:pt x="8" y="59"/>
                </a:lnTo>
                <a:lnTo>
                  <a:pt x="6" y="54"/>
                </a:lnTo>
                <a:lnTo>
                  <a:pt x="5" y="53"/>
                </a:lnTo>
                <a:lnTo>
                  <a:pt x="3" y="51"/>
                </a:lnTo>
                <a:lnTo>
                  <a:pt x="1" y="45"/>
                </a:lnTo>
                <a:lnTo>
                  <a:pt x="1" y="42"/>
                </a:lnTo>
                <a:lnTo>
                  <a:pt x="1" y="40"/>
                </a:lnTo>
                <a:lnTo>
                  <a:pt x="0" y="35"/>
                </a:lnTo>
                <a:lnTo>
                  <a:pt x="1" y="33"/>
                </a:lnTo>
                <a:lnTo>
                  <a:pt x="2" y="32"/>
                </a:lnTo>
                <a:lnTo>
                  <a:pt x="2" y="30"/>
                </a:lnTo>
                <a:lnTo>
                  <a:pt x="2" y="27"/>
                </a:lnTo>
                <a:lnTo>
                  <a:pt x="3" y="21"/>
                </a:lnTo>
                <a:lnTo>
                  <a:pt x="3" y="20"/>
                </a:lnTo>
                <a:lnTo>
                  <a:pt x="4" y="20"/>
                </a:lnTo>
                <a:lnTo>
                  <a:pt x="7" y="21"/>
                </a:lnTo>
                <a:lnTo>
                  <a:pt x="8" y="20"/>
                </a:lnTo>
                <a:lnTo>
                  <a:pt x="9" y="19"/>
                </a:lnTo>
                <a:lnTo>
                  <a:pt x="9" y="14"/>
                </a:lnTo>
                <a:lnTo>
                  <a:pt x="10" y="12"/>
                </a:lnTo>
                <a:lnTo>
                  <a:pt x="19" y="8"/>
                </a:lnTo>
                <a:lnTo>
                  <a:pt x="21" y="7"/>
                </a:lnTo>
                <a:lnTo>
                  <a:pt x="23" y="9"/>
                </a:lnTo>
                <a:lnTo>
                  <a:pt x="25" y="11"/>
                </a:lnTo>
                <a:lnTo>
                  <a:pt x="26" y="11"/>
                </a:lnTo>
                <a:lnTo>
                  <a:pt x="26" y="9"/>
                </a:lnTo>
                <a:lnTo>
                  <a:pt x="27" y="7"/>
                </a:lnTo>
                <a:lnTo>
                  <a:pt x="29" y="6"/>
                </a:lnTo>
                <a:lnTo>
                  <a:pt x="34" y="4"/>
                </a:lnTo>
                <a:lnTo>
                  <a:pt x="35" y="4"/>
                </a:lnTo>
                <a:lnTo>
                  <a:pt x="36" y="5"/>
                </a:lnTo>
                <a:lnTo>
                  <a:pt x="40" y="4"/>
                </a:lnTo>
                <a:lnTo>
                  <a:pt x="42" y="2"/>
                </a:lnTo>
                <a:lnTo>
                  <a:pt x="44" y="2"/>
                </a:lnTo>
                <a:lnTo>
                  <a:pt x="45" y="1"/>
                </a:lnTo>
                <a:lnTo>
                  <a:pt x="47" y="1"/>
                </a:lnTo>
                <a:lnTo>
                  <a:pt x="50" y="2"/>
                </a:lnTo>
                <a:lnTo>
                  <a:pt x="53" y="1"/>
                </a:lnTo>
                <a:lnTo>
                  <a:pt x="56" y="0"/>
                </a:lnTo>
                <a:lnTo>
                  <a:pt x="57" y="0"/>
                </a:lnTo>
                <a:lnTo>
                  <a:pt x="58" y="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6" name="Netherlands">
            <a:extLst>
              <a:ext uri="{FF2B5EF4-FFF2-40B4-BE49-F238E27FC236}">
                <a16:creationId xmlns:a16="http://schemas.microsoft.com/office/drawing/2014/main" id="{56F934EE-2086-4DAF-92C8-618DB2B819A9}"/>
              </a:ext>
            </a:extLst>
          </p:cNvPr>
          <p:cNvSpPr>
            <a:spLocks noEditPoints="1"/>
          </p:cNvSpPr>
          <p:nvPr/>
        </p:nvSpPr>
        <p:spPr bwMode="auto">
          <a:xfrm>
            <a:off x="5919498" y="2965358"/>
            <a:ext cx="116064" cy="123581"/>
          </a:xfrm>
          <a:custGeom>
            <a:avLst/>
            <a:gdLst>
              <a:gd name="T0" fmla="*/ 64 w 120"/>
              <a:gd name="T1" fmla="*/ 11 h 146"/>
              <a:gd name="T2" fmla="*/ 58 w 120"/>
              <a:gd name="T3" fmla="*/ 13 h 146"/>
              <a:gd name="T4" fmla="*/ 80 w 120"/>
              <a:gd name="T5" fmla="*/ 9 h 146"/>
              <a:gd name="T6" fmla="*/ 72 w 120"/>
              <a:gd name="T7" fmla="*/ 9 h 146"/>
              <a:gd name="T8" fmla="*/ 91 w 120"/>
              <a:gd name="T9" fmla="*/ 6 h 146"/>
              <a:gd name="T10" fmla="*/ 93 w 120"/>
              <a:gd name="T11" fmla="*/ 6 h 146"/>
              <a:gd name="T12" fmla="*/ 48 w 120"/>
              <a:gd name="T13" fmla="*/ 20 h 146"/>
              <a:gd name="T14" fmla="*/ 107 w 120"/>
              <a:gd name="T15" fmla="*/ 0 h 146"/>
              <a:gd name="T16" fmla="*/ 105 w 120"/>
              <a:gd name="T17" fmla="*/ 3 h 146"/>
              <a:gd name="T18" fmla="*/ 16 w 120"/>
              <a:gd name="T19" fmla="*/ 116 h 146"/>
              <a:gd name="T20" fmla="*/ 0 w 120"/>
              <a:gd name="T21" fmla="*/ 115 h 146"/>
              <a:gd name="T22" fmla="*/ 3 w 120"/>
              <a:gd name="T23" fmla="*/ 122 h 146"/>
              <a:gd name="T24" fmla="*/ 12 w 120"/>
              <a:gd name="T25" fmla="*/ 121 h 146"/>
              <a:gd name="T26" fmla="*/ 21 w 120"/>
              <a:gd name="T27" fmla="*/ 122 h 146"/>
              <a:gd name="T28" fmla="*/ 23 w 120"/>
              <a:gd name="T29" fmla="*/ 116 h 146"/>
              <a:gd name="T30" fmla="*/ 115 w 120"/>
              <a:gd name="T31" fmla="*/ 17 h 146"/>
              <a:gd name="T32" fmla="*/ 100 w 120"/>
              <a:gd name="T33" fmla="*/ 10 h 146"/>
              <a:gd name="T34" fmla="*/ 68 w 120"/>
              <a:gd name="T35" fmla="*/ 19 h 146"/>
              <a:gd name="T36" fmla="*/ 48 w 120"/>
              <a:gd name="T37" fmla="*/ 38 h 146"/>
              <a:gd name="T38" fmla="*/ 41 w 120"/>
              <a:gd name="T39" fmla="*/ 43 h 146"/>
              <a:gd name="T40" fmla="*/ 26 w 120"/>
              <a:gd name="T41" fmla="*/ 81 h 146"/>
              <a:gd name="T42" fmla="*/ 19 w 120"/>
              <a:gd name="T43" fmla="*/ 92 h 146"/>
              <a:gd name="T44" fmla="*/ 26 w 120"/>
              <a:gd name="T45" fmla="*/ 104 h 146"/>
              <a:gd name="T46" fmla="*/ 27 w 120"/>
              <a:gd name="T47" fmla="*/ 109 h 146"/>
              <a:gd name="T48" fmla="*/ 16 w 120"/>
              <a:gd name="T49" fmla="*/ 105 h 146"/>
              <a:gd name="T50" fmla="*/ 3 w 120"/>
              <a:gd name="T51" fmla="*/ 107 h 146"/>
              <a:gd name="T52" fmla="*/ 14 w 120"/>
              <a:gd name="T53" fmla="*/ 114 h 146"/>
              <a:gd name="T54" fmla="*/ 29 w 120"/>
              <a:gd name="T55" fmla="*/ 116 h 146"/>
              <a:gd name="T56" fmla="*/ 34 w 120"/>
              <a:gd name="T57" fmla="*/ 111 h 146"/>
              <a:gd name="T58" fmla="*/ 40 w 120"/>
              <a:gd name="T59" fmla="*/ 113 h 146"/>
              <a:gd name="T60" fmla="*/ 45 w 120"/>
              <a:gd name="T61" fmla="*/ 112 h 146"/>
              <a:gd name="T62" fmla="*/ 51 w 120"/>
              <a:gd name="T63" fmla="*/ 112 h 146"/>
              <a:gd name="T64" fmla="*/ 54 w 120"/>
              <a:gd name="T65" fmla="*/ 117 h 146"/>
              <a:gd name="T66" fmla="*/ 66 w 120"/>
              <a:gd name="T67" fmla="*/ 120 h 146"/>
              <a:gd name="T68" fmla="*/ 75 w 120"/>
              <a:gd name="T69" fmla="*/ 126 h 146"/>
              <a:gd name="T70" fmla="*/ 74 w 120"/>
              <a:gd name="T71" fmla="*/ 135 h 146"/>
              <a:gd name="T72" fmla="*/ 71 w 120"/>
              <a:gd name="T73" fmla="*/ 141 h 146"/>
              <a:gd name="T74" fmla="*/ 77 w 120"/>
              <a:gd name="T75" fmla="*/ 143 h 146"/>
              <a:gd name="T76" fmla="*/ 82 w 120"/>
              <a:gd name="T77" fmla="*/ 136 h 146"/>
              <a:gd name="T78" fmla="*/ 78 w 120"/>
              <a:gd name="T79" fmla="*/ 133 h 146"/>
              <a:gd name="T80" fmla="*/ 86 w 120"/>
              <a:gd name="T81" fmla="*/ 127 h 146"/>
              <a:gd name="T82" fmla="*/ 85 w 120"/>
              <a:gd name="T83" fmla="*/ 124 h 146"/>
              <a:gd name="T84" fmla="*/ 88 w 120"/>
              <a:gd name="T85" fmla="*/ 112 h 146"/>
              <a:gd name="T86" fmla="*/ 85 w 120"/>
              <a:gd name="T87" fmla="*/ 102 h 146"/>
              <a:gd name="T88" fmla="*/ 82 w 120"/>
              <a:gd name="T89" fmla="*/ 92 h 146"/>
              <a:gd name="T90" fmla="*/ 92 w 120"/>
              <a:gd name="T91" fmla="*/ 92 h 146"/>
              <a:gd name="T92" fmla="*/ 98 w 120"/>
              <a:gd name="T93" fmla="*/ 91 h 146"/>
              <a:gd name="T94" fmla="*/ 107 w 120"/>
              <a:gd name="T95" fmla="*/ 85 h 146"/>
              <a:gd name="T96" fmla="*/ 106 w 120"/>
              <a:gd name="T97" fmla="*/ 79 h 146"/>
              <a:gd name="T98" fmla="*/ 114 w 120"/>
              <a:gd name="T99" fmla="*/ 71 h 146"/>
              <a:gd name="T100" fmla="*/ 112 w 120"/>
              <a:gd name="T101" fmla="*/ 62 h 146"/>
              <a:gd name="T102" fmla="*/ 104 w 120"/>
              <a:gd name="T103" fmla="*/ 59 h 146"/>
              <a:gd name="T104" fmla="*/ 104 w 120"/>
              <a:gd name="T105" fmla="*/ 54 h 146"/>
              <a:gd name="T106" fmla="*/ 114 w 120"/>
              <a:gd name="T107" fmla="*/ 51 h 146"/>
              <a:gd name="T108" fmla="*/ 119 w 120"/>
              <a:gd name="T109" fmla="*/ 33 h 146"/>
              <a:gd name="T110" fmla="*/ 12 w 120"/>
              <a:gd name="T111" fmla="*/ 100 h 146"/>
              <a:gd name="T112" fmla="*/ 22 w 120"/>
              <a:gd name="T113" fmla="*/ 101 h 146"/>
              <a:gd name="T114" fmla="*/ 10 w 120"/>
              <a:gd name="T115" fmla="*/ 98 h 146"/>
              <a:gd name="T116" fmla="*/ 44 w 120"/>
              <a:gd name="T117" fmla="*/ 33 h 146"/>
              <a:gd name="T118" fmla="*/ 42 w 120"/>
              <a:gd name="T119" fmla="*/ 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6">
                <a:moveTo>
                  <a:pt x="58" y="13"/>
                </a:moveTo>
                <a:lnTo>
                  <a:pt x="58" y="13"/>
                </a:lnTo>
                <a:lnTo>
                  <a:pt x="57" y="13"/>
                </a:lnTo>
                <a:lnTo>
                  <a:pt x="64" y="11"/>
                </a:lnTo>
                <a:lnTo>
                  <a:pt x="68" y="10"/>
                </a:lnTo>
                <a:lnTo>
                  <a:pt x="69" y="10"/>
                </a:lnTo>
                <a:lnTo>
                  <a:pt x="61" y="13"/>
                </a:lnTo>
                <a:lnTo>
                  <a:pt x="58" y="13"/>
                </a:lnTo>
                <a:close/>
                <a:moveTo>
                  <a:pt x="74" y="10"/>
                </a:moveTo>
                <a:lnTo>
                  <a:pt x="74" y="10"/>
                </a:lnTo>
                <a:lnTo>
                  <a:pt x="80" y="9"/>
                </a:lnTo>
                <a:lnTo>
                  <a:pt x="80" y="9"/>
                </a:lnTo>
                <a:lnTo>
                  <a:pt x="78" y="8"/>
                </a:lnTo>
                <a:lnTo>
                  <a:pt x="73" y="8"/>
                </a:lnTo>
                <a:lnTo>
                  <a:pt x="71" y="9"/>
                </a:lnTo>
                <a:lnTo>
                  <a:pt x="72" y="9"/>
                </a:lnTo>
                <a:lnTo>
                  <a:pt x="74" y="10"/>
                </a:lnTo>
                <a:close/>
                <a:moveTo>
                  <a:pt x="93" y="6"/>
                </a:moveTo>
                <a:lnTo>
                  <a:pt x="93" y="6"/>
                </a:lnTo>
                <a:lnTo>
                  <a:pt x="91" y="6"/>
                </a:lnTo>
                <a:lnTo>
                  <a:pt x="87" y="7"/>
                </a:lnTo>
                <a:lnTo>
                  <a:pt x="87" y="8"/>
                </a:lnTo>
                <a:lnTo>
                  <a:pt x="88" y="8"/>
                </a:lnTo>
                <a:lnTo>
                  <a:pt x="93" y="6"/>
                </a:lnTo>
                <a:close/>
                <a:moveTo>
                  <a:pt x="54" y="17"/>
                </a:moveTo>
                <a:lnTo>
                  <a:pt x="54" y="17"/>
                </a:lnTo>
                <a:lnTo>
                  <a:pt x="52" y="17"/>
                </a:lnTo>
                <a:lnTo>
                  <a:pt x="48" y="20"/>
                </a:lnTo>
                <a:lnTo>
                  <a:pt x="49" y="21"/>
                </a:lnTo>
                <a:lnTo>
                  <a:pt x="54" y="17"/>
                </a:lnTo>
                <a:close/>
                <a:moveTo>
                  <a:pt x="107" y="0"/>
                </a:moveTo>
                <a:lnTo>
                  <a:pt x="107" y="0"/>
                </a:lnTo>
                <a:lnTo>
                  <a:pt x="106" y="0"/>
                </a:lnTo>
                <a:lnTo>
                  <a:pt x="103" y="1"/>
                </a:lnTo>
                <a:lnTo>
                  <a:pt x="102" y="3"/>
                </a:lnTo>
                <a:lnTo>
                  <a:pt x="105" y="3"/>
                </a:lnTo>
                <a:lnTo>
                  <a:pt x="107" y="0"/>
                </a:lnTo>
                <a:close/>
                <a:moveTo>
                  <a:pt x="20" y="114"/>
                </a:moveTo>
                <a:lnTo>
                  <a:pt x="20" y="114"/>
                </a:lnTo>
                <a:lnTo>
                  <a:pt x="16" y="116"/>
                </a:lnTo>
                <a:lnTo>
                  <a:pt x="11" y="116"/>
                </a:lnTo>
                <a:lnTo>
                  <a:pt x="7" y="114"/>
                </a:lnTo>
                <a:lnTo>
                  <a:pt x="2" y="115"/>
                </a:lnTo>
                <a:lnTo>
                  <a:pt x="0" y="115"/>
                </a:lnTo>
                <a:lnTo>
                  <a:pt x="1" y="120"/>
                </a:lnTo>
                <a:lnTo>
                  <a:pt x="1" y="121"/>
                </a:lnTo>
                <a:lnTo>
                  <a:pt x="2" y="122"/>
                </a:lnTo>
                <a:lnTo>
                  <a:pt x="3" y="122"/>
                </a:lnTo>
                <a:lnTo>
                  <a:pt x="5" y="121"/>
                </a:lnTo>
                <a:lnTo>
                  <a:pt x="7" y="120"/>
                </a:lnTo>
                <a:lnTo>
                  <a:pt x="10" y="120"/>
                </a:lnTo>
                <a:lnTo>
                  <a:pt x="12" y="121"/>
                </a:lnTo>
                <a:lnTo>
                  <a:pt x="13" y="122"/>
                </a:lnTo>
                <a:lnTo>
                  <a:pt x="15" y="124"/>
                </a:lnTo>
                <a:lnTo>
                  <a:pt x="17" y="124"/>
                </a:lnTo>
                <a:lnTo>
                  <a:pt x="21" y="122"/>
                </a:lnTo>
                <a:lnTo>
                  <a:pt x="25" y="119"/>
                </a:lnTo>
                <a:lnTo>
                  <a:pt x="26" y="117"/>
                </a:lnTo>
                <a:lnTo>
                  <a:pt x="27" y="115"/>
                </a:lnTo>
                <a:lnTo>
                  <a:pt x="23" y="116"/>
                </a:lnTo>
                <a:lnTo>
                  <a:pt x="20" y="114"/>
                </a:lnTo>
                <a:close/>
                <a:moveTo>
                  <a:pt x="120" y="18"/>
                </a:moveTo>
                <a:lnTo>
                  <a:pt x="120" y="18"/>
                </a:lnTo>
                <a:lnTo>
                  <a:pt x="115" y="17"/>
                </a:lnTo>
                <a:lnTo>
                  <a:pt x="112" y="16"/>
                </a:lnTo>
                <a:lnTo>
                  <a:pt x="111" y="13"/>
                </a:lnTo>
                <a:lnTo>
                  <a:pt x="108" y="10"/>
                </a:lnTo>
                <a:lnTo>
                  <a:pt x="100" y="10"/>
                </a:lnTo>
                <a:lnTo>
                  <a:pt x="93" y="11"/>
                </a:lnTo>
                <a:lnTo>
                  <a:pt x="84" y="12"/>
                </a:lnTo>
                <a:lnTo>
                  <a:pt x="78" y="13"/>
                </a:lnTo>
                <a:lnTo>
                  <a:pt x="68" y="19"/>
                </a:lnTo>
                <a:lnTo>
                  <a:pt x="65" y="22"/>
                </a:lnTo>
                <a:lnTo>
                  <a:pt x="62" y="28"/>
                </a:lnTo>
                <a:lnTo>
                  <a:pt x="53" y="35"/>
                </a:lnTo>
                <a:lnTo>
                  <a:pt x="48" y="38"/>
                </a:lnTo>
                <a:lnTo>
                  <a:pt x="46" y="37"/>
                </a:lnTo>
                <a:lnTo>
                  <a:pt x="44" y="36"/>
                </a:lnTo>
                <a:lnTo>
                  <a:pt x="42" y="40"/>
                </a:lnTo>
                <a:lnTo>
                  <a:pt x="41" y="43"/>
                </a:lnTo>
                <a:lnTo>
                  <a:pt x="37" y="62"/>
                </a:lnTo>
                <a:lnTo>
                  <a:pt x="35" y="68"/>
                </a:lnTo>
                <a:lnTo>
                  <a:pt x="32" y="74"/>
                </a:lnTo>
                <a:lnTo>
                  <a:pt x="26" y="81"/>
                </a:lnTo>
                <a:lnTo>
                  <a:pt x="24" y="83"/>
                </a:lnTo>
                <a:lnTo>
                  <a:pt x="23" y="84"/>
                </a:lnTo>
                <a:lnTo>
                  <a:pt x="21" y="88"/>
                </a:lnTo>
                <a:lnTo>
                  <a:pt x="19" y="92"/>
                </a:lnTo>
                <a:lnTo>
                  <a:pt x="18" y="94"/>
                </a:lnTo>
                <a:lnTo>
                  <a:pt x="24" y="100"/>
                </a:lnTo>
                <a:lnTo>
                  <a:pt x="25" y="102"/>
                </a:lnTo>
                <a:lnTo>
                  <a:pt x="26" y="104"/>
                </a:lnTo>
                <a:lnTo>
                  <a:pt x="20" y="104"/>
                </a:lnTo>
                <a:lnTo>
                  <a:pt x="22" y="107"/>
                </a:lnTo>
                <a:lnTo>
                  <a:pt x="25" y="108"/>
                </a:lnTo>
                <a:lnTo>
                  <a:pt x="27" y="109"/>
                </a:lnTo>
                <a:lnTo>
                  <a:pt x="28" y="111"/>
                </a:lnTo>
                <a:lnTo>
                  <a:pt x="26" y="111"/>
                </a:lnTo>
                <a:lnTo>
                  <a:pt x="24" y="111"/>
                </a:lnTo>
                <a:lnTo>
                  <a:pt x="16" y="105"/>
                </a:lnTo>
                <a:lnTo>
                  <a:pt x="12" y="104"/>
                </a:lnTo>
                <a:lnTo>
                  <a:pt x="6" y="105"/>
                </a:lnTo>
                <a:lnTo>
                  <a:pt x="4" y="105"/>
                </a:lnTo>
                <a:lnTo>
                  <a:pt x="3" y="107"/>
                </a:lnTo>
                <a:lnTo>
                  <a:pt x="5" y="110"/>
                </a:lnTo>
                <a:lnTo>
                  <a:pt x="7" y="111"/>
                </a:lnTo>
                <a:lnTo>
                  <a:pt x="10" y="112"/>
                </a:lnTo>
                <a:lnTo>
                  <a:pt x="14" y="114"/>
                </a:lnTo>
                <a:lnTo>
                  <a:pt x="20" y="112"/>
                </a:lnTo>
                <a:lnTo>
                  <a:pt x="24" y="114"/>
                </a:lnTo>
                <a:lnTo>
                  <a:pt x="27" y="115"/>
                </a:lnTo>
                <a:lnTo>
                  <a:pt x="29" y="116"/>
                </a:lnTo>
                <a:lnTo>
                  <a:pt x="32" y="116"/>
                </a:lnTo>
                <a:lnTo>
                  <a:pt x="33" y="116"/>
                </a:lnTo>
                <a:lnTo>
                  <a:pt x="32" y="113"/>
                </a:lnTo>
                <a:lnTo>
                  <a:pt x="34" y="111"/>
                </a:lnTo>
                <a:lnTo>
                  <a:pt x="36" y="110"/>
                </a:lnTo>
                <a:lnTo>
                  <a:pt x="36" y="112"/>
                </a:lnTo>
                <a:lnTo>
                  <a:pt x="38" y="113"/>
                </a:lnTo>
                <a:lnTo>
                  <a:pt x="40" y="113"/>
                </a:lnTo>
                <a:lnTo>
                  <a:pt x="43" y="110"/>
                </a:lnTo>
                <a:lnTo>
                  <a:pt x="44" y="110"/>
                </a:lnTo>
                <a:lnTo>
                  <a:pt x="45" y="112"/>
                </a:lnTo>
                <a:lnTo>
                  <a:pt x="45" y="112"/>
                </a:lnTo>
                <a:lnTo>
                  <a:pt x="45" y="114"/>
                </a:lnTo>
                <a:lnTo>
                  <a:pt x="46" y="114"/>
                </a:lnTo>
                <a:lnTo>
                  <a:pt x="49" y="114"/>
                </a:lnTo>
                <a:lnTo>
                  <a:pt x="51" y="112"/>
                </a:lnTo>
                <a:lnTo>
                  <a:pt x="52" y="111"/>
                </a:lnTo>
                <a:lnTo>
                  <a:pt x="53" y="112"/>
                </a:lnTo>
                <a:lnTo>
                  <a:pt x="53" y="114"/>
                </a:lnTo>
                <a:lnTo>
                  <a:pt x="54" y="117"/>
                </a:lnTo>
                <a:lnTo>
                  <a:pt x="58" y="120"/>
                </a:lnTo>
                <a:lnTo>
                  <a:pt x="61" y="121"/>
                </a:lnTo>
                <a:lnTo>
                  <a:pt x="64" y="120"/>
                </a:lnTo>
                <a:lnTo>
                  <a:pt x="66" y="120"/>
                </a:lnTo>
                <a:lnTo>
                  <a:pt x="67" y="120"/>
                </a:lnTo>
                <a:lnTo>
                  <a:pt x="68" y="122"/>
                </a:lnTo>
                <a:lnTo>
                  <a:pt x="70" y="124"/>
                </a:lnTo>
                <a:lnTo>
                  <a:pt x="75" y="126"/>
                </a:lnTo>
                <a:lnTo>
                  <a:pt x="76" y="126"/>
                </a:lnTo>
                <a:lnTo>
                  <a:pt x="77" y="128"/>
                </a:lnTo>
                <a:lnTo>
                  <a:pt x="77" y="130"/>
                </a:lnTo>
                <a:lnTo>
                  <a:pt x="74" y="135"/>
                </a:lnTo>
                <a:lnTo>
                  <a:pt x="74" y="136"/>
                </a:lnTo>
                <a:lnTo>
                  <a:pt x="74" y="136"/>
                </a:lnTo>
                <a:lnTo>
                  <a:pt x="74" y="137"/>
                </a:lnTo>
                <a:lnTo>
                  <a:pt x="71" y="141"/>
                </a:lnTo>
                <a:lnTo>
                  <a:pt x="71" y="142"/>
                </a:lnTo>
                <a:lnTo>
                  <a:pt x="72" y="144"/>
                </a:lnTo>
                <a:lnTo>
                  <a:pt x="73" y="145"/>
                </a:lnTo>
                <a:lnTo>
                  <a:pt x="77" y="143"/>
                </a:lnTo>
                <a:lnTo>
                  <a:pt x="79" y="146"/>
                </a:lnTo>
                <a:lnTo>
                  <a:pt x="82" y="146"/>
                </a:lnTo>
                <a:lnTo>
                  <a:pt x="84" y="139"/>
                </a:lnTo>
                <a:lnTo>
                  <a:pt x="82" y="136"/>
                </a:lnTo>
                <a:lnTo>
                  <a:pt x="81" y="135"/>
                </a:lnTo>
                <a:lnTo>
                  <a:pt x="79" y="135"/>
                </a:lnTo>
                <a:lnTo>
                  <a:pt x="78" y="134"/>
                </a:lnTo>
                <a:lnTo>
                  <a:pt x="78" y="133"/>
                </a:lnTo>
                <a:lnTo>
                  <a:pt x="78" y="132"/>
                </a:lnTo>
                <a:lnTo>
                  <a:pt x="80" y="132"/>
                </a:lnTo>
                <a:lnTo>
                  <a:pt x="81" y="131"/>
                </a:lnTo>
                <a:lnTo>
                  <a:pt x="86" y="127"/>
                </a:lnTo>
                <a:lnTo>
                  <a:pt x="87" y="126"/>
                </a:lnTo>
                <a:lnTo>
                  <a:pt x="86" y="125"/>
                </a:lnTo>
                <a:lnTo>
                  <a:pt x="85" y="125"/>
                </a:lnTo>
                <a:lnTo>
                  <a:pt x="85" y="124"/>
                </a:lnTo>
                <a:lnTo>
                  <a:pt x="85" y="123"/>
                </a:lnTo>
                <a:lnTo>
                  <a:pt x="87" y="116"/>
                </a:lnTo>
                <a:lnTo>
                  <a:pt x="88" y="114"/>
                </a:lnTo>
                <a:lnTo>
                  <a:pt x="88" y="112"/>
                </a:lnTo>
                <a:lnTo>
                  <a:pt x="88" y="110"/>
                </a:lnTo>
                <a:lnTo>
                  <a:pt x="87" y="107"/>
                </a:lnTo>
                <a:lnTo>
                  <a:pt x="85" y="104"/>
                </a:lnTo>
                <a:lnTo>
                  <a:pt x="85" y="102"/>
                </a:lnTo>
                <a:lnTo>
                  <a:pt x="84" y="101"/>
                </a:lnTo>
                <a:lnTo>
                  <a:pt x="81" y="96"/>
                </a:lnTo>
                <a:lnTo>
                  <a:pt x="81" y="94"/>
                </a:lnTo>
                <a:lnTo>
                  <a:pt x="82" y="92"/>
                </a:lnTo>
                <a:lnTo>
                  <a:pt x="85" y="91"/>
                </a:lnTo>
                <a:lnTo>
                  <a:pt x="86" y="91"/>
                </a:lnTo>
                <a:lnTo>
                  <a:pt x="87" y="90"/>
                </a:lnTo>
                <a:lnTo>
                  <a:pt x="92" y="92"/>
                </a:lnTo>
                <a:lnTo>
                  <a:pt x="93" y="93"/>
                </a:lnTo>
                <a:lnTo>
                  <a:pt x="94" y="93"/>
                </a:lnTo>
                <a:lnTo>
                  <a:pt x="96" y="91"/>
                </a:lnTo>
                <a:lnTo>
                  <a:pt x="98" y="91"/>
                </a:lnTo>
                <a:lnTo>
                  <a:pt x="105" y="89"/>
                </a:lnTo>
                <a:lnTo>
                  <a:pt x="106" y="87"/>
                </a:lnTo>
                <a:lnTo>
                  <a:pt x="107" y="86"/>
                </a:lnTo>
                <a:lnTo>
                  <a:pt x="107" y="85"/>
                </a:lnTo>
                <a:lnTo>
                  <a:pt x="105" y="82"/>
                </a:lnTo>
                <a:lnTo>
                  <a:pt x="104" y="81"/>
                </a:lnTo>
                <a:lnTo>
                  <a:pt x="105" y="80"/>
                </a:lnTo>
                <a:lnTo>
                  <a:pt x="106" y="79"/>
                </a:lnTo>
                <a:lnTo>
                  <a:pt x="107" y="78"/>
                </a:lnTo>
                <a:lnTo>
                  <a:pt x="109" y="77"/>
                </a:lnTo>
                <a:lnTo>
                  <a:pt x="113" y="74"/>
                </a:lnTo>
                <a:lnTo>
                  <a:pt x="114" y="71"/>
                </a:lnTo>
                <a:lnTo>
                  <a:pt x="114" y="67"/>
                </a:lnTo>
                <a:lnTo>
                  <a:pt x="115" y="65"/>
                </a:lnTo>
                <a:lnTo>
                  <a:pt x="113" y="63"/>
                </a:lnTo>
                <a:lnTo>
                  <a:pt x="112" y="62"/>
                </a:lnTo>
                <a:lnTo>
                  <a:pt x="111" y="62"/>
                </a:lnTo>
                <a:lnTo>
                  <a:pt x="108" y="62"/>
                </a:lnTo>
                <a:lnTo>
                  <a:pt x="106" y="61"/>
                </a:lnTo>
                <a:lnTo>
                  <a:pt x="104" y="59"/>
                </a:lnTo>
                <a:lnTo>
                  <a:pt x="104" y="57"/>
                </a:lnTo>
                <a:lnTo>
                  <a:pt x="104" y="56"/>
                </a:lnTo>
                <a:lnTo>
                  <a:pt x="105" y="55"/>
                </a:lnTo>
                <a:lnTo>
                  <a:pt x="104" y="54"/>
                </a:lnTo>
                <a:lnTo>
                  <a:pt x="104" y="53"/>
                </a:lnTo>
                <a:lnTo>
                  <a:pt x="106" y="52"/>
                </a:lnTo>
                <a:lnTo>
                  <a:pt x="114" y="52"/>
                </a:lnTo>
                <a:lnTo>
                  <a:pt x="114" y="51"/>
                </a:lnTo>
                <a:lnTo>
                  <a:pt x="115" y="46"/>
                </a:lnTo>
                <a:lnTo>
                  <a:pt x="117" y="39"/>
                </a:lnTo>
                <a:lnTo>
                  <a:pt x="119" y="35"/>
                </a:lnTo>
                <a:lnTo>
                  <a:pt x="119" y="33"/>
                </a:lnTo>
                <a:lnTo>
                  <a:pt x="119" y="23"/>
                </a:lnTo>
                <a:lnTo>
                  <a:pt x="120" y="18"/>
                </a:lnTo>
                <a:close/>
                <a:moveTo>
                  <a:pt x="12" y="100"/>
                </a:moveTo>
                <a:lnTo>
                  <a:pt x="12" y="100"/>
                </a:lnTo>
                <a:lnTo>
                  <a:pt x="14" y="99"/>
                </a:lnTo>
                <a:lnTo>
                  <a:pt x="18" y="103"/>
                </a:lnTo>
                <a:lnTo>
                  <a:pt x="22" y="102"/>
                </a:lnTo>
                <a:lnTo>
                  <a:pt x="22" y="101"/>
                </a:lnTo>
                <a:lnTo>
                  <a:pt x="21" y="100"/>
                </a:lnTo>
                <a:lnTo>
                  <a:pt x="18" y="97"/>
                </a:lnTo>
                <a:lnTo>
                  <a:pt x="13" y="97"/>
                </a:lnTo>
                <a:lnTo>
                  <a:pt x="10" y="98"/>
                </a:lnTo>
                <a:lnTo>
                  <a:pt x="10" y="99"/>
                </a:lnTo>
                <a:lnTo>
                  <a:pt x="12" y="100"/>
                </a:lnTo>
                <a:close/>
                <a:moveTo>
                  <a:pt x="44" y="33"/>
                </a:moveTo>
                <a:lnTo>
                  <a:pt x="44" y="33"/>
                </a:lnTo>
                <a:lnTo>
                  <a:pt x="47" y="29"/>
                </a:lnTo>
                <a:lnTo>
                  <a:pt x="47" y="23"/>
                </a:lnTo>
                <a:lnTo>
                  <a:pt x="43" y="28"/>
                </a:lnTo>
                <a:lnTo>
                  <a:pt x="42" y="31"/>
                </a:lnTo>
                <a:lnTo>
                  <a:pt x="42" y="3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8" name="Poland">
            <a:extLst>
              <a:ext uri="{FF2B5EF4-FFF2-40B4-BE49-F238E27FC236}">
                <a16:creationId xmlns:a16="http://schemas.microsoft.com/office/drawing/2014/main" id="{BBCD3D98-3CEF-4581-A425-82130206F68F}"/>
              </a:ext>
            </a:extLst>
          </p:cNvPr>
          <p:cNvSpPr>
            <a:spLocks/>
          </p:cNvSpPr>
          <p:nvPr/>
        </p:nvSpPr>
        <p:spPr bwMode="auto">
          <a:xfrm>
            <a:off x="6243136" y="2910433"/>
            <a:ext cx="299088" cy="249124"/>
          </a:xfrm>
          <a:custGeom>
            <a:avLst/>
            <a:gdLst>
              <a:gd name="T0" fmla="*/ 189 w 311"/>
              <a:gd name="T1" fmla="*/ 22 h 294"/>
              <a:gd name="T2" fmla="*/ 268 w 311"/>
              <a:gd name="T3" fmla="*/ 26 h 294"/>
              <a:gd name="T4" fmla="*/ 277 w 311"/>
              <a:gd name="T5" fmla="*/ 26 h 294"/>
              <a:gd name="T6" fmla="*/ 285 w 311"/>
              <a:gd name="T7" fmla="*/ 32 h 294"/>
              <a:gd name="T8" fmla="*/ 291 w 311"/>
              <a:gd name="T9" fmla="*/ 47 h 294"/>
              <a:gd name="T10" fmla="*/ 304 w 311"/>
              <a:gd name="T11" fmla="*/ 96 h 294"/>
              <a:gd name="T12" fmla="*/ 303 w 311"/>
              <a:gd name="T13" fmla="*/ 114 h 294"/>
              <a:gd name="T14" fmla="*/ 282 w 311"/>
              <a:gd name="T15" fmla="*/ 132 h 294"/>
              <a:gd name="T16" fmla="*/ 292 w 311"/>
              <a:gd name="T17" fmla="*/ 141 h 294"/>
              <a:gd name="T18" fmla="*/ 295 w 311"/>
              <a:gd name="T19" fmla="*/ 154 h 294"/>
              <a:gd name="T20" fmla="*/ 295 w 311"/>
              <a:gd name="T21" fmla="*/ 172 h 294"/>
              <a:gd name="T22" fmla="*/ 299 w 311"/>
              <a:gd name="T23" fmla="*/ 185 h 294"/>
              <a:gd name="T24" fmla="*/ 311 w 311"/>
              <a:gd name="T25" fmla="*/ 206 h 294"/>
              <a:gd name="T26" fmla="*/ 308 w 311"/>
              <a:gd name="T27" fmla="*/ 210 h 294"/>
              <a:gd name="T28" fmla="*/ 308 w 311"/>
              <a:gd name="T29" fmla="*/ 225 h 294"/>
              <a:gd name="T30" fmla="*/ 289 w 311"/>
              <a:gd name="T31" fmla="*/ 239 h 294"/>
              <a:gd name="T32" fmla="*/ 267 w 311"/>
              <a:gd name="T33" fmla="*/ 266 h 294"/>
              <a:gd name="T34" fmla="*/ 268 w 311"/>
              <a:gd name="T35" fmla="*/ 283 h 294"/>
              <a:gd name="T36" fmla="*/ 272 w 311"/>
              <a:gd name="T37" fmla="*/ 292 h 294"/>
              <a:gd name="T38" fmla="*/ 262 w 311"/>
              <a:gd name="T39" fmla="*/ 291 h 294"/>
              <a:gd name="T40" fmla="*/ 244 w 311"/>
              <a:gd name="T41" fmla="*/ 281 h 294"/>
              <a:gd name="T42" fmla="*/ 221 w 311"/>
              <a:gd name="T43" fmla="*/ 274 h 294"/>
              <a:gd name="T44" fmla="*/ 210 w 311"/>
              <a:gd name="T45" fmla="*/ 280 h 294"/>
              <a:gd name="T46" fmla="*/ 198 w 311"/>
              <a:gd name="T47" fmla="*/ 276 h 294"/>
              <a:gd name="T48" fmla="*/ 190 w 311"/>
              <a:gd name="T49" fmla="*/ 279 h 294"/>
              <a:gd name="T50" fmla="*/ 179 w 311"/>
              <a:gd name="T51" fmla="*/ 285 h 294"/>
              <a:gd name="T52" fmla="*/ 176 w 311"/>
              <a:gd name="T53" fmla="*/ 280 h 294"/>
              <a:gd name="T54" fmla="*/ 171 w 311"/>
              <a:gd name="T55" fmla="*/ 275 h 294"/>
              <a:gd name="T56" fmla="*/ 164 w 311"/>
              <a:gd name="T57" fmla="*/ 268 h 294"/>
              <a:gd name="T58" fmla="*/ 150 w 311"/>
              <a:gd name="T59" fmla="*/ 273 h 294"/>
              <a:gd name="T60" fmla="*/ 139 w 311"/>
              <a:gd name="T61" fmla="*/ 259 h 294"/>
              <a:gd name="T62" fmla="*/ 131 w 311"/>
              <a:gd name="T63" fmla="*/ 250 h 294"/>
              <a:gd name="T64" fmla="*/ 123 w 311"/>
              <a:gd name="T65" fmla="*/ 247 h 294"/>
              <a:gd name="T66" fmla="*/ 116 w 311"/>
              <a:gd name="T67" fmla="*/ 248 h 294"/>
              <a:gd name="T68" fmla="*/ 109 w 311"/>
              <a:gd name="T69" fmla="*/ 241 h 294"/>
              <a:gd name="T70" fmla="*/ 112 w 311"/>
              <a:gd name="T71" fmla="*/ 232 h 294"/>
              <a:gd name="T72" fmla="*/ 102 w 311"/>
              <a:gd name="T73" fmla="*/ 235 h 294"/>
              <a:gd name="T74" fmla="*/ 87 w 311"/>
              <a:gd name="T75" fmla="*/ 230 h 294"/>
              <a:gd name="T76" fmla="*/ 82 w 311"/>
              <a:gd name="T77" fmla="*/ 239 h 294"/>
              <a:gd name="T78" fmla="*/ 73 w 311"/>
              <a:gd name="T79" fmla="*/ 235 h 294"/>
              <a:gd name="T80" fmla="*/ 65 w 311"/>
              <a:gd name="T81" fmla="*/ 226 h 294"/>
              <a:gd name="T82" fmla="*/ 70 w 311"/>
              <a:gd name="T83" fmla="*/ 221 h 294"/>
              <a:gd name="T84" fmla="*/ 60 w 311"/>
              <a:gd name="T85" fmla="*/ 216 h 294"/>
              <a:gd name="T86" fmla="*/ 52 w 311"/>
              <a:gd name="T87" fmla="*/ 212 h 294"/>
              <a:gd name="T88" fmla="*/ 38 w 311"/>
              <a:gd name="T89" fmla="*/ 207 h 294"/>
              <a:gd name="T90" fmla="*/ 27 w 311"/>
              <a:gd name="T91" fmla="*/ 197 h 294"/>
              <a:gd name="T92" fmla="*/ 21 w 311"/>
              <a:gd name="T93" fmla="*/ 205 h 294"/>
              <a:gd name="T94" fmla="*/ 25 w 311"/>
              <a:gd name="T95" fmla="*/ 179 h 294"/>
              <a:gd name="T96" fmla="*/ 19 w 311"/>
              <a:gd name="T97" fmla="*/ 167 h 294"/>
              <a:gd name="T98" fmla="*/ 17 w 311"/>
              <a:gd name="T99" fmla="*/ 153 h 294"/>
              <a:gd name="T100" fmla="*/ 18 w 311"/>
              <a:gd name="T101" fmla="*/ 142 h 294"/>
              <a:gd name="T102" fmla="*/ 14 w 311"/>
              <a:gd name="T103" fmla="*/ 132 h 294"/>
              <a:gd name="T104" fmla="*/ 4 w 311"/>
              <a:gd name="T105" fmla="*/ 108 h 294"/>
              <a:gd name="T106" fmla="*/ 7 w 311"/>
              <a:gd name="T107" fmla="*/ 91 h 294"/>
              <a:gd name="T108" fmla="*/ 4 w 311"/>
              <a:gd name="T109" fmla="*/ 64 h 294"/>
              <a:gd name="T110" fmla="*/ 14 w 311"/>
              <a:gd name="T111" fmla="*/ 62 h 294"/>
              <a:gd name="T112" fmla="*/ 2 w 311"/>
              <a:gd name="T113" fmla="*/ 51 h 294"/>
              <a:gd name="T114" fmla="*/ 18 w 311"/>
              <a:gd name="T115" fmla="*/ 44 h 294"/>
              <a:gd name="T116" fmla="*/ 65 w 311"/>
              <a:gd name="T117" fmla="*/ 27 h 294"/>
              <a:gd name="T118" fmla="*/ 89 w 311"/>
              <a:gd name="T119" fmla="*/ 10 h 294"/>
              <a:gd name="T120" fmla="*/ 137 w 311"/>
              <a:gd name="T121" fmla="*/ 4 h 294"/>
              <a:gd name="T122" fmla="*/ 134 w 311"/>
              <a:gd name="T123" fmla="*/ 5 h 294"/>
              <a:gd name="T124" fmla="*/ 164 w 311"/>
              <a:gd name="T125" fmla="*/ 2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1" h="294">
                <a:moveTo>
                  <a:pt x="170" y="20"/>
                </a:moveTo>
                <a:lnTo>
                  <a:pt x="170" y="20"/>
                </a:lnTo>
                <a:lnTo>
                  <a:pt x="172" y="21"/>
                </a:lnTo>
                <a:lnTo>
                  <a:pt x="180" y="22"/>
                </a:lnTo>
                <a:lnTo>
                  <a:pt x="189" y="22"/>
                </a:lnTo>
                <a:lnTo>
                  <a:pt x="204" y="23"/>
                </a:lnTo>
                <a:lnTo>
                  <a:pt x="218" y="24"/>
                </a:lnTo>
                <a:lnTo>
                  <a:pt x="234" y="25"/>
                </a:lnTo>
                <a:lnTo>
                  <a:pt x="250" y="26"/>
                </a:lnTo>
                <a:lnTo>
                  <a:pt x="268" y="26"/>
                </a:lnTo>
                <a:lnTo>
                  <a:pt x="269" y="26"/>
                </a:lnTo>
                <a:lnTo>
                  <a:pt x="271" y="24"/>
                </a:lnTo>
                <a:lnTo>
                  <a:pt x="273" y="24"/>
                </a:lnTo>
                <a:lnTo>
                  <a:pt x="276" y="25"/>
                </a:lnTo>
                <a:lnTo>
                  <a:pt x="277" y="26"/>
                </a:lnTo>
                <a:lnTo>
                  <a:pt x="277" y="27"/>
                </a:lnTo>
                <a:lnTo>
                  <a:pt x="278" y="28"/>
                </a:lnTo>
                <a:lnTo>
                  <a:pt x="279" y="29"/>
                </a:lnTo>
                <a:lnTo>
                  <a:pt x="282" y="30"/>
                </a:lnTo>
                <a:lnTo>
                  <a:pt x="285" y="32"/>
                </a:lnTo>
                <a:lnTo>
                  <a:pt x="288" y="34"/>
                </a:lnTo>
                <a:lnTo>
                  <a:pt x="290" y="37"/>
                </a:lnTo>
                <a:lnTo>
                  <a:pt x="291" y="40"/>
                </a:lnTo>
                <a:lnTo>
                  <a:pt x="291" y="44"/>
                </a:lnTo>
                <a:lnTo>
                  <a:pt x="291" y="47"/>
                </a:lnTo>
                <a:lnTo>
                  <a:pt x="291" y="48"/>
                </a:lnTo>
                <a:lnTo>
                  <a:pt x="295" y="66"/>
                </a:lnTo>
                <a:lnTo>
                  <a:pt x="301" y="83"/>
                </a:lnTo>
                <a:lnTo>
                  <a:pt x="303" y="91"/>
                </a:lnTo>
                <a:lnTo>
                  <a:pt x="304" y="96"/>
                </a:lnTo>
                <a:lnTo>
                  <a:pt x="305" y="102"/>
                </a:lnTo>
                <a:lnTo>
                  <a:pt x="305" y="106"/>
                </a:lnTo>
                <a:lnTo>
                  <a:pt x="305" y="109"/>
                </a:lnTo>
                <a:lnTo>
                  <a:pt x="304" y="112"/>
                </a:lnTo>
                <a:lnTo>
                  <a:pt x="303" y="114"/>
                </a:lnTo>
                <a:lnTo>
                  <a:pt x="291" y="120"/>
                </a:lnTo>
                <a:lnTo>
                  <a:pt x="289" y="122"/>
                </a:lnTo>
                <a:lnTo>
                  <a:pt x="286" y="126"/>
                </a:lnTo>
                <a:lnTo>
                  <a:pt x="283" y="131"/>
                </a:lnTo>
                <a:lnTo>
                  <a:pt x="282" y="132"/>
                </a:lnTo>
                <a:lnTo>
                  <a:pt x="282" y="134"/>
                </a:lnTo>
                <a:lnTo>
                  <a:pt x="283" y="135"/>
                </a:lnTo>
                <a:lnTo>
                  <a:pt x="287" y="137"/>
                </a:lnTo>
                <a:lnTo>
                  <a:pt x="291" y="139"/>
                </a:lnTo>
                <a:lnTo>
                  <a:pt x="292" y="141"/>
                </a:lnTo>
                <a:lnTo>
                  <a:pt x="295" y="143"/>
                </a:lnTo>
                <a:lnTo>
                  <a:pt x="296" y="145"/>
                </a:lnTo>
                <a:lnTo>
                  <a:pt x="297" y="146"/>
                </a:lnTo>
                <a:lnTo>
                  <a:pt x="297" y="149"/>
                </a:lnTo>
                <a:lnTo>
                  <a:pt x="295" y="154"/>
                </a:lnTo>
                <a:lnTo>
                  <a:pt x="296" y="158"/>
                </a:lnTo>
                <a:lnTo>
                  <a:pt x="294" y="160"/>
                </a:lnTo>
                <a:lnTo>
                  <a:pt x="293" y="163"/>
                </a:lnTo>
                <a:lnTo>
                  <a:pt x="293" y="167"/>
                </a:lnTo>
                <a:lnTo>
                  <a:pt x="295" y="172"/>
                </a:lnTo>
                <a:lnTo>
                  <a:pt x="297" y="176"/>
                </a:lnTo>
                <a:lnTo>
                  <a:pt x="298" y="178"/>
                </a:lnTo>
                <a:lnTo>
                  <a:pt x="297" y="180"/>
                </a:lnTo>
                <a:lnTo>
                  <a:pt x="297" y="183"/>
                </a:lnTo>
                <a:lnTo>
                  <a:pt x="299" y="185"/>
                </a:lnTo>
                <a:lnTo>
                  <a:pt x="303" y="192"/>
                </a:lnTo>
                <a:lnTo>
                  <a:pt x="306" y="198"/>
                </a:lnTo>
                <a:lnTo>
                  <a:pt x="307" y="201"/>
                </a:lnTo>
                <a:lnTo>
                  <a:pt x="311" y="204"/>
                </a:lnTo>
                <a:lnTo>
                  <a:pt x="311" y="206"/>
                </a:lnTo>
                <a:lnTo>
                  <a:pt x="309" y="207"/>
                </a:lnTo>
                <a:lnTo>
                  <a:pt x="308" y="207"/>
                </a:lnTo>
                <a:lnTo>
                  <a:pt x="307" y="207"/>
                </a:lnTo>
                <a:lnTo>
                  <a:pt x="307" y="209"/>
                </a:lnTo>
                <a:lnTo>
                  <a:pt x="308" y="210"/>
                </a:lnTo>
                <a:lnTo>
                  <a:pt x="309" y="212"/>
                </a:lnTo>
                <a:lnTo>
                  <a:pt x="310" y="217"/>
                </a:lnTo>
                <a:lnTo>
                  <a:pt x="310" y="221"/>
                </a:lnTo>
                <a:lnTo>
                  <a:pt x="309" y="222"/>
                </a:lnTo>
                <a:lnTo>
                  <a:pt x="308" y="225"/>
                </a:lnTo>
                <a:lnTo>
                  <a:pt x="307" y="227"/>
                </a:lnTo>
                <a:lnTo>
                  <a:pt x="299" y="229"/>
                </a:lnTo>
                <a:lnTo>
                  <a:pt x="297" y="231"/>
                </a:lnTo>
                <a:lnTo>
                  <a:pt x="292" y="236"/>
                </a:lnTo>
                <a:lnTo>
                  <a:pt x="289" y="239"/>
                </a:lnTo>
                <a:lnTo>
                  <a:pt x="285" y="243"/>
                </a:lnTo>
                <a:lnTo>
                  <a:pt x="277" y="252"/>
                </a:lnTo>
                <a:lnTo>
                  <a:pt x="275" y="255"/>
                </a:lnTo>
                <a:lnTo>
                  <a:pt x="273" y="258"/>
                </a:lnTo>
                <a:lnTo>
                  <a:pt x="267" y="266"/>
                </a:lnTo>
                <a:lnTo>
                  <a:pt x="265" y="269"/>
                </a:lnTo>
                <a:lnTo>
                  <a:pt x="266" y="272"/>
                </a:lnTo>
                <a:lnTo>
                  <a:pt x="268" y="278"/>
                </a:lnTo>
                <a:lnTo>
                  <a:pt x="268" y="281"/>
                </a:lnTo>
                <a:lnTo>
                  <a:pt x="268" y="283"/>
                </a:lnTo>
                <a:lnTo>
                  <a:pt x="267" y="286"/>
                </a:lnTo>
                <a:lnTo>
                  <a:pt x="267" y="287"/>
                </a:lnTo>
                <a:lnTo>
                  <a:pt x="269" y="288"/>
                </a:lnTo>
                <a:lnTo>
                  <a:pt x="272" y="291"/>
                </a:lnTo>
                <a:lnTo>
                  <a:pt x="272" y="292"/>
                </a:lnTo>
                <a:lnTo>
                  <a:pt x="271" y="293"/>
                </a:lnTo>
                <a:lnTo>
                  <a:pt x="270" y="294"/>
                </a:lnTo>
                <a:lnTo>
                  <a:pt x="267" y="293"/>
                </a:lnTo>
                <a:lnTo>
                  <a:pt x="263" y="291"/>
                </a:lnTo>
                <a:lnTo>
                  <a:pt x="262" y="291"/>
                </a:lnTo>
                <a:lnTo>
                  <a:pt x="260" y="291"/>
                </a:lnTo>
                <a:lnTo>
                  <a:pt x="251" y="287"/>
                </a:lnTo>
                <a:lnTo>
                  <a:pt x="246" y="285"/>
                </a:lnTo>
                <a:lnTo>
                  <a:pt x="245" y="283"/>
                </a:lnTo>
                <a:lnTo>
                  <a:pt x="244" y="281"/>
                </a:lnTo>
                <a:lnTo>
                  <a:pt x="242" y="278"/>
                </a:lnTo>
                <a:lnTo>
                  <a:pt x="236" y="277"/>
                </a:lnTo>
                <a:lnTo>
                  <a:pt x="234" y="275"/>
                </a:lnTo>
                <a:lnTo>
                  <a:pt x="225" y="274"/>
                </a:lnTo>
                <a:lnTo>
                  <a:pt x="221" y="274"/>
                </a:lnTo>
                <a:lnTo>
                  <a:pt x="218" y="275"/>
                </a:lnTo>
                <a:lnTo>
                  <a:pt x="216" y="275"/>
                </a:lnTo>
                <a:lnTo>
                  <a:pt x="214" y="279"/>
                </a:lnTo>
                <a:lnTo>
                  <a:pt x="212" y="280"/>
                </a:lnTo>
                <a:lnTo>
                  <a:pt x="210" y="280"/>
                </a:lnTo>
                <a:lnTo>
                  <a:pt x="208" y="279"/>
                </a:lnTo>
                <a:lnTo>
                  <a:pt x="206" y="277"/>
                </a:lnTo>
                <a:lnTo>
                  <a:pt x="202" y="276"/>
                </a:lnTo>
                <a:lnTo>
                  <a:pt x="199" y="277"/>
                </a:lnTo>
                <a:lnTo>
                  <a:pt x="198" y="276"/>
                </a:lnTo>
                <a:lnTo>
                  <a:pt x="196" y="276"/>
                </a:lnTo>
                <a:lnTo>
                  <a:pt x="195" y="277"/>
                </a:lnTo>
                <a:lnTo>
                  <a:pt x="194" y="276"/>
                </a:lnTo>
                <a:lnTo>
                  <a:pt x="192" y="277"/>
                </a:lnTo>
                <a:lnTo>
                  <a:pt x="190" y="279"/>
                </a:lnTo>
                <a:lnTo>
                  <a:pt x="188" y="280"/>
                </a:lnTo>
                <a:lnTo>
                  <a:pt x="186" y="282"/>
                </a:lnTo>
                <a:lnTo>
                  <a:pt x="185" y="286"/>
                </a:lnTo>
                <a:lnTo>
                  <a:pt x="180" y="284"/>
                </a:lnTo>
                <a:lnTo>
                  <a:pt x="179" y="285"/>
                </a:lnTo>
                <a:lnTo>
                  <a:pt x="177" y="286"/>
                </a:lnTo>
                <a:lnTo>
                  <a:pt x="175" y="285"/>
                </a:lnTo>
                <a:lnTo>
                  <a:pt x="176" y="284"/>
                </a:lnTo>
                <a:lnTo>
                  <a:pt x="176" y="282"/>
                </a:lnTo>
                <a:lnTo>
                  <a:pt x="176" y="280"/>
                </a:lnTo>
                <a:lnTo>
                  <a:pt x="176" y="277"/>
                </a:lnTo>
                <a:lnTo>
                  <a:pt x="174" y="276"/>
                </a:lnTo>
                <a:lnTo>
                  <a:pt x="172" y="276"/>
                </a:lnTo>
                <a:lnTo>
                  <a:pt x="171" y="275"/>
                </a:lnTo>
                <a:lnTo>
                  <a:pt x="171" y="275"/>
                </a:lnTo>
                <a:lnTo>
                  <a:pt x="170" y="273"/>
                </a:lnTo>
                <a:lnTo>
                  <a:pt x="168" y="271"/>
                </a:lnTo>
                <a:lnTo>
                  <a:pt x="167" y="267"/>
                </a:lnTo>
                <a:lnTo>
                  <a:pt x="165" y="266"/>
                </a:lnTo>
                <a:lnTo>
                  <a:pt x="164" y="268"/>
                </a:lnTo>
                <a:lnTo>
                  <a:pt x="161" y="270"/>
                </a:lnTo>
                <a:lnTo>
                  <a:pt x="159" y="270"/>
                </a:lnTo>
                <a:lnTo>
                  <a:pt x="156" y="276"/>
                </a:lnTo>
                <a:lnTo>
                  <a:pt x="151" y="276"/>
                </a:lnTo>
                <a:lnTo>
                  <a:pt x="150" y="273"/>
                </a:lnTo>
                <a:lnTo>
                  <a:pt x="150" y="271"/>
                </a:lnTo>
                <a:lnTo>
                  <a:pt x="146" y="270"/>
                </a:lnTo>
                <a:lnTo>
                  <a:pt x="146" y="269"/>
                </a:lnTo>
                <a:lnTo>
                  <a:pt x="146" y="266"/>
                </a:lnTo>
                <a:lnTo>
                  <a:pt x="139" y="259"/>
                </a:lnTo>
                <a:lnTo>
                  <a:pt x="138" y="256"/>
                </a:lnTo>
                <a:lnTo>
                  <a:pt x="138" y="255"/>
                </a:lnTo>
                <a:lnTo>
                  <a:pt x="138" y="253"/>
                </a:lnTo>
                <a:lnTo>
                  <a:pt x="137" y="252"/>
                </a:lnTo>
                <a:lnTo>
                  <a:pt x="131" y="250"/>
                </a:lnTo>
                <a:lnTo>
                  <a:pt x="130" y="251"/>
                </a:lnTo>
                <a:lnTo>
                  <a:pt x="129" y="250"/>
                </a:lnTo>
                <a:lnTo>
                  <a:pt x="127" y="249"/>
                </a:lnTo>
                <a:lnTo>
                  <a:pt x="123" y="247"/>
                </a:lnTo>
                <a:lnTo>
                  <a:pt x="123" y="247"/>
                </a:lnTo>
                <a:lnTo>
                  <a:pt x="122" y="245"/>
                </a:lnTo>
                <a:lnTo>
                  <a:pt x="121" y="245"/>
                </a:lnTo>
                <a:lnTo>
                  <a:pt x="121" y="246"/>
                </a:lnTo>
                <a:lnTo>
                  <a:pt x="120" y="247"/>
                </a:lnTo>
                <a:lnTo>
                  <a:pt x="116" y="248"/>
                </a:lnTo>
                <a:lnTo>
                  <a:pt x="115" y="248"/>
                </a:lnTo>
                <a:lnTo>
                  <a:pt x="114" y="247"/>
                </a:lnTo>
                <a:lnTo>
                  <a:pt x="113" y="244"/>
                </a:lnTo>
                <a:lnTo>
                  <a:pt x="110" y="242"/>
                </a:lnTo>
                <a:lnTo>
                  <a:pt x="109" y="241"/>
                </a:lnTo>
                <a:lnTo>
                  <a:pt x="108" y="240"/>
                </a:lnTo>
                <a:lnTo>
                  <a:pt x="108" y="239"/>
                </a:lnTo>
                <a:lnTo>
                  <a:pt x="111" y="238"/>
                </a:lnTo>
                <a:lnTo>
                  <a:pt x="112" y="236"/>
                </a:lnTo>
                <a:lnTo>
                  <a:pt x="112" y="232"/>
                </a:lnTo>
                <a:lnTo>
                  <a:pt x="111" y="232"/>
                </a:lnTo>
                <a:lnTo>
                  <a:pt x="110" y="233"/>
                </a:lnTo>
                <a:lnTo>
                  <a:pt x="107" y="234"/>
                </a:lnTo>
                <a:lnTo>
                  <a:pt x="104" y="235"/>
                </a:lnTo>
                <a:lnTo>
                  <a:pt x="102" y="235"/>
                </a:lnTo>
                <a:lnTo>
                  <a:pt x="94" y="229"/>
                </a:lnTo>
                <a:lnTo>
                  <a:pt x="89" y="227"/>
                </a:lnTo>
                <a:lnTo>
                  <a:pt x="86" y="226"/>
                </a:lnTo>
                <a:lnTo>
                  <a:pt x="85" y="227"/>
                </a:lnTo>
                <a:lnTo>
                  <a:pt x="87" y="230"/>
                </a:lnTo>
                <a:lnTo>
                  <a:pt x="89" y="234"/>
                </a:lnTo>
                <a:lnTo>
                  <a:pt x="89" y="235"/>
                </a:lnTo>
                <a:lnTo>
                  <a:pt x="86" y="237"/>
                </a:lnTo>
                <a:lnTo>
                  <a:pt x="84" y="238"/>
                </a:lnTo>
                <a:lnTo>
                  <a:pt x="82" y="239"/>
                </a:lnTo>
                <a:lnTo>
                  <a:pt x="81" y="241"/>
                </a:lnTo>
                <a:lnTo>
                  <a:pt x="79" y="242"/>
                </a:lnTo>
                <a:lnTo>
                  <a:pt x="78" y="242"/>
                </a:lnTo>
                <a:lnTo>
                  <a:pt x="77" y="241"/>
                </a:lnTo>
                <a:lnTo>
                  <a:pt x="73" y="235"/>
                </a:lnTo>
                <a:lnTo>
                  <a:pt x="69" y="230"/>
                </a:lnTo>
                <a:lnTo>
                  <a:pt x="68" y="229"/>
                </a:lnTo>
                <a:lnTo>
                  <a:pt x="67" y="229"/>
                </a:lnTo>
                <a:lnTo>
                  <a:pt x="65" y="228"/>
                </a:lnTo>
                <a:lnTo>
                  <a:pt x="65" y="226"/>
                </a:lnTo>
                <a:lnTo>
                  <a:pt x="66" y="225"/>
                </a:lnTo>
                <a:lnTo>
                  <a:pt x="67" y="223"/>
                </a:lnTo>
                <a:lnTo>
                  <a:pt x="69" y="223"/>
                </a:lnTo>
                <a:lnTo>
                  <a:pt x="70" y="222"/>
                </a:lnTo>
                <a:lnTo>
                  <a:pt x="70" y="221"/>
                </a:lnTo>
                <a:lnTo>
                  <a:pt x="71" y="219"/>
                </a:lnTo>
                <a:lnTo>
                  <a:pt x="71" y="218"/>
                </a:lnTo>
                <a:lnTo>
                  <a:pt x="69" y="217"/>
                </a:lnTo>
                <a:lnTo>
                  <a:pt x="67" y="215"/>
                </a:lnTo>
                <a:lnTo>
                  <a:pt x="60" y="216"/>
                </a:lnTo>
                <a:lnTo>
                  <a:pt x="58" y="217"/>
                </a:lnTo>
                <a:lnTo>
                  <a:pt x="57" y="216"/>
                </a:lnTo>
                <a:lnTo>
                  <a:pt x="56" y="214"/>
                </a:lnTo>
                <a:lnTo>
                  <a:pt x="55" y="214"/>
                </a:lnTo>
                <a:lnTo>
                  <a:pt x="52" y="212"/>
                </a:lnTo>
                <a:lnTo>
                  <a:pt x="50" y="211"/>
                </a:lnTo>
                <a:lnTo>
                  <a:pt x="47" y="210"/>
                </a:lnTo>
                <a:lnTo>
                  <a:pt x="41" y="208"/>
                </a:lnTo>
                <a:lnTo>
                  <a:pt x="39" y="208"/>
                </a:lnTo>
                <a:lnTo>
                  <a:pt x="38" y="207"/>
                </a:lnTo>
                <a:lnTo>
                  <a:pt x="37" y="206"/>
                </a:lnTo>
                <a:lnTo>
                  <a:pt x="35" y="204"/>
                </a:lnTo>
                <a:lnTo>
                  <a:pt x="35" y="200"/>
                </a:lnTo>
                <a:lnTo>
                  <a:pt x="31" y="198"/>
                </a:lnTo>
                <a:lnTo>
                  <a:pt x="27" y="197"/>
                </a:lnTo>
                <a:lnTo>
                  <a:pt x="26" y="198"/>
                </a:lnTo>
                <a:lnTo>
                  <a:pt x="27" y="202"/>
                </a:lnTo>
                <a:lnTo>
                  <a:pt x="26" y="204"/>
                </a:lnTo>
                <a:lnTo>
                  <a:pt x="24" y="205"/>
                </a:lnTo>
                <a:lnTo>
                  <a:pt x="21" y="205"/>
                </a:lnTo>
                <a:lnTo>
                  <a:pt x="21" y="204"/>
                </a:lnTo>
                <a:lnTo>
                  <a:pt x="24" y="198"/>
                </a:lnTo>
                <a:lnTo>
                  <a:pt x="26" y="193"/>
                </a:lnTo>
                <a:lnTo>
                  <a:pt x="27" y="186"/>
                </a:lnTo>
                <a:lnTo>
                  <a:pt x="25" y="179"/>
                </a:lnTo>
                <a:lnTo>
                  <a:pt x="25" y="176"/>
                </a:lnTo>
                <a:lnTo>
                  <a:pt x="24" y="175"/>
                </a:lnTo>
                <a:lnTo>
                  <a:pt x="18" y="172"/>
                </a:lnTo>
                <a:lnTo>
                  <a:pt x="18" y="171"/>
                </a:lnTo>
                <a:lnTo>
                  <a:pt x="19" y="167"/>
                </a:lnTo>
                <a:lnTo>
                  <a:pt x="18" y="165"/>
                </a:lnTo>
                <a:lnTo>
                  <a:pt x="17" y="163"/>
                </a:lnTo>
                <a:lnTo>
                  <a:pt x="15" y="160"/>
                </a:lnTo>
                <a:lnTo>
                  <a:pt x="14" y="157"/>
                </a:lnTo>
                <a:lnTo>
                  <a:pt x="17" y="153"/>
                </a:lnTo>
                <a:lnTo>
                  <a:pt x="17" y="150"/>
                </a:lnTo>
                <a:lnTo>
                  <a:pt x="18" y="146"/>
                </a:lnTo>
                <a:lnTo>
                  <a:pt x="19" y="144"/>
                </a:lnTo>
                <a:lnTo>
                  <a:pt x="19" y="144"/>
                </a:lnTo>
                <a:lnTo>
                  <a:pt x="18" y="142"/>
                </a:lnTo>
                <a:lnTo>
                  <a:pt x="17" y="140"/>
                </a:lnTo>
                <a:lnTo>
                  <a:pt x="18" y="138"/>
                </a:lnTo>
                <a:lnTo>
                  <a:pt x="17" y="135"/>
                </a:lnTo>
                <a:lnTo>
                  <a:pt x="15" y="134"/>
                </a:lnTo>
                <a:lnTo>
                  <a:pt x="14" y="132"/>
                </a:lnTo>
                <a:lnTo>
                  <a:pt x="13" y="130"/>
                </a:lnTo>
                <a:lnTo>
                  <a:pt x="13" y="126"/>
                </a:lnTo>
                <a:lnTo>
                  <a:pt x="15" y="121"/>
                </a:lnTo>
                <a:lnTo>
                  <a:pt x="12" y="115"/>
                </a:lnTo>
                <a:lnTo>
                  <a:pt x="4" y="108"/>
                </a:lnTo>
                <a:lnTo>
                  <a:pt x="0" y="103"/>
                </a:lnTo>
                <a:lnTo>
                  <a:pt x="0" y="100"/>
                </a:lnTo>
                <a:lnTo>
                  <a:pt x="2" y="98"/>
                </a:lnTo>
                <a:lnTo>
                  <a:pt x="5" y="96"/>
                </a:lnTo>
                <a:lnTo>
                  <a:pt x="7" y="91"/>
                </a:lnTo>
                <a:lnTo>
                  <a:pt x="9" y="87"/>
                </a:lnTo>
                <a:lnTo>
                  <a:pt x="9" y="86"/>
                </a:lnTo>
                <a:lnTo>
                  <a:pt x="9" y="82"/>
                </a:lnTo>
                <a:lnTo>
                  <a:pt x="5" y="68"/>
                </a:lnTo>
                <a:lnTo>
                  <a:pt x="4" y="64"/>
                </a:lnTo>
                <a:lnTo>
                  <a:pt x="4" y="60"/>
                </a:lnTo>
                <a:lnTo>
                  <a:pt x="4" y="59"/>
                </a:lnTo>
                <a:lnTo>
                  <a:pt x="11" y="62"/>
                </a:lnTo>
                <a:lnTo>
                  <a:pt x="14" y="64"/>
                </a:lnTo>
                <a:lnTo>
                  <a:pt x="14" y="62"/>
                </a:lnTo>
                <a:lnTo>
                  <a:pt x="13" y="60"/>
                </a:lnTo>
                <a:lnTo>
                  <a:pt x="13" y="58"/>
                </a:lnTo>
                <a:lnTo>
                  <a:pt x="13" y="54"/>
                </a:lnTo>
                <a:lnTo>
                  <a:pt x="7" y="52"/>
                </a:lnTo>
                <a:lnTo>
                  <a:pt x="2" y="51"/>
                </a:lnTo>
                <a:lnTo>
                  <a:pt x="2" y="49"/>
                </a:lnTo>
                <a:lnTo>
                  <a:pt x="2" y="47"/>
                </a:lnTo>
                <a:lnTo>
                  <a:pt x="3" y="48"/>
                </a:lnTo>
                <a:lnTo>
                  <a:pt x="8" y="49"/>
                </a:lnTo>
                <a:lnTo>
                  <a:pt x="18" y="44"/>
                </a:lnTo>
                <a:lnTo>
                  <a:pt x="36" y="37"/>
                </a:lnTo>
                <a:lnTo>
                  <a:pt x="55" y="31"/>
                </a:lnTo>
                <a:lnTo>
                  <a:pt x="59" y="30"/>
                </a:lnTo>
                <a:lnTo>
                  <a:pt x="64" y="29"/>
                </a:lnTo>
                <a:lnTo>
                  <a:pt x="65" y="27"/>
                </a:lnTo>
                <a:lnTo>
                  <a:pt x="67" y="25"/>
                </a:lnTo>
                <a:lnTo>
                  <a:pt x="70" y="21"/>
                </a:lnTo>
                <a:lnTo>
                  <a:pt x="76" y="15"/>
                </a:lnTo>
                <a:lnTo>
                  <a:pt x="86" y="13"/>
                </a:lnTo>
                <a:lnTo>
                  <a:pt x="89" y="10"/>
                </a:lnTo>
                <a:lnTo>
                  <a:pt x="97" y="6"/>
                </a:lnTo>
                <a:lnTo>
                  <a:pt x="116" y="1"/>
                </a:lnTo>
                <a:lnTo>
                  <a:pt x="123" y="0"/>
                </a:lnTo>
                <a:lnTo>
                  <a:pt x="130" y="0"/>
                </a:lnTo>
                <a:lnTo>
                  <a:pt x="137" y="4"/>
                </a:lnTo>
                <a:lnTo>
                  <a:pt x="144" y="8"/>
                </a:lnTo>
                <a:lnTo>
                  <a:pt x="145" y="11"/>
                </a:lnTo>
                <a:lnTo>
                  <a:pt x="142" y="9"/>
                </a:lnTo>
                <a:lnTo>
                  <a:pt x="136" y="5"/>
                </a:lnTo>
                <a:lnTo>
                  <a:pt x="134" y="5"/>
                </a:lnTo>
                <a:lnTo>
                  <a:pt x="139" y="17"/>
                </a:lnTo>
                <a:lnTo>
                  <a:pt x="141" y="22"/>
                </a:lnTo>
                <a:lnTo>
                  <a:pt x="146" y="25"/>
                </a:lnTo>
                <a:lnTo>
                  <a:pt x="151" y="26"/>
                </a:lnTo>
                <a:lnTo>
                  <a:pt x="164" y="24"/>
                </a:lnTo>
                <a:lnTo>
                  <a:pt x="169"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9" name="Portugal">
            <a:extLst>
              <a:ext uri="{FF2B5EF4-FFF2-40B4-BE49-F238E27FC236}">
                <a16:creationId xmlns:a16="http://schemas.microsoft.com/office/drawing/2014/main" id="{5FCECE60-946C-407C-BE2B-06AD2CF8758A}"/>
              </a:ext>
            </a:extLst>
          </p:cNvPr>
          <p:cNvSpPr>
            <a:spLocks noEditPoints="1"/>
          </p:cNvSpPr>
          <p:nvPr/>
        </p:nvSpPr>
        <p:spPr bwMode="auto">
          <a:xfrm>
            <a:off x="4877154" y="3418487"/>
            <a:ext cx="754415" cy="315819"/>
          </a:xfrm>
          <a:custGeom>
            <a:avLst/>
            <a:gdLst>
              <a:gd name="T0" fmla="*/ 452 w 781"/>
              <a:gd name="T1" fmla="*/ 367 h 372"/>
              <a:gd name="T2" fmla="*/ 440 w 781"/>
              <a:gd name="T3" fmla="*/ 369 h 372"/>
              <a:gd name="T4" fmla="*/ 195 w 781"/>
              <a:gd name="T5" fmla="*/ 209 h 372"/>
              <a:gd name="T6" fmla="*/ 190 w 781"/>
              <a:gd name="T7" fmla="*/ 206 h 372"/>
              <a:gd name="T8" fmla="*/ 175 w 781"/>
              <a:gd name="T9" fmla="*/ 174 h 372"/>
              <a:gd name="T10" fmla="*/ 188 w 781"/>
              <a:gd name="T11" fmla="*/ 178 h 372"/>
              <a:gd name="T12" fmla="*/ 169 w 781"/>
              <a:gd name="T13" fmla="*/ 172 h 372"/>
              <a:gd name="T14" fmla="*/ 100 w 781"/>
              <a:gd name="T15" fmla="*/ 152 h 372"/>
              <a:gd name="T16" fmla="*/ 85 w 781"/>
              <a:gd name="T17" fmla="*/ 150 h 372"/>
              <a:gd name="T18" fmla="*/ 82 w 781"/>
              <a:gd name="T19" fmla="*/ 147 h 372"/>
              <a:gd name="T20" fmla="*/ 82 w 781"/>
              <a:gd name="T21" fmla="*/ 144 h 372"/>
              <a:gd name="T22" fmla="*/ 109 w 781"/>
              <a:gd name="T23" fmla="*/ 146 h 372"/>
              <a:gd name="T24" fmla="*/ 103 w 781"/>
              <a:gd name="T25" fmla="*/ 143 h 372"/>
              <a:gd name="T26" fmla="*/ 124 w 781"/>
              <a:gd name="T27" fmla="*/ 142 h 372"/>
              <a:gd name="T28" fmla="*/ 129 w 781"/>
              <a:gd name="T29" fmla="*/ 137 h 372"/>
              <a:gd name="T30" fmla="*/ 4 w 781"/>
              <a:gd name="T31" fmla="*/ 112 h 372"/>
              <a:gd name="T32" fmla="*/ 2 w 781"/>
              <a:gd name="T33" fmla="*/ 107 h 372"/>
              <a:gd name="T34" fmla="*/ 721 w 781"/>
              <a:gd name="T35" fmla="*/ 14 h 372"/>
              <a:gd name="T36" fmla="*/ 735 w 781"/>
              <a:gd name="T37" fmla="*/ 10 h 372"/>
              <a:gd name="T38" fmla="*/ 748 w 781"/>
              <a:gd name="T39" fmla="*/ 11 h 372"/>
              <a:gd name="T40" fmla="*/ 752 w 781"/>
              <a:gd name="T41" fmla="*/ 7 h 372"/>
              <a:gd name="T42" fmla="*/ 764 w 781"/>
              <a:gd name="T43" fmla="*/ 8 h 372"/>
              <a:gd name="T44" fmla="*/ 771 w 781"/>
              <a:gd name="T45" fmla="*/ 15 h 372"/>
              <a:gd name="T46" fmla="*/ 778 w 781"/>
              <a:gd name="T47" fmla="*/ 21 h 372"/>
              <a:gd name="T48" fmla="*/ 779 w 781"/>
              <a:gd name="T49" fmla="*/ 28 h 372"/>
              <a:gd name="T50" fmla="*/ 761 w 781"/>
              <a:gd name="T51" fmla="*/ 45 h 372"/>
              <a:gd name="T52" fmla="*/ 763 w 781"/>
              <a:gd name="T53" fmla="*/ 61 h 372"/>
              <a:gd name="T54" fmla="*/ 762 w 781"/>
              <a:gd name="T55" fmla="*/ 73 h 372"/>
              <a:gd name="T56" fmla="*/ 756 w 781"/>
              <a:gd name="T57" fmla="*/ 81 h 372"/>
              <a:gd name="T58" fmla="*/ 758 w 781"/>
              <a:gd name="T59" fmla="*/ 96 h 372"/>
              <a:gd name="T60" fmla="*/ 740 w 781"/>
              <a:gd name="T61" fmla="*/ 102 h 372"/>
              <a:gd name="T62" fmla="*/ 747 w 781"/>
              <a:gd name="T63" fmla="*/ 115 h 372"/>
              <a:gd name="T64" fmla="*/ 755 w 781"/>
              <a:gd name="T65" fmla="*/ 132 h 372"/>
              <a:gd name="T66" fmla="*/ 747 w 781"/>
              <a:gd name="T67" fmla="*/ 146 h 372"/>
              <a:gd name="T68" fmla="*/ 758 w 781"/>
              <a:gd name="T69" fmla="*/ 161 h 372"/>
              <a:gd name="T70" fmla="*/ 748 w 781"/>
              <a:gd name="T71" fmla="*/ 172 h 372"/>
              <a:gd name="T72" fmla="*/ 742 w 781"/>
              <a:gd name="T73" fmla="*/ 190 h 372"/>
              <a:gd name="T74" fmla="*/ 721 w 781"/>
              <a:gd name="T75" fmla="*/ 204 h 372"/>
              <a:gd name="T76" fmla="*/ 696 w 781"/>
              <a:gd name="T77" fmla="*/ 206 h 372"/>
              <a:gd name="T78" fmla="*/ 701 w 781"/>
              <a:gd name="T79" fmla="*/ 178 h 372"/>
              <a:gd name="T80" fmla="*/ 698 w 781"/>
              <a:gd name="T81" fmla="*/ 150 h 372"/>
              <a:gd name="T82" fmla="*/ 697 w 781"/>
              <a:gd name="T83" fmla="*/ 148 h 372"/>
              <a:gd name="T84" fmla="*/ 687 w 781"/>
              <a:gd name="T85" fmla="*/ 142 h 372"/>
              <a:gd name="T86" fmla="*/ 694 w 781"/>
              <a:gd name="T87" fmla="*/ 132 h 372"/>
              <a:gd name="T88" fmla="*/ 692 w 781"/>
              <a:gd name="T89" fmla="*/ 135 h 372"/>
              <a:gd name="T90" fmla="*/ 680 w 781"/>
              <a:gd name="T91" fmla="*/ 139 h 372"/>
              <a:gd name="T92" fmla="*/ 683 w 781"/>
              <a:gd name="T93" fmla="*/ 118 h 372"/>
              <a:gd name="T94" fmla="*/ 690 w 781"/>
              <a:gd name="T95" fmla="*/ 107 h 372"/>
              <a:gd name="T96" fmla="*/ 699 w 781"/>
              <a:gd name="T97" fmla="*/ 78 h 372"/>
              <a:gd name="T98" fmla="*/ 705 w 781"/>
              <a:gd name="T99" fmla="*/ 46 h 372"/>
              <a:gd name="T100" fmla="*/ 700 w 781"/>
              <a:gd name="T101" fmla="*/ 20 h 372"/>
              <a:gd name="T102" fmla="*/ 701 w 781"/>
              <a:gd name="T103" fmla="*/ 8 h 372"/>
              <a:gd name="T104" fmla="*/ 717 w 781"/>
              <a:gd name="T105" fmla="*/ 0 h 372"/>
              <a:gd name="T106" fmla="*/ 722 w 781"/>
              <a:gd name="T107" fmla="*/ 5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1" h="372">
                <a:moveTo>
                  <a:pt x="439" y="364"/>
                </a:moveTo>
                <a:lnTo>
                  <a:pt x="439" y="364"/>
                </a:lnTo>
                <a:lnTo>
                  <a:pt x="443" y="366"/>
                </a:lnTo>
                <a:lnTo>
                  <a:pt x="447" y="365"/>
                </a:lnTo>
                <a:lnTo>
                  <a:pt x="452" y="367"/>
                </a:lnTo>
                <a:lnTo>
                  <a:pt x="455" y="368"/>
                </a:lnTo>
                <a:lnTo>
                  <a:pt x="452" y="370"/>
                </a:lnTo>
                <a:lnTo>
                  <a:pt x="450" y="372"/>
                </a:lnTo>
                <a:lnTo>
                  <a:pt x="444" y="371"/>
                </a:lnTo>
                <a:lnTo>
                  <a:pt x="440" y="369"/>
                </a:lnTo>
                <a:lnTo>
                  <a:pt x="438" y="367"/>
                </a:lnTo>
                <a:lnTo>
                  <a:pt x="437" y="366"/>
                </a:lnTo>
                <a:lnTo>
                  <a:pt x="439" y="364"/>
                </a:lnTo>
                <a:close/>
                <a:moveTo>
                  <a:pt x="195" y="209"/>
                </a:moveTo>
                <a:lnTo>
                  <a:pt x="195" y="209"/>
                </a:lnTo>
                <a:lnTo>
                  <a:pt x="195" y="209"/>
                </a:lnTo>
                <a:lnTo>
                  <a:pt x="193" y="209"/>
                </a:lnTo>
                <a:lnTo>
                  <a:pt x="191" y="209"/>
                </a:lnTo>
                <a:lnTo>
                  <a:pt x="189" y="207"/>
                </a:lnTo>
                <a:lnTo>
                  <a:pt x="190" y="206"/>
                </a:lnTo>
                <a:lnTo>
                  <a:pt x="193" y="206"/>
                </a:lnTo>
                <a:lnTo>
                  <a:pt x="194" y="207"/>
                </a:lnTo>
                <a:lnTo>
                  <a:pt x="195" y="209"/>
                </a:lnTo>
                <a:close/>
                <a:moveTo>
                  <a:pt x="175" y="174"/>
                </a:moveTo>
                <a:lnTo>
                  <a:pt x="175" y="174"/>
                </a:lnTo>
                <a:lnTo>
                  <a:pt x="177" y="175"/>
                </a:lnTo>
                <a:lnTo>
                  <a:pt x="187" y="174"/>
                </a:lnTo>
                <a:lnTo>
                  <a:pt x="190" y="174"/>
                </a:lnTo>
                <a:lnTo>
                  <a:pt x="190" y="177"/>
                </a:lnTo>
                <a:lnTo>
                  <a:pt x="188" y="178"/>
                </a:lnTo>
                <a:lnTo>
                  <a:pt x="182" y="179"/>
                </a:lnTo>
                <a:lnTo>
                  <a:pt x="173" y="177"/>
                </a:lnTo>
                <a:lnTo>
                  <a:pt x="170" y="175"/>
                </a:lnTo>
                <a:lnTo>
                  <a:pt x="169" y="173"/>
                </a:lnTo>
                <a:lnTo>
                  <a:pt x="169" y="172"/>
                </a:lnTo>
                <a:lnTo>
                  <a:pt x="171" y="172"/>
                </a:lnTo>
                <a:lnTo>
                  <a:pt x="175" y="174"/>
                </a:lnTo>
                <a:close/>
                <a:moveTo>
                  <a:pt x="97" y="150"/>
                </a:moveTo>
                <a:lnTo>
                  <a:pt x="97" y="150"/>
                </a:lnTo>
                <a:lnTo>
                  <a:pt x="100" y="152"/>
                </a:lnTo>
                <a:lnTo>
                  <a:pt x="96" y="152"/>
                </a:lnTo>
                <a:lnTo>
                  <a:pt x="95" y="153"/>
                </a:lnTo>
                <a:lnTo>
                  <a:pt x="92" y="152"/>
                </a:lnTo>
                <a:lnTo>
                  <a:pt x="88" y="152"/>
                </a:lnTo>
                <a:lnTo>
                  <a:pt x="85" y="150"/>
                </a:lnTo>
                <a:lnTo>
                  <a:pt x="85" y="148"/>
                </a:lnTo>
                <a:lnTo>
                  <a:pt x="86" y="146"/>
                </a:lnTo>
                <a:lnTo>
                  <a:pt x="89" y="146"/>
                </a:lnTo>
                <a:lnTo>
                  <a:pt x="97" y="150"/>
                </a:lnTo>
                <a:close/>
                <a:moveTo>
                  <a:pt x="82" y="147"/>
                </a:moveTo>
                <a:lnTo>
                  <a:pt x="82" y="147"/>
                </a:lnTo>
                <a:lnTo>
                  <a:pt x="79" y="147"/>
                </a:lnTo>
                <a:lnTo>
                  <a:pt x="76" y="144"/>
                </a:lnTo>
                <a:lnTo>
                  <a:pt x="80" y="143"/>
                </a:lnTo>
                <a:lnTo>
                  <a:pt x="82" y="144"/>
                </a:lnTo>
                <a:lnTo>
                  <a:pt x="83" y="145"/>
                </a:lnTo>
                <a:lnTo>
                  <a:pt x="83" y="146"/>
                </a:lnTo>
                <a:lnTo>
                  <a:pt x="82" y="147"/>
                </a:lnTo>
                <a:close/>
                <a:moveTo>
                  <a:pt x="109" y="146"/>
                </a:moveTo>
                <a:lnTo>
                  <a:pt x="109" y="146"/>
                </a:lnTo>
                <a:lnTo>
                  <a:pt x="107" y="147"/>
                </a:lnTo>
                <a:lnTo>
                  <a:pt x="99" y="143"/>
                </a:lnTo>
                <a:lnTo>
                  <a:pt x="96" y="142"/>
                </a:lnTo>
                <a:lnTo>
                  <a:pt x="92" y="139"/>
                </a:lnTo>
                <a:lnTo>
                  <a:pt x="103" y="143"/>
                </a:lnTo>
                <a:lnTo>
                  <a:pt x="109" y="146"/>
                </a:lnTo>
                <a:close/>
                <a:moveTo>
                  <a:pt x="131" y="143"/>
                </a:moveTo>
                <a:lnTo>
                  <a:pt x="131" y="143"/>
                </a:lnTo>
                <a:lnTo>
                  <a:pt x="130" y="143"/>
                </a:lnTo>
                <a:lnTo>
                  <a:pt x="124" y="142"/>
                </a:lnTo>
                <a:lnTo>
                  <a:pt x="122" y="140"/>
                </a:lnTo>
                <a:lnTo>
                  <a:pt x="121" y="138"/>
                </a:lnTo>
                <a:lnTo>
                  <a:pt x="122" y="137"/>
                </a:lnTo>
                <a:lnTo>
                  <a:pt x="125" y="136"/>
                </a:lnTo>
                <a:lnTo>
                  <a:pt x="129" y="137"/>
                </a:lnTo>
                <a:lnTo>
                  <a:pt x="132" y="139"/>
                </a:lnTo>
                <a:lnTo>
                  <a:pt x="132" y="141"/>
                </a:lnTo>
                <a:lnTo>
                  <a:pt x="131" y="143"/>
                </a:lnTo>
                <a:close/>
                <a:moveTo>
                  <a:pt x="4" y="112"/>
                </a:moveTo>
                <a:lnTo>
                  <a:pt x="4" y="112"/>
                </a:lnTo>
                <a:lnTo>
                  <a:pt x="3" y="114"/>
                </a:lnTo>
                <a:lnTo>
                  <a:pt x="0" y="113"/>
                </a:lnTo>
                <a:lnTo>
                  <a:pt x="0" y="113"/>
                </a:lnTo>
                <a:lnTo>
                  <a:pt x="0" y="108"/>
                </a:lnTo>
                <a:lnTo>
                  <a:pt x="2" y="107"/>
                </a:lnTo>
                <a:lnTo>
                  <a:pt x="4" y="109"/>
                </a:lnTo>
                <a:lnTo>
                  <a:pt x="4" y="112"/>
                </a:lnTo>
                <a:close/>
                <a:moveTo>
                  <a:pt x="720" y="13"/>
                </a:moveTo>
                <a:lnTo>
                  <a:pt x="720" y="13"/>
                </a:lnTo>
                <a:lnTo>
                  <a:pt x="721" y="14"/>
                </a:lnTo>
                <a:lnTo>
                  <a:pt x="723" y="14"/>
                </a:lnTo>
                <a:lnTo>
                  <a:pt x="726" y="12"/>
                </a:lnTo>
                <a:lnTo>
                  <a:pt x="728" y="11"/>
                </a:lnTo>
                <a:lnTo>
                  <a:pt x="729" y="11"/>
                </a:lnTo>
                <a:lnTo>
                  <a:pt x="735" y="10"/>
                </a:lnTo>
                <a:lnTo>
                  <a:pt x="737" y="11"/>
                </a:lnTo>
                <a:lnTo>
                  <a:pt x="738" y="12"/>
                </a:lnTo>
                <a:lnTo>
                  <a:pt x="741" y="13"/>
                </a:lnTo>
                <a:lnTo>
                  <a:pt x="744" y="13"/>
                </a:lnTo>
                <a:lnTo>
                  <a:pt x="748" y="11"/>
                </a:lnTo>
                <a:lnTo>
                  <a:pt x="750" y="10"/>
                </a:lnTo>
                <a:lnTo>
                  <a:pt x="751" y="9"/>
                </a:lnTo>
                <a:lnTo>
                  <a:pt x="751" y="8"/>
                </a:lnTo>
                <a:lnTo>
                  <a:pt x="751" y="7"/>
                </a:lnTo>
                <a:lnTo>
                  <a:pt x="752" y="7"/>
                </a:lnTo>
                <a:lnTo>
                  <a:pt x="754" y="7"/>
                </a:lnTo>
                <a:lnTo>
                  <a:pt x="756" y="8"/>
                </a:lnTo>
                <a:lnTo>
                  <a:pt x="761" y="8"/>
                </a:lnTo>
                <a:lnTo>
                  <a:pt x="762" y="7"/>
                </a:lnTo>
                <a:lnTo>
                  <a:pt x="764" y="8"/>
                </a:lnTo>
                <a:lnTo>
                  <a:pt x="766" y="9"/>
                </a:lnTo>
                <a:lnTo>
                  <a:pt x="769" y="8"/>
                </a:lnTo>
                <a:lnTo>
                  <a:pt x="770" y="9"/>
                </a:lnTo>
                <a:lnTo>
                  <a:pt x="771" y="11"/>
                </a:lnTo>
                <a:lnTo>
                  <a:pt x="771" y="15"/>
                </a:lnTo>
                <a:lnTo>
                  <a:pt x="771" y="18"/>
                </a:lnTo>
                <a:lnTo>
                  <a:pt x="771" y="19"/>
                </a:lnTo>
                <a:lnTo>
                  <a:pt x="773" y="20"/>
                </a:lnTo>
                <a:lnTo>
                  <a:pt x="776" y="20"/>
                </a:lnTo>
                <a:lnTo>
                  <a:pt x="778" y="21"/>
                </a:lnTo>
                <a:lnTo>
                  <a:pt x="780" y="22"/>
                </a:lnTo>
                <a:lnTo>
                  <a:pt x="781" y="24"/>
                </a:lnTo>
                <a:lnTo>
                  <a:pt x="781" y="25"/>
                </a:lnTo>
                <a:lnTo>
                  <a:pt x="780" y="26"/>
                </a:lnTo>
                <a:lnTo>
                  <a:pt x="779" y="28"/>
                </a:lnTo>
                <a:lnTo>
                  <a:pt x="775" y="32"/>
                </a:lnTo>
                <a:lnTo>
                  <a:pt x="770" y="35"/>
                </a:lnTo>
                <a:lnTo>
                  <a:pt x="767" y="38"/>
                </a:lnTo>
                <a:lnTo>
                  <a:pt x="764" y="43"/>
                </a:lnTo>
                <a:lnTo>
                  <a:pt x="761" y="45"/>
                </a:lnTo>
                <a:lnTo>
                  <a:pt x="759" y="46"/>
                </a:lnTo>
                <a:lnTo>
                  <a:pt x="759" y="47"/>
                </a:lnTo>
                <a:lnTo>
                  <a:pt x="761" y="52"/>
                </a:lnTo>
                <a:lnTo>
                  <a:pt x="762" y="56"/>
                </a:lnTo>
                <a:lnTo>
                  <a:pt x="763" y="61"/>
                </a:lnTo>
                <a:lnTo>
                  <a:pt x="762" y="63"/>
                </a:lnTo>
                <a:lnTo>
                  <a:pt x="762" y="68"/>
                </a:lnTo>
                <a:lnTo>
                  <a:pt x="761" y="70"/>
                </a:lnTo>
                <a:lnTo>
                  <a:pt x="762" y="71"/>
                </a:lnTo>
                <a:lnTo>
                  <a:pt x="762" y="73"/>
                </a:lnTo>
                <a:lnTo>
                  <a:pt x="763" y="74"/>
                </a:lnTo>
                <a:lnTo>
                  <a:pt x="761" y="76"/>
                </a:lnTo>
                <a:lnTo>
                  <a:pt x="758" y="78"/>
                </a:lnTo>
                <a:lnTo>
                  <a:pt x="756" y="80"/>
                </a:lnTo>
                <a:lnTo>
                  <a:pt x="756" y="81"/>
                </a:lnTo>
                <a:lnTo>
                  <a:pt x="756" y="82"/>
                </a:lnTo>
                <a:lnTo>
                  <a:pt x="759" y="86"/>
                </a:lnTo>
                <a:lnTo>
                  <a:pt x="760" y="87"/>
                </a:lnTo>
                <a:lnTo>
                  <a:pt x="760" y="91"/>
                </a:lnTo>
                <a:lnTo>
                  <a:pt x="758" y="96"/>
                </a:lnTo>
                <a:lnTo>
                  <a:pt x="756" y="100"/>
                </a:lnTo>
                <a:lnTo>
                  <a:pt x="755" y="100"/>
                </a:lnTo>
                <a:lnTo>
                  <a:pt x="753" y="101"/>
                </a:lnTo>
                <a:lnTo>
                  <a:pt x="743" y="101"/>
                </a:lnTo>
                <a:lnTo>
                  <a:pt x="740" y="102"/>
                </a:lnTo>
                <a:lnTo>
                  <a:pt x="741" y="102"/>
                </a:lnTo>
                <a:lnTo>
                  <a:pt x="743" y="107"/>
                </a:lnTo>
                <a:lnTo>
                  <a:pt x="746" y="109"/>
                </a:lnTo>
                <a:lnTo>
                  <a:pt x="746" y="110"/>
                </a:lnTo>
                <a:lnTo>
                  <a:pt x="747" y="115"/>
                </a:lnTo>
                <a:lnTo>
                  <a:pt x="752" y="123"/>
                </a:lnTo>
                <a:lnTo>
                  <a:pt x="756" y="124"/>
                </a:lnTo>
                <a:lnTo>
                  <a:pt x="757" y="126"/>
                </a:lnTo>
                <a:lnTo>
                  <a:pt x="757" y="129"/>
                </a:lnTo>
                <a:lnTo>
                  <a:pt x="755" y="132"/>
                </a:lnTo>
                <a:lnTo>
                  <a:pt x="753" y="135"/>
                </a:lnTo>
                <a:lnTo>
                  <a:pt x="750" y="137"/>
                </a:lnTo>
                <a:lnTo>
                  <a:pt x="748" y="140"/>
                </a:lnTo>
                <a:lnTo>
                  <a:pt x="748" y="142"/>
                </a:lnTo>
                <a:lnTo>
                  <a:pt x="747" y="146"/>
                </a:lnTo>
                <a:lnTo>
                  <a:pt x="746" y="148"/>
                </a:lnTo>
                <a:lnTo>
                  <a:pt x="746" y="150"/>
                </a:lnTo>
                <a:lnTo>
                  <a:pt x="754" y="161"/>
                </a:lnTo>
                <a:lnTo>
                  <a:pt x="758" y="160"/>
                </a:lnTo>
                <a:lnTo>
                  <a:pt x="758" y="161"/>
                </a:lnTo>
                <a:lnTo>
                  <a:pt x="757" y="163"/>
                </a:lnTo>
                <a:lnTo>
                  <a:pt x="756" y="166"/>
                </a:lnTo>
                <a:lnTo>
                  <a:pt x="755" y="167"/>
                </a:lnTo>
                <a:lnTo>
                  <a:pt x="751" y="168"/>
                </a:lnTo>
                <a:lnTo>
                  <a:pt x="748" y="172"/>
                </a:lnTo>
                <a:lnTo>
                  <a:pt x="745" y="176"/>
                </a:lnTo>
                <a:lnTo>
                  <a:pt x="743" y="179"/>
                </a:lnTo>
                <a:lnTo>
                  <a:pt x="741" y="184"/>
                </a:lnTo>
                <a:lnTo>
                  <a:pt x="741" y="187"/>
                </a:lnTo>
                <a:lnTo>
                  <a:pt x="742" y="190"/>
                </a:lnTo>
                <a:lnTo>
                  <a:pt x="744" y="200"/>
                </a:lnTo>
                <a:lnTo>
                  <a:pt x="741" y="201"/>
                </a:lnTo>
                <a:lnTo>
                  <a:pt x="731" y="207"/>
                </a:lnTo>
                <a:lnTo>
                  <a:pt x="728" y="207"/>
                </a:lnTo>
                <a:lnTo>
                  <a:pt x="721" y="204"/>
                </a:lnTo>
                <a:lnTo>
                  <a:pt x="711" y="203"/>
                </a:lnTo>
                <a:lnTo>
                  <a:pt x="707" y="202"/>
                </a:lnTo>
                <a:lnTo>
                  <a:pt x="703" y="204"/>
                </a:lnTo>
                <a:lnTo>
                  <a:pt x="699" y="204"/>
                </a:lnTo>
                <a:lnTo>
                  <a:pt x="696" y="206"/>
                </a:lnTo>
                <a:lnTo>
                  <a:pt x="695" y="206"/>
                </a:lnTo>
                <a:lnTo>
                  <a:pt x="697" y="201"/>
                </a:lnTo>
                <a:lnTo>
                  <a:pt x="700" y="190"/>
                </a:lnTo>
                <a:lnTo>
                  <a:pt x="700" y="184"/>
                </a:lnTo>
                <a:lnTo>
                  <a:pt x="701" y="178"/>
                </a:lnTo>
                <a:lnTo>
                  <a:pt x="700" y="173"/>
                </a:lnTo>
                <a:lnTo>
                  <a:pt x="698" y="170"/>
                </a:lnTo>
                <a:lnTo>
                  <a:pt x="701" y="161"/>
                </a:lnTo>
                <a:lnTo>
                  <a:pt x="700" y="156"/>
                </a:lnTo>
                <a:lnTo>
                  <a:pt x="698" y="150"/>
                </a:lnTo>
                <a:lnTo>
                  <a:pt x="705" y="151"/>
                </a:lnTo>
                <a:lnTo>
                  <a:pt x="703" y="149"/>
                </a:lnTo>
                <a:lnTo>
                  <a:pt x="701" y="147"/>
                </a:lnTo>
                <a:lnTo>
                  <a:pt x="699" y="148"/>
                </a:lnTo>
                <a:lnTo>
                  <a:pt x="697" y="148"/>
                </a:lnTo>
                <a:lnTo>
                  <a:pt x="692" y="150"/>
                </a:lnTo>
                <a:lnTo>
                  <a:pt x="689" y="151"/>
                </a:lnTo>
                <a:lnTo>
                  <a:pt x="688" y="150"/>
                </a:lnTo>
                <a:lnTo>
                  <a:pt x="688" y="147"/>
                </a:lnTo>
                <a:lnTo>
                  <a:pt x="687" y="142"/>
                </a:lnTo>
                <a:lnTo>
                  <a:pt x="689" y="141"/>
                </a:lnTo>
                <a:lnTo>
                  <a:pt x="692" y="140"/>
                </a:lnTo>
                <a:lnTo>
                  <a:pt x="694" y="138"/>
                </a:lnTo>
                <a:lnTo>
                  <a:pt x="695" y="136"/>
                </a:lnTo>
                <a:lnTo>
                  <a:pt x="694" y="132"/>
                </a:lnTo>
                <a:lnTo>
                  <a:pt x="696" y="128"/>
                </a:lnTo>
                <a:lnTo>
                  <a:pt x="701" y="125"/>
                </a:lnTo>
                <a:lnTo>
                  <a:pt x="699" y="126"/>
                </a:lnTo>
                <a:lnTo>
                  <a:pt x="696" y="128"/>
                </a:lnTo>
                <a:lnTo>
                  <a:pt x="692" y="135"/>
                </a:lnTo>
                <a:lnTo>
                  <a:pt x="690" y="139"/>
                </a:lnTo>
                <a:lnTo>
                  <a:pt x="687" y="140"/>
                </a:lnTo>
                <a:lnTo>
                  <a:pt x="683" y="140"/>
                </a:lnTo>
                <a:lnTo>
                  <a:pt x="682" y="140"/>
                </a:lnTo>
                <a:lnTo>
                  <a:pt x="680" y="139"/>
                </a:lnTo>
                <a:lnTo>
                  <a:pt x="680" y="136"/>
                </a:lnTo>
                <a:lnTo>
                  <a:pt x="680" y="134"/>
                </a:lnTo>
                <a:lnTo>
                  <a:pt x="681" y="130"/>
                </a:lnTo>
                <a:lnTo>
                  <a:pt x="682" y="124"/>
                </a:lnTo>
                <a:lnTo>
                  <a:pt x="683" y="118"/>
                </a:lnTo>
                <a:lnTo>
                  <a:pt x="683" y="117"/>
                </a:lnTo>
                <a:lnTo>
                  <a:pt x="683" y="115"/>
                </a:lnTo>
                <a:lnTo>
                  <a:pt x="685" y="113"/>
                </a:lnTo>
                <a:lnTo>
                  <a:pt x="687" y="111"/>
                </a:lnTo>
                <a:lnTo>
                  <a:pt x="690" y="107"/>
                </a:lnTo>
                <a:lnTo>
                  <a:pt x="694" y="95"/>
                </a:lnTo>
                <a:lnTo>
                  <a:pt x="700" y="83"/>
                </a:lnTo>
                <a:lnTo>
                  <a:pt x="699" y="82"/>
                </a:lnTo>
                <a:lnTo>
                  <a:pt x="698" y="81"/>
                </a:lnTo>
                <a:lnTo>
                  <a:pt x="699" y="78"/>
                </a:lnTo>
                <a:lnTo>
                  <a:pt x="702" y="63"/>
                </a:lnTo>
                <a:lnTo>
                  <a:pt x="703" y="62"/>
                </a:lnTo>
                <a:lnTo>
                  <a:pt x="704" y="57"/>
                </a:lnTo>
                <a:lnTo>
                  <a:pt x="705" y="51"/>
                </a:lnTo>
                <a:lnTo>
                  <a:pt x="705" y="46"/>
                </a:lnTo>
                <a:lnTo>
                  <a:pt x="705" y="44"/>
                </a:lnTo>
                <a:lnTo>
                  <a:pt x="705" y="41"/>
                </a:lnTo>
                <a:lnTo>
                  <a:pt x="703" y="35"/>
                </a:lnTo>
                <a:lnTo>
                  <a:pt x="701" y="24"/>
                </a:lnTo>
                <a:lnTo>
                  <a:pt x="700" y="20"/>
                </a:lnTo>
                <a:lnTo>
                  <a:pt x="702" y="18"/>
                </a:lnTo>
                <a:lnTo>
                  <a:pt x="699" y="18"/>
                </a:lnTo>
                <a:lnTo>
                  <a:pt x="698" y="16"/>
                </a:lnTo>
                <a:lnTo>
                  <a:pt x="698" y="13"/>
                </a:lnTo>
                <a:lnTo>
                  <a:pt x="701" y="8"/>
                </a:lnTo>
                <a:lnTo>
                  <a:pt x="704" y="5"/>
                </a:lnTo>
                <a:lnTo>
                  <a:pt x="707" y="4"/>
                </a:lnTo>
                <a:lnTo>
                  <a:pt x="709" y="3"/>
                </a:lnTo>
                <a:lnTo>
                  <a:pt x="716" y="1"/>
                </a:lnTo>
                <a:lnTo>
                  <a:pt x="717" y="0"/>
                </a:lnTo>
                <a:lnTo>
                  <a:pt x="719" y="0"/>
                </a:lnTo>
                <a:lnTo>
                  <a:pt x="719" y="1"/>
                </a:lnTo>
                <a:lnTo>
                  <a:pt x="720" y="3"/>
                </a:lnTo>
                <a:lnTo>
                  <a:pt x="721" y="4"/>
                </a:lnTo>
                <a:lnTo>
                  <a:pt x="722" y="5"/>
                </a:lnTo>
                <a:lnTo>
                  <a:pt x="719" y="9"/>
                </a:lnTo>
                <a:lnTo>
                  <a:pt x="719" y="10"/>
                </a:lnTo>
                <a:lnTo>
                  <a:pt x="720" y="13"/>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0" name="Romania">
            <a:extLst>
              <a:ext uri="{FF2B5EF4-FFF2-40B4-BE49-F238E27FC236}">
                <a16:creationId xmlns:a16="http://schemas.microsoft.com/office/drawing/2014/main" id="{72AB1E55-69F5-4B50-A201-0E6C8FC072A9}"/>
              </a:ext>
            </a:extLst>
          </p:cNvPr>
          <p:cNvSpPr>
            <a:spLocks/>
          </p:cNvSpPr>
          <p:nvPr/>
        </p:nvSpPr>
        <p:spPr bwMode="auto">
          <a:xfrm>
            <a:off x="6426159" y="3188981"/>
            <a:ext cx="283465" cy="174583"/>
          </a:xfrm>
          <a:custGeom>
            <a:avLst/>
            <a:gdLst>
              <a:gd name="T0" fmla="*/ 266 w 295"/>
              <a:gd name="T1" fmla="*/ 138 h 206"/>
              <a:gd name="T2" fmla="*/ 267 w 295"/>
              <a:gd name="T3" fmla="*/ 135 h 206"/>
              <a:gd name="T4" fmla="*/ 286 w 295"/>
              <a:gd name="T5" fmla="*/ 130 h 206"/>
              <a:gd name="T6" fmla="*/ 295 w 295"/>
              <a:gd name="T7" fmla="*/ 142 h 206"/>
              <a:gd name="T8" fmla="*/ 276 w 295"/>
              <a:gd name="T9" fmla="*/ 157 h 206"/>
              <a:gd name="T10" fmla="*/ 271 w 295"/>
              <a:gd name="T11" fmla="*/ 150 h 206"/>
              <a:gd name="T12" fmla="*/ 269 w 295"/>
              <a:gd name="T13" fmla="*/ 164 h 206"/>
              <a:gd name="T14" fmla="*/ 264 w 295"/>
              <a:gd name="T15" fmla="*/ 176 h 206"/>
              <a:gd name="T16" fmla="*/ 255 w 295"/>
              <a:gd name="T17" fmla="*/ 203 h 206"/>
              <a:gd name="T18" fmla="*/ 239 w 295"/>
              <a:gd name="T19" fmla="*/ 192 h 206"/>
              <a:gd name="T20" fmla="*/ 224 w 295"/>
              <a:gd name="T21" fmla="*/ 191 h 206"/>
              <a:gd name="T22" fmla="*/ 187 w 295"/>
              <a:gd name="T23" fmla="*/ 192 h 206"/>
              <a:gd name="T24" fmla="*/ 154 w 295"/>
              <a:gd name="T25" fmla="*/ 205 h 206"/>
              <a:gd name="T26" fmla="*/ 103 w 295"/>
              <a:gd name="T27" fmla="*/ 198 h 206"/>
              <a:gd name="T28" fmla="*/ 82 w 295"/>
              <a:gd name="T29" fmla="*/ 194 h 206"/>
              <a:gd name="T30" fmla="*/ 85 w 295"/>
              <a:gd name="T31" fmla="*/ 186 h 206"/>
              <a:gd name="T32" fmla="*/ 75 w 295"/>
              <a:gd name="T33" fmla="*/ 178 h 206"/>
              <a:gd name="T34" fmla="*/ 72 w 295"/>
              <a:gd name="T35" fmla="*/ 168 h 206"/>
              <a:gd name="T36" fmla="*/ 75 w 295"/>
              <a:gd name="T37" fmla="*/ 164 h 206"/>
              <a:gd name="T38" fmla="*/ 56 w 295"/>
              <a:gd name="T39" fmla="*/ 165 h 206"/>
              <a:gd name="T40" fmla="*/ 40 w 295"/>
              <a:gd name="T41" fmla="*/ 157 h 206"/>
              <a:gd name="T42" fmla="*/ 40 w 295"/>
              <a:gd name="T43" fmla="*/ 153 h 206"/>
              <a:gd name="T44" fmla="*/ 36 w 295"/>
              <a:gd name="T45" fmla="*/ 149 h 206"/>
              <a:gd name="T46" fmla="*/ 37 w 295"/>
              <a:gd name="T47" fmla="*/ 147 h 206"/>
              <a:gd name="T48" fmla="*/ 38 w 295"/>
              <a:gd name="T49" fmla="*/ 141 h 206"/>
              <a:gd name="T50" fmla="*/ 27 w 295"/>
              <a:gd name="T51" fmla="*/ 135 h 206"/>
              <a:gd name="T52" fmla="*/ 17 w 295"/>
              <a:gd name="T53" fmla="*/ 127 h 206"/>
              <a:gd name="T54" fmla="*/ 17 w 295"/>
              <a:gd name="T55" fmla="*/ 119 h 206"/>
              <a:gd name="T56" fmla="*/ 15 w 295"/>
              <a:gd name="T57" fmla="*/ 116 h 206"/>
              <a:gd name="T58" fmla="*/ 6 w 295"/>
              <a:gd name="T59" fmla="*/ 107 h 206"/>
              <a:gd name="T60" fmla="*/ 9 w 295"/>
              <a:gd name="T61" fmla="*/ 96 h 206"/>
              <a:gd name="T62" fmla="*/ 16 w 295"/>
              <a:gd name="T63" fmla="*/ 94 h 206"/>
              <a:gd name="T64" fmla="*/ 29 w 295"/>
              <a:gd name="T65" fmla="*/ 90 h 206"/>
              <a:gd name="T66" fmla="*/ 32 w 295"/>
              <a:gd name="T67" fmla="*/ 82 h 206"/>
              <a:gd name="T68" fmla="*/ 39 w 295"/>
              <a:gd name="T69" fmla="*/ 72 h 206"/>
              <a:gd name="T70" fmla="*/ 44 w 295"/>
              <a:gd name="T71" fmla="*/ 58 h 206"/>
              <a:gd name="T72" fmla="*/ 52 w 295"/>
              <a:gd name="T73" fmla="*/ 44 h 206"/>
              <a:gd name="T74" fmla="*/ 59 w 295"/>
              <a:gd name="T75" fmla="*/ 32 h 206"/>
              <a:gd name="T76" fmla="*/ 68 w 295"/>
              <a:gd name="T77" fmla="*/ 24 h 206"/>
              <a:gd name="T78" fmla="*/ 82 w 295"/>
              <a:gd name="T79" fmla="*/ 16 h 206"/>
              <a:gd name="T80" fmla="*/ 91 w 295"/>
              <a:gd name="T81" fmla="*/ 9 h 206"/>
              <a:gd name="T82" fmla="*/ 108 w 295"/>
              <a:gd name="T83" fmla="*/ 13 h 206"/>
              <a:gd name="T84" fmla="*/ 123 w 295"/>
              <a:gd name="T85" fmla="*/ 17 h 206"/>
              <a:gd name="T86" fmla="*/ 138 w 295"/>
              <a:gd name="T87" fmla="*/ 18 h 206"/>
              <a:gd name="T88" fmla="*/ 154 w 295"/>
              <a:gd name="T89" fmla="*/ 21 h 206"/>
              <a:gd name="T90" fmla="*/ 187 w 295"/>
              <a:gd name="T91" fmla="*/ 10 h 206"/>
              <a:gd name="T92" fmla="*/ 199 w 295"/>
              <a:gd name="T93" fmla="*/ 1 h 206"/>
              <a:gd name="T94" fmla="*/ 211 w 295"/>
              <a:gd name="T95" fmla="*/ 8 h 206"/>
              <a:gd name="T96" fmla="*/ 220 w 295"/>
              <a:gd name="T97" fmla="*/ 26 h 206"/>
              <a:gd name="T98" fmla="*/ 230 w 295"/>
              <a:gd name="T99" fmla="*/ 43 h 206"/>
              <a:gd name="T100" fmla="*/ 241 w 295"/>
              <a:gd name="T101" fmla="*/ 57 h 206"/>
              <a:gd name="T102" fmla="*/ 249 w 295"/>
              <a:gd name="T103" fmla="*/ 81 h 206"/>
              <a:gd name="T104" fmla="*/ 246 w 295"/>
              <a:gd name="T105" fmla="*/ 109 h 206"/>
              <a:gd name="T106" fmla="*/ 246 w 295"/>
              <a:gd name="T107" fmla="*/ 12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5" h="206">
                <a:moveTo>
                  <a:pt x="249" y="128"/>
                </a:moveTo>
                <a:lnTo>
                  <a:pt x="249" y="128"/>
                </a:lnTo>
                <a:lnTo>
                  <a:pt x="252" y="133"/>
                </a:lnTo>
                <a:lnTo>
                  <a:pt x="256" y="135"/>
                </a:lnTo>
                <a:lnTo>
                  <a:pt x="266" y="138"/>
                </a:lnTo>
                <a:lnTo>
                  <a:pt x="267" y="138"/>
                </a:lnTo>
                <a:lnTo>
                  <a:pt x="267" y="137"/>
                </a:lnTo>
                <a:lnTo>
                  <a:pt x="266" y="136"/>
                </a:lnTo>
                <a:lnTo>
                  <a:pt x="266" y="136"/>
                </a:lnTo>
                <a:lnTo>
                  <a:pt x="267" y="135"/>
                </a:lnTo>
                <a:lnTo>
                  <a:pt x="268" y="135"/>
                </a:lnTo>
                <a:lnTo>
                  <a:pt x="270" y="135"/>
                </a:lnTo>
                <a:lnTo>
                  <a:pt x="274" y="134"/>
                </a:lnTo>
                <a:lnTo>
                  <a:pt x="280" y="130"/>
                </a:lnTo>
                <a:lnTo>
                  <a:pt x="286" y="130"/>
                </a:lnTo>
                <a:lnTo>
                  <a:pt x="291" y="132"/>
                </a:lnTo>
                <a:lnTo>
                  <a:pt x="294" y="134"/>
                </a:lnTo>
                <a:lnTo>
                  <a:pt x="295" y="137"/>
                </a:lnTo>
                <a:lnTo>
                  <a:pt x="295" y="140"/>
                </a:lnTo>
                <a:lnTo>
                  <a:pt x="295" y="142"/>
                </a:lnTo>
                <a:lnTo>
                  <a:pt x="293" y="149"/>
                </a:lnTo>
                <a:lnTo>
                  <a:pt x="292" y="152"/>
                </a:lnTo>
                <a:lnTo>
                  <a:pt x="291" y="155"/>
                </a:lnTo>
                <a:lnTo>
                  <a:pt x="275" y="159"/>
                </a:lnTo>
                <a:lnTo>
                  <a:pt x="276" y="157"/>
                </a:lnTo>
                <a:lnTo>
                  <a:pt x="276" y="154"/>
                </a:lnTo>
                <a:lnTo>
                  <a:pt x="275" y="151"/>
                </a:lnTo>
                <a:lnTo>
                  <a:pt x="276" y="149"/>
                </a:lnTo>
                <a:lnTo>
                  <a:pt x="273" y="149"/>
                </a:lnTo>
                <a:lnTo>
                  <a:pt x="271" y="150"/>
                </a:lnTo>
                <a:lnTo>
                  <a:pt x="270" y="152"/>
                </a:lnTo>
                <a:lnTo>
                  <a:pt x="271" y="157"/>
                </a:lnTo>
                <a:lnTo>
                  <a:pt x="269" y="159"/>
                </a:lnTo>
                <a:lnTo>
                  <a:pt x="269" y="161"/>
                </a:lnTo>
                <a:lnTo>
                  <a:pt x="269" y="164"/>
                </a:lnTo>
                <a:lnTo>
                  <a:pt x="268" y="166"/>
                </a:lnTo>
                <a:lnTo>
                  <a:pt x="267" y="167"/>
                </a:lnTo>
                <a:lnTo>
                  <a:pt x="270" y="167"/>
                </a:lnTo>
                <a:lnTo>
                  <a:pt x="269" y="170"/>
                </a:lnTo>
                <a:lnTo>
                  <a:pt x="264" y="176"/>
                </a:lnTo>
                <a:lnTo>
                  <a:pt x="262" y="179"/>
                </a:lnTo>
                <a:lnTo>
                  <a:pt x="263" y="192"/>
                </a:lnTo>
                <a:lnTo>
                  <a:pt x="261" y="201"/>
                </a:lnTo>
                <a:lnTo>
                  <a:pt x="261" y="203"/>
                </a:lnTo>
                <a:lnTo>
                  <a:pt x="255" y="203"/>
                </a:lnTo>
                <a:lnTo>
                  <a:pt x="254" y="203"/>
                </a:lnTo>
                <a:lnTo>
                  <a:pt x="249" y="202"/>
                </a:lnTo>
                <a:lnTo>
                  <a:pt x="244" y="199"/>
                </a:lnTo>
                <a:lnTo>
                  <a:pt x="241" y="195"/>
                </a:lnTo>
                <a:lnTo>
                  <a:pt x="239" y="192"/>
                </a:lnTo>
                <a:lnTo>
                  <a:pt x="234" y="194"/>
                </a:lnTo>
                <a:lnTo>
                  <a:pt x="233" y="193"/>
                </a:lnTo>
                <a:lnTo>
                  <a:pt x="232" y="192"/>
                </a:lnTo>
                <a:lnTo>
                  <a:pt x="229" y="191"/>
                </a:lnTo>
                <a:lnTo>
                  <a:pt x="224" y="191"/>
                </a:lnTo>
                <a:lnTo>
                  <a:pt x="215" y="185"/>
                </a:lnTo>
                <a:lnTo>
                  <a:pt x="214" y="185"/>
                </a:lnTo>
                <a:lnTo>
                  <a:pt x="206" y="185"/>
                </a:lnTo>
                <a:lnTo>
                  <a:pt x="195" y="188"/>
                </a:lnTo>
                <a:lnTo>
                  <a:pt x="187" y="192"/>
                </a:lnTo>
                <a:lnTo>
                  <a:pt x="178" y="197"/>
                </a:lnTo>
                <a:lnTo>
                  <a:pt x="174" y="202"/>
                </a:lnTo>
                <a:lnTo>
                  <a:pt x="170" y="204"/>
                </a:lnTo>
                <a:lnTo>
                  <a:pt x="164" y="206"/>
                </a:lnTo>
                <a:lnTo>
                  <a:pt x="154" y="205"/>
                </a:lnTo>
                <a:lnTo>
                  <a:pt x="143" y="203"/>
                </a:lnTo>
                <a:lnTo>
                  <a:pt x="131" y="201"/>
                </a:lnTo>
                <a:lnTo>
                  <a:pt x="125" y="202"/>
                </a:lnTo>
                <a:lnTo>
                  <a:pt x="116" y="201"/>
                </a:lnTo>
                <a:lnTo>
                  <a:pt x="103" y="198"/>
                </a:lnTo>
                <a:lnTo>
                  <a:pt x="93" y="197"/>
                </a:lnTo>
                <a:lnTo>
                  <a:pt x="84" y="199"/>
                </a:lnTo>
                <a:lnTo>
                  <a:pt x="82" y="198"/>
                </a:lnTo>
                <a:lnTo>
                  <a:pt x="82" y="196"/>
                </a:lnTo>
                <a:lnTo>
                  <a:pt x="82" y="194"/>
                </a:lnTo>
                <a:lnTo>
                  <a:pt x="84" y="192"/>
                </a:lnTo>
                <a:lnTo>
                  <a:pt x="86" y="191"/>
                </a:lnTo>
                <a:lnTo>
                  <a:pt x="87" y="190"/>
                </a:lnTo>
                <a:lnTo>
                  <a:pt x="87" y="188"/>
                </a:lnTo>
                <a:lnTo>
                  <a:pt x="85" y="186"/>
                </a:lnTo>
                <a:lnTo>
                  <a:pt x="79" y="183"/>
                </a:lnTo>
                <a:lnTo>
                  <a:pt x="77" y="182"/>
                </a:lnTo>
                <a:lnTo>
                  <a:pt x="77" y="181"/>
                </a:lnTo>
                <a:lnTo>
                  <a:pt x="76" y="179"/>
                </a:lnTo>
                <a:lnTo>
                  <a:pt x="75" y="178"/>
                </a:lnTo>
                <a:lnTo>
                  <a:pt x="73" y="177"/>
                </a:lnTo>
                <a:lnTo>
                  <a:pt x="72" y="175"/>
                </a:lnTo>
                <a:lnTo>
                  <a:pt x="71" y="173"/>
                </a:lnTo>
                <a:lnTo>
                  <a:pt x="71" y="171"/>
                </a:lnTo>
                <a:lnTo>
                  <a:pt x="72" y="168"/>
                </a:lnTo>
                <a:lnTo>
                  <a:pt x="74" y="167"/>
                </a:lnTo>
                <a:lnTo>
                  <a:pt x="77" y="168"/>
                </a:lnTo>
                <a:lnTo>
                  <a:pt x="78" y="167"/>
                </a:lnTo>
                <a:lnTo>
                  <a:pt x="78" y="166"/>
                </a:lnTo>
                <a:lnTo>
                  <a:pt x="75" y="164"/>
                </a:lnTo>
                <a:lnTo>
                  <a:pt x="71" y="161"/>
                </a:lnTo>
                <a:lnTo>
                  <a:pt x="66" y="162"/>
                </a:lnTo>
                <a:lnTo>
                  <a:pt x="61" y="167"/>
                </a:lnTo>
                <a:lnTo>
                  <a:pt x="58" y="168"/>
                </a:lnTo>
                <a:lnTo>
                  <a:pt x="56" y="165"/>
                </a:lnTo>
                <a:lnTo>
                  <a:pt x="52" y="163"/>
                </a:lnTo>
                <a:lnTo>
                  <a:pt x="47" y="162"/>
                </a:lnTo>
                <a:lnTo>
                  <a:pt x="44" y="161"/>
                </a:lnTo>
                <a:lnTo>
                  <a:pt x="43" y="159"/>
                </a:lnTo>
                <a:lnTo>
                  <a:pt x="40" y="157"/>
                </a:lnTo>
                <a:lnTo>
                  <a:pt x="35" y="156"/>
                </a:lnTo>
                <a:lnTo>
                  <a:pt x="35" y="154"/>
                </a:lnTo>
                <a:lnTo>
                  <a:pt x="36" y="154"/>
                </a:lnTo>
                <a:lnTo>
                  <a:pt x="38" y="154"/>
                </a:lnTo>
                <a:lnTo>
                  <a:pt x="40" y="153"/>
                </a:lnTo>
                <a:lnTo>
                  <a:pt x="41" y="153"/>
                </a:lnTo>
                <a:lnTo>
                  <a:pt x="41" y="152"/>
                </a:lnTo>
                <a:lnTo>
                  <a:pt x="39" y="151"/>
                </a:lnTo>
                <a:lnTo>
                  <a:pt x="37" y="150"/>
                </a:lnTo>
                <a:lnTo>
                  <a:pt x="36" y="149"/>
                </a:lnTo>
                <a:lnTo>
                  <a:pt x="35" y="149"/>
                </a:lnTo>
                <a:lnTo>
                  <a:pt x="35" y="148"/>
                </a:lnTo>
                <a:lnTo>
                  <a:pt x="36" y="147"/>
                </a:lnTo>
                <a:lnTo>
                  <a:pt x="36" y="147"/>
                </a:lnTo>
                <a:lnTo>
                  <a:pt x="37" y="147"/>
                </a:lnTo>
                <a:lnTo>
                  <a:pt x="37" y="145"/>
                </a:lnTo>
                <a:lnTo>
                  <a:pt x="39" y="143"/>
                </a:lnTo>
                <a:lnTo>
                  <a:pt x="39" y="143"/>
                </a:lnTo>
                <a:lnTo>
                  <a:pt x="39" y="142"/>
                </a:lnTo>
                <a:lnTo>
                  <a:pt x="38" y="141"/>
                </a:lnTo>
                <a:lnTo>
                  <a:pt x="37" y="140"/>
                </a:lnTo>
                <a:lnTo>
                  <a:pt x="36" y="139"/>
                </a:lnTo>
                <a:lnTo>
                  <a:pt x="31" y="138"/>
                </a:lnTo>
                <a:lnTo>
                  <a:pt x="29" y="135"/>
                </a:lnTo>
                <a:lnTo>
                  <a:pt x="27" y="135"/>
                </a:lnTo>
                <a:lnTo>
                  <a:pt x="25" y="134"/>
                </a:lnTo>
                <a:lnTo>
                  <a:pt x="22" y="132"/>
                </a:lnTo>
                <a:lnTo>
                  <a:pt x="20" y="129"/>
                </a:lnTo>
                <a:lnTo>
                  <a:pt x="18" y="128"/>
                </a:lnTo>
                <a:lnTo>
                  <a:pt x="17" y="127"/>
                </a:lnTo>
                <a:lnTo>
                  <a:pt x="17" y="126"/>
                </a:lnTo>
                <a:lnTo>
                  <a:pt x="17" y="125"/>
                </a:lnTo>
                <a:lnTo>
                  <a:pt x="17" y="125"/>
                </a:lnTo>
                <a:lnTo>
                  <a:pt x="17" y="122"/>
                </a:lnTo>
                <a:lnTo>
                  <a:pt x="17" y="119"/>
                </a:lnTo>
                <a:lnTo>
                  <a:pt x="17" y="116"/>
                </a:lnTo>
                <a:lnTo>
                  <a:pt x="17" y="115"/>
                </a:lnTo>
                <a:lnTo>
                  <a:pt x="16" y="115"/>
                </a:lnTo>
                <a:lnTo>
                  <a:pt x="16" y="115"/>
                </a:lnTo>
                <a:lnTo>
                  <a:pt x="15" y="116"/>
                </a:lnTo>
                <a:lnTo>
                  <a:pt x="15" y="116"/>
                </a:lnTo>
                <a:lnTo>
                  <a:pt x="13" y="114"/>
                </a:lnTo>
                <a:lnTo>
                  <a:pt x="11" y="110"/>
                </a:lnTo>
                <a:lnTo>
                  <a:pt x="9" y="108"/>
                </a:lnTo>
                <a:lnTo>
                  <a:pt x="6" y="107"/>
                </a:lnTo>
                <a:lnTo>
                  <a:pt x="4" y="105"/>
                </a:lnTo>
                <a:lnTo>
                  <a:pt x="2" y="102"/>
                </a:lnTo>
                <a:lnTo>
                  <a:pt x="0" y="99"/>
                </a:lnTo>
                <a:lnTo>
                  <a:pt x="2" y="98"/>
                </a:lnTo>
                <a:lnTo>
                  <a:pt x="9" y="96"/>
                </a:lnTo>
                <a:lnTo>
                  <a:pt x="12" y="98"/>
                </a:lnTo>
                <a:lnTo>
                  <a:pt x="13" y="97"/>
                </a:lnTo>
                <a:lnTo>
                  <a:pt x="15" y="96"/>
                </a:lnTo>
                <a:lnTo>
                  <a:pt x="16" y="95"/>
                </a:lnTo>
                <a:lnTo>
                  <a:pt x="16" y="94"/>
                </a:lnTo>
                <a:lnTo>
                  <a:pt x="16" y="93"/>
                </a:lnTo>
                <a:lnTo>
                  <a:pt x="19" y="92"/>
                </a:lnTo>
                <a:lnTo>
                  <a:pt x="25" y="93"/>
                </a:lnTo>
                <a:lnTo>
                  <a:pt x="28" y="91"/>
                </a:lnTo>
                <a:lnTo>
                  <a:pt x="29" y="90"/>
                </a:lnTo>
                <a:lnTo>
                  <a:pt x="29" y="88"/>
                </a:lnTo>
                <a:lnTo>
                  <a:pt x="30" y="86"/>
                </a:lnTo>
                <a:lnTo>
                  <a:pt x="32" y="85"/>
                </a:lnTo>
                <a:lnTo>
                  <a:pt x="32" y="84"/>
                </a:lnTo>
                <a:lnTo>
                  <a:pt x="32" y="82"/>
                </a:lnTo>
                <a:lnTo>
                  <a:pt x="33" y="78"/>
                </a:lnTo>
                <a:lnTo>
                  <a:pt x="34" y="77"/>
                </a:lnTo>
                <a:lnTo>
                  <a:pt x="35" y="76"/>
                </a:lnTo>
                <a:lnTo>
                  <a:pt x="37" y="75"/>
                </a:lnTo>
                <a:lnTo>
                  <a:pt x="39" y="72"/>
                </a:lnTo>
                <a:lnTo>
                  <a:pt x="39" y="70"/>
                </a:lnTo>
                <a:lnTo>
                  <a:pt x="39" y="68"/>
                </a:lnTo>
                <a:lnTo>
                  <a:pt x="42" y="64"/>
                </a:lnTo>
                <a:lnTo>
                  <a:pt x="44" y="60"/>
                </a:lnTo>
                <a:lnTo>
                  <a:pt x="44" y="58"/>
                </a:lnTo>
                <a:lnTo>
                  <a:pt x="45" y="57"/>
                </a:lnTo>
                <a:lnTo>
                  <a:pt x="47" y="55"/>
                </a:lnTo>
                <a:lnTo>
                  <a:pt x="48" y="52"/>
                </a:lnTo>
                <a:lnTo>
                  <a:pt x="51" y="45"/>
                </a:lnTo>
                <a:lnTo>
                  <a:pt x="52" y="44"/>
                </a:lnTo>
                <a:lnTo>
                  <a:pt x="54" y="42"/>
                </a:lnTo>
                <a:lnTo>
                  <a:pt x="55" y="41"/>
                </a:lnTo>
                <a:lnTo>
                  <a:pt x="55" y="36"/>
                </a:lnTo>
                <a:lnTo>
                  <a:pt x="56" y="34"/>
                </a:lnTo>
                <a:lnTo>
                  <a:pt x="59" y="32"/>
                </a:lnTo>
                <a:lnTo>
                  <a:pt x="61" y="30"/>
                </a:lnTo>
                <a:lnTo>
                  <a:pt x="63" y="27"/>
                </a:lnTo>
                <a:lnTo>
                  <a:pt x="64" y="25"/>
                </a:lnTo>
                <a:lnTo>
                  <a:pt x="66" y="25"/>
                </a:lnTo>
                <a:lnTo>
                  <a:pt x="68" y="24"/>
                </a:lnTo>
                <a:lnTo>
                  <a:pt x="70" y="23"/>
                </a:lnTo>
                <a:lnTo>
                  <a:pt x="73" y="24"/>
                </a:lnTo>
                <a:lnTo>
                  <a:pt x="74" y="24"/>
                </a:lnTo>
                <a:lnTo>
                  <a:pt x="76" y="22"/>
                </a:lnTo>
                <a:lnTo>
                  <a:pt x="82" y="16"/>
                </a:lnTo>
                <a:lnTo>
                  <a:pt x="82" y="15"/>
                </a:lnTo>
                <a:lnTo>
                  <a:pt x="84" y="14"/>
                </a:lnTo>
                <a:lnTo>
                  <a:pt x="88" y="12"/>
                </a:lnTo>
                <a:lnTo>
                  <a:pt x="89" y="10"/>
                </a:lnTo>
                <a:lnTo>
                  <a:pt x="91" y="9"/>
                </a:lnTo>
                <a:lnTo>
                  <a:pt x="93" y="9"/>
                </a:lnTo>
                <a:lnTo>
                  <a:pt x="99" y="13"/>
                </a:lnTo>
                <a:lnTo>
                  <a:pt x="106" y="13"/>
                </a:lnTo>
                <a:lnTo>
                  <a:pt x="107" y="13"/>
                </a:lnTo>
                <a:lnTo>
                  <a:pt x="108" y="13"/>
                </a:lnTo>
                <a:lnTo>
                  <a:pt x="108" y="13"/>
                </a:lnTo>
                <a:lnTo>
                  <a:pt x="118" y="16"/>
                </a:lnTo>
                <a:lnTo>
                  <a:pt x="119" y="15"/>
                </a:lnTo>
                <a:lnTo>
                  <a:pt x="119" y="15"/>
                </a:lnTo>
                <a:lnTo>
                  <a:pt x="123" y="17"/>
                </a:lnTo>
                <a:lnTo>
                  <a:pt x="126" y="17"/>
                </a:lnTo>
                <a:lnTo>
                  <a:pt x="129" y="16"/>
                </a:lnTo>
                <a:lnTo>
                  <a:pt x="133" y="15"/>
                </a:lnTo>
                <a:lnTo>
                  <a:pt x="136" y="16"/>
                </a:lnTo>
                <a:lnTo>
                  <a:pt x="138" y="18"/>
                </a:lnTo>
                <a:lnTo>
                  <a:pt x="144" y="24"/>
                </a:lnTo>
                <a:lnTo>
                  <a:pt x="145" y="26"/>
                </a:lnTo>
                <a:lnTo>
                  <a:pt x="148" y="25"/>
                </a:lnTo>
                <a:lnTo>
                  <a:pt x="151" y="24"/>
                </a:lnTo>
                <a:lnTo>
                  <a:pt x="154" y="21"/>
                </a:lnTo>
                <a:lnTo>
                  <a:pt x="163" y="17"/>
                </a:lnTo>
                <a:lnTo>
                  <a:pt x="170" y="16"/>
                </a:lnTo>
                <a:lnTo>
                  <a:pt x="177" y="14"/>
                </a:lnTo>
                <a:lnTo>
                  <a:pt x="185" y="13"/>
                </a:lnTo>
                <a:lnTo>
                  <a:pt x="187" y="10"/>
                </a:lnTo>
                <a:lnTo>
                  <a:pt x="189" y="7"/>
                </a:lnTo>
                <a:lnTo>
                  <a:pt x="189" y="3"/>
                </a:lnTo>
                <a:lnTo>
                  <a:pt x="194" y="2"/>
                </a:lnTo>
                <a:lnTo>
                  <a:pt x="198" y="1"/>
                </a:lnTo>
                <a:lnTo>
                  <a:pt x="199" y="1"/>
                </a:lnTo>
                <a:lnTo>
                  <a:pt x="202" y="0"/>
                </a:lnTo>
                <a:lnTo>
                  <a:pt x="204" y="1"/>
                </a:lnTo>
                <a:lnTo>
                  <a:pt x="208" y="3"/>
                </a:lnTo>
                <a:lnTo>
                  <a:pt x="210" y="5"/>
                </a:lnTo>
                <a:lnTo>
                  <a:pt x="211" y="8"/>
                </a:lnTo>
                <a:lnTo>
                  <a:pt x="214" y="11"/>
                </a:lnTo>
                <a:lnTo>
                  <a:pt x="216" y="15"/>
                </a:lnTo>
                <a:lnTo>
                  <a:pt x="218" y="20"/>
                </a:lnTo>
                <a:lnTo>
                  <a:pt x="219" y="23"/>
                </a:lnTo>
                <a:lnTo>
                  <a:pt x="220" y="26"/>
                </a:lnTo>
                <a:lnTo>
                  <a:pt x="222" y="29"/>
                </a:lnTo>
                <a:lnTo>
                  <a:pt x="225" y="33"/>
                </a:lnTo>
                <a:lnTo>
                  <a:pt x="226" y="34"/>
                </a:lnTo>
                <a:lnTo>
                  <a:pt x="227" y="37"/>
                </a:lnTo>
                <a:lnTo>
                  <a:pt x="230" y="43"/>
                </a:lnTo>
                <a:lnTo>
                  <a:pt x="233" y="46"/>
                </a:lnTo>
                <a:lnTo>
                  <a:pt x="235" y="48"/>
                </a:lnTo>
                <a:lnTo>
                  <a:pt x="236" y="51"/>
                </a:lnTo>
                <a:lnTo>
                  <a:pt x="238" y="53"/>
                </a:lnTo>
                <a:lnTo>
                  <a:pt x="241" y="57"/>
                </a:lnTo>
                <a:lnTo>
                  <a:pt x="244" y="60"/>
                </a:lnTo>
                <a:lnTo>
                  <a:pt x="247" y="68"/>
                </a:lnTo>
                <a:lnTo>
                  <a:pt x="249" y="72"/>
                </a:lnTo>
                <a:lnTo>
                  <a:pt x="250" y="75"/>
                </a:lnTo>
                <a:lnTo>
                  <a:pt x="249" y="81"/>
                </a:lnTo>
                <a:lnTo>
                  <a:pt x="250" y="84"/>
                </a:lnTo>
                <a:lnTo>
                  <a:pt x="248" y="88"/>
                </a:lnTo>
                <a:lnTo>
                  <a:pt x="246" y="98"/>
                </a:lnTo>
                <a:lnTo>
                  <a:pt x="245" y="105"/>
                </a:lnTo>
                <a:lnTo>
                  <a:pt x="246" y="109"/>
                </a:lnTo>
                <a:lnTo>
                  <a:pt x="246" y="112"/>
                </a:lnTo>
                <a:lnTo>
                  <a:pt x="246" y="113"/>
                </a:lnTo>
                <a:lnTo>
                  <a:pt x="247" y="117"/>
                </a:lnTo>
                <a:lnTo>
                  <a:pt x="247" y="120"/>
                </a:lnTo>
                <a:lnTo>
                  <a:pt x="246" y="120"/>
                </a:lnTo>
                <a:lnTo>
                  <a:pt x="245" y="121"/>
                </a:lnTo>
                <a:lnTo>
                  <a:pt x="245" y="122"/>
                </a:lnTo>
                <a:lnTo>
                  <a:pt x="246" y="123"/>
                </a:lnTo>
                <a:lnTo>
                  <a:pt x="247" y="126"/>
                </a:lnTo>
              </a:path>
            </a:pathLst>
          </a:custGeom>
          <a:solidFill>
            <a:schemeClr val="accent1"/>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1" name="Serbia">
            <a:extLst>
              <a:ext uri="{FF2B5EF4-FFF2-40B4-BE49-F238E27FC236}">
                <a16:creationId xmlns:a16="http://schemas.microsoft.com/office/drawing/2014/main" id="{7D03BE2B-2C9C-423D-BE5F-A6E3788CE256}"/>
              </a:ext>
            </a:extLst>
          </p:cNvPr>
          <p:cNvSpPr>
            <a:spLocks/>
          </p:cNvSpPr>
          <p:nvPr/>
        </p:nvSpPr>
        <p:spPr bwMode="auto">
          <a:xfrm>
            <a:off x="6383752" y="3271367"/>
            <a:ext cx="124992" cy="145158"/>
          </a:xfrm>
          <a:custGeom>
            <a:avLst/>
            <a:gdLst>
              <a:gd name="T0" fmla="*/ 41 w 129"/>
              <a:gd name="T1" fmla="*/ 2 h 171"/>
              <a:gd name="T2" fmla="*/ 49 w 129"/>
              <a:gd name="T3" fmla="*/ 11 h 171"/>
              <a:gd name="T4" fmla="*/ 58 w 129"/>
              <a:gd name="T5" fmla="*/ 20 h 171"/>
              <a:gd name="T6" fmla="*/ 60 w 129"/>
              <a:gd name="T7" fmla="*/ 23 h 171"/>
              <a:gd name="T8" fmla="*/ 60 w 129"/>
              <a:gd name="T9" fmla="*/ 31 h 171"/>
              <a:gd name="T10" fmla="*/ 70 w 129"/>
              <a:gd name="T11" fmla="*/ 39 h 171"/>
              <a:gd name="T12" fmla="*/ 81 w 129"/>
              <a:gd name="T13" fmla="*/ 45 h 171"/>
              <a:gd name="T14" fmla="*/ 80 w 129"/>
              <a:gd name="T15" fmla="*/ 51 h 171"/>
              <a:gd name="T16" fmla="*/ 79 w 129"/>
              <a:gd name="T17" fmla="*/ 53 h 171"/>
              <a:gd name="T18" fmla="*/ 83 w 129"/>
              <a:gd name="T19" fmla="*/ 57 h 171"/>
              <a:gd name="T20" fmla="*/ 83 w 129"/>
              <a:gd name="T21" fmla="*/ 61 h 171"/>
              <a:gd name="T22" fmla="*/ 99 w 129"/>
              <a:gd name="T23" fmla="*/ 69 h 171"/>
              <a:gd name="T24" fmla="*/ 118 w 129"/>
              <a:gd name="T25" fmla="*/ 68 h 171"/>
              <a:gd name="T26" fmla="*/ 115 w 129"/>
              <a:gd name="T27" fmla="*/ 72 h 171"/>
              <a:gd name="T28" fmla="*/ 118 w 129"/>
              <a:gd name="T29" fmla="*/ 82 h 171"/>
              <a:gd name="T30" fmla="*/ 118 w 129"/>
              <a:gd name="T31" fmla="*/ 87 h 171"/>
              <a:gd name="T32" fmla="*/ 111 w 129"/>
              <a:gd name="T33" fmla="*/ 97 h 171"/>
              <a:gd name="T34" fmla="*/ 112 w 129"/>
              <a:gd name="T35" fmla="*/ 110 h 171"/>
              <a:gd name="T36" fmla="*/ 122 w 129"/>
              <a:gd name="T37" fmla="*/ 124 h 171"/>
              <a:gd name="T38" fmla="*/ 128 w 129"/>
              <a:gd name="T39" fmla="*/ 135 h 171"/>
              <a:gd name="T40" fmla="*/ 116 w 129"/>
              <a:gd name="T41" fmla="*/ 144 h 171"/>
              <a:gd name="T42" fmla="*/ 113 w 129"/>
              <a:gd name="T43" fmla="*/ 151 h 171"/>
              <a:gd name="T44" fmla="*/ 114 w 129"/>
              <a:gd name="T45" fmla="*/ 162 h 171"/>
              <a:gd name="T46" fmla="*/ 107 w 129"/>
              <a:gd name="T47" fmla="*/ 166 h 171"/>
              <a:gd name="T48" fmla="*/ 95 w 129"/>
              <a:gd name="T49" fmla="*/ 167 h 171"/>
              <a:gd name="T50" fmla="*/ 85 w 129"/>
              <a:gd name="T51" fmla="*/ 170 h 171"/>
              <a:gd name="T52" fmla="*/ 86 w 129"/>
              <a:gd name="T53" fmla="*/ 163 h 171"/>
              <a:gd name="T54" fmla="*/ 88 w 129"/>
              <a:gd name="T55" fmla="*/ 152 h 171"/>
              <a:gd name="T56" fmla="*/ 74 w 129"/>
              <a:gd name="T57" fmla="*/ 140 h 171"/>
              <a:gd name="T58" fmla="*/ 62 w 129"/>
              <a:gd name="T59" fmla="*/ 131 h 171"/>
              <a:gd name="T60" fmla="*/ 58 w 129"/>
              <a:gd name="T61" fmla="*/ 129 h 171"/>
              <a:gd name="T62" fmla="*/ 56 w 129"/>
              <a:gd name="T63" fmla="*/ 136 h 171"/>
              <a:gd name="T64" fmla="*/ 50 w 129"/>
              <a:gd name="T65" fmla="*/ 145 h 171"/>
              <a:gd name="T66" fmla="*/ 41 w 129"/>
              <a:gd name="T67" fmla="*/ 140 h 171"/>
              <a:gd name="T68" fmla="*/ 24 w 129"/>
              <a:gd name="T69" fmla="*/ 131 h 171"/>
              <a:gd name="T70" fmla="*/ 11 w 129"/>
              <a:gd name="T71" fmla="*/ 118 h 171"/>
              <a:gd name="T72" fmla="*/ 16 w 129"/>
              <a:gd name="T73" fmla="*/ 113 h 171"/>
              <a:gd name="T74" fmla="*/ 20 w 129"/>
              <a:gd name="T75" fmla="*/ 109 h 171"/>
              <a:gd name="T76" fmla="*/ 14 w 129"/>
              <a:gd name="T77" fmla="*/ 96 h 171"/>
              <a:gd name="T78" fmla="*/ 23 w 129"/>
              <a:gd name="T79" fmla="*/ 94 h 171"/>
              <a:gd name="T80" fmla="*/ 9 w 129"/>
              <a:gd name="T81" fmla="*/ 83 h 171"/>
              <a:gd name="T82" fmla="*/ 9 w 129"/>
              <a:gd name="T83" fmla="*/ 73 h 171"/>
              <a:gd name="T84" fmla="*/ 15 w 129"/>
              <a:gd name="T85" fmla="*/ 57 h 171"/>
              <a:gd name="T86" fmla="*/ 5 w 129"/>
              <a:gd name="T87" fmla="*/ 58 h 171"/>
              <a:gd name="T88" fmla="*/ 7 w 129"/>
              <a:gd name="T89" fmla="*/ 55 h 171"/>
              <a:gd name="T90" fmla="*/ 9 w 129"/>
              <a:gd name="T91" fmla="*/ 44 h 171"/>
              <a:gd name="T92" fmla="*/ 17 w 129"/>
              <a:gd name="T93" fmla="*/ 43 h 171"/>
              <a:gd name="T94" fmla="*/ 8 w 129"/>
              <a:gd name="T95" fmla="*/ 37 h 171"/>
              <a:gd name="T96" fmla="*/ 6 w 129"/>
              <a:gd name="T97" fmla="*/ 29 h 171"/>
              <a:gd name="T98" fmla="*/ 0 w 129"/>
              <a:gd name="T99" fmla="*/ 15 h 171"/>
              <a:gd name="T100" fmla="*/ 5 w 129"/>
              <a:gd name="T101" fmla="*/ 10 h 171"/>
              <a:gd name="T102" fmla="*/ 11 w 129"/>
              <a:gd name="T103" fmla="*/ 9 h 171"/>
              <a:gd name="T104" fmla="*/ 19 w 129"/>
              <a:gd name="T105" fmla="*/ 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9" h="171">
                <a:moveTo>
                  <a:pt x="27" y="1"/>
                </a:moveTo>
                <a:lnTo>
                  <a:pt x="27" y="1"/>
                </a:lnTo>
                <a:lnTo>
                  <a:pt x="31" y="1"/>
                </a:lnTo>
                <a:lnTo>
                  <a:pt x="34" y="1"/>
                </a:lnTo>
                <a:lnTo>
                  <a:pt x="41" y="2"/>
                </a:lnTo>
                <a:lnTo>
                  <a:pt x="42" y="2"/>
                </a:lnTo>
                <a:lnTo>
                  <a:pt x="43" y="3"/>
                </a:lnTo>
                <a:lnTo>
                  <a:pt x="45" y="6"/>
                </a:lnTo>
                <a:lnTo>
                  <a:pt x="47" y="9"/>
                </a:lnTo>
                <a:lnTo>
                  <a:pt x="49" y="11"/>
                </a:lnTo>
                <a:lnTo>
                  <a:pt x="52" y="12"/>
                </a:lnTo>
                <a:lnTo>
                  <a:pt x="54" y="14"/>
                </a:lnTo>
                <a:lnTo>
                  <a:pt x="56" y="18"/>
                </a:lnTo>
                <a:lnTo>
                  <a:pt x="58" y="20"/>
                </a:lnTo>
                <a:lnTo>
                  <a:pt x="58" y="20"/>
                </a:lnTo>
                <a:lnTo>
                  <a:pt x="59" y="19"/>
                </a:lnTo>
                <a:lnTo>
                  <a:pt x="59" y="19"/>
                </a:lnTo>
                <a:lnTo>
                  <a:pt x="60" y="19"/>
                </a:lnTo>
                <a:lnTo>
                  <a:pt x="60" y="20"/>
                </a:lnTo>
                <a:lnTo>
                  <a:pt x="60" y="23"/>
                </a:lnTo>
                <a:lnTo>
                  <a:pt x="60" y="26"/>
                </a:lnTo>
                <a:lnTo>
                  <a:pt x="60" y="29"/>
                </a:lnTo>
                <a:lnTo>
                  <a:pt x="60" y="29"/>
                </a:lnTo>
                <a:lnTo>
                  <a:pt x="60" y="30"/>
                </a:lnTo>
                <a:lnTo>
                  <a:pt x="60" y="31"/>
                </a:lnTo>
                <a:lnTo>
                  <a:pt x="61" y="32"/>
                </a:lnTo>
                <a:lnTo>
                  <a:pt x="63" y="33"/>
                </a:lnTo>
                <a:lnTo>
                  <a:pt x="65" y="36"/>
                </a:lnTo>
                <a:lnTo>
                  <a:pt x="68" y="38"/>
                </a:lnTo>
                <a:lnTo>
                  <a:pt x="70" y="39"/>
                </a:lnTo>
                <a:lnTo>
                  <a:pt x="72" y="39"/>
                </a:lnTo>
                <a:lnTo>
                  <a:pt x="74" y="42"/>
                </a:lnTo>
                <a:lnTo>
                  <a:pt x="79" y="43"/>
                </a:lnTo>
                <a:lnTo>
                  <a:pt x="80" y="44"/>
                </a:lnTo>
                <a:lnTo>
                  <a:pt x="81" y="45"/>
                </a:lnTo>
                <a:lnTo>
                  <a:pt x="82" y="46"/>
                </a:lnTo>
                <a:lnTo>
                  <a:pt x="82" y="47"/>
                </a:lnTo>
                <a:lnTo>
                  <a:pt x="82" y="47"/>
                </a:lnTo>
                <a:lnTo>
                  <a:pt x="80" y="49"/>
                </a:lnTo>
                <a:lnTo>
                  <a:pt x="80" y="51"/>
                </a:lnTo>
                <a:lnTo>
                  <a:pt x="79" y="51"/>
                </a:lnTo>
                <a:lnTo>
                  <a:pt x="79" y="51"/>
                </a:lnTo>
                <a:lnTo>
                  <a:pt x="78" y="52"/>
                </a:lnTo>
                <a:lnTo>
                  <a:pt x="78" y="53"/>
                </a:lnTo>
                <a:lnTo>
                  <a:pt x="79" y="53"/>
                </a:lnTo>
                <a:lnTo>
                  <a:pt x="80" y="54"/>
                </a:lnTo>
                <a:lnTo>
                  <a:pt x="82" y="55"/>
                </a:lnTo>
                <a:lnTo>
                  <a:pt x="84" y="56"/>
                </a:lnTo>
                <a:lnTo>
                  <a:pt x="84" y="57"/>
                </a:lnTo>
                <a:lnTo>
                  <a:pt x="83" y="57"/>
                </a:lnTo>
                <a:lnTo>
                  <a:pt x="81" y="58"/>
                </a:lnTo>
                <a:lnTo>
                  <a:pt x="79" y="58"/>
                </a:lnTo>
                <a:lnTo>
                  <a:pt x="78" y="58"/>
                </a:lnTo>
                <a:lnTo>
                  <a:pt x="78" y="60"/>
                </a:lnTo>
                <a:lnTo>
                  <a:pt x="83" y="61"/>
                </a:lnTo>
                <a:lnTo>
                  <a:pt x="86" y="63"/>
                </a:lnTo>
                <a:lnTo>
                  <a:pt x="87" y="65"/>
                </a:lnTo>
                <a:lnTo>
                  <a:pt x="90" y="66"/>
                </a:lnTo>
                <a:lnTo>
                  <a:pt x="95" y="67"/>
                </a:lnTo>
                <a:lnTo>
                  <a:pt x="99" y="69"/>
                </a:lnTo>
                <a:lnTo>
                  <a:pt x="101" y="72"/>
                </a:lnTo>
                <a:lnTo>
                  <a:pt x="104" y="71"/>
                </a:lnTo>
                <a:lnTo>
                  <a:pt x="109" y="66"/>
                </a:lnTo>
                <a:lnTo>
                  <a:pt x="114" y="65"/>
                </a:lnTo>
                <a:lnTo>
                  <a:pt x="118" y="68"/>
                </a:lnTo>
                <a:lnTo>
                  <a:pt x="121" y="70"/>
                </a:lnTo>
                <a:lnTo>
                  <a:pt x="121" y="71"/>
                </a:lnTo>
                <a:lnTo>
                  <a:pt x="120" y="72"/>
                </a:lnTo>
                <a:lnTo>
                  <a:pt x="117" y="71"/>
                </a:lnTo>
                <a:lnTo>
                  <a:pt x="115" y="72"/>
                </a:lnTo>
                <a:lnTo>
                  <a:pt x="114" y="75"/>
                </a:lnTo>
                <a:lnTo>
                  <a:pt x="114" y="77"/>
                </a:lnTo>
                <a:lnTo>
                  <a:pt x="115" y="79"/>
                </a:lnTo>
                <a:lnTo>
                  <a:pt x="116" y="81"/>
                </a:lnTo>
                <a:lnTo>
                  <a:pt x="118" y="82"/>
                </a:lnTo>
                <a:lnTo>
                  <a:pt x="119" y="83"/>
                </a:lnTo>
                <a:lnTo>
                  <a:pt x="120" y="85"/>
                </a:lnTo>
                <a:lnTo>
                  <a:pt x="120" y="86"/>
                </a:lnTo>
                <a:lnTo>
                  <a:pt x="119" y="86"/>
                </a:lnTo>
                <a:lnTo>
                  <a:pt x="118" y="87"/>
                </a:lnTo>
                <a:lnTo>
                  <a:pt x="117" y="89"/>
                </a:lnTo>
                <a:lnTo>
                  <a:pt x="117" y="93"/>
                </a:lnTo>
                <a:lnTo>
                  <a:pt x="113" y="95"/>
                </a:lnTo>
                <a:lnTo>
                  <a:pt x="111" y="95"/>
                </a:lnTo>
                <a:lnTo>
                  <a:pt x="111" y="97"/>
                </a:lnTo>
                <a:lnTo>
                  <a:pt x="110" y="102"/>
                </a:lnTo>
                <a:lnTo>
                  <a:pt x="110" y="105"/>
                </a:lnTo>
                <a:lnTo>
                  <a:pt x="110" y="107"/>
                </a:lnTo>
                <a:lnTo>
                  <a:pt x="110" y="108"/>
                </a:lnTo>
                <a:lnTo>
                  <a:pt x="112" y="110"/>
                </a:lnTo>
                <a:lnTo>
                  <a:pt x="113" y="113"/>
                </a:lnTo>
                <a:lnTo>
                  <a:pt x="114" y="117"/>
                </a:lnTo>
                <a:lnTo>
                  <a:pt x="115" y="119"/>
                </a:lnTo>
                <a:lnTo>
                  <a:pt x="120" y="122"/>
                </a:lnTo>
                <a:lnTo>
                  <a:pt x="122" y="124"/>
                </a:lnTo>
                <a:lnTo>
                  <a:pt x="124" y="126"/>
                </a:lnTo>
                <a:lnTo>
                  <a:pt x="125" y="128"/>
                </a:lnTo>
                <a:lnTo>
                  <a:pt x="129" y="131"/>
                </a:lnTo>
                <a:lnTo>
                  <a:pt x="128" y="133"/>
                </a:lnTo>
                <a:lnTo>
                  <a:pt x="128" y="135"/>
                </a:lnTo>
                <a:lnTo>
                  <a:pt x="127" y="135"/>
                </a:lnTo>
                <a:lnTo>
                  <a:pt x="125" y="138"/>
                </a:lnTo>
                <a:lnTo>
                  <a:pt x="123" y="139"/>
                </a:lnTo>
                <a:lnTo>
                  <a:pt x="120" y="144"/>
                </a:lnTo>
                <a:lnTo>
                  <a:pt x="116" y="144"/>
                </a:lnTo>
                <a:lnTo>
                  <a:pt x="114" y="144"/>
                </a:lnTo>
                <a:lnTo>
                  <a:pt x="113" y="145"/>
                </a:lnTo>
                <a:lnTo>
                  <a:pt x="112" y="147"/>
                </a:lnTo>
                <a:lnTo>
                  <a:pt x="113" y="149"/>
                </a:lnTo>
                <a:lnTo>
                  <a:pt x="113" y="151"/>
                </a:lnTo>
                <a:lnTo>
                  <a:pt x="112" y="154"/>
                </a:lnTo>
                <a:lnTo>
                  <a:pt x="113" y="158"/>
                </a:lnTo>
                <a:lnTo>
                  <a:pt x="115" y="160"/>
                </a:lnTo>
                <a:lnTo>
                  <a:pt x="115" y="161"/>
                </a:lnTo>
                <a:lnTo>
                  <a:pt x="114" y="162"/>
                </a:lnTo>
                <a:lnTo>
                  <a:pt x="112" y="166"/>
                </a:lnTo>
                <a:lnTo>
                  <a:pt x="111" y="167"/>
                </a:lnTo>
                <a:lnTo>
                  <a:pt x="109" y="168"/>
                </a:lnTo>
                <a:lnTo>
                  <a:pt x="108" y="167"/>
                </a:lnTo>
                <a:lnTo>
                  <a:pt x="107" y="166"/>
                </a:lnTo>
                <a:lnTo>
                  <a:pt x="106" y="166"/>
                </a:lnTo>
                <a:lnTo>
                  <a:pt x="103" y="167"/>
                </a:lnTo>
                <a:lnTo>
                  <a:pt x="100" y="168"/>
                </a:lnTo>
                <a:lnTo>
                  <a:pt x="97" y="167"/>
                </a:lnTo>
                <a:lnTo>
                  <a:pt x="95" y="167"/>
                </a:lnTo>
                <a:lnTo>
                  <a:pt x="94" y="168"/>
                </a:lnTo>
                <a:lnTo>
                  <a:pt x="92" y="168"/>
                </a:lnTo>
                <a:lnTo>
                  <a:pt x="90" y="170"/>
                </a:lnTo>
                <a:lnTo>
                  <a:pt x="86" y="171"/>
                </a:lnTo>
                <a:lnTo>
                  <a:pt x="85" y="170"/>
                </a:lnTo>
                <a:lnTo>
                  <a:pt x="84" y="169"/>
                </a:lnTo>
                <a:lnTo>
                  <a:pt x="83" y="167"/>
                </a:lnTo>
                <a:lnTo>
                  <a:pt x="83" y="166"/>
                </a:lnTo>
                <a:lnTo>
                  <a:pt x="86" y="165"/>
                </a:lnTo>
                <a:lnTo>
                  <a:pt x="86" y="163"/>
                </a:lnTo>
                <a:lnTo>
                  <a:pt x="90" y="156"/>
                </a:lnTo>
                <a:lnTo>
                  <a:pt x="90" y="153"/>
                </a:lnTo>
                <a:lnTo>
                  <a:pt x="90" y="153"/>
                </a:lnTo>
                <a:lnTo>
                  <a:pt x="90" y="152"/>
                </a:lnTo>
                <a:lnTo>
                  <a:pt x="88" y="152"/>
                </a:lnTo>
                <a:lnTo>
                  <a:pt x="79" y="149"/>
                </a:lnTo>
                <a:lnTo>
                  <a:pt x="80" y="146"/>
                </a:lnTo>
                <a:lnTo>
                  <a:pt x="77" y="144"/>
                </a:lnTo>
                <a:lnTo>
                  <a:pt x="74" y="142"/>
                </a:lnTo>
                <a:lnTo>
                  <a:pt x="74" y="140"/>
                </a:lnTo>
                <a:lnTo>
                  <a:pt x="71" y="137"/>
                </a:lnTo>
                <a:lnTo>
                  <a:pt x="69" y="135"/>
                </a:lnTo>
                <a:lnTo>
                  <a:pt x="66" y="134"/>
                </a:lnTo>
                <a:lnTo>
                  <a:pt x="64" y="132"/>
                </a:lnTo>
                <a:lnTo>
                  <a:pt x="62" y="131"/>
                </a:lnTo>
                <a:lnTo>
                  <a:pt x="61" y="130"/>
                </a:lnTo>
                <a:lnTo>
                  <a:pt x="61" y="129"/>
                </a:lnTo>
                <a:lnTo>
                  <a:pt x="61" y="128"/>
                </a:lnTo>
                <a:lnTo>
                  <a:pt x="60" y="128"/>
                </a:lnTo>
                <a:lnTo>
                  <a:pt x="58" y="129"/>
                </a:lnTo>
                <a:lnTo>
                  <a:pt x="55" y="130"/>
                </a:lnTo>
                <a:lnTo>
                  <a:pt x="55" y="131"/>
                </a:lnTo>
                <a:lnTo>
                  <a:pt x="56" y="133"/>
                </a:lnTo>
                <a:lnTo>
                  <a:pt x="56" y="134"/>
                </a:lnTo>
                <a:lnTo>
                  <a:pt x="56" y="136"/>
                </a:lnTo>
                <a:lnTo>
                  <a:pt x="55" y="137"/>
                </a:lnTo>
                <a:lnTo>
                  <a:pt x="51" y="141"/>
                </a:lnTo>
                <a:lnTo>
                  <a:pt x="50" y="142"/>
                </a:lnTo>
                <a:lnTo>
                  <a:pt x="51" y="144"/>
                </a:lnTo>
                <a:lnTo>
                  <a:pt x="50" y="145"/>
                </a:lnTo>
                <a:lnTo>
                  <a:pt x="47" y="146"/>
                </a:lnTo>
                <a:lnTo>
                  <a:pt x="47" y="145"/>
                </a:lnTo>
                <a:lnTo>
                  <a:pt x="46" y="143"/>
                </a:lnTo>
                <a:lnTo>
                  <a:pt x="44" y="141"/>
                </a:lnTo>
                <a:lnTo>
                  <a:pt x="41" y="140"/>
                </a:lnTo>
                <a:lnTo>
                  <a:pt x="34" y="135"/>
                </a:lnTo>
                <a:lnTo>
                  <a:pt x="31" y="135"/>
                </a:lnTo>
                <a:lnTo>
                  <a:pt x="29" y="134"/>
                </a:lnTo>
                <a:lnTo>
                  <a:pt x="26" y="132"/>
                </a:lnTo>
                <a:lnTo>
                  <a:pt x="24" y="131"/>
                </a:lnTo>
                <a:lnTo>
                  <a:pt x="22" y="130"/>
                </a:lnTo>
                <a:lnTo>
                  <a:pt x="18" y="124"/>
                </a:lnTo>
                <a:lnTo>
                  <a:pt x="14" y="121"/>
                </a:lnTo>
                <a:lnTo>
                  <a:pt x="11" y="119"/>
                </a:lnTo>
                <a:lnTo>
                  <a:pt x="11" y="118"/>
                </a:lnTo>
                <a:lnTo>
                  <a:pt x="11" y="116"/>
                </a:lnTo>
                <a:lnTo>
                  <a:pt x="11" y="116"/>
                </a:lnTo>
                <a:lnTo>
                  <a:pt x="13" y="114"/>
                </a:lnTo>
                <a:lnTo>
                  <a:pt x="14" y="113"/>
                </a:lnTo>
                <a:lnTo>
                  <a:pt x="16" y="113"/>
                </a:lnTo>
                <a:lnTo>
                  <a:pt x="17" y="114"/>
                </a:lnTo>
                <a:lnTo>
                  <a:pt x="19" y="115"/>
                </a:lnTo>
                <a:lnTo>
                  <a:pt x="20" y="113"/>
                </a:lnTo>
                <a:lnTo>
                  <a:pt x="20" y="111"/>
                </a:lnTo>
                <a:lnTo>
                  <a:pt x="20" y="109"/>
                </a:lnTo>
                <a:lnTo>
                  <a:pt x="16" y="103"/>
                </a:lnTo>
                <a:lnTo>
                  <a:pt x="13" y="98"/>
                </a:lnTo>
                <a:lnTo>
                  <a:pt x="12" y="97"/>
                </a:lnTo>
                <a:lnTo>
                  <a:pt x="13" y="96"/>
                </a:lnTo>
                <a:lnTo>
                  <a:pt x="14" y="96"/>
                </a:lnTo>
                <a:lnTo>
                  <a:pt x="15" y="96"/>
                </a:lnTo>
                <a:lnTo>
                  <a:pt x="19" y="97"/>
                </a:lnTo>
                <a:lnTo>
                  <a:pt x="22" y="96"/>
                </a:lnTo>
                <a:lnTo>
                  <a:pt x="23" y="95"/>
                </a:lnTo>
                <a:lnTo>
                  <a:pt x="23" y="94"/>
                </a:lnTo>
                <a:lnTo>
                  <a:pt x="22" y="93"/>
                </a:lnTo>
                <a:lnTo>
                  <a:pt x="18" y="89"/>
                </a:lnTo>
                <a:lnTo>
                  <a:pt x="15" y="86"/>
                </a:lnTo>
                <a:lnTo>
                  <a:pt x="12" y="84"/>
                </a:lnTo>
                <a:lnTo>
                  <a:pt x="9" y="83"/>
                </a:lnTo>
                <a:lnTo>
                  <a:pt x="9" y="82"/>
                </a:lnTo>
                <a:lnTo>
                  <a:pt x="8" y="80"/>
                </a:lnTo>
                <a:lnTo>
                  <a:pt x="9" y="78"/>
                </a:lnTo>
                <a:lnTo>
                  <a:pt x="9" y="75"/>
                </a:lnTo>
                <a:lnTo>
                  <a:pt x="9" y="73"/>
                </a:lnTo>
                <a:lnTo>
                  <a:pt x="12" y="69"/>
                </a:lnTo>
                <a:lnTo>
                  <a:pt x="14" y="66"/>
                </a:lnTo>
                <a:lnTo>
                  <a:pt x="15" y="62"/>
                </a:lnTo>
                <a:lnTo>
                  <a:pt x="16" y="58"/>
                </a:lnTo>
                <a:lnTo>
                  <a:pt x="15" y="57"/>
                </a:lnTo>
                <a:lnTo>
                  <a:pt x="14" y="57"/>
                </a:lnTo>
                <a:lnTo>
                  <a:pt x="12" y="56"/>
                </a:lnTo>
                <a:lnTo>
                  <a:pt x="9" y="57"/>
                </a:lnTo>
                <a:lnTo>
                  <a:pt x="6" y="58"/>
                </a:lnTo>
                <a:lnTo>
                  <a:pt x="5" y="58"/>
                </a:lnTo>
                <a:lnTo>
                  <a:pt x="4" y="56"/>
                </a:lnTo>
                <a:lnTo>
                  <a:pt x="5" y="56"/>
                </a:lnTo>
                <a:lnTo>
                  <a:pt x="6" y="56"/>
                </a:lnTo>
                <a:lnTo>
                  <a:pt x="6" y="56"/>
                </a:lnTo>
                <a:lnTo>
                  <a:pt x="7" y="55"/>
                </a:lnTo>
                <a:lnTo>
                  <a:pt x="8" y="53"/>
                </a:lnTo>
                <a:lnTo>
                  <a:pt x="7" y="46"/>
                </a:lnTo>
                <a:lnTo>
                  <a:pt x="9" y="46"/>
                </a:lnTo>
                <a:lnTo>
                  <a:pt x="9" y="45"/>
                </a:lnTo>
                <a:lnTo>
                  <a:pt x="9" y="44"/>
                </a:lnTo>
                <a:lnTo>
                  <a:pt x="11" y="45"/>
                </a:lnTo>
                <a:lnTo>
                  <a:pt x="14" y="45"/>
                </a:lnTo>
                <a:lnTo>
                  <a:pt x="17" y="45"/>
                </a:lnTo>
                <a:lnTo>
                  <a:pt x="17" y="44"/>
                </a:lnTo>
                <a:lnTo>
                  <a:pt x="17" y="43"/>
                </a:lnTo>
                <a:lnTo>
                  <a:pt x="17" y="42"/>
                </a:lnTo>
                <a:lnTo>
                  <a:pt x="16" y="41"/>
                </a:lnTo>
                <a:lnTo>
                  <a:pt x="15" y="40"/>
                </a:lnTo>
                <a:lnTo>
                  <a:pt x="13" y="40"/>
                </a:lnTo>
                <a:lnTo>
                  <a:pt x="8" y="37"/>
                </a:lnTo>
                <a:lnTo>
                  <a:pt x="5" y="35"/>
                </a:lnTo>
                <a:lnTo>
                  <a:pt x="5" y="32"/>
                </a:lnTo>
                <a:lnTo>
                  <a:pt x="6" y="30"/>
                </a:lnTo>
                <a:lnTo>
                  <a:pt x="7" y="29"/>
                </a:lnTo>
                <a:lnTo>
                  <a:pt x="6" y="29"/>
                </a:lnTo>
                <a:lnTo>
                  <a:pt x="3" y="28"/>
                </a:lnTo>
                <a:lnTo>
                  <a:pt x="2" y="26"/>
                </a:lnTo>
                <a:lnTo>
                  <a:pt x="3" y="23"/>
                </a:lnTo>
                <a:lnTo>
                  <a:pt x="1" y="18"/>
                </a:lnTo>
                <a:lnTo>
                  <a:pt x="0" y="15"/>
                </a:lnTo>
                <a:lnTo>
                  <a:pt x="1" y="14"/>
                </a:lnTo>
                <a:lnTo>
                  <a:pt x="2" y="12"/>
                </a:lnTo>
                <a:lnTo>
                  <a:pt x="2" y="11"/>
                </a:lnTo>
                <a:lnTo>
                  <a:pt x="2" y="11"/>
                </a:lnTo>
                <a:lnTo>
                  <a:pt x="5" y="10"/>
                </a:lnTo>
                <a:lnTo>
                  <a:pt x="6" y="9"/>
                </a:lnTo>
                <a:lnTo>
                  <a:pt x="7" y="7"/>
                </a:lnTo>
                <a:lnTo>
                  <a:pt x="7" y="7"/>
                </a:lnTo>
                <a:lnTo>
                  <a:pt x="9" y="8"/>
                </a:lnTo>
                <a:lnTo>
                  <a:pt x="11" y="9"/>
                </a:lnTo>
                <a:lnTo>
                  <a:pt x="13" y="8"/>
                </a:lnTo>
                <a:lnTo>
                  <a:pt x="15" y="7"/>
                </a:lnTo>
                <a:lnTo>
                  <a:pt x="17" y="6"/>
                </a:lnTo>
                <a:lnTo>
                  <a:pt x="18" y="5"/>
                </a:lnTo>
                <a:lnTo>
                  <a:pt x="19" y="4"/>
                </a:lnTo>
                <a:lnTo>
                  <a:pt x="21" y="1"/>
                </a:lnTo>
                <a:lnTo>
                  <a:pt x="24"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21" name="Finland">
            <a:extLst>
              <a:ext uri="{FF2B5EF4-FFF2-40B4-BE49-F238E27FC236}">
                <a16:creationId xmlns:a16="http://schemas.microsoft.com/office/drawing/2014/main" id="{410935B7-AB8E-418F-91C5-E9AF579B3FFB}"/>
              </a:ext>
            </a:extLst>
          </p:cNvPr>
          <p:cNvSpPr>
            <a:spLocks noEditPoints="1"/>
          </p:cNvSpPr>
          <p:nvPr/>
        </p:nvSpPr>
        <p:spPr bwMode="auto">
          <a:xfrm>
            <a:off x="6439551" y="2173010"/>
            <a:ext cx="306375" cy="500036"/>
          </a:xfrm>
          <a:custGeom>
            <a:avLst/>
            <a:gdLst>
              <a:gd name="T0" fmla="*/ 253 w 340"/>
              <a:gd name="T1" fmla="*/ 108 h 764"/>
              <a:gd name="T2" fmla="*/ 272 w 340"/>
              <a:gd name="T3" fmla="*/ 175 h 764"/>
              <a:gd name="T4" fmla="*/ 269 w 340"/>
              <a:gd name="T5" fmla="*/ 254 h 764"/>
              <a:gd name="T6" fmla="*/ 280 w 340"/>
              <a:gd name="T7" fmla="*/ 312 h 764"/>
              <a:gd name="T8" fmla="*/ 294 w 340"/>
              <a:gd name="T9" fmla="*/ 365 h 764"/>
              <a:gd name="T10" fmla="*/ 281 w 340"/>
              <a:gd name="T11" fmla="*/ 397 h 764"/>
              <a:gd name="T12" fmla="*/ 280 w 340"/>
              <a:gd name="T13" fmla="*/ 417 h 764"/>
              <a:gd name="T14" fmla="*/ 292 w 340"/>
              <a:gd name="T15" fmla="*/ 450 h 764"/>
              <a:gd name="T16" fmla="*/ 306 w 340"/>
              <a:gd name="T17" fmla="*/ 491 h 764"/>
              <a:gd name="T18" fmla="*/ 331 w 340"/>
              <a:gd name="T19" fmla="*/ 547 h 764"/>
              <a:gd name="T20" fmla="*/ 330 w 340"/>
              <a:gd name="T21" fmla="*/ 592 h 764"/>
              <a:gd name="T22" fmla="*/ 277 w 340"/>
              <a:gd name="T23" fmla="*/ 661 h 764"/>
              <a:gd name="T24" fmla="*/ 224 w 340"/>
              <a:gd name="T25" fmla="*/ 719 h 764"/>
              <a:gd name="T26" fmla="*/ 190 w 340"/>
              <a:gd name="T27" fmla="*/ 724 h 764"/>
              <a:gd name="T28" fmla="*/ 182 w 340"/>
              <a:gd name="T29" fmla="*/ 724 h 764"/>
              <a:gd name="T30" fmla="*/ 163 w 340"/>
              <a:gd name="T31" fmla="*/ 733 h 764"/>
              <a:gd name="T32" fmla="*/ 132 w 340"/>
              <a:gd name="T33" fmla="*/ 743 h 764"/>
              <a:gd name="T34" fmla="*/ 84 w 340"/>
              <a:gd name="T35" fmla="*/ 758 h 764"/>
              <a:gd name="T36" fmla="*/ 77 w 340"/>
              <a:gd name="T37" fmla="*/ 750 h 764"/>
              <a:gd name="T38" fmla="*/ 63 w 340"/>
              <a:gd name="T39" fmla="*/ 751 h 764"/>
              <a:gd name="T40" fmla="*/ 62 w 340"/>
              <a:gd name="T41" fmla="*/ 739 h 764"/>
              <a:gd name="T42" fmla="*/ 41 w 340"/>
              <a:gd name="T43" fmla="*/ 722 h 764"/>
              <a:gd name="T44" fmla="*/ 25 w 340"/>
              <a:gd name="T45" fmla="*/ 705 h 764"/>
              <a:gd name="T46" fmla="*/ 28 w 340"/>
              <a:gd name="T47" fmla="*/ 658 h 764"/>
              <a:gd name="T48" fmla="*/ 29 w 340"/>
              <a:gd name="T49" fmla="*/ 646 h 764"/>
              <a:gd name="T50" fmla="*/ 17 w 340"/>
              <a:gd name="T51" fmla="*/ 597 h 764"/>
              <a:gd name="T52" fmla="*/ 30 w 340"/>
              <a:gd name="T53" fmla="*/ 549 h 764"/>
              <a:gd name="T54" fmla="*/ 51 w 340"/>
              <a:gd name="T55" fmla="*/ 527 h 764"/>
              <a:gd name="T56" fmla="*/ 75 w 340"/>
              <a:gd name="T57" fmla="*/ 500 h 764"/>
              <a:gd name="T58" fmla="*/ 114 w 340"/>
              <a:gd name="T59" fmla="*/ 450 h 764"/>
              <a:gd name="T60" fmla="*/ 146 w 340"/>
              <a:gd name="T61" fmla="*/ 425 h 764"/>
              <a:gd name="T62" fmla="*/ 146 w 340"/>
              <a:gd name="T63" fmla="*/ 389 h 764"/>
              <a:gd name="T64" fmla="*/ 124 w 340"/>
              <a:gd name="T65" fmla="*/ 351 h 764"/>
              <a:gd name="T66" fmla="*/ 97 w 340"/>
              <a:gd name="T67" fmla="*/ 323 h 764"/>
              <a:gd name="T68" fmla="*/ 102 w 340"/>
              <a:gd name="T69" fmla="*/ 285 h 764"/>
              <a:gd name="T70" fmla="*/ 94 w 340"/>
              <a:gd name="T71" fmla="*/ 247 h 764"/>
              <a:gd name="T72" fmla="*/ 88 w 340"/>
              <a:gd name="T73" fmla="*/ 225 h 764"/>
              <a:gd name="T74" fmla="*/ 94 w 340"/>
              <a:gd name="T75" fmla="*/ 186 h 764"/>
              <a:gd name="T76" fmla="*/ 67 w 340"/>
              <a:gd name="T77" fmla="*/ 147 h 764"/>
              <a:gd name="T78" fmla="*/ 20 w 340"/>
              <a:gd name="T79" fmla="*/ 114 h 764"/>
              <a:gd name="T80" fmla="*/ 14 w 340"/>
              <a:gd name="T81" fmla="*/ 92 h 764"/>
              <a:gd name="T82" fmla="*/ 31 w 340"/>
              <a:gd name="T83" fmla="*/ 72 h 764"/>
              <a:gd name="T84" fmla="*/ 77 w 340"/>
              <a:gd name="T85" fmla="*/ 123 h 764"/>
              <a:gd name="T86" fmla="*/ 116 w 340"/>
              <a:gd name="T87" fmla="*/ 120 h 764"/>
              <a:gd name="T88" fmla="*/ 152 w 340"/>
              <a:gd name="T89" fmla="*/ 106 h 764"/>
              <a:gd name="T90" fmla="*/ 168 w 340"/>
              <a:gd name="T91" fmla="*/ 38 h 764"/>
              <a:gd name="T92" fmla="*/ 203 w 340"/>
              <a:gd name="T93" fmla="*/ 15 h 764"/>
              <a:gd name="T94" fmla="*/ 255 w 340"/>
              <a:gd name="T95" fmla="*/ 31 h 764"/>
              <a:gd name="T96" fmla="*/ 260 w 340"/>
              <a:gd name="T97" fmla="*/ 93 h 764"/>
              <a:gd name="T98" fmla="*/ 137 w 340"/>
              <a:gd name="T99" fmla="*/ 412 h 764"/>
              <a:gd name="T100" fmla="*/ 25 w 340"/>
              <a:gd name="T101" fmla="*/ 543 h 764"/>
              <a:gd name="T102" fmla="*/ 19 w 340"/>
              <a:gd name="T103" fmla="*/ 539 h 764"/>
              <a:gd name="T104" fmla="*/ 19 w 340"/>
              <a:gd name="T105" fmla="*/ 714 h 764"/>
              <a:gd name="T106" fmla="*/ 38 w 340"/>
              <a:gd name="T107" fmla="*/ 727 h 764"/>
              <a:gd name="T108" fmla="*/ 49 w 340"/>
              <a:gd name="T109" fmla="*/ 730 h 764"/>
              <a:gd name="T110" fmla="*/ 50 w 340"/>
              <a:gd name="T111" fmla="*/ 741 h 764"/>
              <a:gd name="T112" fmla="*/ 35 w 340"/>
              <a:gd name="T113" fmla="*/ 746 h 764"/>
              <a:gd name="T114" fmla="*/ 27 w 340"/>
              <a:gd name="T115" fmla="*/ 745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764">
                <a:moveTo>
                  <a:pt x="260" y="93"/>
                </a:moveTo>
                <a:lnTo>
                  <a:pt x="260" y="93"/>
                </a:lnTo>
                <a:lnTo>
                  <a:pt x="258" y="94"/>
                </a:lnTo>
                <a:lnTo>
                  <a:pt x="252" y="99"/>
                </a:lnTo>
                <a:lnTo>
                  <a:pt x="248" y="101"/>
                </a:lnTo>
                <a:lnTo>
                  <a:pt x="243" y="103"/>
                </a:lnTo>
                <a:lnTo>
                  <a:pt x="244" y="106"/>
                </a:lnTo>
                <a:lnTo>
                  <a:pt x="252" y="107"/>
                </a:lnTo>
                <a:lnTo>
                  <a:pt x="253" y="108"/>
                </a:lnTo>
                <a:lnTo>
                  <a:pt x="254" y="109"/>
                </a:lnTo>
                <a:lnTo>
                  <a:pt x="254" y="111"/>
                </a:lnTo>
                <a:lnTo>
                  <a:pt x="254" y="115"/>
                </a:lnTo>
                <a:lnTo>
                  <a:pt x="245" y="135"/>
                </a:lnTo>
                <a:lnTo>
                  <a:pt x="245" y="139"/>
                </a:lnTo>
                <a:lnTo>
                  <a:pt x="248" y="151"/>
                </a:lnTo>
                <a:lnTo>
                  <a:pt x="252" y="164"/>
                </a:lnTo>
                <a:lnTo>
                  <a:pt x="263" y="170"/>
                </a:lnTo>
                <a:lnTo>
                  <a:pt x="272" y="175"/>
                </a:lnTo>
                <a:lnTo>
                  <a:pt x="278" y="186"/>
                </a:lnTo>
                <a:lnTo>
                  <a:pt x="287" y="200"/>
                </a:lnTo>
                <a:lnTo>
                  <a:pt x="292" y="206"/>
                </a:lnTo>
                <a:lnTo>
                  <a:pt x="292" y="208"/>
                </a:lnTo>
                <a:lnTo>
                  <a:pt x="291" y="217"/>
                </a:lnTo>
                <a:lnTo>
                  <a:pt x="285" y="227"/>
                </a:lnTo>
                <a:lnTo>
                  <a:pt x="279" y="236"/>
                </a:lnTo>
                <a:lnTo>
                  <a:pt x="274" y="245"/>
                </a:lnTo>
                <a:lnTo>
                  <a:pt x="269" y="254"/>
                </a:lnTo>
                <a:lnTo>
                  <a:pt x="264" y="264"/>
                </a:lnTo>
                <a:lnTo>
                  <a:pt x="264" y="267"/>
                </a:lnTo>
                <a:lnTo>
                  <a:pt x="264" y="270"/>
                </a:lnTo>
                <a:lnTo>
                  <a:pt x="264" y="274"/>
                </a:lnTo>
                <a:lnTo>
                  <a:pt x="271" y="286"/>
                </a:lnTo>
                <a:lnTo>
                  <a:pt x="273" y="292"/>
                </a:lnTo>
                <a:lnTo>
                  <a:pt x="276" y="299"/>
                </a:lnTo>
                <a:lnTo>
                  <a:pt x="278" y="306"/>
                </a:lnTo>
                <a:lnTo>
                  <a:pt x="280" y="312"/>
                </a:lnTo>
                <a:lnTo>
                  <a:pt x="282" y="318"/>
                </a:lnTo>
                <a:lnTo>
                  <a:pt x="284" y="322"/>
                </a:lnTo>
                <a:lnTo>
                  <a:pt x="287" y="326"/>
                </a:lnTo>
                <a:lnTo>
                  <a:pt x="290" y="333"/>
                </a:lnTo>
                <a:lnTo>
                  <a:pt x="291" y="338"/>
                </a:lnTo>
                <a:lnTo>
                  <a:pt x="295" y="356"/>
                </a:lnTo>
                <a:lnTo>
                  <a:pt x="296" y="361"/>
                </a:lnTo>
                <a:lnTo>
                  <a:pt x="296" y="364"/>
                </a:lnTo>
                <a:lnTo>
                  <a:pt x="294" y="365"/>
                </a:lnTo>
                <a:lnTo>
                  <a:pt x="289" y="365"/>
                </a:lnTo>
                <a:lnTo>
                  <a:pt x="284" y="367"/>
                </a:lnTo>
                <a:lnTo>
                  <a:pt x="284" y="368"/>
                </a:lnTo>
                <a:lnTo>
                  <a:pt x="287" y="372"/>
                </a:lnTo>
                <a:lnTo>
                  <a:pt x="284" y="380"/>
                </a:lnTo>
                <a:lnTo>
                  <a:pt x="284" y="390"/>
                </a:lnTo>
                <a:lnTo>
                  <a:pt x="281" y="395"/>
                </a:lnTo>
                <a:lnTo>
                  <a:pt x="280" y="396"/>
                </a:lnTo>
                <a:lnTo>
                  <a:pt x="281" y="397"/>
                </a:lnTo>
                <a:lnTo>
                  <a:pt x="281" y="398"/>
                </a:lnTo>
                <a:lnTo>
                  <a:pt x="287" y="400"/>
                </a:lnTo>
                <a:lnTo>
                  <a:pt x="287" y="401"/>
                </a:lnTo>
                <a:lnTo>
                  <a:pt x="287" y="404"/>
                </a:lnTo>
                <a:lnTo>
                  <a:pt x="287" y="407"/>
                </a:lnTo>
                <a:lnTo>
                  <a:pt x="284" y="409"/>
                </a:lnTo>
                <a:lnTo>
                  <a:pt x="281" y="412"/>
                </a:lnTo>
                <a:lnTo>
                  <a:pt x="280" y="415"/>
                </a:lnTo>
                <a:lnTo>
                  <a:pt x="280" y="417"/>
                </a:lnTo>
                <a:lnTo>
                  <a:pt x="281" y="421"/>
                </a:lnTo>
                <a:lnTo>
                  <a:pt x="283" y="426"/>
                </a:lnTo>
                <a:lnTo>
                  <a:pt x="286" y="429"/>
                </a:lnTo>
                <a:lnTo>
                  <a:pt x="295" y="432"/>
                </a:lnTo>
                <a:lnTo>
                  <a:pt x="296" y="434"/>
                </a:lnTo>
                <a:lnTo>
                  <a:pt x="297" y="438"/>
                </a:lnTo>
                <a:lnTo>
                  <a:pt x="296" y="441"/>
                </a:lnTo>
                <a:lnTo>
                  <a:pt x="292" y="447"/>
                </a:lnTo>
                <a:lnTo>
                  <a:pt x="292" y="450"/>
                </a:lnTo>
                <a:lnTo>
                  <a:pt x="294" y="455"/>
                </a:lnTo>
                <a:lnTo>
                  <a:pt x="296" y="461"/>
                </a:lnTo>
                <a:lnTo>
                  <a:pt x="305" y="467"/>
                </a:lnTo>
                <a:lnTo>
                  <a:pt x="308" y="470"/>
                </a:lnTo>
                <a:lnTo>
                  <a:pt x="309" y="473"/>
                </a:lnTo>
                <a:lnTo>
                  <a:pt x="309" y="477"/>
                </a:lnTo>
                <a:lnTo>
                  <a:pt x="309" y="482"/>
                </a:lnTo>
                <a:lnTo>
                  <a:pt x="308" y="486"/>
                </a:lnTo>
                <a:lnTo>
                  <a:pt x="306" y="491"/>
                </a:lnTo>
                <a:lnTo>
                  <a:pt x="299" y="501"/>
                </a:lnTo>
                <a:lnTo>
                  <a:pt x="293" y="505"/>
                </a:lnTo>
                <a:lnTo>
                  <a:pt x="292" y="506"/>
                </a:lnTo>
                <a:lnTo>
                  <a:pt x="294" y="509"/>
                </a:lnTo>
                <a:lnTo>
                  <a:pt x="306" y="522"/>
                </a:lnTo>
                <a:lnTo>
                  <a:pt x="313" y="528"/>
                </a:lnTo>
                <a:lnTo>
                  <a:pt x="323" y="536"/>
                </a:lnTo>
                <a:lnTo>
                  <a:pt x="329" y="543"/>
                </a:lnTo>
                <a:lnTo>
                  <a:pt x="331" y="547"/>
                </a:lnTo>
                <a:lnTo>
                  <a:pt x="334" y="552"/>
                </a:lnTo>
                <a:lnTo>
                  <a:pt x="337" y="556"/>
                </a:lnTo>
                <a:lnTo>
                  <a:pt x="340" y="560"/>
                </a:lnTo>
                <a:lnTo>
                  <a:pt x="340" y="562"/>
                </a:lnTo>
                <a:lnTo>
                  <a:pt x="340" y="565"/>
                </a:lnTo>
                <a:lnTo>
                  <a:pt x="337" y="572"/>
                </a:lnTo>
                <a:lnTo>
                  <a:pt x="336" y="578"/>
                </a:lnTo>
                <a:lnTo>
                  <a:pt x="333" y="586"/>
                </a:lnTo>
                <a:lnTo>
                  <a:pt x="330" y="592"/>
                </a:lnTo>
                <a:lnTo>
                  <a:pt x="322" y="603"/>
                </a:lnTo>
                <a:lnTo>
                  <a:pt x="310" y="616"/>
                </a:lnTo>
                <a:lnTo>
                  <a:pt x="308" y="620"/>
                </a:lnTo>
                <a:lnTo>
                  <a:pt x="302" y="627"/>
                </a:lnTo>
                <a:lnTo>
                  <a:pt x="293" y="640"/>
                </a:lnTo>
                <a:lnTo>
                  <a:pt x="291" y="643"/>
                </a:lnTo>
                <a:lnTo>
                  <a:pt x="283" y="654"/>
                </a:lnTo>
                <a:lnTo>
                  <a:pt x="280" y="658"/>
                </a:lnTo>
                <a:lnTo>
                  <a:pt x="277" y="661"/>
                </a:lnTo>
                <a:lnTo>
                  <a:pt x="269" y="671"/>
                </a:lnTo>
                <a:lnTo>
                  <a:pt x="261" y="679"/>
                </a:lnTo>
                <a:lnTo>
                  <a:pt x="253" y="686"/>
                </a:lnTo>
                <a:lnTo>
                  <a:pt x="251" y="690"/>
                </a:lnTo>
                <a:lnTo>
                  <a:pt x="248" y="692"/>
                </a:lnTo>
                <a:lnTo>
                  <a:pt x="244" y="695"/>
                </a:lnTo>
                <a:lnTo>
                  <a:pt x="243" y="696"/>
                </a:lnTo>
                <a:lnTo>
                  <a:pt x="235" y="706"/>
                </a:lnTo>
                <a:lnTo>
                  <a:pt x="224" y="719"/>
                </a:lnTo>
                <a:lnTo>
                  <a:pt x="223" y="719"/>
                </a:lnTo>
                <a:lnTo>
                  <a:pt x="220" y="722"/>
                </a:lnTo>
                <a:lnTo>
                  <a:pt x="215" y="722"/>
                </a:lnTo>
                <a:lnTo>
                  <a:pt x="213" y="724"/>
                </a:lnTo>
                <a:lnTo>
                  <a:pt x="207" y="719"/>
                </a:lnTo>
                <a:lnTo>
                  <a:pt x="205" y="719"/>
                </a:lnTo>
                <a:lnTo>
                  <a:pt x="201" y="720"/>
                </a:lnTo>
                <a:lnTo>
                  <a:pt x="198" y="723"/>
                </a:lnTo>
                <a:lnTo>
                  <a:pt x="190" y="724"/>
                </a:lnTo>
                <a:lnTo>
                  <a:pt x="187" y="726"/>
                </a:lnTo>
                <a:lnTo>
                  <a:pt x="185" y="727"/>
                </a:lnTo>
                <a:lnTo>
                  <a:pt x="184" y="723"/>
                </a:lnTo>
                <a:lnTo>
                  <a:pt x="185" y="719"/>
                </a:lnTo>
                <a:lnTo>
                  <a:pt x="187" y="716"/>
                </a:lnTo>
                <a:lnTo>
                  <a:pt x="187" y="713"/>
                </a:lnTo>
                <a:lnTo>
                  <a:pt x="186" y="714"/>
                </a:lnTo>
                <a:lnTo>
                  <a:pt x="183" y="718"/>
                </a:lnTo>
                <a:lnTo>
                  <a:pt x="182" y="724"/>
                </a:lnTo>
                <a:lnTo>
                  <a:pt x="180" y="726"/>
                </a:lnTo>
                <a:lnTo>
                  <a:pt x="174" y="727"/>
                </a:lnTo>
                <a:lnTo>
                  <a:pt x="169" y="723"/>
                </a:lnTo>
                <a:lnTo>
                  <a:pt x="166" y="723"/>
                </a:lnTo>
                <a:lnTo>
                  <a:pt x="168" y="726"/>
                </a:lnTo>
                <a:lnTo>
                  <a:pt x="169" y="730"/>
                </a:lnTo>
                <a:lnTo>
                  <a:pt x="169" y="732"/>
                </a:lnTo>
                <a:lnTo>
                  <a:pt x="166" y="731"/>
                </a:lnTo>
                <a:lnTo>
                  <a:pt x="163" y="733"/>
                </a:lnTo>
                <a:lnTo>
                  <a:pt x="160" y="736"/>
                </a:lnTo>
                <a:lnTo>
                  <a:pt x="159" y="736"/>
                </a:lnTo>
                <a:lnTo>
                  <a:pt x="157" y="732"/>
                </a:lnTo>
                <a:lnTo>
                  <a:pt x="154" y="734"/>
                </a:lnTo>
                <a:lnTo>
                  <a:pt x="151" y="737"/>
                </a:lnTo>
                <a:lnTo>
                  <a:pt x="145" y="737"/>
                </a:lnTo>
                <a:lnTo>
                  <a:pt x="142" y="741"/>
                </a:lnTo>
                <a:lnTo>
                  <a:pt x="135" y="743"/>
                </a:lnTo>
                <a:lnTo>
                  <a:pt x="132" y="743"/>
                </a:lnTo>
                <a:lnTo>
                  <a:pt x="124" y="746"/>
                </a:lnTo>
                <a:lnTo>
                  <a:pt x="122" y="750"/>
                </a:lnTo>
                <a:lnTo>
                  <a:pt x="119" y="752"/>
                </a:lnTo>
                <a:lnTo>
                  <a:pt x="116" y="750"/>
                </a:lnTo>
                <a:lnTo>
                  <a:pt x="106" y="752"/>
                </a:lnTo>
                <a:lnTo>
                  <a:pt x="97" y="755"/>
                </a:lnTo>
                <a:lnTo>
                  <a:pt x="93" y="755"/>
                </a:lnTo>
                <a:lnTo>
                  <a:pt x="89" y="754"/>
                </a:lnTo>
                <a:lnTo>
                  <a:pt x="84" y="758"/>
                </a:lnTo>
                <a:lnTo>
                  <a:pt x="80" y="763"/>
                </a:lnTo>
                <a:lnTo>
                  <a:pt x="75" y="764"/>
                </a:lnTo>
                <a:lnTo>
                  <a:pt x="73" y="764"/>
                </a:lnTo>
                <a:lnTo>
                  <a:pt x="75" y="761"/>
                </a:lnTo>
                <a:lnTo>
                  <a:pt x="78" y="758"/>
                </a:lnTo>
                <a:lnTo>
                  <a:pt x="80" y="755"/>
                </a:lnTo>
                <a:lnTo>
                  <a:pt x="81" y="752"/>
                </a:lnTo>
                <a:lnTo>
                  <a:pt x="79" y="750"/>
                </a:lnTo>
                <a:lnTo>
                  <a:pt x="77" y="750"/>
                </a:lnTo>
                <a:lnTo>
                  <a:pt x="74" y="747"/>
                </a:lnTo>
                <a:lnTo>
                  <a:pt x="72" y="740"/>
                </a:lnTo>
                <a:lnTo>
                  <a:pt x="70" y="739"/>
                </a:lnTo>
                <a:lnTo>
                  <a:pt x="69" y="741"/>
                </a:lnTo>
                <a:lnTo>
                  <a:pt x="69" y="747"/>
                </a:lnTo>
                <a:lnTo>
                  <a:pt x="68" y="748"/>
                </a:lnTo>
                <a:lnTo>
                  <a:pt x="67" y="749"/>
                </a:lnTo>
                <a:lnTo>
                  <a:pt x="65" y="751"/>
                </a:lnTo>
                <a:lnTo>
                  <a:pt x="63" y="751"/>
                </a:lnTo>
                <a:lnTo>
                  <a:pt x="58" y="751"/>
                </a:lnTo>
                <a:lnTo>
                  <a:pt x="57" y="748"/>
                </a:lnTo>
                <a:lnTo>
                  <a:pt x="57" y="747"/>
                </a:lnTo>
                <a:lnTo>
                  <a:pt x="58" y="744"/>
                </a:lnTo>
                <a:lnTo>
                  <a:pt x="57" y="743"/>
                </a:lnTo>
                <a:lnTo>
                  <a:pt x="58" y="740"/>
                </a:lnTo>
                <a:lnTo>
                  <a:pt x="59" y="740"/>
                </a:lnTo>
                <a:lnTo>
                  <a:pt x="61" y="740"/>
                </a:lnTo>
                <a:lnTo>
                  <a:pt x="62" y="739"/>
                </a:lnTo>
                <a:lnTo>
                  <a:pt x="61" y="737"/>
                </a:lnTo>
                <a:lnTo>
                  <a:pt x="59" y="737"/>
                </a:lnTo>
                <a:lnTo>
                  <a:pt x="59" y="735"/>
                </a:lnTo>
                <a:lnTo>
                  <a:pt x="61" y="730"/>
                </a:lnTo>
                <a:lnTo>
                  <a:pt x="61" y="729"/>
                </a:lnTo>
                <a:lnTo>
                  <a:pt x="61" y="729"/>
                </a:lnTo>
                <a:lnTo>
                  <a:pt x="59" y="729"/>
                </a:lnTo>
                <a:lnTo>
                  <a:pt x="51" y="728"/>
                </a:lnTo>
                <a:lnTo>
                  <a:pt x="41" y="722"/>
                </a:lnTo>
                <a:lnTo>
                  <a:pt x="39" y="721"/>
                </a:lnTo>
                <a:lnTo>
                  <a:pt x="37" y="716"/>
                </a:lnTo>
                <a:lnTo>
                  <a:pt x="35" y="716"/>
                </a:lnTo>
                <a:lnTo>
                  <a:pt x="31" y="720"/>
                </a:lnTo>
                <a:lnTo>
                  <a:pt x="28" y="717"/>
                </a:lnTo>
                <a:lnTo>
                  <a:pt x="26" y="715"/>
                </a:lnTo>
                <a:lnTo>
                  <a:pt x="25" y="713"/>
                </a:lnTo>
                <a:lnTo>
                  <a:pt x="25" y="709"/>
                </a:lnTo>
                <a:lnTo>
                  <a:pt x="25" y="705"/>
                </a:lnTo>
                <a:lnTo>
                  <a:pt x="24" y="699"/>
                </a:lnTo>
                <a:lnTo>
                  <a:pt x="23" y="692"/>
                </a:lnTo>
                <a:lnTo>
                  <a:pt x="24" y="686"/>
                </a:lnTo>
                <a:lnTo>
                  <a:pt x="26" y="682"/>
                </a:lnTo>
                <a:lnTo>
                  <a:pt x="27" y="679"/>
                </a:lnTo>
                <a:lnTo>
                  <a:pt x="28" y="672"/>
                </a:lnTo>
                <a:lnTo>
                  <a:pt x="28" y="663"/>
                </a:lnTo>
                <a:lnTo>
                  <a:pt x="28" y="660"/>
                </a:lnTo>
                <a:lnTo>
                  <a:pt x="28" y="658"/>
                </a:lnTo>
                <a:lnTo>
                  <a:pt x="30" y="658"/>
                </a:lnTo>
                <a:lnTo>
                  <a:pt x="29" y="657"/>
                </a:lnTo>
                <a:lnTo>
                  <a:pt x="28" y="656"/>
                </a:lnTo>
                <a:lnTo>
                  <a:pt x="28" y="654"/>
                </a:lnTo>
                <a:lnTo>
                  <a:pt x="28" y="653"/>
                </a:lnTo>
                <a:lnTo>
                  <a:pt x="30" y="653"/>
                </a:lnTo>
                <a:lnTo>
                  <a:pt x="31" y="652"/>
                </a:lnTo>
                <a:lnTo>
                  <a:pt x="31" y="651"/>
                </a:lnTo>
                <a:lnTo>
                  <a:pt x="29" y="646"/>
                </a:lnTo>
                <a:lnTo>
                  <a:pt x="29" y="644"/>
                </a:lnTo>
                <a:lnTo>
                  <a:pt x="27" y="637"/>
                </a:lnTo>
                <a:lnTo>
                  <a:pt x="24" y="630"/>
                </a:lnTo>
                <a:lnTo>
                  <a:pt x="20" y="625"/>
                </a:lnTo>
                <a:lnTo>
                  <a:pt x="21" y="617"/>
                </a:lnTo>
                <a:lnTo>
                  <a:pt x="23" y="610"/>
                </a:lnTo>
                <a:lnTo>
                  <a:pt x="23" y="606"/>
                </a:lnTo>
                <a:lnTo>
                  <a:pt x="22" y="602"/>
                </a:lnTo>
                <a:lnTo>
                  <a:pt x="17" y="597"/>
                </a:lnTo>
                <a:lnTo>
                  <a:pt x="16" y="590"/>
                </a:lnTo>
                <a:lnTo>
                  <a:pt x="15" y="583"/>
                </a:lnTo>
                <a:lnTo>
                  <a:pt x="16" y="578"/>
                </a:lnTo>
                <a:lnTo>
                  <a:pt x="16" y="575"/>
                </a:lnTo>
                <a:lnTo>
                  <a:pt x="18" y="571"/>
                </a:lnTo>
                <a:lnTo>
                  <a:pt x="26" y="560"/>
                </a:lnTo>
                <a:lnTo>
                  <a:pt x="27" y="555"/>
                </a:lnTo>
                <a:lnTo>
                  <a:pt x="32" y="554"/>
                </a:lnTo>
                <a:lnTo>
                  <a:pt x="30" y="549"/>
                </a:lnTo>
                <a:lnTo>
                  <a:pt x="29" y="546"/>
                </a:lnTo>
                <a:lnTo>
                  <a:pt x="29" y="543"/>
                </a:lnTo>
                <a:lnTo>
                  <a:pt x="37" y="541"/>
                </a:lnTo>
                <a:lnTo>
                  <a:pt x="40" y="543"/>
                </a:lnTo>
                <a:lnTo>
                  <a:pt x="47" y="540"/>
                </a:lnTo>
                <a:lnTo>
                  <a:pt x="53" y="536"/>
                </a:lnTo>
                <a:lnTo>
                  <a:pt x="53" y="533"/>
                </a:lnTo>
                <a:lnTo>
                  <a:pt x="52" y="531"/>
                </a:lnTo>
                <a:lnTo>
                  <a:pt x="51" y="527"/>
                </a:lnTo>
                <a:lnTo>
                  <a:pt x="52" y="526"/>
                </a:lnTo>
                <a:lnTo>
                  <a:pt x="54" y="526"/>
                </a:lnTo>
                <a:lnTo>
                  <a:pt x="53" y="524"/>
                </a:lnTo>
                <a:lnTo>
                  <a:pt x="53" y="522"/>
                </a:lnTo>
                <a:lnTo>
                  <a:pt x="56" y="523"/>
                </a:lnTo>
                <a:lnTo>
                  <a:pt x="60" y="517"/>
                </a:lnTo>
                <a:lnTo>
                  <a:pt x="60" y="512"/>
                </a:lnTo>
                <a:lnTo>
                  <a:pt x="67" y="510"/>
                </a:lnTo>
                <a:lnTo>
                  <a:pt x="75" y="500"/>
                </a:lnTo>
                <a:lnTo>
                  <a:pt x="78" y="497"/>
                </a:lnTo>
                <a:lnTo>
                  <a:pt x="82" y="495"/>
                </a:lnTo>
                <a:lnTo>
                  <a:pt x="90" y="485"/>
                </a:lnTo>
                <a:lnTo>
                  <a:pt x="93" y="484"/>
                </a:lnTo>
                <a:lnTo>
                  <a:pt x="95" y="478"/>
                </a:lnTo>
                <a:lnTo>
                  <a:pt x="101" y="469"/>
                </a:lnTo>
                <a:lnTo>
                  <a:pt x="103" y="468"/>
                </a:lnTo>
                <a:lnTo>
                  <a:pt x="106" y="460"/>
                </a:lnTo>
                <a:lnTo>
                  <a:pt x="114" y="450"/>
                </a:lnTo>
                <a:lnTo>
                  <a:pt x="119" y="438"/>
                </a:lnTo>
                <a:lnTo>
                  <a:pt x="122" y="434"/>
                </a:lnTo>
                <a:lnTo>
                  <a:pt x="123" y="429"/>
                </a:lnTo>
                <a:lnTo>
                  <a:pt x="126" y="429"/>
                </a:lnTo>
                <a:lnTo>
                  <a:pt x="129" y="426"/>
                </a:lnTo>
                <a:lnTo>
                  <a:pt x="135" y="423"/>
                </a:lnTo>
                <a:lnTo>
                  <a:pt x="141" y="424"/>
                </a:lnTo>
                <a:lnTo>
                  <a:pt x="143" y="426"/>
                </a:lnTo>
                <a:lnTo>
                  <a:pt x="146" y="425"/>
                </a:lnTo>
                <a:lnTo>
                  <a:pt x="145" y="421"/>
                </a:lnTo>
                <a:lnTo>
                  <a:pt x="144" y="419"/>
                </a:lnTo>
                <a:lnTo>
                  <a:pt x="145" y="416"/>
                </a:lnTo>
                <a:lnTo>
                  <a:pt x="148" y="414"/>
                </a:lnTo>
                <a:lnTo>
                  <a:pt x="148" y="410"/>
                </a:lnTo>
                <a:lnTo>
                  <a:pt x="147" y="408"/>
                </a:lnTo>
                <a:lnTo>
                  <a:pt x="145" y="404"/>
                </a:lnTo>
                <a:lnTo>
                  <a:pt x="146" y="397"/>
                </a:lnTo>
                <a:lnTo>
                  <a:pt x="146" y="389"/>
                </a:lnTo>
                <a:lnTo>
                  <a:pt x="148" y="379"/>
                </a:lnTo>
                <a:lnTo>
                  <a:pt x="144" y="374"/>
                </a:lnTo>
                <a:lnTo>
                  <a:pt x="132" y="366"/>
                </a:lnTo>
                <a:lnTo>
                  <a:pt x="129" y="366"/>
                </a:lnTo>
                <a:lnTo>
                  <a:pt x="127" y="365"/>
                </a:lnTo>
                <a:lnTo>
                  <a:pt x="124" y="358"/>
                </a:lnTo>
                <a:lnTo>
                  <a:pt x="125" y="353"/>
                </a:lnTo>
                <a:lnTo>
                  <a:pt x="125" y="351"/>
                </a:lnTo>
                <a:lnTo>
                  <a:pt x="124" y="351"/>
                </a:lnTo>
                <a:lnTo>
                  <a:pt x="122" y="353"/>
                </a:lnTo>
                <a:lnTo>
                  <a:pt x="118" y="357"/>
                </a:lnTo>
                <a:lnTo>
                  <a:pt x="113" y="354"/>
                </a:lnTo>
                <a:lnTo>
                  <a:pt x="110" y="355"/>
                </a:lnTo>
                <a:lnTo>
                  <a:pt x="107" y="341"/>
                </a:lnTo>
                <a:lnTo>
                  <a:pt x="105" y="335"/>
                </a:lnTo>
                <a:lnTo>
                  <a:pt x="103" y="328"/>
                </a:lnTo>
                <a:lnTo>
                  <a:pt x="98" y="325"/>
                </a:lnTo>
                <a:lnTo>
                  <a:pt x="97" y="323"/>
                </a:lnTo>
                <a:lnTo>
                  <a:pt x="96" y="320"/>
                </a:lnTo>
                <a:lnTo>
                  <a:pt x="96" y="316"/>
                </a:lnTo>
                <a:lnTo>
                  <a:pt x="95" y="310"/>
                </a:lnTo>
                <a:lnTo>
                  <a:pt x="96" y="306"/>
                </a:lnTo>
                <a:lnTo>
                  <a:pt x="96" y="303"/>
                </a:lnTo>
                <a:lnTo>
                  <a:pt x="98" y="301"/>
                </a:lnTo>
                <a:lnTo>
                  <a:pt x="101" y="295"/>
                </a:lnTo>
                <a:lnTo>
                  <a:pt x="102" y="291"/>
                </a:lnTo>
                <a:lnTo>
                  <a:pt x="102" y="285"/>
                </a:lnTo>
                <a:lnTo>
                  <a:pt x="104" y="279"/>
                </a:lnTo>
                <a:lnTo>
                  <a:pt x="105" y="277"/>
                </a:lnTo>
                <a:lnTo>
                  <a:pt x="105" y="275"/>
                </a:lnTo>
                <a:lnTo>
                  <a:pt x="104" y="271"/>
                </a:lnTo>
                <a:lnTo>
                  <a:pt x="101" y="267"/>
                </a:lnTo>
                <a:lnTo>
                  <a:pt x="98" y="261"/>
                </a:lnTo>
                <a:lnTo>
                  <a:pt x="95" y="256"/>
                </a:lnTo>
                <a:lnTo>
                  <a:pt x="94" y="251"/>
                </a:lnTo>
                <a:lnTo>
                  <a:pt x="94" y="247"/>
                </a:lnTo>
                <a:lnTo>
                  <a:pt x="94" y="243"/>
                </a:lnTo>
                <a:lnTo>
                  <a:pt x="95" y="240"/>
                </a:lnTo>
                <a:lnTo>
                  <a:pt x="98" y="237"/>
                </a:lnTo>
                <a:lnTo>
                  <a:pt x="98" y="235"/>
                </a:lnTo>
                <a:lnTo>
                  <a:pt x="97" y="228"/>
                </a:lnTo>
                <a:lnTo>
                  <a:pt x="95" y="226"/>
                </a:lnTo>
                <a:lnTo>
                  <a:pt x="91" y="226"/>
                </a:lnTo>
                <a:lnTo>
                  <a:pt x="89" y="225"/>
                </a:lnTo>
                <a:lnTo>
                  <a:pt x="88" y="225"/>
                </a:lnTo>
                <a:lnTo>
                  <a:pt x="88" y="223"/>
                </a:lnTo>
                <a:lnTo>
                  <a:pt x="89" y="220"/>
                </a:lnTo>
                <a:lnTo>
                  <a:pt x="90" y="216"/>
                </a:lnTo>
                <a:lnTo>
                  <a:pt x="91" y="214"/>
                </a:lnTo>
                <a:lnTo>
                  <a:pt x="91" y="212"/>
                </a:lnTo>
                <a:lnTo>
                  <a:pt x="90" y="205"/>
                </a:lnTo>
                <a:lnTo>
                  <a:pt x="89" y="197"/>
                </a:lnTo>
                <a:lnTo>
                  <a:pt x="90" y="191"/>
                </a:lnTo>
                <a:lnTo>
                  <a:pt x="94" y="186"/>
                </a:lnTo>
                <a:lnTo>
                  <a:pt x="94" y="184"/>
                </a:lnTo>
                <a:lnTo>
                  <a:pt x="89" y="179"/>
                </a:lnTo>
                <a:lnTo>
                  <a:pt x="85" y="173"/>
                </a:lnTo>
                <a:lnTo>
                  <a:pt x="84" y="169"/>
                </a:lnTo>
                <a:lnTo>
                  <a:pt x="80" y="169"/>
                </a:lnTo>
                <a:lnTo>
                  <a:pt x="77" y="159"/>
                </a:lnTo>
                <a:lnTo>
                  <a:pt x="74" y="154"/>
                </a:lnTo>
                <a:lnTo>
                  <a:pt x="70" y="149"/>
                </a:lnTo>
                <a:lnTo>
                  <a:pt x="67" y="147"/>
                </a:lnTo>
                <a:lnTo>
                  <a:pt x="54" y="141"/>
                </a:lnTo>
                <a:lnTo>
                  <a:pt x="49" y="140"/>
                </a:lnTo>
                <a:lnTo>
                  <a:pt x="43" y="136"/>
                </a:lnTo>
                <a:lnTo>
                  <a:pt x="38" y="132"/>
                </a:lnTo>
                <a:lnTo>
                  <a:pt x="35" y="129"/>
                </a:lnTo>
                <a:lnTo>
                  <a:pt x="31" y="125"/>
                </a:lnTo>
                <a:lnTo>
                  <a:pt x="26" y="122"/>
                </a:lnTo>
                <a:lnTo>
                  <a:pt x="25" y="119"/>
                </a:lnTo>
                <a:lnTo>
                  <a:pt x="20" y="114"/>
                </a:lnTo>
                <a:lnTo>
                  <a:pt x="18" y="110"/>
                </a:lnTo>
                <a:lnTo>
                  <a:pt x="9" y="103"/>
                </a:lnTo>
                <a:lnTo>
                  <a:pt x="9" y="101"/>
                </a:lnTo>
                <a:lnTo>
                  <a:pt x="9" y="98"/>
                </a:lnTo>
                <a:lnTo>
                  <a:pt x="9" y="97"/>
                </a:lnTo>
                <a:lnTo>
                  <a:pt x="0" y="92"/>
                </a:lnTo>
                <a:lnTo>
                  <a:pt x="2" y="89"/>
                </a:lnTo>
                <a:lnTo>
                  <a:pt x="8" y="89"/>
                </a:lnTo>
                <a:lnTo>
                  <a:pt x="14" y="92"/>
                </a:lnTo>
                <a:lnTo>
                  <a:pt x="15" y="90"/>
                </a:lnTo>
                <a:lnTo>
                  <a:pt x="16" y="88"/>
                </a:lnTo>
                <a:lnTo>
                  <a:pt x="14" y="79"/>
                </a:lnTo>
                <a:lnTo>
                  <a:pt x="14" y="77"/>
                </a:lnTo>
                <a:lnTo>
                  <a:pt x="16" y="74"/>
                </a:lnTo>
                <a:lnTo>
                  <a:pt x="20" y="71"/>
                </a:lnTo>
                <a:lnTo>
                  <a:pt x="26" y="71"/>
                </a:lnTo>
                <a:lnTo>
                  <a:pt x="30" y="71"/>
                </a:lnTo>
                <a:lnTo>
                  <a:pt x="31" y="72"/>
                </a:lnTo>
                <a:lnTo>
                  <a:pt x="37" y="82"/>
                </a:lnTo>
                <a:lnTo>
                  <a:pt x="43" y="92"/>
                </a:lnTo>
                <a:lnTo>
                  <a:pt x="46" y="96"/>
                </a:lnTo>
                <a:lnTo>
                  <a:pt x="52" y="108"/>
                </a:lnTo>
                <a:lnTo>
                  <a:pt x="55" y="115"/>
                </a:lnTo>
                <a:lnTo>
                  <a:pt x="56" y="119"/>
                </a:lnTo>
                <a:lnTo>
                  <a:pt x="59" y="119"/>
                </a:lnTo>
                <a:lnTo>
                  <a:pt x="68" y="122"/>
                </a:lnTo>
                <a:lnTo>
                  <a:pt x="77" y="123"/>
                </a:lnTo>
                <a:lnTo>
                  <a:pt x="79" y="126"/>
                </a:lnTo>
                <a:lnTo>
                  <a:pt x="84" y="126"/>
                </a:lnTo>
                <a:lnTo>
                  <a:pt x="89" y="123"/>
                </a:lnTo>
                <a:lnTo>
                  <a:pt x="96" y="120"/>
                </a:lnTo>
                <a:lnTo>
                  <a:pt x="98" y="116"/>
                </a:lnTo>
                <a:lnTo>
                  <a:pt x="101" y="112"/>
                </a:lnTo>
                <a:lnTo>
                  <a:pt x="105" y="113"/>
                </a:lnTo>
                <a:lnTo>
                  <a:pt x="110" y="116"/>
                </a:lnTo>
                <a:lnTo>
                  <a:pt x="116" y="120"/>
                </a:lnTo>
                <a:lnTo>
                  <a:pt x="121" y="122"/>
                </a:lnTo>
                <a:lnTo>
                  <a:pt x="127" y="125"/>
                </a:lnTo>
                <a:lnTo>
                  <a:pt x="131" y="129"/>
                </a:lnTo>
                <a:lnTo>
                  <a:pt x="135" y="130"/>
                </a:lnTo>
                <a:lnTo>
                  <a:pt x="139" y="126"/>
                </a:lnTo>
                <a:lnTo>
                  <a:pt x="142" y="116"/>
                </a:lnTo>
                <a:lnTo>
                  <a:pt x="144" y="111"/>
                </a:lnTo>
                <a:lnTo>
                  <a:pt x="148" y="107"/>
                </a:lnTo>
                <a:lnTo>
                  <a:pt x="152" y="106"/>
                </a:lnTo>
                <a:lnTo>
                  <a:pt x="155" y="105"/>
                </a:lnTo>
                <a:lnTo>
                  <a:pt x="157" y="102"/>
                </a:lnTo>
                <a:lnTo>
                  <a:pt x="160" y="96"/>
                </a:lnTo>
                <a:lnTo>
                  <a:pt x="161" y="89"/>
                </a:lnTo>
                <a:lnTo>
                  <a:pt x="160" y="75"/>
                </a:lnTo>
                <a:lnTo>
                  <a:pt x="161" y="71"/>
                </a:lnTo>
                <a:lnTo>
                  <a:pt x="163" y="63"/>
                </a:lnTo>
                <a:lnTo>
                  <a:pt x="167" y="43"/>
                </a:lnTo>
                <a:lnTo>
                  <a:pt x="168" y="38"/>
                </a:lnTo>
                <a:lnTo>
                  <a:pt x="170" y="34"/>
                </a:lnTo>
                <a:lnTo>
                  <a:pt x="173" y="32"/>
                </a:lnTo>
                <a:lnTo>
                  <a:pt x="177" y="26"/>
                </a:lnTo>
                <a:lnTo>
                  <a:pt x="184" y="14"/>
                </a:lnTo>
                <a:lnTo>
                  <a:pt x="186" y="13"/>
                </a:lnTo>
                <a:lnTo>
                  <a:pt x="191" y="12"/>
                </a:lnTo>
                <a:lnTo>
                  <a:pt x="197" y="13"/>
                </a:lnTo>
                <a:lnTo>
                  <a:pt x="202" y="15"/>
                </a:lnTo>
                <a:lnTo>
                  <a:pt x="203" y="15"/>
                </a:lnTo>
                <a:lnTo>
                  <a:pt x="205" y="14"/>
                </a:lnTo>
                <a:lnTo>
                  <a:pt x="210" y="10"/>
                </a:lnTo>
                <a:lnTo>
                  <a:pt x="217" y="2"/>
                </a:lnTo>
                <a:lnTo>
                  <a:pt x="222" y="0"/>
                </a:lnTo>
                <a:lnTo>
                  <a:pt x="227" y="1"/>
                </a:lnTo>
                <a:lnTo>
                  <a:pt x="232" y="9"/>
                </a:lnTo>
                <a:lnTo>
                  <a:pt x="239" y="18"/>
                </a:lnTo>
                <a:lnTo>
                  <a:pt x="243" y="22"/>
                </a:lnTo>
                <a:lnTo>
                  <a:pt x="255" y="31"/>
                </a:lnTo>
                <a:lnTo>
                  <a:pt x="266" y="36"/>
                </a:lnTo>
                <a:lnTo>
                  <a:pt x="272" y="54"/>
                </a:lnTo>
                <a:lnTo>
                  <a:pt x="269" y="61"/>
                </a:lnTo>
                <a:lnTo>
                  <a:pt x="267" y="63"/>
                </a:lnTo>
                <a:lnTo>
                  <a:pt x="262" y="70"/>
                </a:lnTo>
                <a:lnTo>
                  <a:pt x="257" y="80"/>
                </a:lnTo>
                <a:lnTo>
                  <a:pt x="256" y="85"/>
                </a:lnTo>
                <a:lnTo>
                  <a:pt x="258" y="90"/>
                </a:lnTo>
                <a:lnTo>
                  <a:pt x="260" y="93"/>
                </a:lnTo>
                <a:close/>
                <a:moveTo>
                  <a:pt x="132" y="416"/>
                </a:moveTo>
                <a:lnTo>
                  <a:pt x="132" y="416"/>
                </a:lnTo>
                <a:lnTo>
                  <a:pt x="127" y="418"/>
                </a:lnTo>
                <a:lnTo>
                  <a:pt x="124" y="416"/>
                </a:lnTo>
                <a:lnTo>
                  <a:pt x="124" y="412"/>
                </a:lnTo>
                <a:lnTo>
                  <a:pt x="126" y="409"/>
                </a:lnTo>
                <a:lnTo>
                  <a:pt x="130" y="408"/>
                </a:lnTo>
                <a:lnTo>
                  <a:pt x="136" y="411"/>
                </a:lnTo>
                <a:lnTo>
                  <a:pt x="137" y="412"/>
                </a:lnTo>
                <a:lnTo>
                  <a:pt x="133" y="413"/>
                </a:lnTo>
                <a:lnTo>
                  <a:pt x="132" y="416"/>
                </a:lnTo>
                <a:close/>
                <a:moveTo>
                  <a:pt x="19" y="540"/>
                </a:moveTo>
                <a:lnTo>
                  <a:pt x="19" y="540"/>
                </a:lnTo>
                <a:lnTo>
                  <a:pt x="19" y="542"/>
                </a:lnTo>
                <a:lnTo>
                  <a:pt x="21" y="541"/>
                </a:lnTo>
                <a:lnTo>
                  <a:pt x="23" y="539"/>
                </a:lnTo>
                <a:lnTo>
                  <a:pt x="25" y="540"/>
                </a:lnTo>
                <a:lnTo>
                  <a:pt x="25" y="543"/>
                </a:lnTo>
                <a:lnTo>
                  <a:pt x="24" y="543"/>
                </a:lnTo>
                <a:lnTo>
                  <a:pt x="23" y="543"/>
                </a:lnTo>
                <a:lnTo>
                  <a:pt x="22" y="545"/>
                </a:lnTo>
                <a:lnTo>
                  <a:pt x="22" y="546"/>
                </a:lnTo>
                <a:lnTo>
                  <a:pt x="20" y="546"/>
                </a:lnTo>
                <a:lnTo>
                  <a:pt x="17" y="543"/>
                </a:lnTo>
                <a:lnTo>
                  <a:pt x="15" y="538"/>
                </a:lnTo>
                <a:lnTo>
                  <a:pt x="19" y="538"/>
                </a:lnTo>
                <a:lnTo>
                  <a:pt x="19" y="539"/>
                </a:lnTo>
                <a:lnTo>
                  <a:pt x="19" y="540"/>
                </a:lnTo>
                <a:close/>
                <a:moveTo>
                  <a:pt x="26" y="720"/>
                </a:moveTo>
                <a:lnTo>
                  <a:pt x="26" y="720"/>
                </a:lnTo>
                <a:lnTo>
                  <a:pt x="26" y="723"/>
                </a:lnTo>
                <a:lnTo>
                  <a:pt x="23" y="722"/>
                </a:lnTo>
                <a:lnTo>
                  <a:pt x="21" y="723"/>
                </a:lnTo>
                <a:lnTo>
                  <a:pt x="20" y="720"/>
                </a:lnTo>
                <a:lnTo>
                  <a:pt x="19" y="715"/>
                </a:lnTo>
                <a:lnTo>
                  <a:pt x="19" y="714"/>
                </a:lnTo>
                <a:lnTo>
                  <a:pt x="20" y="713"/>
                </a:lnTo>
                <a:lnTo>
                  <a:pt x="21" y="715"/>
                </a:lnTo>
                <a:lnTo>
                  <a:pt x="26" y="720"/>
                </a:lnTo>
                <a:close/>
                <a:moveTo>
                  <a:pt x="43" y="732"/>
                </a:moveTo>
                <a:lnTo>
                  <a:pt x="43" y="732"/>
                </a:lnTo>
                <a:lnTo>
                  <a:pt x="41" y="732"/>
                </a:lnTo>
                <a:lnTo>
                  <a:pt x="37" y="729"/>
                </a:lnTo>
                <a:lnTo>
                  <a:pt x="37" y="728"/>
                </a:lnTo>
                <a:lnTo>
                  <a:pt x="38" y="727"/>
                </a:lnTo>
                <a:lnTo>
                  <a:pt x="37" y="725"/>
                </a:lnTo>
                <a:lnTo>
                  <a:pt x="38" y="723"/>
                </a:lnTo>
                <a:lnTo>
                  <a:pt x="40" y="725"/>
                </a:lnTo>
                <a:lnTo>
                  <a:pt x="42" y="728"/>
                </a:lnTo>
                <a:lnTo>
                  <a:pt x="40" y="728"/>
                </a:lnTo>
                <a:lnTo>
                  <a:pt x="43" y="731"/>
                </a:lnTo>
                <a:lnTo>
                  <a:pt x="43" y="732"/>
                </a:lnTo>
                <a:close/>
                <a:moveTo>
                  <a:pt x="49" y="730"/>
                </a:moveTo>
                <a:lnTo>
                  <a:pt x="49" y="730"/>
                </a:lnTo>
                <a:lnTo>
                  <a:pt x="53" y="731"/>
                </a:lnTo>
                <a:lnTo>
                  <a:pt x="54" y="731"/>
                </a:lnTo>
                <a:lnTo>
                  <a:pt x="56" y="734"/>
                </a:lnTo>
                <a:lnTo>
                  <a:pt x="53" y="736"/>
                </a:lnTo>
                <a:lnTo>
                  <a:pt x="53" y="739"/>
                </a:lnTo>
                <a:lnTo>
                  <a:pt x="54" y="740"/>
                </a:lnTo>
                <a:lnTo>
                  <a:pt x="54" y="743"/>
                </a:lnTo>
                <a:lnTo>
                  <a:pt x="51" y="743"/>
                </a:lnTo>
                <a:lnTo>
                  <a:pt x="50" y="741"/>
                </a:lnTo>
                <a:lnTo>
                  <a:pt x="49" y="738"/>
                </a:lnTo>
                <a:lnTo>
                  <a:pt x="48" y="736"/>
                </a:lnTo>
                <a:lnTo>
                  <a:pt x="46" y="735"/>
                </a:lnTo>
                <a:lnTo>
                  <a:pt x="46" y="733"/>
                </a:lnTo>
                <a:lnTo>
                  <a:pt x="47" y="731"/>
                </a:lnTo>
                <a:lnTo>
                  <a:pt x="49" y="730"/>
                </a:lnTo>
                <a:close/>
                <a:moveTo>
                  <a:pt x="38" y="744"/>
                </a:moveTo>
                <a:lnTo>
                  <a:pt x="38" y="744"/>
                </a:lnTo>
                <a:lnTo>
                  <a:pt x="35" y="746"/>
                </a:lnTo>
                <a:lnTo>
                  <a:pt x="34" y="746"/>
                </a:lnTo>
                <a:lnTo>
                  <a:pt x="34" y="742"/>
                </a:lnTo>
                <a:lnTo>
                  <a:pt x="36" y="740"/>
                </a:lnTo>
                <a:lnTo>
                  <a:pt x="39" y="740"/>
                </a:lnTo>
                <a:lnTo>
                  <a:pt x="38" y="744"/>
                </a:lnTo>
                <a:close/>
                <a:moveTo>
                  <a:pt x="32" y="746"/>
                </a:moveTo>
                <a:lnTo>
                  <a:pt x="32" y="746"/>
                </a:lnTo>
                <a:lnTo>
                  <a:pt x="29" y="747"/>
                </a:lnTo>
                <a:lnTo>
                  <a:pt x="27" y="745"/>
                </a:lnTo>
                <a:lnTo>
                  <a:pt x="28" y="744"/>
                </a:lnTo>
                <a:lnTo>
                  <a:pt x="30" y="742"/>
                </a:lnTo>
                <a:lnTo>
                  <a:pt x="32" y="742"/>
                </a:lnTo>
                <a:lnTo>
                  <a:pt x="32" y="744"/>
                </a:lnTo>
                <a:lnTo>
                  <a:pt x="32" y="7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37" name="Norway">
            <a:extLst>
              <a:ext uri="{FF2B5EF4-FFF2-40B4-BE49-F238E27FC236}">
                <a16:creationId xmlns:a16="http://schemas.microsoft.com/office/drawing/2014/main" id="{ECBE2434-6902-4384-BCA9-1F082A1D9877}"/>
              </a:ext>
            </a:extLst>
          </p:cNvPr>
          <p:cNvSpPr>
            <a:spLocks noEditPoints="1"/>
          </p:cNvSpPr>
          <p:nvPr/>
        </p:nvSpPr>
        <p:spPr bwMode="auto">
          <a:xfrm>
            <a:off x="5995620" y="2106338"/>
            <a:ext cx="735717" cy="637926"/>
          </a:xfrm>
          <a:custGeom>
            <a:avLst/>
            <a:gdLst>
              <a:gd name="T0" fmla="*/ 810 w 816"/>
              <a:gd name="T1" fmla="*/ 150 h 974"/>
              <a:gd name="T2" fmla="*/ 760 w 816"/>
              <a:gd name="T3" fmla="*/ 164 h 974"/>
              <a:gd name="T4" fmla="*/ 660 w 816"/>
              <a:gd name="T5" fmla="*/ 144 h 974"/>
              <a:gd name="T6" fmla="*/ 582 w 816"/>
              <a:gd name="T7" fmla="*/ 224 h 974"/>
              <a:gd name="T8" fmla="*/ 495 w 816"/>
              <a:gd name="T9" fmla="*/ 190 h 974"/>
              <a:gd name="T10" fmla="*/ 416 w 816"/>
              <a:gd name="T11" fmla="*/ 242 h 974"/>
              <a:gd name="T12" fmla="*/ 335 w 816"/>
              <a:gd name="T13" fmla="*/ 398 h 974"/>
              <a:gd name="T14" fmla="*/ 291 w 816"/>
              <a:gd name="T15" fmla="*/ 576 h 974"/>
              <a:gd name="T16" fmla="*/ 228 w 816"/>
              <a:gd name="T17" fmla="*/ 681 h 974"/>
              <a:gd name="T18" fmla="*/ 242 w 816"/>
              <a:gd name="T19" fmla="*/ 820 h 974"/>
              <a:gd name="T20" fmla="*/ 205 w 816"/>
              <a:gd name="T21" fmla="*/ 913 h 974"/>
              <a:gd name="T22" fmla="*/ 168 w 816"/>
              <a:gd name="T23" fmla="*/ 913 h 974"/>
              <a:gd name="T24" fmla="*/ 101 w 816"/>
              <a:gd name="T25" fmla="*/ 966 h 974"/>
              <a:gd name="T26" fmla="*/ 39 w 816"/>
              <a:gd name="T27" fmla="*/ 953 h 974"/>
              <a:gd name="T28" fmla="*/ 43 w 816"/>
              <a:gd name="T29" fmla="*/ 889 h 974"/>
              <a:gd name="T30" fmla="*/ 33 w 816"/>
              <a:gd name="T31" fmla="*/ 870 h 974"/>
              <a:gd name="T32" fmla="*/ 67 w 816"/>
              <a:gd name="T33" fmla="*/ 824 h 974"/>
              <a:gd name="T34" fmla="*/ 11 w 816"/>
              <a:gd name="T35" fmla="*/ 851 h 974"/>
              <a:gd name="T36" fmla="*/ 9 w 816"/>
              <a:gd name="T37" fmla="*/ 786 h 974"/>
              <a:gd name="T38" fmla="*/ 77 w 816"/>
              <a:gd name="T39" fmla="*/ 772 h 974"/>
              <a:gd name="T40" fmla="*/ 17 w 816"/>
              <a:gd name="T41" fmla="*/ 759 h 974"/>
              <a:gd name="T42" fmla="*/ 11 w 816"/>
              <a:gd name="T43" fmla="*/ 715 h 974"/>
              <a:gd name="T44" fmla="*/ 46 w 816"/>
              <a:gd name="T45" fmla="*/ 686 h 974"/>
              <a:gd name="T46" fmla="*/ 62 w 816"/>
              <a:gd name="T47" fmla="*/ 672 h 974"/>
              <a:gd name="T48" fmla="*/ 115 w 816"/>
              <a:gd name="T49" fmla="*/ 629 h 974"/>
              <a:gd name="T50" fmla="*/ 173 w 816"/>
              <a:gd name="T51" fmla="*/ 625 h 974"/>
              <a:gd name="T52" fmla="*/ 192 w 816"/>
              <a:gd name="T53" fmla="*/ 595 h 974"/>
              <a:gd name="T54" fmla="*/ 203 w 816"/>
              <a:gd name="T55" fmla="*/ 539 h 974"/>
              <a:gd name="T56" fmla="*/ 228 w 816"/>
              <a:gd name="T57" fmla="*/ 495 h 974"/>
              <a:gd name="T58" fmla="*/ 259 w 816"/>
              <a:gd name="T59" fmla="*/ 423 h 974"/>
              <a:gd name="T60" fmla="*/ 311 w 816"/>
              <a:gd name="T61" fmla="*/ 347 h 974"/>
              <a:gd name="T62" fmla="*/ 329 w 816"/>
              <a:gd name="T63" fmla="*/ 319 h 974"/>
              <a:gd name="T64" fmla="*/ 344 w 816"/>
              <a:gd name="T65" fmla="*/ 266 h 974"/>
              <a:gd name="T66" fmla="*/ 398 w 816"/>
              <a:gd name="T67" fmla="*/ 243 h 974"/>
              <a:gd name="T68" fmla="*/ 423 w 816"/>
              <a:gd name="T69" fmla="*/ 157 h 974"/>
              <a:gd name="T70" fmla="*/ 473 w 816"/>
              <a:gd name="T71" fmla="*/ 123 h 974"/>
              <a:gd name="T72" fmla="*/ 504 w 816"/>
              <a:gd name="T73" fmla="*/ 115 h 974"/>
              <a:gd name="T74" fmla="*/ 558 w 816"/>
              <a:gd name="T75" fmla="*/ 73 h 974"/>
              <a:gd name="T76" fmla="*/ 619 w 816"/>
              <a:gd name="T77" fmla="*/ 14 h 974"/>
              <a:gd name="T78" fmla="*/ 643 w 816"/>
              <a:gd name="T79" fmla="*/ 85 h 974"/>
              <a:gd name="T80" fmla="*/ 699 w 816"/>
              <a:gd name="T81" fmla="*/ 19 h 974"/>
              <a:gd name="T82" fmla="*/ 738 w 816"/>
              <a:gd name="T83" fmla="*/ 50 h 974"/>
              <a:gd name="T84" fmla="*/ 794 w 816"/>
              <a:gd name="T85" fmla="*/ 96 h 974"/>
              <a:gd name="T86" fmla="*/ 581 w 816"/>
              <a:gd name="T87" fmla="*/ 31 h 974"/>
              <a:gd name="T88" fmla="*/ 566 w 816"/>
              <a:gd name="T89" fmla="*/ 41 h 974"/>
              <a:gd name="T90" fmla="*/ 578 w 816"/>
              <a:gd name="T91" fmla="*/ 76 h 974"/>
              <a:gd name="T92" fmla="*/ 476 w 816"/>
              <a:gd name="T93" fmla="*/ 95 h 974"/>
              <a:gd name="T94" fmla="*/ 443 w 816"/>
              <a:gd name="T95" fmla="*/ 129 h 974"/>
              <a:gd name="T96" fmla="*/ 437 w 816"/>
              <a:gd name="T97" fmla="*/ 111 h 974"/>
              <a:gd name="T98" fmla="*/ 499 w 816"/>
              <a:gd name="T99" fmla="*/ 88 h 974"/>
              <a:gd name="T100" fmla="*/ 410 w 816"/>
              <a:gd name="T101" fmla="*/ 167 h 974"/>
              <a:gd name="T102" fmla="*/ 387 w 816"/>
              <a:gd name="T103" fmla="*/ 154 h 974"/>
              <a:gd name="T104" fmla="*/ 360 w 816"/>
              <a:gd name="T105" fmla="*/ 233 h 974"/>
              <a:gd name="T106" fmla="*/ 321 w 816"/>
              <a:gd name="T107" fmla="*/ 244 h 974"/>
              <a:gd name="T108" fmla="*/ 324 w 816"/>
              <a:gd name="T109" fmla="*/ 201 h 974"/>
              <a:gd name="T110" fmla="*/ 319 w 816"/>
              <a:gd name="T111" fmla="*/ 205 h 974"/>
              <a:gd name="T112" fmla="*/ 263 w 816"/>
              <a:gd name="T113" fmla="*/ 281 h 974"/>
              <a:gd name="T114" fmla="*/ 235 w 816"/>
              <a:gd name="T115" fmla="*/ 438 h 974"/>
              <a:gd name="T116" fmla="*/ 221 w 816"/>
              <a:gd name="T117" fmla="*/ 471 h 974"/>
              <a:gd name="T118" fmla="*/ 114 w 816"/>
              <a:gd name="T119" fmla="*/ 607 h 974"/>
              <a:gd name="T120" fmla="*/ 1 w 816"/>
              <a:gd name="T121" fmla="*/ 779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6" h="974">
                <a:moveTo>
                  <a:pt x="648" y="0"/>
                </a:moveTo>
                <a:lnTo>
                  <a:pt x="648" y="0"/>
                </a:lnTo>
                <a:lnTo>
                  <a:pt x="656" y="4"/>
                </a:lnTo>
                <a:lnTo>
                  <a:pt x="659" y="4"/>
                </a:lnTo>
                <a:lnTo>
                  <a:pt x="663" y="11"/>
                </a:lnTo>
                <a:lnTo>
                  <a:pt x="665" y="10"/>
                </a:lnTo>
                <a:lnTo>
                  <a:pt x="665" y="14"/>
                </a:lnTo>
                <a:lnTo>
                  <a:pt x="661" y="16"/>
                </a:lnTo>
                <a:lnTo>
                  <a:pt x="654" y="17"/>
                </a:lnTo>
                <a:lnTo>
                  <a:pt x="653" y="18"/>
                </a:lnTo>
                <a:lnTo>
                  <a:pt x="648" y="18"/>
                </a:lnTo>
                <a:lnTo>
                  <a:pt x="645" y="12"/>
                </a:lnTo>
                <a:lnTo>
                  <a:pt x="640" y="11"/>
                </a:lnTo>
                <a:lnTo>
                  <a:pt x="640" y="9"/>
                </a:lnTo>
                <a:lnTo>
                  <a:pt x="643" y="4"/>
                </a:lnTo>
                <a:lnTo>
                  <a:pt x="648" y="0"/>
                </a:lnTo>
                <a:close/>
                <a:moveTo>
                  <a:pt x="813" y="127"/>
                </a:moveTo>
                <a:lnTo>
                  <a:pt x="813" y="127"/>
                </a:lnTo>
                <a:lnTo>
                  <a:pt x="814" y="139"/>
                </a:lnTo>
                <a:lnTo>
                  <a:pt x="814" y="143"/>
                </a:lnTo>
                <a:lnTo>
                  <a:pt x="814" y="147"/>
                </a:lnTo>
                <a:lnTo>
                  <a:pt x="812" y="149"/>
                </a:lnTo>
                <a:lnTo>
                  <a:pt x="810" y="150"/>
                </a:lnTo>
                <a:lnTo>
                  <a:pt x="805" y="149"/>
                </a:lnTo>
                <a:lnTo>
                  <a:pt x="797" y="145"/>
                </a:lnTo>
                <a:lnTo>
                  <a:pt x="793" y="140"/>
                </a:lnTo>
                <a:lnTo>
                  <a:pt x="791" y="140"/>
                </a:lnTo>
                <a:lnTo>
                  <a:pt x="791" y="141"/>
                </a:lnTo>
                <a:lnTo>
                  <a:pt x="792" y="145"/>
                </a:lnTo>
                <a:lnTo>
                  <a:pt x="791" y="148"/>
                </a:lnTo>
                <a:lnTo>
                  <a:pt x="791" y="152"/>
                </a:lnTo>
                <a:lnTo>
                  <a:pt x="790" y="155"/>
                </a:lnTo>
                <a:lnTo>
                  <a:pt x="788" y="158"/>
                </a:lnTo>
                <a:lnTo>
                  <a:pt x="785" y="162"/>
                </a:lnTo>
                <a:lnTo>
                  <a:pt x="780" y="164"/>
                </a:lnTo>
                <a:lnTo>
                  <a:pt x="767" y="170"/>
                </a:lnTo>
                <a:lnTo>
                  <a:pt x="765" y="172"/>
                </a:lnTo>
                <a:lnTo>
                  <a:pt x="761" y="188"/>
                </a:lnTo>
                <a:lnTo>
                  <a:pt x="760" y="190"/>
                </a:lnTo>
                <a:lnTo>
                  <a:pt x="758" y="192"/>
                </a:lnTo>
                <a:lnTo>
                  <a:pt x="753" y="194"/>
                </a:lnTo>
                <a:lnTo>
                  <a:pt x="751" y="191"/>
                </a:lnTo>
                <a:lnTo>
                  <a:pt x="749" y="186"/>
                </a:lnTo>
                <a:lnTo>
                  <a:pt x="750" y="181"/>
                </a:lnTo>
                <a:lnTo>
                  <a:pt x="755" y="171"/>
                </a:lnTo>
                <a:lnTo>
                  <a:pt x="760" y="164"/>
                </a:lnTo>
                <a:lnTo>
                  <a:pt x="762" y="162"/>
                </a:lnTo>
                <a:lnTo>
                  <a:pt x="765" y="155"/>
                </a:lnTo>
                <a:lnTo>
                  <a:pt x="759" y="137"/>
                </a:lnTo>
                <a:lnTo>
                  <a:pt x="748" y="131"/>
                </a:lnTo>
                <a:lnTo>
                  <a:pt x="736" y="123"/>
                </a:lnTo>
                <a:lnTo>
                  <a:pt x="732" y="119"/>
                </a:lnTo>
                <a:lnTo>
                  <a:pt x="725" y="110"/>
                </a:lnTo>
                <a:lnTo>
                  <a:pt x="720" y="102"/>
                </a:lnTo>
                <a:lnTo>
                  <a:pt x="715" y="101"/>
                </a:lnTo>
                <a:lnTo>
                  <a:pt x="711" y="103"/>
                </a:lnTo>
                <a:lnTo>
                  <a:pt x="703" y="111"/>
                </a:lnTo>
                <a:lnTo>
                  <a:pt x="699" y="115"/>
                </a:lnTo>
                <a:lnTo>
                  <a:pt x="696" y="116"/>
                </a:lnTo>
                <a:lnTo>
                  <a:pt x="695" y="116"/>
                </a:lnTo>
                <a:lnTo>
                  <a:pt x="690" y="114"/>
                </a:lnTo>
                <a:lnTo>
                  <a:pt x="684" y="113"/>
                </a:lnTo>
                <a:lnTo>
                  <a:pt x="679" y="114"/>
                </a:lnTo>
                <a:lnTo>
                  <a:pt x="677" y="115"/>
                </a:lnTo>
                <a:lnTo>
                  <a:pt x="671" y="127"/>
                </a:lnTo>
                <a:lnTo>
                  <a:pt x="666" y="133"/>
                </a:lnTo>
                <a:lnTo>
                  <a:pt x="663" y="135"/>
                </a:lnTo>
                <a:lnTo>
                  <a:pt x="661" y="139"/>
                </a:lnTo>
                <a:lnTo>
                  <a:pt x="660" y="144"/>
                </a:lnTo>
                <a:lnTo>
                  <a:pt x="656" y="164"/>
                </a:lnTo>
                <a:lnTo>
                  <a:pt x="654" y="171"/>
                </a:lnTo>
                <a:lnTo>
                  <a:pt x="653" y="176"/>
                </a:lnTo>
                <a:lnTo>
                  <a:pt x="654" y="190"/>
                </a:lnTo>
                <a:lnTo>
                  <a:pt x="653" y="197"/>
                </a:lnTo>
                <a:lnTo>
                  <a:pt x="650" y="203"/>
                </a:lnTo>
                <a:lnTo>
                  <a:pt x="648" y="206"/>
                </a:lnTo>
                <a:lnTo>
                  <a:pt x="645" y="207"/>
                </a:lnTo>
                <a:lnTo>
                  <a:pt x="641" y="208"/>
                </a:lnTo>
                <a:lnTo>
                  <a:pt x="637" y="212"/>
                </a:lnTo>
                <a:lnTo>
                  <a:pt x="635" y="216"/>
                </a:lnTo>
                <a:lnTo>
                  <a:pt x="632" y="227"/>
                </a:lnTo>
                <a:lnTo>
                  <a:pt x="628" y="231"/>
                </a:lnTo>
                <a:lnTo>
                  <a:pt x="624" y="230"/>
                </a:lnTo>
                <a:lnTo>
                  <a:pt x="620" y="226"/>
                </a:lnTo>
                <a:lnTo>
                  <a:pt x="614" y="223"/>
                </a:lnTo>
                <a:lnTo>
                  <a:pt x="609" y="221"/>
                </a:lnTo>
                <a:lnTo>
                  <a:pt x="603" y="217"/>
                </a:lnTo>
                <a:lnTo>
                  <a:pt x="598" y="214"/>
                </a:lnTo>
                <a:lnTo>
                  <a:pt x="594" y="213"/>
                </a:lnTo>
                <a:lnTo>
                  <a:pt x="591" y="217"/>
                </a:lnTo>
                <a:lnTo>
                  <a:pt x="589" y="221"/>
                </a:lnTo>
                <a:lnTo>
                  <a:pt x="582" y="224"/>
                </a:lnTo>
                <a:lnTo>
                  <a:pt x="577" y="226"/>
                </a:lnTo>
                <a:lnTo>
                  <a:pt x="572" y="227"/>
                </a:lnTo>
                <a:lnTo>
                  <a:pt x="570" y="224"/>
                </a:lnTo>
                <a:lnTo>
                  <a:pt x="561" y="222"/>
                </a:lnTo>
                <a:lnTo>
                  <a:pt x="552" y="220"/>
                </a:lnTo>
                <a:lnTo>
                  <a:pt x="549" y="220"/>
                </a:lnTo>
                <a:lnTo>
                  <a:pt x="548" y="215"/>
                </a:lnTo>
                <a:lnTo>
                  <a:pt x="546" y="209"/>
                </a:lnTo>
                <a:lnTo>
                  <a:pt x="539" y="197"/>
                </a:lnTo>
                <a:lnTo>
                  <a:pt x="536" y="193"/>
                </a:lnTo>
                <a:lnTo>
                  <a:pt x="531" y="183"/>
                </a:lnTo>
                <a:lnTo>
                  <a:pt x="524" y="172"/>
                </a:lnTo>
                <a:lnTo>
                  <a:pt x="523" y="172"/>
                </a:lnTo>
                <a:lnTo>
                  <a:pt x="519" y="172"/>
                </a:lnTo>
                <a:lnTo>
                  <a:pt x="513" y="172"/>
                </a:lnTo>
                <a:lnTo>
                  <a:pt x="509" y="174"/>
                </a:lnTo>
                <a:lnTo>
                  <a:pt x="507" y="177"/>
                </a:lnTo>
                <a:lnTo>
                  <a:pt x="507" y="180"/>
                </a:lnTo>
                <a:lnTo>
                  <a:pt x="509" y="189"/>
                </a:lnTo>
                <a:lnTo>
                  <a:pt x="508" y="191"/>
                </a:lnTo>
                <a:lnTo>
                  <a:pt x="507" y="192"/>
                </a:lnTo>
                <a:lnTo>
                  <a:pt x="502" y="190"/>
                </a:lnTo>
                <a:lnTo>
                  <a:pt x="495" y="190"/>
                </a:lnTo>
                <a:lnTo>
                  <a:pt x="493" y="193"/>
                </a:lnTo>
                <a:lnTo>
                  <a:pt x="489" y="193"/>
                </a:lnTo>
                <a:lnTo>
                  <a:pt x="477" y="194"/>
                </a:lnTo>
                <a:lnTo>
                  <a:pt x="483" y="202"/>
                </a:lnTo>
                <a:lnTo>
                  <a:pt x="484" y="205"/>
                </a:lnTo>
                <a:lnTo>
                  <a:pt x="485" y="209"/>
                </a:lnTo>
                <a:lnTo>
                  <a:pt x="484" y="217"/>
                </a:lnTo>
                <a:lnTo>
                  <a:pt x="481" y="224"/>
                </a:lnTo>
                <a:lnTo>
                  <a:pt x="478" y="230"/>
                </a:lnTo>
                <a:lnTo>
                  <a:pt x="473" y="236"/>
                </a:lnTo>
                <a:lnTo>
                  <a:pt x="481" y="241"/>
                </a:lnTo>
                <a:lnTo>
                  <a:pt x="476" y="248"/>
                </a:lnTo>
                <a:lnTo>
                  <a:pt x="473" y="251"/>
                </a:lnTo>
                <a:lnTo>
                  <a:pt x="470" y="251"/>
                </a:lnTo>
                <a:lnTo>
                  <a:pt x="464" y="248"/>
                </a:lnTo>
                <a:lnTo>
                  <a:pt x="451" y="242"/>
                </a:lnTo>
                <a:lnTo>
                  <a:pt x="444" y="240"/>
                </a:lnTo>
                <a:lnTo>
                  <a:pt x="438" y="239"/>
                </a:lnTo>
                <a:lnTo>
                  <a:pt x="435" y="239"/>
                </a:lnTo>
                <a:lnTo>
                  <a:pt x="423" y="234"/>
                </a:lnTo>
                <a:lnTo>
                  <a:pt x="421" y="234"/>
                </a:lnTo>
                <a:lnTo>
                  <a:pt x="416" y="237"/>
                </a:lnTo>
                <a:lnTo>
                  <a:pt x="416" y="242"/>
                </a:lnTo>
                <a:lnTo>
                  <a:pt x="416" y="255"/>
                </a:lnTo>
                <a:lnTo>
                  <a:pt x="417" y="264"/>
                </a:lnTo>
                <a:lnTo>
                  <a:pt x="415" y="270"/>
                </a:lnTo>
                <a:lnTo>
                  <a:pt x="414" y="274"/>
                </a:lnTo>
                <a:lnTo>
                  <a:pt x="409" y="284"/>
                </a:lnTo>
                <a:lnTo>
                  <a:pt x="398" y="277"/>
                </a:lnTo>
                <a:lnTo>
                  <a:pt x="390" y="272"/>
                </a:lnTo>
                <a:lnTo>
                  <a:pt x="386" y="279"/>
                </a:lnTo>
                <a:lnTo>
                  <a:pt x="373" y="290"/>
                </a:lnTo>
                <a:lnTo>
                  <a:pt x="367" y="312"/>
                </a:lnTo>
                <a:lnTo>
                  <a:pt x="367" y="313"/>
                </a:lnTo>
                <a:lnTo>
                  <a:pt x="363" y="318"/>
                </a:lnTo>
                <a:lnTo>
                  <a:pt x="359" y="321"/>
                </a:lnTo>
                <a:lnTo>
                  <a:pt x="355" y="322"/>
                </a:lnTo>
                <a:lnTo>
                  <a:pt x="353" y="328"/>
                </a:lnTo>
                <a:lnTo>
                  <a:pt x="358" y="338"/>
                </a:lnTo>
                <a:lnTo>
                  <a:pt x="360" y="342"/>
                </a:lnTo>
                <a:lnTo>
                  <a:pt x="363" y="350"/>
                </a:lnTo>
                <a:lnTo>
                  <a:pt x="362" y="355"/>
                </a:lnTo>
                <a:lnTo>
                  <a:pt x="362" y="358"/>
                </a:lnTo>
                <a:lnTo>
                  <a:pt x="356" y="364"/>
                </a:lnTo>
                <a:lnTo>
                  <a:pt x="345" y="381"/>
                </a:lnTo>
                <a:lnTo>
                  <a:pt x="335" y="398"/>
                </a:lnTo>
                <a:lnTo>
                  <a:pt x="331" y="403"/>
                </a:lnTo>
                <a:lnTo>
                  <a:pt x="333" y="417"/>
                </a:lnTo>
                <a:lnTo>
                  <a:pt x="330" y="421"/>
                </a:lnTo>
                <a:lnTo>
                  <a:pt x="323" y="426"/>
                </a:lnTo>
                <a:lnTo>
                  <a:pt x="319" y="428"/>
                </a:lnTo>
                <a:lnTo>
                  <a:pt x="315" y="429"/>
                </a:lnTo>
                <a:lnTo>
                  <a:pt x="304" y="431"/>
                </a:lnTo>
                <a:lnTo>
                  <a:pt x="306" y="446"/>
                </a:lnTo>
                <a:lnTo>
                  <a:pt x="307" y="453"/>
                </a:lnTo>
                <a:lnTo>
                  <a:pt x="306" y="457"/>
                </a:lnTo>
                <a:lnTo>
                  <a:pt x="305" y="460"/>
                </a:lnTo>
                <a:lnTo>
                  <a:pt x="304" y="468"/>
                </a:lnTo>
                <a:lnTo>
                  <a:pt x="302" y="494"/>
                </a:lnTo>
                <a:lnTo>
                  <a:pt x="300" y="496"/>
                </a:lnTo>
                <a:lnTo>
                  <a:pt x="298" y="503"/>
                </a:lnTo>
                <a:lnTo>
                  <a:pt x="290" y="520"/>
                </a:lnTo>
                <a:lnTo>
                  <a:pt x="284" y="531"/>
                </a:lnTo>
                <a:lnTo>
                  <a:pt x="276" y="546"/>
                </a:lnTo>
                <a:lnTo>
                  <a:pt x="283" y="551"/>
                </a:lnTo>
                <a:lnTo>
                  <a:pt x="289" y="555"/>
                </a:lnTo>
                <a:lnTo>
                  <a:pt x="290" y="560"/>
                </a:lnTo>
                <a:lnTo>
                  <a:pt x="291" y="570"/>
                </a:lnTo>
                <a:lnTo>
                  <a:pt x="291" y="576"/>
                </a:lnTo>
                <a:lnTo>
                  <a:pt x="289" y="581"/>
                </a:lnTo>
                <a:lnTo>
                  <a:pt x="287" y="585"/>
                </a:lnTo>
                <a:lnTo>
                  <a:pt x="285" y="587"/>
                </a:lnTo>
                <a:lnTo>
                  <a:pt x="276" y="585"/>
                </a:lnTo>
                <a:lnTo>
                  <a:pt x="265" y="583"/>
                </a:lnTo>
                <a:lnTo>
                  <a:pt x="262" y="583"/>
                </a:lnTo>
                <a:lnTo>
                  <a:pt x="255" y="585"/>
                </a:lnTo>
                <a:lnTo>
                  <a:pt x="249" y="588"/>
                </a:lnTo>
                <a:lnTo>
                  <a:pt x="246" y="591"/>
                </a:lnTo>
                <a:lnTo>
                  <a:pt x="245" y="592"/>
                </a:lnTo>
                <a:lnTo>
                  <a:pt x="241" y="599"/>
                </a:lnTo>
                <a:lnTo>
                  <a:pt x="234" y="611"/>
                </a:lnTo>
                <a:lnTo>
                  <a:pt x="230" y="617"/>
                </a:lnTo>
                <a:lnTo>
                  <a:pt x="231" y="624"/>
                </a:lnTo>
                <a:lnTo>
                  <a:pt x="224" y="638"/>
                </a:lnTo>
                <a:lnTo>
                  <a:pt x="229" y="652"/>
                </a:lnTo>
                <a:lnTo>
                  <a:pt x="229" y="652"/>
                </a:lnTo>
                <a:lnTo>
                  <a:pt x="231" y="658"/>
                </a:lnTo>
                <a:lnTo>
                  <a:pt x="229" y="662"/>
                </a:lnTo>
                <a:lnTo>
                  <a:pt x="228" y="664"/>
                </a:lnTo>
                <a:lnTo>
                  <a:pt x="228" y="670"/>
                </a:lnTo>
                <a:lnTo>
                  <a:pt x="229" y="677"/>
                </a:lnTo>
                <a:lnTo>
                  <a:pt x="228" y="681"/>
                </a:lnTo>
                <a:lnTo>
                  <a:pt x="228" y="686"/>
                </a:lnTo>
                <a:lnTo>
                  <a:pt x="234" y="706"/>
                </a:lnTo>
                <a:lnTo>
                  <a:pt x="234" y="711"/>
                </a:lnTo>
                <a:lnTo>
                  <a:pt x="233" y="714"/>
                </a:lnTo>
                <a:lnTo>
                  <a:pt x="232" y="727"/>
                </a:lnTo>
                <a:lnTo>
                  <a:pt x="229" y="744"/>
                </a:lnTo>
                <a:lnTo>
                  <a:pt x="233" y="748"/>
                </a:lnTo>
                <a:lnTo>
                  <a:pt x="240" y="754"/>
                </a:lnTo>
                <a:lnTo>
                  <a:pt x="243" y="756"/>
                </a:lnTo>
                <a:lnTo>
                  <a:pt x="248" y="762"/>
                </a:lnTo>
                <a:lnTo>
                  <a:pt x="252" y="768"/>
                </a:lnTo>
                <a:lnTo>
                  <a:pt x="251" y="772"/>
                </a:lnTo>
                <a:lnTo>
                  <a:pt x="250" y="776"/>
                </a:lnTo>
                <a:lnTo>
                  <a:pt x="249" y="780"/>
                </a:lnTo>
                <a:lnTo>
                  <a:pt x="247" y="784"/>
                </a:lnTo>
                <a:lnTo>
                  <a:pt x="246" y="787"/>
                </a:lnTo>
                <a:lnTo>
                  <a:pt x="246" y="788"/>
                </a:lnTo>
                <a:lnTo>
                  <a:pt x="239" y="788"/>
                </a:lnTo>
                <a:lnTo>
                  <a:pt x="235" y="789"/>
                </a:lnTo>
                <a:lnTo>
                  <a:pt x="234" y="791"/>
                </a:lnTo>
                <a:lnTo>
                  <a:pt x="234" y="798"/>
                </a:lnTo>
                <a:lnTo>
                  <a:pt x="238" y="811"/>
                </a:lnTo>
                <a:lnTo>
                  <a:pt x="242" y="820"/>
                </a:lnTo>
                <a:lnTo>
                  <a:pt x="243" y="826"/>
                </a:lnTo>
                <a:lnTo>
                  <a:pt x="242" y="832"/>
                </a:lnTo>
                <a:lnTo>
                  <a:pt x="240" y="835"/>
                </a:lnTo>
                <a:lnTo>
                  <a:pt x="240" y="839"/>
                </a:lnTo>
                <a:lnTo>
                  <a:pt x="240" y="847"/>
                </a:lnTo>
                <a:lnTo>
                  <a:pt x="237" y="851"/>
                </a:lnTo>
                <a:lnTo>
                  <a:pt x="233" y="856"/>
                </a:lnTo>
                <a:lnTo>
                  <a:pt x="230" y="859"/>
                </a:lnTo>
                <a:lnTo>
                  <a:pt x="227" y="860"/>
                </a:lnTo>
                <a:lnTo>
                  <a:pt x="224" y="861"/>
                </a:lnTo>
                <a:lnTo>
                  <a:pt x="222" y="862"/>
                </a:lnTo>
                <a:lnTo>
                  <a:pt x="221" y="867"/>
                </a:lnTo>
                <a:lnTo>
                  <a:pt x="219" y="873"/>
                </a:lnTo>
                <a:lnTo>
                  <a:pt x="214" y="879"/>
                </a:lnTo>
                <a:lnTo>
                  <a:pt x="215" y="881"/>
                </a:lnTo>
                <a:lnTo>
                  <a:pt x="216" y="889"/>
                </a:lnTo>
                <a:lnTo>
                  <a:pt x="218" y="898"/>
                </a:lnTo>
                <a:lnTo>
                  <a:pt x="217" y="906"/>
                </a:lnTo>
                <a:lnTo>
                  <a:pt x="215" y="914"/>
                </a:lnTo>
                <a:lnTo>
                  <a:pt x="213" y="920"/>
                </a:lnTo>
                <a:lnTo>
                  <a:pt x="210" y="922"/>
                </a:lnTo>
                <a:lnTo>
                  <a:pt x="208" y="921"/>
                </a:lnTo>
                <a:lnTo>
                  <a:pt x="205" y="913"/>
                </a:lnTo>
                <a:lnTo>
                  <a:pt x="205" y="911"/>
                </a:lnTo>
                <a:lnTo>
                  <a:pt x="205" y="909"/>
                </a:lnTo>
                <a:lnTo>
                  <a:pt x="197" y="907"/>
                </a:lnTo>
                <a:lnTo>
                  <a:pt x="196" y="907"/>
                </a:lnTo>
                <a:lnTo>
                  <a:pt x="193" y="905"/>
                </a:lnTo>
                <a:lnTo>
                  <a:pt x="191" y="905"/>
                </a:lnTo>
                <a:lnTo>
                  <a:pt x="188" y="904"/>
                </a:lnTo>
                <a:lnTo>
                  <a:pt x="185" y="897"/>
                </a:lnTo>
                <a:lnTo>
                  <a:pt x="182" y="892"/>
                </a:lnTo>
                <a:lnTo>
                  <a:pt x="182" y="889"/>
                </a:lnTo>
                <a:lnTo>
                  <a:pt x="182" y="878"/>
                </a:lnTo>
                <a:lnTo>
                  <a:pt x="181" y="874"/>
                </a:lnTo>
                <a:lnTo>
                  <a:pt x="181" y="869"/>
                </a:lnTo>
                <a:lnTo>
                  <a:pt x="179" y="873"/>
                </a:lnTo>
                <a:lnTo>
                  <a:pt x="180" y="879"/>
                </a:lnTo>
                <a:lnTo>
                  <a:pt x="177" y="882"/>
                </a:lnTo>
                <a:lnTo>
                  <a:pt x="174" y="884"/>
                </a:lnTo>
                <a:lnTo>
                  <a:pt x="175" y="887"/>
                </a:lnTo>
                <a:lnTo>
                  <a:pt x="176" y="888"/>
                </a:lnTo>
                <a:lnTo>
                  <a:pt x="176" y="892"/>
                </a:lnTo>
                <a:lnTo>
                  <a:pt x="175" y="898"/>
                </a:lnTo>
                <a:lnTo>
                  <a:pt x="170" y="911"/>
                </a:lnTo>
                <a:lnTo>
                  <a:pt x="168" y="913"/>
                </a:lnTo>
                <a:lnTo>
                  <a:pt x="168" y="915"/>
                </a:lnTo>
                <a:lnTo>
                  <a:pt x="165" y="913"/>
                </a:lnTo>
                <a:lnTo>
                  <a:pt x="161" y="917"/>
                </a:lnTo>
                <a:lnTo>
                  <a:pt x="157" y="918"/>
                </a:lnTo>
                <a:lnTo>
                  <a:pt x="156" y="914"/>
                </a:lnTo>
                <a:lnTo>
                  <a:pt x="151" y="908"/>
                </a:lnTo>
                <a:lnTo>
                  <a:pt x="148" y="908"/>
                </a:lnTo>
                <a:lnTo>
                  <a:pt x="150" y="911"/>
                </a:lnTo>
                <a:lnTo>
                  <a:pt x="153" y="915"/>
                </a:lnTo>
                <a:lnTo>
                  <a:pt x="151" y="917"/>
                </a:lnTo>
                <a:lnTo>
                  <a:pt x="150" y="918"/>
                </a:lnTo>
                <a:lnTo>
                  <a:pt x="148" y="919"/>
                </a:lnTo>
                <a:lnTo>
                  <a:pt x="140" y="924"/>
                </a:lnTo>
                <a:lnTo>
                  <a:pt x="143" y="927"/>
                </a:lnTo>
                <a:lnTo>
                  <a:pt x="141" y="930"/>
                </a:lnTo>
                <a:lnTo>
                  <a:pt x="138" y="931"/>
                </a:lnTo>
                <a:lnTo>
                  <a:pt x="137" y="933"/>
                </a:lnTo>
                <a:lnTo>
                  <a:pt x="136" y="935"/>
                </a:lnTo>
                <a:lnTo>
                  <a:pt x="129" y="941"/>
                </a:lnTo>
                <a:lnTo>
                  <a:pt x="116" y="957"/>
                </a:lnTo>
                <a:lnTo>
                  <a:pt x="109" y="962"/>
                </a:lnTo>
                <a:lnTo>
                  <a:pt x="105" y="966"/>
                </a:lnTo>
                <a:lnTo>
                  <a:pt x="101" y="966"/>
                </a:lnTo>
                <a:lnTo>
                  <a:pt x="96" y="970"/>
                </a:lnTo>
                <a:lnTo>
                  <a:pt x="83" y="974"/>
                </a:lnTo>
                <a:lnTo>
                  <a:pt x="74" y="972"/>
                </a:lnTo>
                <a:lnTo>
                  <a:pt x="69" y="973"/>
                </a:lnTo>
                <a:lnTo>
                  <a:pt x="65" y="971"/>
                </a:lnTo>
                <a:lnTo>
                  <a:pt x="65" y="969"/>
                </a:lnTo>
                <a:lnTo>
                  <a:pt x="65" y="968"/>
                </a:lnTo>
                <a:lnTo>
                  <a:pt x="66" y="966"/>
                </a:lnTo>
                <a:lnTo>
                  <a:pt x="65" y="966"/>
                </a:lnTo>
                <a:lnTo>
                  <a:pt x="62" y="966"/>
                </a:lnTo>
                <a:lnTo>
                  <a:pt x="61" y="967"/>
                </a:lnTo>
                <a:lnTo>
                  <a:pt x="61" y="970"/>
                </a:lnTo>
                <a:lnTo>
                  <a:pt x="60" y="971"/>
                </a:lnTo>
                <a:lnTo>
                  <a:pt x="56" y="969"/>
                </a:lnTo>
                <a:lnTo>
                  <a:pt x="55" y="968"/>
                </a:lnTo>
                <a:lnTo>
                  <a:pt x="56" y="964"/>
                </a:lnTo>
                <a:lnTo>
                  <a:pt x="59" y="962"/>
                </a:lnTo>
                <a:lnTo>
                  <a:pt x="58" y="961"/>
                </a:lnTo>
                <a:lnTo>
                  <a:pt x="58" y="959"/>
                </a:lnTo>
                <a:lnTo>
                  <a:pt x="56" y="959"/>
                </a:lnTo>
                <a:lnTo>
                  <a:pt x="53" y="960"/>
                </a:lnTo>
                <a:lnTo>
                  <a:pt x="49" y="959"/>
                </a:lnTo>
                <a:lnTo>
                  <a:pt x="39" y="953"/>
                </a:lnTo>
                <a:lnTo>
                  <a:pt x="37" y="949"/>
                </a:lnTo>
                <a:lnTo>
                  <a:pt x="28" y="944"/>
                </a:lnTo>
                <a:lnTo>
                  <a:pt x="24" y="938"/>
                </a:lnTo>
                <a:lnTo>
                  <a:pt x="22" y="932"/>
                </a:lnTo>
                <a:lnTo>
                  <a:pt x="22" y="926"/>
                </a:lnTo>
                <a:lnTo>
                  <a:pt x="23" y="917"/>
                </a:lnTo>
                <a:lnTo>
                  <a:pt x="25" y="914"/>
                </a:lnTo>
                <a:lnTo>
                  <a:pt x="33" y="918"/>
                </a:lnTo>
                <a:lnTo>
                  <a:pt x="40" y="923"/>
                </a:lnTo>
                <a:lnTo>
                  <a:pt x="41" y="923"/>
                </a:lnTo>
                <a:lnTo>
                  <a:pt x="44" y="919"/>
                </a:lnTo>
                <a:lnTo>
                  <a:pt x="49" y="915"/>
                </a:lnTo>
                <a:lnTo>
                  <a:pt x="47" y="914"/>
                </a:lnTo>
                <a:lnTo>
                  <a:pt x="40" y="918"/>
                </a:lnTo>
                <a:lnTo>
                  <a:pt x="38" y="916"/>
                </a:lnTo>
                <a:lnTo>
                  <a:pt x="34" y="912"/>
                </a:lnTo>
                <a:lnTo>
                  <a:pt x="34" y="909"/>
                </a:lnTo>
                <a:lnTo>
                  <a:pt x="36" y="907"/>
                </a:lnTo>
                <a:lnTo>
                  <a:pt x="36" y="904"/>
                </a:lnTo>
                <a:lnTo>
                  <a:pt x="35" y="901"/>
                </a:lnTo>
                <a:lnTo>
                  <a:pt x="36" y="897"/>
                </a:lnTo>
                <a:lnTo>
                  <a:pt x="39" y="893"/>
                </a:lnTo>
                <a:lnTo>
                  <a:pt x="43" y="889"/>
                </a:lnTo>
                <a:lnTo>
                  <a:pt x="47" y="884"/>
                </a:lnTo>
                <a:lnTo>
                  <a:pt x="50" y="882"/>
                </a:lnTo>
                <a:lnTo>
                  <a:pt x="50" y="881"/>
                </a:lnTo>
                <a:lnTo>
                  <a:pt x="46" y="883"/>
                </a:lnTo>
                <a:lnTo>
                  <a:pt x="42" y="885"/>
                </a:lnTo>
                <a:lnTo>
                  <a:pt x="38" y="890"/>
                </a:lnTo>
                <a:lnTo>
                  <a:pt x="32" y="894"/>
                </a:lnTo>
                <a:lnTo>
                  <a:pt x="28" y="895"/>
                </a:lnTo>
                <a:lnTo>
                  <a:pt x="27" y="896"/>
                </a:lnTo>
                <a:lnTo>
                  <a:pt x="24" y="898"/>
                </a:lnTo>
                <a:lnTo>
                  <a:pt x="21" y="903"/>
                </a:lnTo>
                <a:lnTo>
                  <a:pt x="17" y="905"/>
                </a:lnTo>
                <a:lnTo>
                  <a:pt x="11" y="905"/>
                </a:lnTo>
                <a:lnTo>
                  <a:pt x="10" y="901"/>
                </a:lnTo>
                <a:lnTo>
                  <a:pt x="12" y="888"/>
                </a:lnTo>
                <a:lnTo>
                  <a:pt x="14" y="881"/>
                </a:lnTo>
                <a:lnTo>
                  <a:pt x="16" y="876"/>
                </a:lnTo>
                <a:lnTo>
                  <a:pt x="19" y="875"/>
                </a:lnTo>
                <a:lnTo>
                  <a:pt x="21" y="872"/>
                </a:lnTo>
                <a:lnTo>
                  <a:pt x="23" y="872"/>
                </a:lnTo>
                <a:lnTo>
                  <a:pt x="24" y="873"/>
                </a:lnTo>
                <a:lnTo>
                  <a:pt x="30" y="875"/>
                </a:lnTo>
                <a:lnTo>
                  <a:pt x="33" y="870"/>
                </a:lnTo>
                <a:lnTo>
                  <a:pt x="37" y="870"/>
                </a:lnTo>
                <a:lnTo>
                  <a:pt x="44" y="865"/>
                </a:lnTo>
                <a:lnTo>
                  <a:pt x="44" y="864"/>
                </a:lnTo>
                <a:lnTo>
                  <a:pt x="39" y="865"/>
                </a:lnTo>
                <a:lnTo>
                  <a:pt x="36" y="866"/>
                </a:lnTo>
                <a:lnTo>
                  <a:pt x="32" y="867"/>
                </a:lnTo>
                <a:lnTo>
                  <a:pt x="30" y="866"/>
                </a:lnTo>
                <a:lnTo>
                  <a:pt x="29" y="862"/>
                </a:lnTo>
                <a:lnTo>
                  <a:pt x="30" y="859"/>
                </a:lnTo>
                <a:lnTo>
                  <a:pt x="37" y="852"/>
                </a:lnTo>
                <a:lnTo>
                  <a:pt x="39" y="849"/>
                </a:lnTo>
                <a:lnTo>
                  <a:pt x="41" y="846"/>
                </a:lnTo>
                <a:lnTo>
                  <a:pt x="41" y="844"/>
                </a:lnTo>
                <a:lnTo>
                  <a:pt x="42" y="839"/>
                </a:lnTo>
                <a:lnTo>
                  <a:pt x="48" y="832"/>
                </a:lnTo>
                <a:lnTo>
                  <a:pt x="53" y="828"/>
                </a:lnTo>
                <a:lnTo>
                  <a:pt x="55" y="831"/>
                </a:lnTo>
                <a:lnTo>
                  <a:pt x="54" y="841"/>
                </a:lnTo>
                <a:lnTo>
                  <a:pt x="54" y="844"/>
                </a:lnTo>
                <a:lnTo>
                  <a:pt x="58" y="831"/>
                </a:lnTo>
                <a:lnTo>
                  <a:pt x="60" y="828"/>
                </a:lnTo>
                <a:lnTo>
                  <a:pt x="62" y="825"/>
                </a:lnTo>
                <a:lnTo>
                  <a:pt x="67" y="824"/>
                </a:lnTo>
                <a:lnTo>
                  <a:pt x="68" y="822"/>
                </a:lnTo>
                <a:lnTo>
                  <a:pt x="62" y="822"/>
                </a:lnTo>
                <a:lnTo>
                  <a:pt x="48" y="828"/>
                </a:lnTo>
                <a:lnTo>
                  <a:pt x="42" y="832"/>
                </a:lnTo>
                <a:lnTo>
                  <a:pt x="40" y="836"/>
                </a:lnTo>
                <a:lnTo>
                  <a:pt x="36" y="841"/>
                </a:lnTo>
                <a:lnTo>
                  <a:pt x="34" y="844"/>
                </a:lnTo>
                <a:lnTo>
                  <a:pt x="33" y="850"/>
                </a:lnTo>
                <a:lnTo>
                  <a:pt x="31" y="852"/>
                </a:lnTo>
                <a:lnTo>
                  <a:pt x="28" y="853"/>
                </a:lnTo>
                <a:lnTo>
                  <a:pt x="23" y="860"/>
                </a:lnTo>
                <a:lnTo>
                  <a:pt x="21" y="865"/>
                </a:lnTo>
                <a:lnTo>
                  <a:pt x="17" y="869"/>
                </a:lnTo>
                <a:lnTo>
                  <a:pt x="14" y="872"/>
                </a:lnTo>
                <a:lnTo>
                  <a:pt x="13" y="873"/>
                </a:lnTo>
                <a:lnTo>
                  <a:pt x="12" y="876"/>
                </a:lnTo>
                <a:lnTo>
                  <a:pt x="11" y="876"/>
                </a:lnTo>
                <a:lnTo>
                  <a:pt x="9" y="874"/>
                </a:lnTo>
                <a:lnTo>
                  <a:pt x="9" y="870"/>
                </a:lnTo>
                <a:lnTo>
                  <a:pt x="10" y="864"/>
                </a:lnTo>
                <a:lnTo>
                  <a:pt x="12" y="860"/>
                </a:lnTo>
                <a:lnTo>
                  <a:pt x="13" y="855"/>
                </a:lnTo>
                <a:lnTo>
                  <a:pt x="11" y="851"/>
                </a:lnTo>
                <a:lnTo>
                  <a:pt x="12" y="848"/>
                </a:lnTo>
                <a:lnTo>
                  <a:pt x="14" y="848"/>
                </a:lnTo>
                <a:lnTo>
                  <a:pt x="18" y="850"/>
                </a:lnTo>
                <a:lnTo>
                  <a:pt x="21" y="850"/>
                </a:lnTo>
                <a:lnTo>
                  <a:pt x="28" y="846"/>
                </a:lnTo>
                <a:lnTo>
                  <a:pt x="27" y="844"/>
                </a:lnTo>
                <a:lnTo>
                  <a:pt x="24" y="844"/>
                </a:lnTo>
                <a:lnTo>
                  <a:pt x="19" y="844"/>
                </a:lnTo>
                <a:lnTo>
                  <a:pt x="15" y="841"/>
                </a:lnTo>
                <a:lnTo>
                  <a:pt x="12" y="835"/>
                </a:lnTo>
                <a:lnTo>
                  <a:pt x="10" y="826"/>
                </a:lnTo>
                <a:lnTo>
                  <a:pt x="11" y="823"/>
                </a:lnTo>
                <a:lnTo>
                  <a:pt x="23" y="815"/>
                </a:lnTo>
                <a:lnTo>
                  <a:pt x="26" y="811"/>
                </a:lnTo>
                <a:lnTo>
                  <a:pt x="24" y="810"/>
                </a:lnTo>
                <a:lnTo>
                  <a:pt x="20" y="815"/>
                </a:lnTo>
                <a:lnTo>
                  <a:pt x="14" y="818"/>
                </a:lnTo>
                <a:lnTo>
                  <a:pt x="10" y="814"/>
                </a:lnTo>
                <a:lnTo>
                  <a:pt x="8" y="809"/>
                </a:lnTo>
                <a:lnTo>
                  <a:pt x="6" y="800"/>
                </a:lnTo>
                <a:lnTo>
                  <a:pt x="7" y="795"/>
                </a:lnTo>
                <a:lnTo>
                  <a:pt x="6" y="788"/>
                </a:lnTo>
                <a:lnTo>
                  <a:pt x="9" y="786"/>
                </a:lnTo>
                <a:lnTo>
                  <a:pt x="12" y="787"/>
                </a:lnTo>
                <a:lnTo>
                  <a:pt x="15" y="788"/>
                </a:lnTo>
                <a:lnTo>
                  <a:pt x="22" y="787"/>
                </a:lnTo>
                <a:lnTo>
                  <a:pt x="37" y="783"/>
                </a:lnTo>
                <a:lnTo>
                  <a:pt x="46" y="785"/>
                </a:lnTo>
                <a:lnTo>
                  <a:pt x="50" y="785"/>
                </a:lnTo>
                <a:lnTo>
                  <a:pt x="56" y="782"/>
                </a:lnTo>
                <a:lnTo>
                  <a:pt x="61" y="781"/>
                </a:lnTo>
                <a:lnTo>
                  <a:pt x="65" y="784"/>
                </a:lnTo>
                <a:lnTo>
                  <a:pt x="68" y="787"/>
                </a:lnTo>
                <a:lnTo>
                  <a:pt x="68" y="791"/>
                </a:lnTo>
                <a:lnTo>
                  <a:pt x="70" y="794"/>
                </a:lnTo>
                <a:lnTo>
                  <a:pt x="71" y="793"/>
                </a:lnTo>
                <a:lnTo>
                  <a:pt x="70" y="790"/>
                </a:lnTo>
                <a:lnTo>
                  <a:pt x="70" y="785"/>
                </a:lnTo>
                <a:lnTo>
                  <a:pt x="85" y="779"/>
                </a:lnTo>
                <a:lnTo>
                  <a:pt x="87" y="777"/>
                </a:lnTo>
                <a:lnTo>
                  <a:pt x="81" y="776"/>
                </a:lnTo>
                <a:lnTo>
                  <a:pt x="79" y="771"/>
                </a:lnTo>
                <a:lnTo>
                  <a:pt x="83" y="764"/>
                </a:lnTo>
                <a:lnTo>
                  <a:pt x="82" y="763"/>
                </a:lnTo>
                <a:lnTo>
                  <a:pt x="79" y="767"/>
                </a:lnTo>
                <a:lnTo>
                  <a:pt x="77" y="772"/>
                </a:lnTo>
                <a:lnTo>
                  <a:pt x="78" y="777"/>
                </a:lnTo>
                <a:lnTo>
                  <a:pt x="77" y="779"/>
                </a:lnTo>
                <a:lnTo>
                  <a:pt x="74" y="780"/>
                </a:lnTo>
                <a:lnTo>
                  <a:pt x="67" y="780"/>
                </a:lnTo>
                <a:lnTo>
                  <a:pt x="62" y="778"/>
                </a:lnTo>
                <a:lnTo>
                  <a:pt x="58" y="777"/>
                </a:lnTo>
                <a:lnTo>
                  <a:pt x="56" y="776"/>
                </a:lnTo>
                <a:lnTo>
                  <a:pt x="57" y="773"/>
                </a:lnTo>
                <a:lnTo>
                  <a:pt x="56" y="772"/>
                </a:lnTo>
                <a:lnTo>
                  <a:pt x="54" y="775"/>
                </a:lnTo>
                <a:lnTo>
                  <a:pt x="53" y="781"/>
                </a:lnTo>
                <a:lnTo>
                  <a:pt x="49" y="782"/>
                </a:lnTo>
                <a:lnTo>
                  <a:pt x="40" y="780"/>
                </a:lnTo>
                <a:lnTo>
                  <a:pt x="26" y="781"/>
                </a:lnTo>
                <a:lnTo>
                  <a:pt x="20" y="784"/>
                </a:lnTo>
                <a:lnTo>
                  <a:pt x="16" y="784"/>
                </a:lnTo>
                <a:lnTo>
                  <a:pt x="9" y="779"/>
                </a:lnTo>
                <a:lnTo>
                  <a:pt x="7" y="774"/>
                </a:lnTo>
                <a:lnTo>
                  <a:pt x="6" y="766"/>
                </a:lnTo>
                <a:lnTo>
                  <a:pt x="6" y="763"/>
                </a:lnTo>
                <a:lnTo>
                  <a:pt x="11" y="761"/>
                </a:lnTo>
                <a:lnTo>
                  <a:pt x="14" y="761"/>
                </a:lnTo>
                <a:lnTo>
                  <a:pt x="17" y="759"/>
                </a:lnTo>
                <a:lnTo>
                  <a:pt x="14" y="758"/>
                </a:lnTo>
                <a:lnTo>
                  <a:pt x="11" y="755"/>
                </a:lnTo>
                <a:lnTo>
                  <a:pt x="9" y="750"/>
                </a:lnTo>
                <a:lnTo>
                  <a:pt x="6" y="749"/>
                </a:lnTo>
                <a:lnTo>
                  <a:pt x="4" y="744"/>
                </a:lnTo>
                <a:lnTo>
                  <a:pt x="3" y="738"/>
                </a:lnTo>
                <a:lnTo>
                  <a:pt x="4" y="733"/>
                </a:lnTo>
                <a:lnTo>
                  <a:pt x="6" y="732"/>
                </a:lnTo>
                <a:lnTo>
                  <a:pt x="10" y="733"/>
                </a:lnTo>
                <a:lnTo>
                  <a:pt x="21" y="732"/>
                </a:lnTo>
                <a:lnTo>
                  <a:pt x="31" y="737"/>
                </a:lnTo>
                <a:lnTo>
                  <a:pt x="38" y="739"/>
                </a:lnTo>
                <a:lnTo>
                  <a:pt x="52" y="738"/>
                </a:lnTo>
                <a:lnTo>
                  <a:pt x="60" y="734"/>
                </a:lnTo>
                <a:lnTo>
                  <a:pt x="58" y="733"/>
                </a:lnTo>
                <a:lnTo>
                  <a:pt x="50" y="735"/>
                </a:lnTo>
                <a:lnTo>
                  <a:pt x="41" y="735"/>
                </a:lnTo>
                <a:lnTo>
                  <a:pt x="27" y="730"/>
                </a:lnTo>
                <a:lnTo>
                  <a:pt x="21" y="729"/>
                </a:lnTo>
                <a:lnTo>
                  <a:pt x="14" y="730"/>
                </a:lnTo>
                <a:lnTo>
                  <a:pt x="11" y="728"/>
                </a:lnTo>
                <a:lnTo>
                  <a:pt x="9" y="724"/>
                </a:lnTo>
                <a:lnTo>
                  <a:pt x="11" y="715"/>
                </a:lnTo>
                <a:lnTo>
                  <a:pt x="14" y="713"/>
                </a:lnTo>
                <a:lnTo>
                  <a:pt x="15" y="715"/>
                </a:lnTo>
                <a:lnTo>
                  <a:pt x="17" y="715"/>
                </a:lnTo>
                <a:lnTo>
                  <a:pt x="19" y="712"/>
                </a:lnTo>
                <a:lnTo>
                  <a:pt x="21" y="709"/>
                </a:lnTo>
                <a:lnTo>
                  <a:pt x="23" y="705"/>
                </a:lnTo>
                <a:lnTo>
                  <a:pt x="28" y="700"/>
                </a:lnTo>
                <a:lnTo>
                  <a:pt x="31" y="700"/>
                </a:lnTo>
                <a:lnTo>
                  <a:pt x="34" y="698"/>
                </a:lnTo>
                <a:lnTo>
                  <a:pt x="37" y="698"/>
                </a:lnTo>
                <a:lnTo>
                  <a:pt x="38" y="700"/>
                </a:lnTo>
                <a:lnTo>
                  <a:pt x="40" y="702"/>
                </a:lnTo>
                <a:lnTo>
                  <a:pt x="44" y="702"/>
                </a:lnTo>
                <a:lnTo>
                  <a:pt x="55" y="698"/>
                </a:lnTo>
                <a:lnTo>
                  <a:pt x="57" y="697"/>
                </a:lnTo>
                <a:lnTo>
                  <a:pt x="59" y="694"/>
                </a:lnTo>
                <a:lnTo>
                  <a:pt x="51" y="695"/>
                </a:lnTo>
                <a:lnTo>
                  <a:pt x="45" y="698"/>
                </a:lnTo>
                <a:lnTo>
                  <a:pt x="41" y="698"/>
                </a:lnTo>
                <a:lnTo>
                  <a:pt x="41" y="695"/>
                </a:lnTo>
                <a:lnTo>
                  <a:pt x="42" y="693"/>
                </a:lnTo>
                <a:lnTo>
                  <a:pt x="45" y="691"/>
                </a:lnTo>
                <a:lnTo>
                  <a:pt x="46" y="686"/>
                </a:lnTo>
                <a:lnTo>
                  <a:pt x="48" y="684"/>
                </a:lnTo>
                <a:lnTo>
                  <a:pt x="51" y="685"/>
                </a:lnTo>
                <a:lnTo>
                  <a:pt x="56" y="684"/>
                </a:lnTo>
                <a:lnTo>
                  <a:pt x="60" y="683"/>
                </a:lnTo>
                <a:lnTo>
                  <a:pt x="67" y="683"/>
                </a:lnTo>
                <a:lnTo>
                  <a:pt x="77" y="685"/>
                </a:lnTo>
                <a:lnTo>
                  <a:pt x="84" y="689"/>
                </a:lnTo>
                <a:lnTo>
                  <a:pt x="86" y="689"/>
                </a:lnTo>
                <a:lnTo>
                  <a:pt x="89" y="688"/>
                </a:lnTo>
                <a:lnTo>
                  <a:pt x="90" y="686"/>
                </a:lnTo>
                <a:lnTo>
                  <a:pt x="85" y="684"/>
                </a:lnTo>
                <a:lnTo>
                  <a:pt x="85" y="682"/>
                </a:lnTo>
                <a:lnTo>
                  <a:pt x="85" y="680"/>
                </a:lnTo>
                <a:lnTo>
                  <a:pt x="93" y="677"/>
                </a:lnTo>
                <a:lnTo>
                  <a:pt x="103" y="676"/>
                </a:lnTo>
                <a:lnTo>
                  <a:pt x="101" y="674"/>
                </a:lnTo>
                <a:lnTo>
                  <a:pt x="81" y="678"/>
                </a:lnTo>
                <a:lnTo>
                  <a:pt x="76" y="675"/>
                </a:lnTo>
                <a:lnTo>
                  <a:pt x="72" y="675"/>
                </a:lnTo>
                <a:lnTo>
                  <a:pt x="69" y="676"/>
                </a:lnTo>
                <a:lnTo>
                  <a:pt x="62" y="678"/>
                </a:lnTo>
                <a:lnTo>
                  <a:pt x="60" y="677"/>
                </a:lnTo>
                <a:lnTo>
                  <a:pt x="62" y="672"/>
                </a:lnTo>
                <a:lnTo>
                  <a:pt x="66" y="665"/>
                </a:lnTo>
                <a:lnTo>
                  <a:pt x="67" y="663"/>
                </a:lnTo>
                <a:lnTo>
                  <a:pt x="69" y="661"/>
                </a:lnTo>
                <a:lnTo>
                  <a:pt x="81" y="656"/>
                </a:lnTo>
                <a:lnTo>
                  <a:pt x="86" y="651"/>
                </a:lnTo>
                <a:lnTo>
                  <a:pt x="89" y="650"/>
                </a:lnTo>
                <a:lnTo>
                  <a:pt x="91" y="651"/>
                </a:lnTo>
                <a:lnTo>
                  <a:pt x="95" y="650"/>
                </a:lnTo>
                <a:lnTo>
                  <a:pt x="103" y="652"/>
                </a:lnTo>
                <a:lnTo>
                  <a:pt x="106" y="658"/>
                </a:lnTo>
                <a:lnTo>
                  <a:pt x="109" y="660"/>
                </a:lnTo>
                <a:lnTo>
                  <a:pt x="119" y="668"/>
                </a:lnTo>
                <a:lnTo>
                  <a:pt x="119" y="666"/>
                </a:lnTo>
                <a:lnTo>
                  <a:pt x="110" y="655"/>
                </a:lnTo>
                <a:lnTo>
                  <a:pt x="107" y="652"/>
                </a:lnTo>
                <a:lnTo>
                  <a:pt x="104" y="647"/>
                </a:lnTo>
                <a:lnTo>
                  <a:pt x="105" y="642"/>
                </a:lnTo>
                <a:lnTo>
                  <a:pt x="108" y="638"/>
                </a:lnTo>
                <a:lnTo>
                  <a:pt x="118" y="636"/>
                </a:lnTo>
                <a:lnTo>
                  <a:pt x="119" y="634"/>
                </a:lnTo>
                <a:lnTo>
                  <a:pt x="120" y="631"/>
                </a:lnTo>
                <a:lnTo>
                  <a:pt x="118" y="628"/>
                </a:lnTo>
                <a:lnTo>
                  <a:pt x="115" y="629"/>
                </a:lnTo>
                <a:lnTo>
                  <a:pt x="112" y="627"/>
                </a:lnTo>
                <a:lnTo>
                  <a:pt x="111" y="623"/>
                </a:lnTo>
                <a:lnTo>
                  <a:pt x="112" y="621"/>
                </a:lnTo>
                <a:lnTo>
                  <a:pt x="118" y="616"/>
                </a:lnTo>
                <a:lnTo>
                  <a:pt x="121" y="615"/>
                </a:lnTo>
                <a:lnTo>
                  <a:pt x="126" y="613"/>
                </a:lnTo>
                <a:lnTo>
                  <a:pt x="135" y="617"/>
                </a:lnTo>
                <a:lnTo>
                  <a:pt x="136" y="619"/>
                </a:lnTo>
                <a:lnTo>
                  <a:pt x="133" y="623"/>
                </a:lnTo>
                <a:lnTo>
                  <a:pt x="133" y="626"/>
                </a:lnTo>
                <a:lnTo>
                  <a:pt x="136" y="626"/>
                </a:lnTo>
                <a:lnTo>
                  <a:pt x="141" y="618"/>
                </a:lnTo>
                <a:lnTo>
                  <a:pt x="147" y="617"/>
                </a:lnTo>
                <a:lnTo>
                  <a:pt x="150" y="616"/>
                </a:lnTo>
                <a:lnTo>
                  <a:pt x="153" y="615"/>
                </a:lnTo>
                <a:lnTo>
                  <a:pt x="157" y="622"/>
                </a:lnTo>
                <a:lnTo>
                  <a:pt x="159" y="624"/>
                </a:lnTo>
                <a:lnTo>
                  <a:pt x="160" y="625"/>
                </a:lnTo>
                <a:lnTo>
                  <a:pt x="161" y="631"/>
                </a:lnTo>
                <a:lnTo>
                  <a:pt x="163" y="631"/>
                </a:lnTo>
                <a:lnTo>
                  <a:pt x="164" y="628"/>
                </a:lnTo>
                <a:lnTo>
                  <a:pt x="168" y="626"/>
                </a:lnTo>
                <a:lnTo>
                  <a:pt x="173" y="625"/>
                </a:lnTo>
                <a:lnTo>
                  <a:pt x="180" y="627"/>
                </a:lnTo>
                <a:lnTo>
                  <a:pt x="184" y="626"/>
                </a:lnTo>
                <a:lnTo>
                  <a:pt x="186" y="626"/>
                </a:lnTo>
                <a:lnTo>
                  <a:pt x="184" y="621"/>
                </a:lnTo>
                <a:lnTo>
                  <a:pt x="183" y="619"/>
                </a:lnTo>
                <a:lnTo>
                  <a:pt x="185" y="615"/>
                </a:lnTo>
                <a:lnTo>
                  <a:pt x="186" y="613"/>
                </a:lnTo>
                <a:lnTo>
                  <a:pt x="192" y="609"/>
                </a:lnTo>
                <a:lnTo>
                  <a:pt x="197" y="608"/>
                </a:lnTo>
                <a:lnTo>
                  <a:pt x="200" y="605"/>
                </a:lnTo>
                <a:lnTo>
                  <a:pt x="205" y="602"/>
                </a:lnTo>
                <a:lnTo>
                  <a:pt x="204" y="600"/>
                </a:lnTo>
                <a:lnTo>
                  <a:pt x="203" y="597"/>
                </a:lnTo>
                <a:lnTo>
                  <a:pt x="200" y="597"/>
                </a:lnTo>
                <a:lnTo>
                  <a:pt x="199" y="595"/>
                </a:lnTo>
                <a:lnTo>
                  <a:pt x="202" y="592"/>
                </a:lnTo>
                <a:lnTo>
                  <a:pt x="207" y="588"/>
                </a:lnTo>
                <a:lnTo>
                  <a:pt x="206" y="586"/>
                </a:lnTo>
                <a:lnTo>
                  <a:pt x="203" y="585"/>
                </a:lnTo>
                <a:lnTo>
                  <a:pt x="200" y="586"/>
                </a:lnTo>
                <a:lnTo>
                  <a:pt x="195" y="589"/>
                </a:lnTo>
                <a:lnTo>
                  <a:pt x="190" y="594"/>
                </a:lnTo>
                <a:lnTo>
                  <a:pt x="192" y="595"/>
                </a:lnTo>
                <a:lnTo>
                  <a:pt x="195" y="599"/>
                </a:lnTo>
                <a:lnTo>
                  <a:pt x="191" y="604"/>
                </a:lnTo>
                <a:lnTo>
                  <a:pt x="173" y="618"/>
                </a:lnTo>
                <a:lnTo>
                  <a:pt x="164" y="622"/>
                </a:lnTo>
                <a:lnTo>
                  <a:pt x="160" y="622"/>
                </a:lnTo>
                <a:lnTo>
                  <a:pt x="159" y="618"/>
                </a:lnTo>
                <a:lnTo>
                  <a:pt x="157" y="615"/>
                </a:lnTo>
                <a:lnTo>
                  <a:pt x="155" y="609"/>
                </a:lnTo>
                <a:lnTo>
                  <a:pt x="151" y="609"/>
                </a:lnTo>
                <a:lnTo>
                  <a:pt x="149" y="611"/>
                </a:lnTo>
                <a:lnTo>
                  <a:pt x="148" y="609"/>
                </a:lnTo>
                <a:lnTo>
                  <a:pt x="150" y="603"/>
                </a:lnTo>
                <a:lnTo>
                  <a:pt x="153" y="598"/>
                </a:lnTo>
                <a:lnTo>
                  <a:pt x="158" y="594"/>
                </a:lnTo>
                <a:lnTo>
                  <a:pt x="160" y="589"/>
                </a:lnTo>
                <a:lnTo>
                  <a:pt x="162" y="582"/>
                </a:lnTo>
                <a:lnTo>
                  <a:pt x="169" y="575"/>
                </a:lnTo>
                <a:lnTo>
                  <a:pt x="180" y="558"/>
                </a:lnTo>
                <a:lnTo>
                  <a:pt x="188" y="553"/>
                </a:lnTo>
                <a:lnTo>
                  <a:pt x="191" y="547"/>
                </a:lnTo>
                <a:lnTo>
                  <a:pt x="196" y="544"/>
                </a:lnTo>
                <a:lnTo>
                  <a:pt x="200" y="539"/>
                </a:lnTo>
                <a:lnTo>
                  <a:pt x="203" y="539"/>
                </a:lnTo>
                <a:lnTo>
                  <a:pt x="209" y="535"/>
                </a:lnTo>
                <a:lnTo>
                  <a:pt x="213" y="529"/>
                </a:lnTo>
                <a:lnTo>
                  <a:pt x="211" y="529"/>
                </a:lnTo>
                <a:lnTo>
                  <a:pt x="205" y="532"/>
                </a:lnTo>
                <a:lnTo>
                  <a:pt x="202" y="534"/>
                </a:lnTo>
                <a:lnTo>
                  <a:pt x="203" y="528"/>
                </a:lnTo>
                <a:lnTo>
                  <a:pt x="204" y="523"/>
                </a:lnTo>
                <a:lnTo>
                  <a:pt x="208" y="518"/>
                </a:lnTo>
                <a:lnTo>
                  <a:pt x="229" y="503"/>
                </a:lnTo>
                <a:lnTo>
                  <a:pt x="231" y="505"/>
                </a:lnTo>
                <a:lnTo>
                  <a:pt x="234" y="509"/>
                </a:lnTo>
                <a:lnTo>
                  <a:pt x="240" y="508"/>
                </a:lnTo>
                <a:lnTo>
                  <a:pt x="247" y="500"/>
                </a:lnTo>
                <a:lnTo>
                  <a:pt x="253" y="491"/>
                </a:lnTo>
                <a:lnTo>
                  <a:pt x="250" y="492"/>
                </a:lnTo>
                <a:lnTo>
                  <a:pt x="247" y="496"/>
                </a:lnTo>
                <a:lnTo>
                  <a:pt x="240" y="501"/>
                </a:lnTo>
                <a:lnTo>
                  <a:pt x="237" y="502"/>
                </a:lnTo>
                <a:lnTo>
                  <a:pt x="236" y="501"/>
                </a:lnTo>
                <a:lnTo>
                  <a:pt x="235" y="498"/>
                </a:lnTo>
                <a:lnTo>
                  <a:pt x="232" y="497"/>
                </a:lnTo>
                <a:lnTo>
                  <a:pt x="231" y="498"/>
                </a:lnTo>
                <a:lnTo>
                  <a:pt x="228" y="495"/>
                </a:lnTo>
                <a:lnTo>
                  <a:pt x="228" y="489"/>
                </a:lnTo>
                <a:lnTo>
                  <a:pt x="231" y="480"/>
                </a:lnTo>
                <a:lnTo>
                  <a:pt x="233" y="473"/>
                </a:lnTo>
                <a:lnTo>
                  <a:pt x="235" y="469"/>
                </a:lnTo>
                <a:lnTo>
                  <a:pt x="244" y="455"/>
                </a:lnTo>
                <a:lnTo>
                  <a:pt x="246" y="448"/>
                </a:lnTo>
                <a:lnTo>
                  <a:pt x="250" y="444"/>
                </a:lnTo>
                <a:lnTo>
                  <a:pt x="255" y="445"/>
                </a:lnTo>
                <a:lnTo>
                  <a:pt x="257" y="444"/>
                </a:lnTo>
                <a:lnTo>
                  <a:pt x="255" y="439"/>
                </a:lnTo>
                <a:lnTo>
                  <a:pt x="249" y="435"/>
                </a:lnTo>
                <a:lnTo>
                  <a:pt x="249" y="433"/>
                </a:lnTo>
                <a:lnTo>
                  <a:pt x="268" y="427"/>
                </a:lnTo>
                <a:lnTo>
                  <a:pt x="276" y="427"/>
                </a:lnTo>
                <a:lnTo>
                  <a:pt x="279" y="424"/>
                </a:lnTo>
                <a:lnTo>
                  <a:pt x="284" y="422"/>
                </a:lnTo>
                <a:lnTo>
                  <a:pt x="288" y="418"/>
                </a:lnTo>
                <a:lnTo>
                  <a:pt x="286" y="416"/>
                </a:lnTo>
                <a:lnTo>
                  <a:pt x="277" y="420"/>
                </a:lnTo>
                <a:lnTo>
                  <a:pt x="271" y="421"/>
                </a:lnTo>
                <a:lnTo>
                  <a:pt x="268" y="421"/>
                </a:lnTo>
                <a:lnTo>
                  <a:pt x="266" y="422"/>
                </a:lnTo>
                <a:lnTo>
                  <a:pt x="259" y="423"/>
                </a:lnTo>
                <a:lnTo>
                  <a:pt x="258" y="407"/>
                </a:lnTo>
                <a:lnTo>
                  <a:pt x="259" y="399"/>
                </a:lnTo>
                <a:lnTo>
                  <a:pt x="261" y="399"/>
                </a:lnTo>
                <a:lnTo>
                  <a:pt x="262" y="391"/>
                </a:lnTo>
                <a:lnTo>
                  <a:pt x="265" y="386"/>
                </a:lnTo>
                <a:lnTo>
                  <a:pt x="270" y="385"/>
                </a:lnTo>
                <a:lnTo>
                  <a:pt x="272" y="383"/>
                </a:lnTo>
                <a:lnTo>
                  <a:pt x="275" y="379"/>
                </a:lnTo>
                <a:lnTo>
                  <a:pt x="280" y="380"/>
                </a:lnTo>
                <a:lnTo>
                  <a:pt x="285" y="379"/>
                </a:lnTo>
                <a:lnTo>
                  <a:pt x="284" y="377"/>
                </a:lnTo>
                <a:lnTo>
                  <a:pt x="277" y="374"/>
                </a:lnTo>
                <a:lnTo>
                  <a:pt x="276" y="370"/>
                </a:lnTo>
                <a:lnTo>
                  <a:pt x="278" y="367"/>
                </a:lnTo>
                <a:lnTo>
                  <a:pt x="281" y="366"/>
                </a:lnTo>
                <a:lnTo>
                  <a:pt x="283" y="365"/>
                </a:lnTo>
                <a:lnTo>
                  <a:pt x="287" y="357"/>
                </a:lnTo>
                <a:lnTo>
                  <a:pt x="290" y="353"/>
                </a:lnTo>
                <a:lnTo>
                  <a:pt x="293" y="354"/>
                </a:lnTo>
                <a:lnTo>
                  <a:pt x="297" y="350"/>
                </a:lnTo>
                <a:lnTo>
                  <a:pt x="301" y="351"/>
                </a:lnTo>
                <a:lnTo>
                  <a:pt x="305" y="349"/>
                </a:lnTo>
                <a:lnTo>
                  <a:pt x="311" y="347"/>
                </a:lnTo>
                <a:lnTo>
                  <a:pt x="331" y="346"/>
                </a:lnTo>
                <a:lnTo>
                  <a:pt x="331" y="343"/>
                </a:lnTo>
                <a:lnTo>
                  <a:pt x="327" y="342"/>
                </a:lnTo>
                <a:lnTo>
                  <a:pt x="312" y="341"/>
                </a:lnTo>
                <a:lnTo>
                  <a:pt x="305" y="341"/>
                </a:lnTo>
                <a:lnTo>
                  <a:pt x="302" y="342"/>
                </a:lnTo>
                <a:lnTo>
                  <a:pt x="300" y="341"/>
                </a:lnTo>
                <a:lnTo>
                  <a:pt x="301" y="339"/>
                </a:lnTo>
                <a:lnTo>
                  <a:pt x="303" y="335"/>
                </a:lnTo>
                <a:lnTo>
                  <a:pt x="305" y="331"/>
                </a:lnTo>
                <a:lnTo>
                  <a:pt x="310" y="322"/>
                </a:lnTo>
                <a:lnTo>
                  <a:pt x="317" y="316"/>
                </a:lnTo>
                <a:lnTo>
                  <a:pt x="322" y="318"/>
                </a:lnTo>
                <a:lnTo>
                  <a:pt x="327" y="324"/>
                </a:lnTo>
                <a:lnTo>
                  <a:pt x="331" y="324"/>
                </a:lnTo>
                <a:lnTo>
                  <a:pt x="332" y="326"/>
                </a:lnTo>
                <a:lnTo>
                  <a:pt x="335" y="334"/>
                </a:lnTo>
                <a:lnTo>
                  <a:pt x="336" y="334"/>
                </a:lnTo>
                <a:lnTo>
                  <a:pt x="336" y="327"/>
                </a:lnTo>
                <a:lnTo>
                  <a:pt x="339" y="320"/>
                </a:lnTo>
                <a:lnTo>
                  <a:pt x="338" y="319"/>
                </a:lnTo>
                <a:lnTo>
                  <a:pt x="333" y="321"/>
                </a:lnTo>
                <a:lnTo>
                  <a:pt x="329" y="319"/>
                </a:lnTo>
                <a:lnTo>
                  <a:pt x="326" y="314"/>
                </a:lnTo>
                <a:lnTo>
                  <a:pt x="325" y="310"/>
                </a:lnTo>
                <a:lnTo>
                  <a:pt x="327" y="305"/>
                </a:lnTo>
                <a:lnTo>
                  <a:pt x="329" y="303"/>
                </a:lnTo>
                <a:lnTo>
                  <a:pt x="327" y="300"/>
                </a:lnTo>
                <a:lnTo>
                  <a:pt x="319" y="307"/>
                </a:lnTo>
                <a:lnTo>
                  <a:pt x="313" y="309"/>
                </a:lnTo>
                <a:lnTo>
                  <a:pt x="311" y="308"/>
                </a:lnTo>
                <a:lnTo>
                  <a:pt x="312" y="302"/>
                </a:lnTo>
                <a:lnTo>
                  <a:pt x="312" y="297"/>
                </a:lnTo>
                <a:lnTo>
                  <a:pt x="319" y="285"/>
                </a:lnTo>
                <a:lnTo>
                  <a:pt x="322" y="283"/>
                </a:lnTo>
                <a:lnTo>
                  <a:pt x="326" y="284"/>
                </a:lnTo>
                <a:lnTo>
                  <a:pt x="330" y="288"/>
                </a:lnTo>
                <a:lnTo>
                  <a:pt x="334" y="287"/>
                </a:lnTo>
                <a:lnTo>
                  <a:pt x="337" y="285"/>
                </a:lnTo>
                <a:lnTo>
                  <a:pt x="337" y="282"/>
                </a:lnTo>
                <a:lnTo>
                  <a:pt x="329" y="281"/>
                </a:lnTo>
                <a:lnTo>
                  <a:pt x="327" y="278"/>
                </a:lnTo>
                <a:lnTo>
                  <a:pt x="328" y="275"/>
                </a:lnTo>
                <a:lnTo>
                  <a:pt x="333" y="272"/>
                </a:lnTo>
                <a:lnTo>
                  <a:pt x="338" y="267"/>
                </a:lnTo>
                <a:lnTo>
                  <a:pt x="344" y="266"/>
                </a:lnTo>
                <a:lnTo>
                  <a:pt x="349" y="262"/>
                </a:lnTo>
                <a:lnTo>
                  <a:pt x="350" y="263"/>
                </a:lnTo>
                <a:lnTo>
                  <a:pt x="351" y="264"/>
                </a:lnTo>
                <a:lnTo>
                  <a:pt x="353" y="279"/>
                </a:lnTo>
                <a:lnTo>
                  <a:pt x="357" y="290"/>
                </a:lnTo>
                <a:lnTo>
                  <a:pt x="359" y="291"/>
                </a:lnTo>
                <a:lnTo>
                  <a:pt x="357" y="281"/>
                </a:lnTo>
                <a:lnTo>
                  <a:pt x="359" y="278"/>
                </a:lnTo>
                <a:lnTo>
                  <a:pt x="361" y="276"/>
                </a:lnTo>
                <a:lnTo>
                  <a:pt x="361" y="273"/>
                </a:lnTo>
                <a:lnTo>
                  <a:pt x="359" y="273"/>
                </a:lnTo>
                <a:lnTo>
                  <a:pt x="357" y="269"/>
                </a:lnTo>
                <a:lnTo>
                  <a:pt x="354" y="257"/>
                </a:lnTo>
                <a:lnTo>
                  <a:pt x="355" y="255"/>
                </a:lnTo>
                <a:lnTo>
                  <a:pt x="361" y="248"/>
                </a:lnTo>
                <a:lnTo>
                  <a:pt x="368" y="247"/>
                </a:lnTo>
                <a:lnTo>
                  <a:pt x="376" y="251"/>
                </a:lnTo>
                <a:lnTo>
                  <a:pt x="379" y="251"/>
                </a:lnTo>
                <a:lnTo>
                  <a:pt x="383" y="250"/>
                </a:lnTo>
                <a:lnTo>
                  <a:pt x="391" y="247"/>
                </a:lnTo>
                <a:lnTo>
                  <a:pt x="395" y="245"/>
                </a:lnTo>
                <a:lnTo>
                  <a:pt x="397" y="245"/>
                </a:lnTo>
                <a:lnTo>
                  <a:pt x="398" y="243"/>
                </a:lnTo>
                <a:lnTo>
                  <a:pt x="396" y="242"/>
                </a:lnTo>
                <a:lnTo>
                  <a:pt x="395" y="241"/>
                </a:lnTo>
                <a:lnTo>
                  <a:pt x="393" y="241"/>
                </a:lnTo>
                <a:lnTo>
                  <a:pt x="387" y="242"/>
                </a:lnTo>
                <a:lnTo>
                  <a:pt x="367" y="242"/>
                </a:lnTo>
                <a:lnTo>
                  <a:pt x="365" y="240"/>
                </a:lnTo>
                <a:lnTo>
                  <a:pt x="365" y="236"/>
                </a:lnTo>
                <a:lnTo>
                  <a:pt x="367" y="231"/>
                </a:lnTo>
                <a:lnTo>
                  <a:pt x="369" y="228"/>
                </a:lnTo>
                <a:lnTo>
                  <a:pt x="377" y="223"/>
                </a:lnTo>
                <a:lnTo>
                  <a:pt x="384" y="223"/>
                </a:lnTo>
                <a:lnTo>
                  <a:pt x="392" y="213"/>
                </a:lnTo>
                <a:lnTo>
                  <a:pt x="396" y="207"/>
                </a:lnTo>
                <a:lnTo>
                  <a:pt x="397" y="196"/>
                </a:lnTo>
                <a:lnTo>
                  <a:pt x="402" y="187"/>
                </a:lnTo>
                <a:lnTo>
                  <a:pt x="415" y="182"/>
                </a:lnTo>
                <a:lnTo>
                  <a:pt x="415" y="180"/>
                </a:lnTo>
                <a:lnTo>
                  <a:pt x="414" y="176"/>
                </a:lnTo>
                <a:lnTo>
                  <a:pt x="414" y="168"/>
                </a:lnTo>
                <a:lnTo>
                  <a:pt x="417" y="158"/>
                </a:lnTo>
                <a:lnTo>
                  <a:pt x="420" y="155"/>
                </a:lnTo>
                <a:lnTo>
                  <a:pt x="421" y="154"/>
                </a:lnTo>
                <a:lnTo>
                  <a:pt x="423" y="157"/>
                </a:lnTo>
                <a:lnTo>
                  <a:pt x="426" y="164"/>
                </a:lnTo>
                <a:lnTo>
                  <a:pt x="432" y="168"/>
                </a:lnTo>
                <a:lnTo>
                  <a:pt x="438" y="168"/>
                </a:lnTo>
                <a:lnTo>
                  <a:pt x="440" y="167"/>
                </a:lnTo>
                <a:lnTo>
                  <a:pt x="435" y="163"/>
                </a:lnTo>
                <a:lnTo>
                  <a:pt x="431" y="158"/>
                </a:lnTo>
                <a:lnTo>
                  <a:pt x="431" y="153"/>
                </a:lnTo>
                <a:lnTo>
                  <a:pt x="432" y="150"/>
                </a:lnTo>
                <a:lnTo>
                  <a:pt x="435" y="151"/>
                </a:lnTo>
                <a:lnTo>
                  <a:pt x="439" y="150"/>
                </a:lnTo>
                <a:lnTo>
                  <a:pt x="442" y="147"/>
                </a:lnTo>
                <a:lnTo>
                  <a:pt x="443" y="144"/>
                </a:lnTo>
                <a:lnTo>
                  <a:pt x="443" y="141"/>
                </a:lnTo>
                <a:lnTo>
                  <a:pt x="444" y="138"/>
                </a:lnTo>
                <a:lnTo>
                  <a:pt x="449" y="130"/>
                </a:lnTo>
                <a:lnTo>
                  <a:pt x="464" y="125"/>
                </a:lnTo>
                <a:lnTo>
                  <a:pt x="465" y="127"/>
                </a:lnTo>
                <a:lnTo>
                  <a:pt x="464" y="142"/>
                </a:lnTo>
                <a:lnTo>
                  <a:pt x="463" y="152"/>
                </a:lnTo>
                <a:lnTo>
                  <a:pt x="463" y="159"/>
                </a:lnTo>
                <a:lnTo>
                  <a:pt x="466" y="152"/>
                </a:lnTo>
                <a:lnTo>
                  <a:pt x="470" y="132"/>
                </a:lnTo>
                <a:lnTo>
                  <a:pt x="473" y="123"/>
                </a:lnTo>
                <a:lnTo>
                  <a:pt x="476" y="118"/>
                </a:lnTo>
                <a:lnTo>
                  <a:pt x="478" y="116"/>
                </a:lnTo>
                <a:lnTo>
                  <a:pt x="481" y="114"/>
                </a:lnTo>
                <a:lnTo>
                  <a:pt x="484" y="112"/>
                </a:lnTo>
                <a:lnTo>
                  <a:pt x="485" y="114"/>
                </a:lnTo>
                <a:lnTo>
                  <a:pt x="486" y="119"/>
                </a:lnTo>
                <a:lnTo>
                  <a:pt x="484" y="136"/>
                </a:lnTo>
                <a:lnTo>
                  <a:pt x="484" y="142"/>
                </a:lnTo>
                <a:lnTo>
                  <a:pt x="482" y="149"/>
                </a:lnTo>
                <a:lnTo>
                  <a:pt x="475" y="165"/>
                </a:lnTo>
                <a:lnTo>
                  <a:pt x="475" y="167"/>
                </a:lnTo>
                <a:lnTo>
                  <a:pt x="477" y="166"/>
                </a:lnTo>
                <a:lnTo>
                  <a:pt x="480" y="164"/>
                </a:lnTo>
                <a:lnTo>
                  <a:pt x="489" y="148"/>
                </a:lnTo>
                <a:lnTo>
                  <a:pt x="497" y="150"/>
                </a:lnTo>
                <a:lnTo>
                  <a:pt x="497" y="149"/>
                </a:lnTo>
                <a:lnTo>
                  <a:pt x="494" y="145"/>
                </a:lnTo>
                <a:lnTo>
                  <a:pt x="491" y="140"/>
                </a:lnTo>
                <a:lnTo>
                  <a:pt x="490" y="135"/>
                </a:lnTo>
                <a:lnTo>
                  <a:pt x="491" y="121"/>
                </a:lnTo>
                <a:lnTo>
                  <a:pt x="493" y="115"/>
                </a:lnTo>
                <a:lnTo>
                  <a:pt x="500" y="115"/>
                </a:lnTo>
                <a:lnTo>
                  <a:pt x="504" y="115"/>
                </a:lnTo>
                <a:lnTo>
                  <a:pt x="506" y="117"/>
                </a:lnTo>
                <a:lnTo>
                  <a:pt x="510" y="117"/>
                </a:lnTo>
                <a:lnTo>
                  <a:pt x="513" y="107"/>
                </a:lnTo>
                <a:lnTo>
                  <a:pt x="518" y="106"/>
                </a:lnTo>
                <a:lnTo>
                  <a:pt x="523" y="113"/>
                </a:lnTo>
                <a:lnTo>
                  <a:pt x="529" y="117"/>
                </a:lnTo>
                <a:lnTo>
                  <a:pt x="534" y="124"/>
                </a:lnTo>
                <a:lnTo>
                  <a:pt x="535" y="122"/>
                </a:lnTo>
                <a:lnTo>
                  <a:pt x="533" y="107"/>
                </a:lnTo>
                <a:lnTo>
                  <a:pt x="530" y="101"/>
                </a:lnTo>
                <a:lnTo>
                  <a:pt x="524" y="98"/>
                </a:lnTo>
                <a:lnTo>
                  <a:pt x="517" y="91"/>
                </a:lnTo>
                <a:lnTo>
                  <a:pt x="516" y="88"/>
                </a:lnTo>
                <a:lnTo>
                  <a:pt x="516" y="86"/>
                </a:lnTo>
                <a:lnTo>
                  <a:pt x="522" y="83"/>
                </a:lnTo>
                <a:lnTo>
                  <a:pt x="529" y="86"/>
                </a:lnTo>
                <a:lnTo>
                  <a:pt x="536" y="80"/>
                </a:lnTo>
                <a:lnTo>
                  <a:pt x="538" y="82"/>
                </a:lnTo>
                <a:lnTo>
                  <a:pt x="543" y="79"/>
                </a:lnTo>
                <a:lnTo>
                  <a:pt x="546" y="83"/>
                </a:lnTo>
                <a:lnTo>
                  <a:pt x="548" y="82"/>
                </a:lnTo>
                <a:lnTo>
                  <a:pt x="549" y="76"/>
                </a:lnTo>
                <a:lnTo>
                  <a:pt x="558" y="73"/>
                </a:lnTo>
                <a:lnTo>
                  <a:pt x="563" y="76"/>
                </a:lnTo>
                <a:lnTo>
                  <a:pt x="565" y="79"/>
                </a:lnTo>
                <a:lnTo>
                  <a:pt x="567" y="85"/>
                </a:lnTo>
                <a:lnTo>
                  <a:pt x="569" y="98"/>
                </a:lnTo>
                <a:lnTo>
                  <a:pt x="573" y="104"/>
                </a:lnTo>
                <a:lnTo>
                  <a:pt x="575" y="108"/>
                </a:lnTo>
                <a:lnTo>
                  <a:pt x="578" y="109"/>
                </a:lnTo>
                <a:lnTo>
                  <a:pt x="580" y="105"/>
                </a:lnTo>
                <a:lnTo>
                  <a:pt x="577" y="101"/>
                </a:lnTo>
                <a:lnTo>
                  <a:pt x="576" y="98"/>
                </a:lnTo>
                <a:lnTo>
                  <a:pt x="578" y="88"/>
                </a:lnTo>
                <a:lnTo>
                  <a:pt x="579" y="84"/>
                </a:lnTo>
                <a:lnTo>
                  <a:pt x="588" y="70"/>
                </a:lnTo>
                <a:lnTo>
                  <a:pt x="595" y="63"/>
                </a:lnTo>
                <a:lnTo>
                  <a:pt x="600" y="62"/>
                </a:lnTo>
                <a:lnTo>
                  <a:pt x="607" y="46"/>
                </a:lnTo>
                <a:lnTo>
                  <a:pt x="610" y="43"/>
                </a:lnTo>
                <a:lnTo>
                  <a:pt x="612" y="42"/>
                </a:lnTo>
                <a:lnTo>
                  <a:pt x="611" y="38"/>
                </a:lnTo>
                <a:lnTo>
                  <a:pt x="607" y="35"/>
                </a:lnTo>
                <a:lnTo>
                  <a:pt x="607" y="30"/>
                </a:lnTo>
                <a:lnTo>
                  <a:pt x="612" y="24"/>
                </a:lnTo>
                <a:lnTo>
                  <a:pt x="619" y="14"/>
                </a:lnTo>
                <a:lnTo>
                  <a:pt x="622" y="13"/>
                </a:lnTo>
                <a:lnTo>
                  <a:pt x="624" y="16"/>
                </a:lnTo>
                <a:lnTo>
                  <a:pt x="631" y="20"/>
                </a:lnTo>
                <a:lnTo>
                  <a:pt x="635" y="26"/>
                </a:lnTo>
                <a:lnTo>
                  <a:pt x="638" y="29"/>
                </a:lnTo>
                <a:lnTo>
                  <a:pt x="640" y="28"/>
                </a:lnTo>
                <a:lnTo>
                  <a:pt x="641" y="24"/>
                </a:lnTo>
                <a:lnTo>
                  <a:pt x="643" y="22"/>
                </a:lnTo>
                <a:lnTo>
                  <a:pt x="648" y="23"/>
                </a:lnTo>
                <a:lnTo>
                  <a:pt x="650" y="26"/>
                </a:lnTo>
                <a:lnTo>
                  <a:pt x="652" y="26"/>
                </a:lnTo>
                <a:lnTo>
                  <a:pt x="654" y="28"/>
                </a:lnTo>
                <a:lnTo>
                  <a:pt x="654" y="31"/>
                </a:lnTo>
                <a:lnTo>
                  <a:pt x="650" y="35"/>
                </a:lnTo>
                <a:lnTo>
                  <a:pt x="644" y="45"/>
                </a:lnTo>
                <a:lnTo>
                  <a:pt x="638" y="56"/>
                </a:lnTo>
                <a:lnTo>
                  <a:pt x="636" y="62"/>
                </a:lnTo>
                <a:lnTo>
                  <a:pt x="634" y="77"/>
                </a:lnTo>
                <a:lnTo>
                  <a:pt x="630" y="87"/>
                </a:lnTo>
                <a:lnTo>
                  <a:pt x="629" y="94"/>
                </a:lnTo>
                <a:lnTo>
                  <a:pt x="631" y="97"/>
                </a:lnTo>
                <a:lnTo>
                  <a:pt x="636" y="95"/>
                </a:lnTo>
                <a:lnTo>
                  <a:pt x="643" y="85"/>
                </a:lnTo>
                <a:lnTo>
                  <a:pt x="644" y="76"/>
                </a:lnTo>
                <a:lnTo>
                  <a:pt x="661" y="49"/>
                </a:lnTo>
                <a:lnTo>
                  <a:pt x="668" y="34"/>
                </a:lnTo>
                <a:lnTo>
                  <a:pt x="677" y="22"/>
                </a:lnTo>
                <a:lnTo>
                  <a:pt x="682" y="19"/>
                </a:lnTo>
                <a:lnTo>
                  <a:pt x="684" y="28"/>
                </a:lnTo>
                <a:lnTo>
                  <a:pt x="682" y="38"/>
                </a:lnTo>
                <a:lnTo>
                  <a:pt x="678" y="45"/>
                </a:lnTo>
                <a:lnTo>
                  <a:pt x="681" y="48"/>
                </a:lnTo>
                <a:lnTo>
                  <a:pt x="680" y="56"/>
                </a:lnTo>
                <a:lnTo>
                  <a:pt x="680" y="61"/>
                </a:lnTo>
                <a:lnTo>
                  <a:pt x="679" y="65"/>
                </a:lnTo>
                <a:lnTo>
                  <a:pt x="679" y="69"/>
                </a:lnTo>
                <a:lnTo>
                  <a:pt x="682" y="68"/>
                </a:lnTo>
                <a:lnTo>
                  <a:pt x="692" y="60"/>
                </a:lnTo>
                <a:lnTo>
                  <a:pt x="694" y="51"/>
                </a:lnTo>
                <a:lnTo>
                  <a:pt x="697" y="44"/>
                </a:lnTo>
                <a:lnTo>
                  <a:pt x="698" y="38"/>
                </a:lnTo>
                <a:lnTo>
                  <a:pt x="702" y="32"/>
                </a:lnTo>
                <a:lnTo>
                  <a:pt x="709" y="32"/>
                </a:lnTo>
                <a:lnTo>
                  <a:pt x="709" y="30"/>
                </a:lnTo>
                <a:lnTo>
                  <a:pt x="700" y="22"/>
                </a:lnTo>
                <a:lnTo>
                  <a:pt x="699" y="19"/>
                </a:lnTo>
                <a:lnTo>
                  <a:pt x="702" y="14"/>
                </a:lnTo>
                <a:lnTo>
                  <a:pt x="711" y="5"/>
                </a:lnTo>
                <a:lnTo>
                  <a:pt x="715" y="6"/>
                </a:lnTo>
                <a:lnTo>
                  <a:pt x="717" y="8"/>
                </a:lnTo>
                <a:lnTo>
                  <a:pt x="728" y="10"/>
                </a:lnTo>
                <a:lnTo>
                  <a:pt x="736" y="16"/>
                </a:lnTo>
                <a:lnTo>
                  <a:pt x="735" y="26"/>
                </a:lnTo>
                <a:lnTo>
                  <a:pt x="733" y="30"/>
                </a:lnTo>
                <a:lnTo>
                  <a:pt x="732" y="33"/>
                </a:lnTo>
                <a:lnTo>
                  <a:pt x="722" y="41"/>
                </a:lnTo>
                <a:lnTo>
                  <a:pt x="720" y="44"/>
                </a:lnTo>
                <a:lnTo>
                  <a:pt x="723" y="46"/>
                </a:lnTo>
                <a:lnTo>
                  <a:pt x="730" y="42"/>
                </a:lnTo>
                <a:lnTo>
                  <a:pt x="732" y="45"/>
                </a:lnTo>
                <a:lnTo>
                  <a:pt x="730" y="54"/>
                </a:lnTo>
                <a:lnTo>
                  <a:pt x="729" y="67"/>
                </a:lnTo>
                <a:lnTo>
                  <a:pt x="728" y="74"/>
                </a:lnTo>
                <a:lnTo>
                  <a:pt x="728" y="81"/>
                </a:lnTo>
                <a:lnTo>
                  <a:pt x="729" y="84"/>
                </a:lnTo>
                <a:lnTo>
                  <a:pt x="732" y="70"/>
                </a:lnTo>
                <a:lnTo>
                  <a:pt x="733" y="66"/>
                </a:lnTo>
                <a:lnTo>
                  <a:pt x="737" y="61"/>
                </a:lnTo>
                <a:lnTo>
                  <a:pt x="738" y="50"/>
                </a:lnTo>
                <a:lnTo>
                  <a:pt x="742" y="37"/>
                </a:lnTo>
                <a:lnTo>
                  <a:pt x="747" y="29"/>
                </a:lnTo>
                <a:lnTo>
                  <a:pt x="749" y="27"/>
                </a:lnTo>
                <a:lnTo>
                  <a:pt x="758" y="27"/>
                </a:lnTo>
                <a:lnTo>
                  <a:pt x="761" y="30"/>
                </a:lnTo>
                <a:lnTo>
                  <a:pt x="764" y="36"/>
                </a:lnTo>
                <a:lnTo>
                  <a:pt x="767" y="39"/>
                </a:lnTo>
                <a:lnTo>
                  <a:pt x="774" y="42"/>
                </a:lnTo>
                <a:lnTo>
                  <a:pt x="777" y="45"/>
                </a:lnTo>
                <a:lnTo>
                  <a:pt x="777" y="47"/>
                </a:lnTo>
                <a:lnTo>
                  <a:pt x="779" y="48"/>
                </a:lnTo>
                <a:lnTo>
                  <a:pt x="784" y="43"/>
                </a:lnTo>
                <a:lnTo>
                  <a:pt x="788" y="42"/>
                </a:lnTo>
                <a:lnTo>
                  <a:pt x="793" y="50"/>
                </a:lnTo>
                <a:lnTo>
                  <a:pt x="792" y="55"/>
                </a:lnTo>
                <a:lnTo>
                  <a:pt x="792" y="57"/>
                </a:lnTo>
                <a:lnTo>
                  <a:pt x="799" y="57"/>
                </a:lnTo>
                <a:lnTo>
                  <a:pt x="804" y="59"/>
                </a:lnTo>
                <a:lnTo>
                  <a:pt x="815" y="70"/>
                </a:lnTo>
                <a:lnTo>
                  <a:pt x="816" y="76"/>
                </a:lnTo>
                <a:lnTo>
                  <a:pt x="815" y="82"/>
                </a:lnTo>
                <a:lnTo>
                  <a:pt x="800" y="89"/>
                </a:lnTo>
                <a:lnTo>
                  <a:pt x="794" y="96"/>
                </a:lnTo>
                <a:lnTo>
                  <a:pt x="783" y="98"/>
                </a:lnTo>
                <a:lnTo>
                  <a:pt x="748" y="94"/>
                </a:lnTo>
                <a:lnTo>
                  <a:pt x="748" y="99"/>
                </a:lnTo>
                <a:lnTo>
                  <a:pt x="773" y="109"/>
                </a:lnTo>
                <a:lnTo>
                  <a:pt x="775" y="112"/>
                </a:lnTo>
                <a:lnTo>
                  <a:pt x="774" y="119"/>
                </a:lnTo>
                <a:lnTo>
                  <a:pt x="774" y="124"/>
                </a:lnTo>
                <a:lnTo>
                  <a:pt x="774" y="127"/>
                </a:lnTo>
                <a:lnTo>
                  <a:pt x="776" y="130"/>
                </a:lnTo>
                <a:lnTo>
                  <a:pt x="779" y="132"/>
                </a:lnTo>
                <a:lnTo>
                  <a:pt x="785" y="131"/>
                </a:lnTo>
                <a:lnTo>
                  <a:pt x="788" y="133"/>
                </a:lnTo>
                <a:lnTo>
                  <a:pt x="790" y="130"/>
                </a:lnTo>
                <a:lnTo>
                  <a:pt x="791" y="122"/>
                </a:lnTo>
                <a:lnTo>
                  <a:pt x="793" y="120"/>
                </a:lnTo>
                <a:lnTo>
                  <a:pt x="796" y="122"/>
                </a:lnTo>
                <a:lnTo>
                  <a:pt x="798" y="131"/>
                </a:lnTo>
                <a:lnTo>
                  <a:pt x="799" y="132"/>
                </a:lnTo>
                <a:lnTo>
                  <a:pt x="801" y="126"/>
                </a:lnTo>
                <a:lnTo>
                  <a:pt x="804" y="126"/>
                </a:lnTo>
                <a:lnTo>
                  <a:pt x="808" y="126"/>
                </a:lnTo>
                <a:lnTo>
                  <a:pt x="813" y="127"/>
                </a:lnTo>
                <a:close/>
                <a:moveTo>
                  <a:pt x="581" y="31"/>
                </a:moveTo>
                <a:lnTo>
                  <a:pt x="581" y="31"/>
                </a:lnTo>
                <a:lnTo>
                  <a:pt x="580" y="34"/>
                </a:lnTo>
                <a:lnTo>
                  <a:pt x="579" y="37"/>
                </a:lnTo>
                <a:lnTo>
                  <a:pt x="577" y="40"/>
                </a:lnTo>
                <a:lnTo>
                  <a:pt x="569" y="52"/>
                </a:lnTo>
                <a:lnTo>
                  <a:pt x="565" y="54"/>
                </a:lnTo>
                <a:lnTo>
                  <a:pt x="564" y="56"/>
                </a:lnTo>
                <a:lnTo>
                  <a:pt x="562" y="57"/>
                </a:lnTo>
                <a:lnTo>
                  <a:pt x="557" y="56"/>
                </a:lnTo>
                <a:lnTo>
                  <a:pt x="555" y="58"/>
                </a:lnTo>
                <a:lnTo>
                  <a:pt x="554" y="60"/>
                </a:lnTo>
                <a:lnTo>
                  <a:pt x="550" y="60"/>
                </a:lnTo>
                <a:lnTo>
                  <a:pt x="547" y="60"/>
                </a:lnTo>
                <a:lnTo>
                  <a:pt x="541" y="55"/>
                </a:lnTo>
                <a:lnTo>
                  <a:pt x="538" y="50"/>
                </a:lnTo>
                <a:lnTo>
                  <a:pt x="536" y="46"/>
                </a:lnTo>
                <a:lnTo>
                  <a:pt x="541" y="46"/>
                </a:lnTo>
                <a:lnTo>
                  <a:pt x="543" y="45"/>
                </a:lnTo>
                <a:lnTo>
                  <a:pt x="547" y="46"/>
                </a:lnTo>
                <a:lnTo>
                  <a:pt x="549" y="42"/>
                </a:lnTo>
                <a:lnTo>
                  <a:pt x="554" y="43"/>
                </a:lnTo>
                <a:lnTo>
                  <a:pt x="563" y="40"/>
                </a:lnTo>
                <a:lnTo>
                  <a:pt x="566" y="41"/>
                </a:lnTo>
                <a:lnTo>
                  <a:pt x="574" y="31"/>
                </a:lnTo>
                <a:lnTo>
                  <a:pt x="576" y="32"/>
                </a:lnTo>
                <a:lnTo>
                  <a:pt x="580" y="29"/>
                </a:lnTo>
                <a:lnTo>
                  <a:pt x="581" y="31"/>
                </a:lnTo>
                <a:close/>
                <a:moveTo>
                  <a:pt x="599" y="55"/>
                </a:moveTo>
                <a:lnTo>
                  <a:pt x="599" y="55"/>
                </a:lnTo>
                <a:lnTo>
                  <a:pt x="593" y="58"/>
                </a:lnTo>
                <a:lnTo>
                  <a:pt x="590" y="55"/>
                </a:lnTo>
                <a:lnTo>
                  <a:pt x="588" y="52"/>
                </a:lnTo>
                <a:lnTo>
                  <a:pt x="588" y="45"/>
                </a:lnTo>
                <a:lnTo>
                  <a:pt x="589" y="40"/>
                </a:lnTo>
                <a:lnTo>
                  <a:pt x="592" y="38"/>
                </a:lnTo>
                <a:lnTo>
                  <a:pt x="593" y="39"/>
                </a:lnTo>
                <a:lnTo>
                  <a:pt x="594" y="41"/>
                </a:lnTo>
                <a:lnTo>
                  <a:pt x="597" y="42"/>
                </a:lnTo>
                <a:lnTo>
                  <a:pt x="601" y="47"/>
                </a:lnTo>
                <a:lnTo>
                  <a:pt x="599" y="55"/>
                </a:lnTo>
                <a:close/>
                <a:moveTo>
                  <a:pt x="587" y="56"/>
                </a:moveTo>
                <a:lnTo>
                  <a:pt x="587" y="56"/>
                </a:lnTo>
                <a:lnTo>
                  <a:pt x="587" y="61"/>
                </a:lnTo>
                <a:lnTo>
                  <a:pt x="587" y="64"/>
                </a:lnTo>
                <a:lnTo>
                  <a:pt x="584" y="70"/>
                </a:lnTo>
                <a:lnTo>
                  <a:pt x="578" y="76"/>
                </a:lnTo>
                <a:lnTo>
                  <a:pt x="578" y="78"/>
                </a:lnTo>
                <a:lnTo>
                  <a:pt x="576" y="80"/>
                </a:lnTo>
                <a:lnTo>
                  <a:pt x="572" y="81"/>
                </a:lnTo>
                <a:lnTo>
                  <a:pt x="570" y="80"/>
                </a:lnTo>
                <a:lnTo>
                  <a:pt x="571" y="74"/>
                </a:lnTo>
                <a:lnTo>
                  <a:pt x="570" y="72"/>
                </a:lnTo>
                <a:lnTo>
                  <a:pt x="568" y="75"/>
                </a:lnTo>
                <a:lnTo>
                  <a:pt x="565" y="72"/>
                </a:lnTo>
                <a:lnTo>
                  <a:pt x="565" y="69"/>
                </a:lnTo>
                <a:lnTo>
                  <a:pt x="565" y="66"/>
                </a:lnTo>
                <a:lnTo>
                  <a:pt x="568" y="62"/>
                </a:lnTo>
                <a:lnTo>
                  <a:pt x="572" y="60"/>
                </a:lnTo>
                <a:lnTo>
                  <a:pt x="575" y="61"/>
                </a:lnTo>
                <a:lnTo>
                  <a:pt x="584" y="50"/>
                </a:lnTo>
                <a:lnTo>
                  <a:pt x="585" y="52"/>
                </a:lnTo>
                <a:lnTo>
                  <a:pt x="587" y="56"/>
                </a:lnTo>
                <a:close/>
                <a:moveTo>
                  <a:pt x="467" y="87"/>
                </a:moveTo>
                <a:lnTo>
                  <a:pt x="467" y="87"/>
                </a:lnTo>
                <a:lnTo>
                  <a:pt x="468" y="88"/>
                </a:lnTo>
                <a:lnTo>
                  <a:pt x="470" y="88"/>
                </a:lnTo>
                <a:lnTo>
                  <a:pt x="471" y="89"/>
                </a:lnTo>
                <a:lnTo>
                  <a:pt x="474" y="93"/>
                </a:lnTo>
                <a:lnTo>
                  <a:pt x="476" y="95"/>
                </a:lnTo>
                <a:lnTo>
                  <a:pt x="477" y="98"/>
                </a:lnTo>
                <a:lnTo>
                  <a:pt x="474" y="100"/>
                </a:lnTo>
                <a:lnTo>
                  <a:pt x="471" y="101"/>
                </a:lnTo>
                <a:lnTo>
                  <a:pt x="467" y="100"/>
                </a:lnTo>
                <a:lnTo>
                  <a:pt x="466" y="97"/>
                </a:lnTo>
                <a:lnTo>
                  <a:pt x="465" y="92"/>
                </a:lnTo>
                <a:lnTo>
                  <a:pt x="462" y="87"/>
                </a:lnTo>
                <a:lnTo>
                  <a:pt x="461" y="83"/>
                </a:lnTo>
                <a:lnTo>
                  <a:pt x="464" y="82"/>
                </a:lnTo>
                <a:lnTo>
                  <a:pt x="467" y="87"/>
                </a:lnTo>
                <a:close/>
                <a:moveTo>
                  <a:pt x="451" y="101"/>
                </a:moveTo>
                <a:lnTo>
                  <a:pt x="451" y="101"/>
                </a:lnTo>
                <a:lnTo>
                  <a:pt x="453" y="106"/>
                </a:lnTo>
                <a:lnTo>
                  <a:pt x="456" y="106"/>
                </a:lnTo>
                <a:lnTo>
                  <a:pt x="457" y="104"/>
                </a:lnTo>
                <a:lnTo>
                  <a:pt x="458" y="103"/>
                </a:lnTo>
                <a:lnTo>
                  <a:pt x="462" y="105"/>
                </a:lnTo>
                <a:lnTo>
                  <a:pt x="461" y="110"/>
                </a:lnTo>
                <a:lnTo>
                  <a:pt x="456" y="115"/>
                </a:lnTo>
                <a:lnTo>
                  <a:pt x="453" y="123"/>
                </a:lnTo>
                <a:lnTo>
                  <a:pt x="449" y="125"/>
                </a:lnTo>
                <a:lnTo>
                  <a:pt x="447" y="124"/>
                </a:lnTo>
                <a:lnTo>
                  <a:pt x="443" y="129"/>
                </a:lnTo>
                <a:lnTo>
                  <a:pt x="440" y="134"/>
                </a:lnTo>
                <a:lnTo>
                  <a:pt x="437" y="140"/>
                </a:lnTo>
                <a:lnTo>
                  <a:pt x="436" y="143"/>
                </a:lnTo>
                <a:lnTo>
                  <a:pt x="436" y="145"/>
                </a:lnTo>
                <a:lnTo>
                  <a:pt x="424" y="147"/>
                </a:lnTo>
                <a:lnTo>
                  <a:pt x="420" y="149"/>
                </a:lnTo>
                <a:lnTo>
                  <a:pt x="415" y="147"/>
                </a:lnTo>
                <a:lnTo>
                  <a:pt x="413" y="143"/>
                </a:lnTo>
                <a:lnTo>
                  <a:pt x="414" y="141"/>
                </a:lnTo>
                <a:lnTo>
                  <a:pt x="419" y="140"/>
                </a:lnTo>
                <a:lnTo>
                  <a:pt x="419" y="136"/>
                </a:lnTo>
                <a:lnTo>
                  <a:pt x="420" y="134"/>
                </a:lnTo>
                <a:lnTo>
                  <a:pt x="421" y="133"/>
                </a:lnTo>
                <a:lnTo>
                  <a:pt x="422" y="128"/>
                </a:lnTo>
                <a:lnTo>
                  <a:pt x="424" y="127"/>
                </a:lnTo>
                <a:lnTo>
                  <a:pt x="427" y="128"/>
                </a:lnTo>
                <a:lnTo>
                  <a:pt x="430" y="125"/>
                </a:lnTo>
                <a:lnTo>
                  <a:pt x="431" y="124"/>
                </a:lnTo>
                <a:lnTo>
                  <a:pt x="432" y="127"/>
                </a:lnTo>
                <a:lnTo>
                  <a:pt x="433" y="123"/>
                </a:lnTo>
                <a:lnTo>
                  <a:pt x="432" y="119"/>
                </a:lnTo>
                <a:lnTo>
                  <a:pt x="433" y="117"/>
                </a:lnTo>
                <a:lnTo>
                  <a:pt x="437" y="111"/>
                </a:lnTo>
                <a:lnTo>
                  <a:pt x="439" y="106"/>
                </a:lnTo>
                <a:lnTo>
                  <a:pt x="442" y="103"/>
                </a:lnTo>
                <a:lnTo>
                  <a:pt x="444" y="104"/>
                </a:lnTo>
                <a:lnTo>
                  <a:pt x="445" y="99"/>
                </a:lnTo>
                <a:lnTo>
                  <a:pt x="444" y="95"/>
                </a:lnTo>
                <a:lnTo>
                  <a:pt x="444" y="92"/>
                </a:lnTo>
                <a:lnTo>
                  <a:pt x="447" y="85"/>
                </a:lnTo>
                <a:lnTo>
                  <a:pt x="449" y="84"/>
                </a:lnTo>
                <a:lnTo>
                  <a:pt x="450" y="91"/>
                </a:lnTo>
                <a:lnTo>
                  <a:pt x="451" y="101"/>
                </a:lnTo>
                <a:close/>
                <a:moveTo>
                  <a:pt x="498" y="99"/>
                </a:moveTo>
                <a:lnTo>
                  <a:pt x="498" y="99"/>
                </a:lnTo>
                <a:lnTo>
                  <a:pt x="496" y="101"/>
                </a:lnTo>
                <a:lnTo>
                  <a:pt x="494" y="102"/>
                </a:lnTo>
                <a:lnTo>
                  <a:pt x="492" y="101"/>
                </a:lnTo>
                <a:lnTo>
                  <a:pt x="490" y="100"/>
                </a:lnTo>
                <a:lnTo>
                  <a:pt x="488" y="100"/>
                </a:lnTo>
                <a:lnTo>
                  <a:pt x="486" y="96"/>
                </a:lnTo>
                <a:lnTo>
                  <a:pt x="487" y="93"/>
                </a:lnTo>
                <a:lnTo>
                  <a:pt x="489" y="89"/>
                </a:lnTo>
                <a:lnTo>
                  <a:pt x="494" y="86"/>
                </a:lnTo>
                <a:lnTo>
                  <a:pt x="498" y="87"/>
                </a:lnTo>
                <a:lnTo>
                  <a:pt x="499" y="88"/>
                </a:lnTo>
                <a:lnTo>
                  <a:pt x="498" y="99"/>
                </a:lnTo>
                <a:close/>
                <a:moveTo>
                  <a:pt x="784" y="126"/>
                </a:moveTo>
                <a:lnTo>
                  <a:pt x="784" y="126"/>
                </a:lnTo>
                <a:lnTo>
                  <a:pt x="778" y="128"/>
                </a:lnTo>
                <a:lnTo>
                  <a:pt x="778" y="126"/>
                </a:lnTo>
                <a:lnTo>
                  <a:pt x="779" y="123"/>
                </a:lnTo>
                <a:lnTo>
                  <a:pt x="780" y="116"/>
                </a:lnTo>
                <a:lnTo>
                  <a:pt x="783" y="116"/>
                </a:lnTo>
                <a:lnTo>
                  <a:pt x="785" y="119"/>
                </a:lnTo>
                <a:lnTo>
                  <a:pt x="787" y="122"/>
                </a:lnTo>
                <a:lnTo>
                  <a:pt x="784" y="126"/>
                </a:lnTo>
                <a:close/>
                <a:moveTo>
                  <a:pt x="396" y="144"/>
                </a:moveTo>
                <a:lnTo>
                  <a:pt x="396" y="144"/>
                </a:lnTo>
                <a:lnTo>
                  <a:pt x="400" y="149"/>
                </a:lnTo>
                <a:lnTo>
                  <a:pt x="401" y="147"/>
                </a:lnTo>
                <a:lnTo>
                  <a:pt x="405" y="147"/>
                </a:lnTo>
                <a:lnTo>
                  <a:pt x="407" y="148"/>
                </a:lnTo>
                <a:lnTo>
                  <a:pt x="409" y="152"/>
                </a:lnTo>
                <a:lnTo>
                  <a:pt x="412" y="152"/>
                </a:lnTo>
                <a:lnTo>
                  <a:pt x="413" y="156"/>
                </a:lnTo>
                <a:lnTo>
                  <a:pt x="414" y="161"/>
                </a:lnTo>
                <a:lnTo>
                  <a:pt x="412" y="165"/>
                </a:lnTo>
                <a:lnTo>
                  <a:pt x="410" y="167"/>
                </a:lnTo>
                <a:lnTo>
                  <a:pt x="409" y="172"/>
                </a:lnTo>
                <a:lnTo>
                  <a:pt x="410" y="179"/>
                </a:lnTo>
                <a:lnTo>
                  <a:pt x="404" y="181"/>
                </a:lnTo>
                <a:lnTo>
                  <a:pt x="398" y="182"/>
                </a:lnTo>
                <a:lnTo>
                  <a:pt x="395" y="179"/>
                </a:lnTo>
                <a:lnTo>
                  <a:pt x="390" y="185"/>
                </a:lnTo>
                <a:lnTo>
                  <a:pt x="385" y="194"/>
                </a:lnTo>
                <a:lnTo>
                  <a:pt x="383" y="195"/>
                </a:lnTo>
                <a:lnTo>
                  <a:pt x="383" y="192"/>
                </a:lnTo>
                <a:lnTo>
                  <a:pt x="379" y="190"/>
                </a:lnTo>
                <a:lnTo>
                  <a:pt x="374" y="190"/>
                </a:lnTo>
                <a:lnTo>
                  <a:pt x="374" y="188"/>
                </a:lnTo>
                <a:lnTo>
                  <a:pt x="375" y="186"/>
                </a:lnTo>
                <a:lnTo>
                  <a:pt x="379" y="184"/>
                </a:lnTo>
                <a:lnTo>
                  <a:pt x="380" y="179"/>
                </a:lnTo>
                <a:lnTo>
                  <a:pt x="379" y="171"/>
                </a:lnTo>
                <a:lnTo>
                  <a:pt x="380" y="167"/>
                </a:lnTo>
                <a:lnTo>
                  <a:pt x="380" y="164"/>
                </a:lnTo>
                <a:lnTo>
                  <a:pt x="383" y="161"/>
                </a:lnTo>
                <a:lnTo>
                  <a:pt x="391" y="163"/>
                </a:lnTo>
                <a:lnTo>
                  <a:pt x="393" y="160"/>
                </a:lnTo>
                <a:lnTo>
                  <a:pt x="392" y="158"/>
                </a:lnTo>
                <a:lnTo>
                  <a:pt x="387" y="154"/>
                </a:lnTo>
                <a:lnTo>
                  <a:pt x="388" y="152"/>
                </a:lnTo>
                <a:lnTo>
                  <a:pt x="391" y="150"/>
                </a:lnTo>
                <a:lnTo>
                  <a:pt x="394" y="149"/>
                </a:lnTo>
                <a:lnTo>
                  <a:pt x="395" y="146"/>
                </a:lnTo>
                <a:lnTo>
                  <a:pt x="395" y="144"/>
                </a:lnTo>
                <a:lnTo>
                  <a:pt x="396" y="144"/>
                </a:lnTo>
                <a:close/>
                <a:moveTo>
                  <a:pt x="342" y="234"/>
                </a:moveTo>
                <a:lnTo>
                  <a:pt x="342" y="234"/>
                </a:lnTo>
                <a:lnTo>
                  <a:pt x="342" y="234"/>
                </a:lnTo>
                <a:lnTo>
                  <a:pt x="346" y="226"/>
                </a:lnTo>
                <a:lnTo>
                  <a:pt x="351" y="224"/>
                </a:lnTo>
                <a:lnTo>
                  <a:pt x="351" y="221"/>
                </a:lnTo>
                <a:lnTo>
                  <a:pt x="353" y="218"/>
                </a:lnTo>
                <a:lnTo>
                  <a:pt x="353" y="214"/>
                </a:lnTo>
                <a:lnTo>
                  <a:pt x="354" y="210"/>
                </a:lnTo>
                <a:lnTo>
                  <a:pt x="356" y="209"/>
                </a:lnTo>
                <a:lnTo>
                  <a:pt x="358" y="208"/>
                </a:lnTo>
                <a:lnTo>
                  <a:pt x="359" y="207"/>
                </a:lnTo>
                <a:lnTo>
                  <a:pt x="362" y="210"/>
                </a:lnTo>
                <a:lnTo>
                  <a:pt x="364" y="213"/>
                </a:lnTo>
                <a:lnTo>
                  <a:pt x="366" y="221"/>
                </a:lnTo>
                <a:lnTo>
                  <a:pt x="365" y="228"/>
                </a:lnTo>
                <a:lnTo>
                  <a:pt x="360" y="233"/>
                </a:lnTo>
                <a:lnTo>
                  <a:pt x="355" y="236"/>
                </a:lnTo>
                <a:lnTo>
                  <a:pt x="351" y="242"/>
                </a:lnTo>
                <a:lnTo>
                  <a:pt x="348" y="247"/>
                </a:lnTo>
                <a:lnTo>
                  <a:pt x="346" y="248"/>
                </a:lnTo>
                <a:lnTo>
                  <a:pt x="345" y="248"/>
                </a:lnTo>
                <a:lnTo>
                  <a:pt x="344" y="247"/>
                </a:lnTo>
                <a:lnTo>
                  <a:pt x="342" y="247"/>
                </a:lnTo>
                <a:lnTo>
                  <a:pt x="339" y="251"/>
                </a:lnTo>
                <a:lnTo>
                  <a:pt x="331" y="255"/>
                </a:lnTo>
                <a:lnTo>
                  <a:pt x="328" y="254"/>
                </a:lnTo>
                <a:lnTo>
                  <a:pt x="328" y="249"/>
                </a:lnTo>
                <a:lnTo>
                  <a:pt x="327" y="250"/>
                </a:lnTo>
                <a:lnTo>
                  <a:pt x="324" y="255"/>
                </a:lnTo>
                <a:lnTo>
                  <a:pt x="321" y="257"/>
                </a:lnTo>
                <a:lnTo>
                  <a:pt x="319" y="257"/>
                </a:lnTo>
                <a:lnTo>
                  <a:pt x="316" y="255"/>
                </a:lnTo>
                <a:lnTo>
                  <a:pt x="306" y="265"/>
                </a:lnTo>
                <a:lnTo>
                  <a:pt x="298" y="266"/>
                </a:lnTo>
                <a:lnTo>
                  <a:pt x="295" y="265"/>
                </a:lnTo>
                <a:lnTo>
                  <a:pt x="295" y="260"/>
                </a:lnTo>
                <a:lnTo>
                  <a:pt x="300" y="253"/>
                </a:lnTo>
                <a:lnTo>
                  <a:pt x="305" y="248"/>
                </a:lnTo>
                <a:lnTo>
                  <a:pt x="321" y="244"/>
                </a:lnTo>
                <a:lnTo>
                  <a:pt x="331" y="229"/>
                </a:lnTo>
                <a:lnTo>
                  <a:pt x="333" y="213"/>
                </a:lnTo>
                <a:lnTo>
                  <a:pt x="335" y="207"/>
                </a:lnTo>
                <a:lnTo>
                  <a:pt x="334" y="204"/>
                </a:lnTo>
                <a:lnTo>
                  <a:pt x="332" y="203"/>
                </a:lnTo>
                <a:lnTo>
                  <a:pt x="332" y="198"/>
                </a:lnTo>
                <a:lnTo>
                  <a:pt x="333" y="192"/>
                </a:lnTo>
                <a:lnTo>
                  <a:pt x="338" y="185"/>
                </a:lnTo>
                <a:lnTo>
                  <a:pt x="341" y="181"/>
                </a:lnTo>
                <a:lnTo>
                  <a:pt x="346" y="172"/>
                </a:lnTo>
                <a:lnTo>
                  <a:pt x="348" y="170"/>
                </a:lnTo>
                <a:lnTo>
                  <a:pt x="351" y="170"/>
                </a:lnTo>
                <a:lnTo>
                  <a:pt x="353" y="172"/>
                </a:lnTo>
                <a:lnTo>
                  <a:pt x="353" y="177"/>
                </a:lnTo>
                <a:lnTo>
                  <a:pt x="349" y="186"/>
                </a:lnTo>
                <a:lnTo>
                  <a:pt x="343" y="194"/>
                </a:lnTo>
                <a:lnTo>
                  <a:pt x="344" y="200"/>
                </a:lnTo>
                <a:lnTo>
                  <a:pt x="346" y="204"/>
                </a:lnTo>
                <a:lnTo>
                  <a:pt x="347" y="212"/>
                </a:lnTo>
                <a:lnTo>
                  <a:pt x="347" y="219"/>
                </a:lnTo>
                <a:lnTo>
                  <a:pt x="342" y="229"/>
                </a:lnTo>
                <a:lnTo>
                  <a:pt x="342" y="234"/>
                </a:lnTo>
                <a:close/>
                <a:moveTo>
                  <a:pt x="324" y="201"/>
                </a:moveTo>
                <a:lnTo>
                  <a:pt x="324" y="201"/>
                </a:lnTo>
                <a:lnTo>
                  <a:pt x="328" y="210"/>
                </a:lnTo>
                <a:lnTo>
                  <a:pt x="330" y="215"/>
                </a:lnTo>
                <a:lnTo>
                  <a:pt x="329" y="224"/>
                </a:lnTo>
                <a:lnTo>
                  <a:pt x="325" y="229"/>
                </a:lnTo>
                <a:lnTo>
                  <a:pt x="319" y="230"/>
                </a:lnTo>
                <a:lnTo>
                  <a:pt x="314" y="230"/>
                </a:lnTo>
                <a:lnTo>
                  <a:pt x="312" y="227"/>
                </a:lnTo>
                <a:lnTo>
                  <a:pt x="311" y="225"/>
                </a:lnTo>
                <a:lnTo>
                  <a:pt x="310" y="224"/>
                </a:lnTo>
                <a:lnTo>
                  <a:pt x="306" y="227"/>
                </a:lnTo>
                <a:lnTo>
                  <a:pt x="303" y="228"/>
                </a:lnTo>
                <a:lnTo>
                  <a:pt x="299" y="225"/>
                </a:lnTo>
                <a:lnTo>
                  <a:pt x="298" y="221"/>
                </a:lnTo>
                <a:lnTo>
                  <a:pt x="302" y="216"/>
                </a:lnTo>
                <a:lnTo>
                  <a:pt x="304" y="212"/>
                </a:lnTo>
                <a:lnTo>
                  <a:pt x="308" y="212"/>
                </a:lnTo>
                <a:lnTo>
                  <a:pt x="309" y="213"/>
                </a:lnTo>
                <a:lnTo>
                  <a:pt x="312" y="214"/>
                </a:lnTo>
                <a:lnTo>
                  <a:pt x="313" y="209"/>
                </a:lnTo>
                <a:lnTo>
                  <a:pt x="313" y="206"/>
                </a:lnTo>
                <a:lnTo>
                  <a:pt x="314" y="204"/>
                </a:lnTo>
                <a:lnTo>
                  <a:pt x="319" y="205"/>
                </a:lnTo>
                <a:lnTo>
                  <a:pt x="319" y="196"/>
                </a:lnTo>
                <a:lnTo>
                  <a:pt x="321" y="195"/>
                </a:lnTo>
                <a:lnTo>
                  <a:pt x="322" y="196"/>
                </a:lnTo>
                <a:lnTo>
                  <a:pt x="323" y="198"/>
                </a:lnTo>
                <a:lnTo>
                  <a:pt x="324" y="201"/>
                </a:lnTo>
                <a:close/>
                <a:moveTo>
                  <a:pt x="283" y="259"/>
                </a:moveTo>
                <a:lnTo>
                  <a:pt x="283" y="259"/>
                </a:lnTo>
                <a:lnTo>
                  <a:pt x="285" y="260"/>
                </a:lnTo>
                <a:lnTo>
                  <a:pt x="289" y="260"/>
                </a:lnTo>
                <a:lnTo>
                  <a:pt x="290" y="260"/>
                </a:lnTo>
                <a:lnTo>
                  <a:pt x="290" y="263"/>
                </a:lnTo>
                <a:lnTo>
                  <a:pt x="288" y="265"/>
                </a:lnTo>
                <a:lnTo>
                  <a:pt x="283" y="267"/>
                </a:lnTo>
                <a:lnTo>
                  <a:pt x="281" y="271"/>
                </a:lnTo>
                <a:lnTo>
                  <a:pt x="280" y="272"/>
                </a:lnTo>
                <a:lnTo>
                  <a:pt x="276" y="272"/>
                </a:lnTo>
                <a:lnTo>
                  <a:pt x="274" y="273"/>
                </a:lnTo>
                <a:lnTo>
                  <a:pt x="271" y="277"/>
                </a:lnTo>
                <a:lnTo>
                  <a:pt x="269" y="274"/>
                </a:lnTo>
                <a:lnTo>
                  <a:pt x="268" y="276"/>
                </a:lnTo>
                <a:lnTo>
                  <a:pt x="268" y="279"/>
                </a:lnTo>
                <a:lnTo>
                  <a:pt x="266" y="280"/>
                </a:lnTo>
                <a:lnTo>
                  <a:pt x="263" y="281"/>
                </a:lnTo>
                <a:lnTo>
                  <a:pt x="262" y="274"/>
                </a:lnTo>
                <a:lnTo>
                  <a:pt x="264" y="271"/>
                </a:lnTo>
                <a:lnTo>
                  <a:pt x="265" y="268"/>
                </a:lnTo>
                <a:lnTo>
                  <a:pt x="267" y="267"/>
                </a:lnTo>
                <a:lnTo>
                  <a:pt x="269" y="267"/>
                </a:lnTo>
                <a:lnTo>
                  <a:pt x="272" y="260"/>
                </a:lnTo>
                <a:lnTo>
                  <a:pt x="277" y="258"/>
                </a:lnTo>
                <a:lnTo>
                  <a:pt x="280" y="258"/>
                </a:lnTo>
                <a:lnTo>
                  <a:pt x="283" y="259"/>
                </a:lnTo>
                <a:close/>
                <a:moveTo>
                  <a:pt x="255" y="292"/>
                </a:moveTo>
                <a:lnTo>
                  <a:pt x="255" y="292"/>
                </a:lnTo>
                <a:lnTo>
                  <a:pt x="250" y="296"/>
                </a:lnTo>
                <a:lnTo>
                  <a:pt x="252" y="288"/>
                </a:lnTo>
                <a:lnTo>
                  <a:pt x="254" y="280"/>
                </a:lnTo>
                <a:lnTo>
                  <a:pt x="258" y="275"/>
                </a:lnTo>
                <a:lnTo>
                  <a:pt x="259" y="277"/>
                </a:lnTo>
                <a:lnTo>
                  <a:pt x="259" y="281"/>
                </a:lnTo>
                <a:lnTo>
                  <a:pt x="259" y="285"/>
                </a:lnTo>
                <a:lnTo>
                  <a:pt x="258" y="287"/>
                </a:lnTo>
                <a:lnTo>
                  <a:pt x="255" y="292"/>
                </a:lnTo>
                <a:close/>
                <a:moveTo>
                  <a:pt x="237" y="437"/>
                </a:moveTo>
                <a:lnTo>
                  <a:pt x="237" y="437"/>
                </a:lnTo>
                <a:lnTo>
                  <a:pt x="235" y="438"/>
                </a:lnTo>
                <a:lnTo>
                  <a:pt x="235" y="434"/>
                </a:lnTo>
                <a:lnTo>
                  <a:pt x="237" y="431"/>
                </a:lnTo>
                <a:lnTo>
                  <a:pt x="238" y="429"/>
                </a:lnTo>
                <a:lnTo>
                  <a:pt x="239" y="426"/>
                </a:lnTo>
                <a:lnTo>
                  <a:pt x="241" y="424"/>
                </a:lnTo>
                <a:lnTo>
                  <a:pt x="244" y="427"/>
                </a:lnTo>
                <a:lnTo>
                  <a:pt x="244" y="431"/>
                </a:lnTo>
                <a:lnTo>
                  <a:pt x="242" y="435"/>
                </a:lnTo>
                <a:lnTo>
                  <a:pt x="237" y="437"/>
                </a:lnTo>
                <a:close/>
                <a:moveTo>
                  <a:pt x="240" y="448"/>
                </a:moveTo>
                <a:lnTo>
                  <a:pt x="240" y="448"/>
                </a:lnTo>
                <a:lnTo>
                  <a:pt x="238" y="448"/>
                </a:lnTo>
                <a:lnTo>
                  <a:pt x="238" y="445"/>
                </a:lnTo>
                <a:lnTo>
                  <a:pt x="239" y="442"/>
                </a:lnTo>
                <a:lnTo>
                  <a:pt x="241" y="441"/>
                </a:lnTo>
                <a:lnTo>
                  <a:pt x="244" y="440"/>
                </a:lnTo>
                <a:lnTo>
                  <a:pt x="248" y="440"/>
                </a:lnTo>
                <a:lnTo>
                  <a:pt x="249" y="441"/>
                </a:lnTo>
                <a:lnTo>
                  <a:pt x="247" y="443"/>
                </a:lnTo>
                <a:lnTo>
                  <a:pt x="240" y="448"/>
                </a:lnTo>
                <a:close/>
                <a:moveTo>
                  <a:pt x="223" y="469"/>
                </a:moveTo>
                <a:lnTo>
                  <a:pt x="223" y="469"/>
                </a:lnTo>
                <a:lnTo>
                  <a:pt x="221" y="471"/>
                </a:lnTo>
                <a:lnTo>
                  <a:pt x="217" y="471"/>
                </a:lnTo>
                <a:lnTo>
                  <a:pt x="217" y="469"/>
                </a:lnTo>
                <a:lnTo>
                  <a:pt x="218" y="465"/>
                </a:lnTo>
                <a:lnTo>
                  <a:pt x="220" y="463"/>
                </a:lnTo>
                <a:lnTo>
                  <a:pt x="223" y="463"/>
                </a:lnTo>
                <a:lnTo>
                  <a:pt x="224" y="465"/>
                </a:lnTo>
                <a:lnTo>
                  <a:pt x="223" y="469"/>
                </a:lnTo>
                <a:close/>
                <a:moveTo>
                  <a:pt x="200" y="526"/>
                </a:moveTo>
                <a:lnTo>
                  <a:pt x="200" y="526"/>
                </a:lnTo>
                <a:lnTo>
                  <a:pt x="199" y="528"/>
                </a:lnTo>
                <a:lnTo>
                  <a:pt x="195" y="526"/>
                </a:lnTo>
                <a:lnTo>
                  <a:pt x="188" y="527"/>
                </a:lnTo>
                <a:lnTo>
                  <a:pt x="185" y="525"/>
                </a:lnTo>
                <a:lnTo>
                  <a:pt x="187" y="521"/>
                </a:lnTo>
                <a:lnTo>
                  <a:pt x="194" y="517"/>
                </a:lnTo>
                <a:lnTo>
                  <a:pt x="197" y="518"/>
                </a:lnTo>
                <a:lnTo>
                  <a:pt x="201" y="523"/>
                </a:lnTo>
                <a:lnTo>
                  <a:pt x="200" y="526"/>
                </a:lnTo>
                <a:close/>
                <a:moveTo>
                  <a:pt x="114" y="612"/>
                </a:moveTo>
                <a:lnTo>
                  <a:pt x="114" y="612"/>
                </a:lnTo>
                <a:lnTo>
                  <a:pt x="111" y="612"/>
                </a:lnTo>
                <a:lnTo>
                  <a:pt x="109" y="610"/>
                </a:lnTo>
                <a:lnTo>
                  <a:pt x="114" y="607"/>
                </a:lnTo>
                <a:lnTo>
                  <a:pt x="122" y="604"/>
                </a:lnTo>
                <a:lnTo>
                  <a:pt x="122" y="602"/>
                </a:lnTo>
                <a:lnTo>
                  <a:pt x="123" y="602"/>
                </a:lnTo>
                <a:lnTo>
                  <a:pt x="125" y="604"/>
                </a:lnTo>
                <a:lnTo>
                  <a:pt x="125" y="608"/>
                </a:lnTo>
                <a:lnTo>
                  <a:pt x="124" y="609"/>
                </a:lnTo>
                <a:lnTo>
                  <a:pt x="114" y="612"/>
                </a:lnTo>
                <a:close/>
                <a:moveTo>
                  <a:pt x="103" y="635"/>
                </a:moveTo>
                <a:lnTo>
                  <a:pt x="103" y="635"/>
                </a:lnTo>
                <a:lnTo>
                  <a:pt x="100" y="635"/>
                </a:lnTo>
                <a:lnTo>
                  <a:pt x="96" y="634"/>
                </a:lnTo>
                <a:lnTo>
                  <a:pt x="94" y="631"/>
                </a:lnTo>
                <a:lnTo>
                  <a:pt x="93" y="629"/>
                </a:lnTo>
                <a:lnTo>
                  <a:pt x="98" y="627"/>
                </a:lnTo>
                <a:lnTo>
                  <a:pt x="102" y="625"/>
                </a:lnTo>
                <a:lnTo>
                  <a:pt x="104" y="628"/>
                </a:lnTo>
                <a:lnTo>
                  <a:pt x="104" y="633"/>
                </a:lnTo>
                <a:lnTo>
                  <a:pt x="103" y="635"/>
                </a:lnTo>
                <a:close/>
                <a:moveTo>
                  <a:pt x="5" y="785"/>
                </a:moveTo>
                <a:lnTo>
                  <a:pt x="5" y="785"/>
                </a:lnTo>
                <a:lnTo>
                  <a:pt x="2" y="786"/>
                </a:lnTo>
                <a:lnTo>
                  <a:pt x="0" y="785"/>
                </a:lnTo>
                <a:lnTo>
                  <a:pt x="1" y="779"/>
                </a:lnTo>
                <a:lnTo>
                  <a:pt x="2" y="778"/>
                </a:lnTo>
                <a:lnTo>
                  <a:pt x="3" y="778"/>
                </a:lnTo>
                <a:lnTo>
                  <a:pt x="5" y="781"/>
                </a:lnTo>
                <a:lnTo>
                  <a:pt x="5" y="785"/>
                </a:lnTo>
                <a:close/>
                <a:moveTo>
                  <a:pt x="9" y="835"/>
                </a:moveTo>
                <a:lnTo>
                  <a:pt x="9" y="835"/>
                </a:lnTo>
                <a:lnTo>
                  <a:pt x="9" y="842"/>
                </a:lnTo>
                <a:lnTo>
                  <a:pt x="6" y="842"/>
                </a:lnTo>
                <a:lnTo>
                  <a:pt x="5" y="839"/>
                </a:lnTo>
                <a:lnTo>
                  <a:pt x="4" y="837"/>
                </a:lnTo>
                <a:lnTo>
                  <a:pt x="4" y="833"/>
                </a:lnTo>
                <a:lnTo>
                  <a:pt x="4" y="828"/>
                </a:lnTo>
                <a:lnTo>
                  <a:pt x="5" y="826"/>
                </a:lnTo>
                <a:lnTo>
                  <a:pt x="6" y="826"/>
                </a:lnTo>
                <a:lnTo>
                  <a:pt x="8" y="83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2" name="Sweden">
            <a:extLst>
              <a:ext uri="{FF2B5EF4-FFF2-40B4-BE49-F238E27FC236}">
                <a16:creationId xmlns:a16="http://schemas.microsoft.com/office/drawing/2014/main" id="{B4169B69-5572-4B4F-A96B-55BCFF11DD84}"/>
              </a:ext>
            </a:extLst>
          </p:cNvPr>
          <p:cNvSpPr>
            <a:spLocks noEditPoints="1"/>
          </p:cNvSpPr>
          <p:nvPr/>
        </p:nvSpPr>
        <p:spPr bwMode="auto">
          <a:xfrm>
            <a:off x="6174859" y="2232105"/>
            <a:ext cx="364732" cy="610652"/>
          </a:xfrm>
          <a:custGeom>
            <a:avLst/>
            <a:gdLst>
              <a:gd name="T0" fmla="*/ 367 w 405"/>
              <a:gd name="T1" fmla="*/ 264 h 932"/>
              <a:gd name="T2" fmla="*/ 346 w 405"/>
              <a:gd name="T3" fmla="*/ 276 h 932"/>
              <a:gd name="T4" fmla="*/ 335 w 405"/>
              <a:gd name="T5" fmla="*/ 290 h 932"/>
              <a:gd name="T6" fmla="*/ 325 w 405"/>
              <a:gd name="T7" fmla="*/ 304 h 932"/>
              <a:gd name="T8" fmla="*/ 313 w 405"/>
              <a:gd name="T9" fmla="*/ 332 h 932"/>
              <a:gd name="T10" fmla="*/ 308 w 405"/>
              <a:gd name="T11" fmla="*/ 382 h 932"/>
              <a:gd name="T12" fmla="*/ 263 w 405"/>
              <a:gd name="T13" fmla="*/ 431 h 932"/>
              <a:gd name="T14" fmla="*/ 240 w 405"/>
              <a:gd name="T15" fmla="*/ 450 h 932"/>
              <a:gd name="T16" fmla="*/ 223 w 405"/>
              <a:gd name="T17" fmla="*/ 465 h 932"/>
              <a:gd name="T18" fmla="*/ 216 w 405"/>
              <a:gd name="T19" fmla="*/ 476 h 932"/>
              <a:gd name="T20" fmla="*/ 214 w 405"/>
              <a:gd name="T21" fmla="*/ 490 h 932"/>
              <a:gd name="T22" fmla="*/ 194 w 405"/>
              <a:gd name="T23" fmla="*/ 504 h 932"/>
              <a:gd name="T24" fmla="*/ 195 w 405"/>
              <a:gd name="T25" fmla="*/ 550 h 932"/>
              <a:gd name="T26" fmla="*/ 188 w 405"/>
              <a:gd name="T27" fmla="*/ 578 h 932"/>
              <a:gd name="T28" fmla="*/ 200 w 405"/>
              <a:gd name="T29" fmla="*/ 621 h 932"/>
              <a:gd name="T30" fmla="*/ 226 w 405"/>
              <a:gd name="T31" fmla="*/ 640 h 932"/>
              <a:gd name="T32" fmla="*/ 241 w 405"/>
              <a:gd name="T33" fmla="*/ 677 h 932"/>
              <a:gd name="T34" fmla="*/ 208 w 405"/>
              <a:gd name="T35" fmla="*/ 699 h 932"/>
              <a:gd name="T36" fmla="*/ 184 w 405"/>
              <a:gd name="T37" fmla="*/ 688 h 932"/>
              <a:gd name="T38" fmla="*/ 170 w 405"/>
              <a:gd name="T39" fmla="*/ 695 h 932"/>
              <a:gd name="T40" fmla="*/ 213 w 405"/>
              <a:gd name="T41" fmla="*/ 702 h 932"/>
              <a:gd name="T42" fmla="*/ 229 w 405"/>
              <a:gd name="T43" fmla="*/ 705 h 932"/>
              <a:gd name="T44" fmla="*/ 196 w 405"/>
              <a:gd name="T45" fmla="*/ 731 h 932"/>
              <a:gd name="T46" fmla="*/ 172 w 405"/>
              <a:gd name="T47" fmla="*/ 746 h 932"/>
              <a:gd name="T48" fmla="*/ 168 w 405"/>
              <a:gd name="T49" fmla="*/ 793 h 932"/>
              <a:gd name="T50" fmla="*/ 165 w 405"/>
              <a:gd name="T51" fmla="*/ 844 h 932"/>
              <a:gd name="T52" fmla="*/ 136 w 405"/>
              <a:gd name="T53" fmla="*/ 886 h 932"/>
              <a:gd name="T54" fmla="*/ 97 w 405"/>
              <a:gd name="T55" fmla="*/ 902 h 932"/>
              <a:gd name="T56" fmla="*/ 56 w 405"/>
              <a:gd name="T57" fmla="*/ 925 h 932"/>
              <a:gd name="T58" fmla="*/ 42 w 405"/>
              <a:gd name="T59" fmla="*/ 880 h 932"/>
              <a:gd name="T60" fmla="*/ 54 w 405"/>
              <a:gd name="T61" fmla="*/ 862 h 932"/>
              <a:gd name="T62" fmla="*/ 22 w 405"/>
              <a:gd name="T63" fmla="*/ 801 h 932"/>
              <a:gd name="T64" fmla="*/ 3 w 405"/>
              <a:gd name="T65" fmla="*/ 754 h 932"/>
              <a:gd name="T66" fmla="*/ 12 w 405"/>
              <a:gd name="T67" fmla="*/ 729 h 932"/>
              <a:gd name="T68" fmla="*/ 24 w 405"/>
              <a:gd name="T69" fmla="*/ 669 h 932"/>
              <a:gd name="T70" fmla="*/ 45 w 405"/>
              <a:gd name="T71" fmla="*/ 633 h 932"/>
              <a:gd name="T72" fmla="*/ 50 w 405"/>
              <a:gd name="T73" fmla="*/ 587 h 932"/>
              <a:gd name="T74" fmla="*/ 35 w 405"/>
              <a:gd name="T75" fmla="*/ 521 h 932"/>
              <a:gd name="T76" fmla="*/ 31 w 405"/>
              <a:gd name="T77" fmla="*/ 459 h 932"/>
              <a:gd name="T78" fmla="*/ 57 w 405"/>
              <a:gd name="T79" fmla="*/ 392 h 932"/>
              <a:gd name="T80" fmla="*/ 91 w 405"/>
              <a:gd name="T81" fmla="*/ 362 h 932"/>
              <a:gd name="T82" fmla="*/ 108 w 405"/>
              <a:gd name="T83" fmla="*/ 264 h 932"/>
              <a:gd name="T84" fmla="*/ 137 w 405"/>
              <a:gd name="T85" fmla="*/ 205 h 932"/>
              <a:gd name="T86" fmla="*/ 160 w 405"/>
              <a:gd name="T87" fmla="*/ 128 h 932"/>
              <a:gd name="T88" fmla="*/ 217 w 405"/>
              <a:gd name="T89" fmla="*/ 77 h 932"/>
              <a:gd name="T90" fmla="*/ 253 w 405"/>
              <a:gd name="T91" fmla="*/ 49 h 932"/>
              <a:gd name="T92" fmla="*/ 286 w 405"/>
              <a:gd name="T93" fmla="*/ 16 h 932"/>
              <a:gd name="T94" fmla="*/ 313 w 405"/>
              <a:gd name="T95" fmla="*/ 18 h 932"/>
              <a:gd name="T96" fmla="*/ 362 w 405"/>
              <a:gd name="T97" fmla="*/ 55 h 932"/>
              <a:gd name="T98" fmla="*/ 385 w 405"/>
              <a:gd name="T99" fmla="*/ 99 h 932"/>
              <a:gd name="T100" fmla="*/ 386 w 405"/>
              <a:gd name="T101" fmla="*/ 133 h 932"/>
              <a:gd name="T102" fmla="*/ 393 w 405"/>
              <a:gd name="T103" fmla="*/ 169 h 932"/>
              <a:gd name="T104" fmla="*/ 391 w 405"/>
              <a:gd name="T105" fmla="*/ 211 h 932"/>
              <a:gd name="T106" fmla="*/ 405 w 405"/>
              <a:gd name="T107" fmla="*/ 263 h 932"/>
              <a:gd name="T108" fmla="*/ 233 w 405"/>
              <a:gd name="T109" fmla="*/ 692 h 932"/>
              <a:gd name="T110" fmla="*/ 226 w 405"/>
              <a:gd name="T111" fmla="*/ 720 h 932"/>
              <a:gd name="T112" fmla="*/ 247 w 405"/>
              <a:gd name="T113" fmla="*/ 791 h 932"/>
              <a:gd name="T114" fmla="*/ 237 w 405"/>
              <a:gd name="T115" fmla="*/ 821 h 932"/>
              <a:gd name="T116" fmla="*/ 220 w 405"/>
              <a:gd name="T117" fmla="*/ 832 h 932"/>
              <a:gd name="T118" fmla="*/ 236 w 405"/>
              <a:gd name="T119" fmla="*/ 790 h 932"/>
              <a:gd name="T120" fmla="*/ 164 w 405"/>
              <a:gd name="T121" fmla="*/ 879 h 932"/>
              <a:gd name="T122" fmla="*/ 185 w 405"/>
              <a:gd name="T123" fmla="*/ 821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932">
                <a:moveTo>
                  <a:pt x="405" y="263"/>
                </a:moveTo>
                <a:lnTo>
                  <a:pt x="405" y="263"/>
                </a:lnTo>
                <a:lnTo>
                  <a:pt x="397" y="264"/>
                </a:lnTo>
                <a:lnTo>
                  <a:pt x="391" y="261"/>
                </a:lnTo>
                <a:lnTo>
                  <a:pt x="388" y="263"/>
                </a:lnTo>
                <a:lnTo>
                  <a:pt x="382" y="263"/>
                </a:lnTo>
                <a:lnTo>
                  <a:pt x="376" y="264"/>
                </a:lnTo>
                <a:lnTo>
                  <a:pt x="374" y="267"/>
                </a:lnTo>
                <a:lnTo>
                  <a:pt x="373" y="268"/>
                </a:lnTo>
                <a:lnTo>
                  <a:pt x="367" y="264"/>
                </a:lnTo>
                <a:lnTo>
                  <a:pt x="361" y="258"/>
                </a:lnTo>
                <a:lnTo>
                  <a:pt x="357" y="262"/>
                </a:lnTo>
                <a:lnTo>
                  <a:pt x="355" y="263"/>
                </a:lnTo>
                <a:lnTo>
                  <a:pt x="353" y="259"/>
                </a:lnTo>
                <a:lnTo>
                  <a:pt x="351" y="258"/>
                </a:lnTo>
                <a:lnTo>
                  <a:pt x="350" y="260"/>
                </a:lnTo>
                <a:lnTo>
                  <a:pt x="349" y="264"/>
                </a:lnTo>
                <a:lnTo>
                  <a:pt x="347" y="267"/>
                </a:lnTo>
                <a:lnTo>
                  <a:pt x="347" y="269"/>
                </a:lnTo>
                <a:lnTo>
                  <a:pt x="346" y="276"/>
                </a:lnTo>
                <a:lnTo>
                  <a:pt x="346" y="278"/>
                </a:lnTo>
                <a:lnTo>
                  <a:pt x="341" y="277"/>
                </a:lnTo>
                <a:lnTo>
                  <a:pt x="341" y="279"/>
                </a:lnTo>
                <a:lnTo>
                  <a:pt x="342" y="280"/>
                </a:lnTo>
                <a:lnTo>
                  <a:pt x="343" y="282"/>
                </a:lnTo>
                <a:lnTo>
                  <a:pt x="341" y="283"/>
                </a:lnTo>
                <a:lnTo>
                  <a:pt x="336" y="283"/>
                </a:lnTo>
                <a:lnTo>
                  <a:pt x="335" y="285"/>
                </a:lnTo>
                <a:lnTo>
                  <a:pt x="337" y="288"/>
                </a:lnTo>
                <a:lnTo>
                  <a:pt x="335" y="290"/>
                </a:lnTo>
                <a:lnTo>
                  <a:pt x="334" y="291"/>
                </a:lnTo>
                <a:lnTo>
                  <a:pt x="328" y="293"/>
                </a:lnTo>
                <a:lnTo>
                  <a:pt x="325" y="293"/>
                </a:lnTo>
                <a:lnTo>
                  <a:pt x="324" y="294"/>
                </a:lnTo>
                <a:lnTo>
                  <a:pt x="323" y="296"/>
                </a:lnTo>
                <a:lnTo>
                  <a:pt x="324" y="298"/>
                </a:lnTo>
                <a:lnTo>
                  <a:pt x="326" y="299"/>
                </a:lnTo>
                <a:lnTo>
                  <a:pt x="326" y="301"/>
                </a:lnTo>
                <a:lnTo>
                  <a:pt x="326" y="303"/>
                </a:lnTo>
                <a:lnTo>
                  <a:pt x="325" y="304"/>
                </a:lnTo>
                <a:lnTo>
                  <a:pt x="321" y="299"/>
                </a:lnTo>
                <a:lnTo>
                  <a:pt x="320" y="299"/>
                </a:lnTo>
                <a:lnTo>
                  <a:pt x="321" y="302"/>
                </a:lnTo>
                <a:lnTo>
                  <a:pt x="323" y="305"/>
                </a:lnTo>
                <a:lnTo>
                  <a:pt x="324" y="308"/>
                </a:lnTo>
                <a:lnTo>
                  <a:pt x="325" y="311"/>
                </a:lnTo>
                <a:lnTo>
                  <a:pt x="325" y="314"/>
                </a:lnTo>
                <a:lnTo>
                  <a:pt x="320" y="322"/>
                </a:lnTo>
                <a:lnTo>
                  <a:pt x="316" y="327"/>
                </a:lnTo>
                <a:lnTo>
                  <a:pt x="313" y="332"/>
                </a:lnTo>
                <a:lnTo>
                  <a:pt x="311" y="337"/>
                </a:lnTo>
                <a:lnTo>
                  <a:pt x="313" y="339"/>
                </a:lnTo>
                <a:lnTo>
                  <a:pt x="316" y="343"/>
                </a:lnTo>
                <a:lnTo>
                  <a:pt x="317" y="350"/>
                </a:lnTo>
                <a:lnTo>
                  <a:pt x="319" y="356"/>
                </a:lnTo>
                <a:lnTo>
                  <a:pt x="323" y="362"/>
                </a:lnTo>
                <a:lnTo>
                  <a:pt x="322" y="365"/>
                </a:lnTo>
                <a:lnTo>
                  <a:pt x="321" y="368"/>
                </a:lnTo>
                <a:lnTo>
                  <a:pt x="315" y="374"/>
                </a:lnTo>
                <a:lnTo>
                  <a:pt x="308" y="382"/>
                </a:lnTo>
                <a:lnTo>
                  <a:pt x="300" y="405"/>
                </a:lnTo>
                <a:lnTo>
                  <a:pt x="297" y="407"/>
                </a:lnTo>
                <a:lnTo>
                  <a:pt x="290" y="411"/>
                </a:lnTo>
                <a:lnTo>
                  <a:pt x="287" y="415"/>
                </a:lnTo>
                <a:lnTo>
                  <a:pt x="282" y="419"/>
                </a:lnTo>
                <a:lnTo>
                  <a:pt x="273" y="423"/>
                </a:lnTo>
                <a:lnTo>
                  <a:pt x="269" y="428"/>
                </a:lnTo>
                <a:lnTo>
                  <a:pt x="267" y="433"/>
                </a:lnTo>
                <a:lnTo>
                  <a:pt x="265" y="433"/>
                </a:lnTo>
                <a:lnTo>
                  <a:pt x="263" y="431"/>
                </a:lnTo>
                <a:lnTo>
                  <a:pt x="260" y="430"/>
                </a:lnTo>
                <a:lnTo>
                  <a:pt x="260" y="433"/>
                </a:lnTo>
                <a:lnTo>
                  <a:pt x="260" y="436"/>
                </a:lnTo>
                <a:lnTo>
                  <a:pt x="256" y="432"/>
                </a:lnTo>
                <a:lnTo>
                  <a:pt x="254" y="435"/>
                </a:lnTo>
                <a:lnTo>
                  <a:pt x="252" y="441"/>
                </a:lnTo>
                <a:lnTo>
                  <a:pt x="246" y="449"/>
                </a:lnTo>
                <a:lnTo>
                  <a:pt x="239" y="447"/>
                </a:lnTo>
                <a:lnTo>
                  <a:pt x="238" y="449"/>
                </a:lnTo>
                <a:lnTo>
                  <a:pt x="240" y="450"/>
                </a:lnTo>
                <a:lnTo>
                  <a:pt x="240" y="451"/>
                </a:lnTo>
                <a:lnTo>
                  <a:pt x="239" y="451"/>
                </a:lnTo>
                <a:lnTo>
                  <a:pt x="237" y="451"/>
                </a:lnTo>
                <a:lnTo>
                  <a:pt x="234" y="453"/>
                </a:lnTo>
                <a:lnTo>
                  <a:pt x="232" y="453"/>
                </a:lnTo>
                <a:lnTo>
                  <a:pt x="231" y="456"/>
                </a:lnTo>
                <a:lnTo>
                  <a:pt x="230" y="461"/>
                </a:lnTo>
                <a:lnTo>
                  <a:pt x="226" y="462"/>
                </a:lnTo>
                <a:lnTo>
                  <a:pt x="224" y="463"/>
                </a:lnTo>
                <a:lnTo>
                  <a:pt x="223" y="465"/>
                </a:lnTo>
                <a:lnTo>
                  <a:pt x="229" y="466"/>
                </a:lnTo>
                <a:lnTo>
                  <a:pt x="229" y="468"/>
                </a:lnTo>
                <a:lnTo>
                  <a:pt x="228" y="470"/>
                </a:lnTo>
                <a:lnTo>
                  <a:pt x="228" y="472"/>
                </a:lnTo>
                <a:lnTo>
                  <a:pt x="221" y="475"/>
                </a:lnTo>
                <a:lnTo>
                  <a:pt x="220" y="478"/>
                </a:lnTo>
                <a:lnTo>
                  <a:pt x="219" y="479"/>
                </a:lnTo>
                <a:lnTo>
                  <a:pt x="216" y="479"/>
                </a:lnTo>
                <a:lnTo>
                  <a:pt x="216" y="478"/>
                </a:lnTo>
                <a:lnTo>
                  <a:pt x="216" y="476"/>
                </a:lnTo>
                <a:lnTo>
                  <a:pt x="212" y="476"/>
                </a:lnTo>
                <a:lnTo>
                  <a:pt x="211" y="473"/>
                </a:lnTo>
                <a:lnTo>
                  <a:pt x="210" y="474"/>
                </a:lnTo>
                <a:lnTo>
                  <a:pt x="210" y="477"/>
                </a:lnTo>
                <a:lnTo>
                  <a:pt x="211" y="480"/>
                </a:lnTo>
                <a:lnTo>
                  <a:pt x="213" y="484"/>
                </a:lnTo>
                <a:lnTo>
                  <a:pt x="212" y="487"/>
                </a:lnTo>
                <a:lnTo>
                  <a:pt x="210" y="488"/>
                </a:lnTo>
                <a:lnTo>
                  <a:pt x="211" y="490"/>
                </a:lnTo>
                <a:lnTo>
                  <a:pt x="214" y="490"/>
                </a:lnTo>
                <a:lnTo>
                  <a:pt x="215" y="492"/>
                </a:lnTo>
                <a:lnTo>
                  <a:pt x="212" y="494"/>
                </a:lnTo>
                <a:lnTo>
                  <a:pt x="208" y="499"/>
                </a:lnTo>
                <a:lnTo>
                  <a:pt x="205" y="499"/>
                </a:lnTo>
                <a:lnTo>
                  <a:pt x="202" y="502"/>
                </a:lnTo>
                <a:lnTo>
                  <a:pt x="200" y="502"/>
                </a:lnTo>
                <a:lnTo>
                  <a:pt x="198" y="500"/>
                </a:lnTo>
                <a:lnTo>
                  <a:pt x="195" y="498"/>
                </a:lnTo>
                <a:lnTo>
                  <a:pt x="194" y="502"/>
                </a:lnTo>
                <a:lnTo>
                  <a:pt x="194" y="504"/>
                </a:lnTo>
                <a:lnTo>
                  <a:pt x="196" y="510"/>
                </a:lnTo>
                <a:lnTo>
                  <a:pt x="199" y="515"/>
                </a:lnTo>
                <a:lnTo>
                  <a:pt x="202" y="517"/>
                </a:lnTo>
                <a:lnTo>
                  <a:pt x="200" y="518"/>
                </a:lnTo>
                <a:lnTo>
                  <a:pt x="198" y="521"/>
                </a:lnTo>
                <a:lnTo>
                  <a:pt x="196" y="531"/>
                </a:lnTo>
                <a:lnTo>
                  <a:pt x="195" y="535"/>
                </a:lnTo>
                <a:lnTo>
                  <a:pt x="194" y="541"/>
                </a:lnTo>
                <a:lnTo>
                  <a:pt x="195" y="547"/>
                </a:lnTo>
                <a:lnTo>
                  <a:pt x="195" y="550"/>
                </a:lnTo>
                <a:lnTo>
                  <a:pt x="197" y="553"/>
                </a:lnTo>
                <a:lnTo>
                  <a:pt x="193" y="553"/>
                </a:lnTo>
                <a:lnTo>
                  <a:pt x="188" y="551"/>
                </a:lnTo>
                <a:lnTo>
                  <a:pt x="189" y="555"/>
                </a:lnTo>
                <a:lnTo>
                  <a:pt x="186" y="560"/>
                </a:lnTo>
                <a:lnTo>
                  <a:pt x="187" y="565"/>
                </a:lnTo>
                <a:lnTo>
                  <a:pt x="187" y="568"/>
                </a:lnTo>
                <a:lnTo>
                  <a:pt x="187" y="573"/>
                </a:lnTo>
                <a:lnTo>
                  <a:pt x="188" y="575"/>
                </a:lnTo>
                <a:lnTo>
                  <a:pt x="188" y="578"/>
                </a:lnTo>
                <a:lnTo>
                  <a:pt x="187" y="580"/>
                </a:lnTo>
                <a:lnTo>
                  <a:pt x="188" y="582"/>
                </a:lnTo>
                <a:lnTo>
                  <a:pt x="188" y="588"/>
                </a:lnTo>
                <a:lnTo>
                  <a:pt x="189" y="599"/>
                </a:lnTo>
                <a:lnTo>
                  <a:pt x="189" y="601"/>
                </a:lnTo>
                <a:lnTo>
                  <a:pt x="191" y="610"/>
                </a:lnTo>
                <a:lnTo>
                  <a:pt x="190" y="613"/>
                </a:lnTo>
                <a:lnTo>
                  <a:pt x="190" y="617"/>
                </a:lnTo>
                <a:lnTo>
                  <a:pt x="193" y="621"/>
                </a:lnTo>
                <a:lnTo>
                  <a:pt x="200" y="621"/>
                </a:lnTo>
                <a:lnTo>
                  <a:pt x="201" y="621"/>
                </a:lnTo>
                <a:lnTo>
                  <a:pt x="202" y="624"/>
                </a:lnTo>
                <a:lnTo>
                  <a:pt x="203" y="627"/>
                </a:lnTo>
                <a:lnTo>
                  <a:pt x="205" y="627"/>
                </a:lnTo>
                <a:lnTo>
                  <a:pt x="209" y="624"/>
                </a:lnTo>
                <a:lnTo>
                  <a:pt x="212" y="624"/>
                </a:lnTo>
                <a:lnTo>
                  <a:pt x="214" y="629"/>
                </a:lnTo>
                <a:lnTo>
                  <a:pt x="218" y="635"/>
                </a:lnTo>
                <a:lnTo>
                  <a:pt x="221" y="638"/>
                </a:lnTo>
                <a:lnTo>
                  <a:pt x="226" y="640"/>
                </a:lnTo>
                <a:lnTo>
                  <a:pt x="231" y="645"/>
                </a:lnTo>
                <a:lnTo>
                  <a:pt x="230" y="651"/>
                </a:lnTo>
                <a:lnTo>
                  <a:pt x="232" y="654"/>
                </a:lnTo>
                <a:lnTo>
                  <a:pt x="238" y="656"/>
                </a:lnTo>
                <a:lnTo>
                  <a:pt x="240" y="659"/>
                </a:lnTo>
                <a:lnTo>
                  <a:pt x="241" y="662"/>
                </a:lnTo>
                <a:lnTo>
                  <a:pt x="242" y="665"/>
                </a:lnTo>
                <a:lnTo>
                  <a:pt x="244" y="672"/>
                </a:lnTo>
                <a:lnTo>
                  <a:pt x="244" y="676"/>
                </a:lnTo>
                <a:lnTo>
                  <a:pt x="241" y="677"/>
                </a:lnTo>
                <a:lnTo>
                  <a:pt x="236" y="682"/>
                </a:lnTo>
                <a:lnTo>
                  <a:pt x="233" y="686"/>
                </a:lnTo>
                <a:lnTo>
                  <a:pt x="231" y="688"/>
                </a:lnTo>
                <a:lnTo>
                  <a:pt x="226" y="692"/>
                </a:lnTo>
                <a:lnTo>
                  <a:pt x="224" y="693"/>
                </a:lnTo>
                <a:lnTo>
                  <a:pt x="222" y="696"/>
                </a:lnTo>
                <a:lnTo>
                  <a:pt x="220" y="697"/>
                </a:lnTo>
                <a:lnTo>
                  <a:pt x="218" y="696"/>
                </a:lnTo>
                <a:lnTo>
                  <a:pt x="212" y="700"/>
                </a:lnTo>
                <a:lnTo>
                  <a:pt x="208" y="699"/>
                </a:lnTo>
                <a:lnTo>
                  <a:pt x="206" y="697"/>
                </a:lnTo>
                <a:lnTo>
                  <a:pt x="207" y="689"/>
                </a:lnTo>
                <a:lnTo>
                  <a:pt x="207" y="686"/>
                </a:lnTo>
                <a:lnTo>
                  <a:pt x="206" y="684"/>
                </a:lnTo>
                <a:lnTo>
                  <a:pt x="203" y="686"/>
                </a:lnTo>
                <a:lnTo>
                  <a:pt x="204" y="689"/>
                </a:lnTo>
                <a:lnTo>
                  <a:pt x="199" y="689"/>
                </a:lnTo>
                <a:lnTo>
                  <a:pt x="194" y="687"/>
                </a:lnTo>
                <a:lnTo>
                  <a:pt x="194" y="692"/>
                </a:lnTo>
                <a:lnTo>
                  <a:pt x="184" y="688"/>
                </a:lnTo>
                <a:lnTo>
                  <a:pt x="181" y="689"/>
                </a:lnTo>
                <a:lnTo>
                  <a:pt x="177" y="686"/>
                </a:lnTo>
                <a:lnTo>
                  <a:pt x="174" y="689"/>
                </a:lnTo>
                <a:lnTo>
                  <a:pt x="171" y="688"/>
                </a:lnTo>
                <a:lnTo>
                  <a:pt x="169" y="685"/>
                </a:lnTo>
                <a:lnTo>
                  <a:pt x="166" y="691"/>
                </a:lnTo>
                <a:lnTo>
                  <a:pt x="159" y="692"/>
                </a:lnTo>
                <a:lnTo>
                  <a:pt x="152" y="693"/>
                </a:lnTo>
                <a:lnTo>
                  <a:pt x="156" y="695"/>
                </a:lnTo>
                <a:lnTo>
                  <a:pt x="170" y="695"/>
                </a:lnTo>
                <a:lnTo>
                  <a:pt x="174" y="696"/>
                </a:lnTo>
                <a:lnTo>
                  <a:pt x="179" y="695"/>
                </a:lnTo>
                <a:lnTo>
                  <a:pt x="184" y="700"/>
                </a:lnTo>
                <a:lnTo>
                  <a:pt x="188" y="701"/>
                </a:lnTo>
                <a:lnTo>
                  <a:pt x="192" y="706"/>
                </a:lnTo>
                <a:lnTo>
                  <a:pt x="194" y="704"/>
                </a:lnTo>
                <a:lnTo>
                  <a:pt x="197" y="705"/>
                </a:lnTo>
                <a:lnTo>
                  <a:pt x="200" y="706"/>
                </a:lnTo>
                <a:lnTo>
                  <a:pt x="209" y="706"/>
                </a:lnTo>
                <a:lnTo>
                  <a:pt x="213" y="702"/>
                </a:lnTo>
                <a:lnTo>
                  <a:pt x="217" y="703"/>
                </a:lnTo>
                <a:lnTo>
                  <a:pt x="220" y="702"/>
                </a:lnTo>
                <a:lnTo>
                  <a:pt x="222" y="700"/>
                </a:lnTo>
                <a:lnTo>
                  <a:pt x="224" y="699"/>
                </a:lnTo>
                <a:lnTo>
                  <a:pt x="226" y="700"/>
                </a:lnTo>
                <a:lnTo>
                  <a:pt x="228" y="698"/>
                </a:lnTo>
                <a:lnTo>
                  <a:pt x="229" y="697"/>
                </a:lnTo>
                <a:lnTo>
                  <a:pt x="231" y="698"/>
                </a:lnTo>
                <a:lnTo>
                  <a:pt x="233" y="702"/>
                </a:lnTo>
                <a:lnTo>
                  <a:pt x="229" y="705"/>
                </a:lnTo>
                <a:lnTo>
                  <a:pt x="226" y="705"/>
                </a:lnTo>
                <a:lnTo>
                  <a:pt x="225" y="711"/>
                </a:lnTo>
                <a:lnTo>
                  <a:pt x="223" y="714"/>
                </a:lnTo>
                <a:lnTo>
                  <a:pt x="222" y="716"/>
                </a:lnTo>
                <a:lnTo>
                  <a:pt x="216" y="719"/>
                </a:lnTo>
                <a:lnTo>
                  <a:pt x="213" y="722"/>
                </a:lnTo>
                <a:lnTo>
                  <a:pt x="208" y="725"/>
                </a:lnTo>
                <a:lnTo>
                  <a:pt x="206" y="724"/>
                </a:lnTo>
                <a:lnTo>
                  <a:pt x="203" y="727"/>
                </a:lnTo>
                <a:lnTo>
                  <a:pt x="196" y="731"/>
                </a:lnTo>
                <a:lnTo>
                  <a:pt x="193" y="736"/>
                </a:lnTo>
                <a:lnTo>
                  <a:pt x="185" y="740"/>
                </a:lnTo>
                <a:lnTo>
                  <a:pt x="181" y="743"/>
                </a:lnTo>
                <a:lnTo>
                  <a:pt x="171" y="743"/>
                </a:lnTo>
                <a:lnTo>
                  <a:pt x="161" y="743"/>
                </a:lnTo>
                <a:lnTo>
                  <a:pt x="158" y="744"/>
                </a:lnTo>
                <a:lnTo>
                  <a:pt x="161" y="745"/>
                </a:lnTo>
                <a:lnTo>
                  <a:pt x="163" y="746"/>
                </a:lnTo>
                <a:lnTo>
                  <a:pt x="166" y="746"/>
                </a:lnTo>
                <a:lnTo>
                  <a:pt x="172" y="746"/>
                </a:lnTo>
                <a:lnTo>
                  <a:pt x="176" y="747"/>
                </a:lnTo>
                <a:lnTo>
                  <a:pt x="180" y="753"/>
                </a:lnTo>
                <a:lnTo>
                  <a:pt x="177" y="755"/>
                </a:lnTo>
                <a:lnTo>
                  <a:pt x="171" y="756"/>
                </a:lnTo>
                <a:lnTo>
                  <a:pt x="173" y="764"/>
                </a:lnTo>
                <a:lnTo>
                  <a:pt x="175" y="769"/>
                </a:lnTo>
                <a:lnTo>
                  <a:pt x="173" y="772"/>
                </a:lnTo>
                <a:lnTo>
                  <a:pt x="173" y="787"/>
                </a:lnTo>
                <a:lnTo>
                  <a:pt x="170" y="787"/>
                </a:lnTo>
                <a:lnTo>
                  <a:pt x="168" y="793"/>
                </a:lnTo>
                <a:lnTo>
                  <a:pt x="169" y="796"/>
                </a:lnTo>
                <a:lnTo>
                  <a:pt x="169" y="803"/>
                </a:lnTo>
                <a:lnTo>
                  <a:pt x="170" y="807"/>
                </a:lnTo>
                <a:lnTo>
                  <a:pt x="171" y="811"/>
                </a:lnTo>
                <a:lnTo>
                  <a:pt x="171" y="815"/>
                </a:lnTo>
                <a:lnTo>
                  <a:pt x="166" y="825"/>
                </a:lnTo>
                <a:lnTo>
                  <a:pt x="166" y="829"/>
                </a:lnTo>
                <a:lnTo>
                  <a:pt x="167" y="832"/>
                </a:lnTo>
                <a:lnTo>
                  <a:pt x="167" y="836"/>
                </a:lnTo>
                <a:lnTo>
                  <a:pt x="165" y="844"/>
                </a:lnTo>
                <a:lnTo>
                  <a:pt x="164" y="851"/>
                </a:lnTo>
                <a:lnTo>
                  <a:pt x="162" y="856"/>
                </a:lnTo>
                <a:lnTo>
                  <a:pt x="158" y="863"/>
                </a:lnTo>
                <a:lnTo>
                  <a:pt x="156" y="868"/>
                </a:lnTo>
                <a:lnTo>
                  <a:pt x="151" y="884"/>
                </a:lnTo>
                <a:lnTo>
                  <a:pt x="149" y="887"/>
                </a:lnTo>
                <a:lnTo>
                  <a:pt x="146" y="889"/>
                </a:lnTo>
                <a:lnTo>
                  <a:pt x="142" y="887"/>
                </a:lnTo>
                <a:lnTo>
                  <a:pt x="139" y="886"/>
                </a:lnTo>
                <a:lnTo>
                  <a:pt x="136" y="886"/>
                </a:lnTo>
                <a:lnTo>
                  <a:pt x="130" y="888"/>
                </a:lnTo>
                <a:lnTo>
                  <a:pt x="121" y="887"/>
                </a:lnTo>
                <a:lnTo>
                  <a:pt x="113" y="887"/>
                </a:lnTo>
                <a:lnTo>
                  <a:pt x="111" y="889"/>
                </a:lnTo>
                <a:lnTo>
                  <a:pt x="112" y="894"/>
                </a:lnTo>
                <a:lnTo>
                  <a:pt x="109" y="895"/>
                </a:lnTo>
                <a:lnTo>
                  <a:pt x="106" y="893"/>
                </a:lnTo>
                <a:lnTo>
                  <a:pt x="103" y="895"/>
                </a:lnTo>
                <a:lnTo>
                  <a:pt x="101" y="898"/>
                </a:lnTo>
                <a:lnTo>
                  <a:pt x="97" y="902"/>
                </a:lnTo>
                <a:lnTo>
                  <a:pt x="95" y="905"/>
                </a:lnTo>
                <a:lnTo>
                  <a:pt x="95" y="911"/>
                </a:lnTo>
                <a:lnTo>
                  <a:pt x="97" y="916"/>
                </a:lnTo>
                <a:lnTo>
                  <a:pt x="99" y="922"/>
                </a:lnTo>
                <a:lnTo>
                  <a:pt x="94" y="930"/>
                </a:lnTo>
                <a:lnTo>
                  <a:pt x="91" y="930"/>
                </a:lnTo>
                <a:lnTo>
                  <a:pt x="83" y="928"/>
                </a:lnTo>
                <a:lnTo>
                  <a:pt x="67" y="932"/>
                </a:lnTo>
                <a:lnTo>
                  <a:pt x="54" y="929"/>
                </a:lnTo>
                <a:lnTo>
                  <a:pt x="56" y="925"/>
                </a:lnTo>
                <a:lnTo>
                  <a:pt x="56" y="922"/>
                </a:lnTo>
                <a:lnTo>
                  <a:pt x="56" y="918"/>
                </a:lnTo>
                <a:lnTo>
                  <a:pt x="57" y="913"/>
                </a:lnTo>
                <a:lnTo>
                  <a:pt x="57" y="910"/>
                </a:lnTo>
                <a:lnTo>
                  <a:pt x="56" y="907"/>
                </a:lnTo>
                <a:lnTo>
                  <a:pt x="52" y="903"/>
                </a:lnTo>
                <a:lnTo>
                  <a:pt x="45" y="889"/>
                </a:lnTo>
                <a:lnTo>
                  <a:pt x="42" y="882"/>
                </a:lnTo>
                <a:lnTo>
                  <a:pt x="41" y="880"/>
                </a:lnTo>
                <a:lnTo>
                  <a:pt x="42" y="880"/>
                </a:lnTo>
                <a:lnTo>
                  <a:pt x="48" y="883"/>
                </a:lnTo>
                <a:lnTo>
                  <a:pt x="50" y="883"/>
                </a:lnTo>
                <a:lnTo>
                  <a:pt x="51" y="881"/>
                </a:lnTo>
                <a:lnTo>
                  <a:pt x="49" y="877"/>
                </a:lnTo>
                <a:lnTo>
                  <a:pt x="48" y="875"/>
                </a:lnTo>
                <a:lnTo>
                  <a:pt x="47" y="872"/>
                </a:lnTo>
                <a:lnTo>
                  <a:pt x="50" y="871"/>
                </a:lnTo>
                <a:lnTo>
                  <a:pt x="53" y="871"/>
                </a:lnTo>
                <a:lnTo>
                  <a:pt x="55" y="867"/>
                </a:lnTo>
                <a:lnTo>
                  <a:pt x="54" y="862"/>
                </a:lnTo>
                <a:lnTo>
                  <a:pt x="51" y="860"/>
                </a:lnTo>
                <a:lnTo>
                  <a:pt x="49" y="859"/>
                </a:lnTo>
                <a:lnTo>
                  <a:pt x="44" y="850"/>
                </a:lnTo>
                <a:lnTo>
                  <a:pt x="39" y="845"/>
                </a:lnTo>
                <a:lnTo>
                  <a:pt x="31" y="827"/>
                </a:lnTo>
                <a:lnTo>
                  <a:pt x="28" y="814"/>
                </a:lnTo>
                <a:lnTo>
                  <a:pt x="25" y="815"/>
                </a:lnTo>
                <a:lnTo>
                  <a:pt x="24" y="810"/>
                </a:lnTo>
                <a:lnTo>
                  <a:pt x="23" y="805"/>
                </a:lnTo>
                <a:lnTo>
                  <a:pt x="22" y="801"/>
                </a:lnTo>
                <a:lnTo>
                  <a:pt x="18" y="798"/>
                </a:lnTo>
                <a:lnTo>
                  <a:pt x="18" y="796"/>
                </a:lnTo>
                <a:lnTo>
                  <a:pt x="17" y="783"/>
                </a:lnTo>
                <a:lnTo>
                  <a:pt x="12" y="782"/>
                </a:lnTo>
                <a:lnTo>
                  <a:pt x="9" y="775"/>
                </a:lnTo>
                <a:lnTo>
                  <a:pt x="8" y="762"/>
                </a:lnTo>
                <a:lnTo>
                  <a:pt x="5" y="759"/>
                </a:lnTo>
                <a:lnTo>
                  <a:pt x="3" y="760"/>
                </a:lnTo>
                <a:lnTo>
                  <a:pt x="3" y="757"/>
                </a:lnTo>
                <a:lnTo>
                  <a:pt x="3" y="754"/>
                </a:lnTo>
                <a:lnTo>
                  <a:pt x="2" y="742"/>
                </a:lnTo>
                <a:lnTo>
                  <a:pt x="2" y="730"/>
                </a:lnTo>
                <a:lnTo>
                  <a:pt x="0" y="727"/>
                </a:lnTo>
                <a:lnTo>
                  <a:pt x="0" y="723"/>
                </a:lnTo>
                <a:lnTo>
                  <a:pt x="0" y="720"/>
                </a:lnTo>
                <a:lnTo>
                  <a:pt x="1" y="718"/>
                </a:lnTo>
                <a:lnTo>
                  <a:pt x="4" y="717"/>
                </a:lnTo>
                <a:lnTo>
                  <a:pt x="7" y="720"/>
                </a:lnTo>
                <a:lnTo>
                  <a:pt x="10" y="728"/>
                </a:lnTo>
                <a:lnTo>
                  <a:pt x="12" y="729"/>
                </a:lnTo>
                <a:lnTo>
                  <a:pt x="15" y="727"/>
                </a:lnTo>
                <a:lnTo>
                  <a:pt x="17" y="721"/>
                </a:lnTo>
                <a:lnTo>
                  <a:pt x="18" y="713"/>
                </a:lnTo>
                <a:lnTo>
                  <a:pt x="20" y="705"/>
                </a:lnTo>
                <a:lnTo>
                  <a:pt x="18" y="696"/>
                </a:lnTo>
                <a:lnTo>
                  <a:pt x="16" y="688"/>
                </a:lnTo>
                <a:lnTo>
                  <a:pt x="16" y="686"/>
                </a:lnTo>
                <a:lnTo>
                  <a:pt x="21" y="680"/>
                </a:lnTo>
                <a:lnTo>
                  <a:pt x="23" y="674"/>
                </a:lnTo>
                <a:lnTo>
                  <a:pt x="24" y="669"/>
                </a:lnTo>
                <a:lnTo>
                  <a:pt x="26" y="668"/>
                </a:lnTo>
                <a:lnTo>
                  <a:pt x="28" y="667"/>
                </a:lnTo>
                <a:lnTo>
                  <a:pt x="31" y="666"/>
                </a:lnTo>
                <a:lnTo>
                  <a:pt x="35" y="663"/>
                </a:lnTo>
                <a:lnTo>
                  <a:pt x="39" y="658"/>
                </a:lnTo>
                <a:lnTo>
                  <a:pt x="41" y="654"/>
                </a:lnTo>
                <a:lnTo>
                  <a:pt x="42" y="646"/>
                </a:lnTo>
                <a:lnTo>
                  <a:pt x="42" y="642"/>
                </a:lnTo>
                <a:lnTo>
                  <a:pt x="43" y="639"/>
                </a:lnTo>
                <a:lnTo>
                  <a:pt x="45" y="633"/>
                </a:lnTo>
                <a:lnTo>
                  <a:pt x="43" y="627"/>
                </a:lnTo>
                <a:lnTo>
                  <a:pt x="40" y="618"/>
                </a:lnTo>
                <a:lnTo>
                  <a:pt x="36" y="605"/>
                </a:lnTo>
                <a:lnTo>
                  <a:pt x="35" y="598"/>
                </a:lnTo>
                <a:lnTo>
                  <a:pt x="37" y="596"/>
                </a:lnTo>
                <a:lnTo>
                  <a:pt x="41" y="595"/>
                </a:lnTo>
                <a:lnTo>
                  <a:pt x="47" y="595"/>
                </a:lnTo>
                <a:lnTo>
                  <a:pt x="48" y="594"/>
                </a:lnTo>
                <a:lnTo>
                  <a:pt x="49" y="591"/>
                </a:lnTo>
                <a:lnTo>
                  <a:pt x="50" y="587"/>
                </a:lnTo>
                <a:lnTo>
                  <a:pt x="52" y="583"/>
                </a:lnTo>
                <a:lnTo>
                  <a:pt x="53" y="579"/>
                </a:lnTo>
                <a:lnTo>
                  <a:pt x="54" y="575"/>
                </a:lnTo>
                <a:lnTo>
                  <a:pt x="50" y="569"/>
                </a:lnTo>
                <a:lnTo>
                  <a:pt x="45" y="563"/>
                </a:lnTo>
                <a:lnTo>
                  <a:pt x="41" y="561"/>
                </a:lnTo>
                <a:lnTo>
                  <a:pt x="35" y="555"/>
                </a:lnTo>
                <a:lnTo>
                  <a:pt x="31" y="551"/>
                </a:lnTo>
                <a:lnTo>
                  <a:pt x="33" y="534"/>
                </a:lnTo>
                <a:lnTo>
                  <a:pt x="35" y="521"/>
                </a:lnTo>
                <a:lnTo>
                  <a:pt x="36" y="518"/>
                </a:lnTo>
                <a:lnTo>
                  <a:pt x="36" y="513"/>
                </a:lnTo>
                <a:lnTo>
                  <a:pt x="30" y="493"/>
                </a:lnTo>
                <a:lnTo>
                  <a:pt x="30" y="488"/>
                </a:lnTo>
                <a:lnTo>
                  <a:pt x="31" y="484"/>
                </a:lnTo>
                <a:lnTo>
                  <a:pt x="30" y="477"/>
                </a:lnTo>
                <a:lnTo>
                  <a:pt x="30" y="471"/>
                </a:lnTo>
                <a:lnTo>
                  <a:pt x="31" y="469"/>
                </a:lnTo>
                <a:lnTo>
                  <a:pt x="33" y="465"/>
                </a:lnTo>
                <a:lnTo>
                  <a:pt x="31" y="459"/>
                </a:lnTo>
                <a:lnTo>
                  <a:pt x="31" y="459"/>
                </a:lnTo>
                <a:lnTo>
                  <a:pt x="26" y="445"/>
                </a:lnTo>
                <a:lnTo>
                  <a:pt x="33" y="431"/>
                </a:lnTo>
                <a:lnTo>
                  <a:pt x="32" y="424"/>
                </a:lnTo>
                <a:lnTo>
                  <a:pt x="36" y="418"/>
                </a:lnTo>
                <a:lnTo>
                  <a:pt x="43" y="406"/>
                </a:lnTo>
                <a:lnTo>
                  <a:pt x="47" y="399"/>
                </a:lnTo>
                <a:lnTo>
                  <a:pt x="48" y="398"/>
                </a:lnTo>
                <a:lnTo>
                  <a:pt x="51" y="395"/>
                </a:lnTo>
                <a:lnTo>
                  <a:pt x="57" y="392"/>
                </a:lnTo>
                <a:lnTo>
                  <a:pt x="64" y="390"/>
                </a:lnTo>
                <a:lnTo>
                  <a:pt x="67" y="390"/>
                </a:lnTo>
                <a:lnTo>
                  <a:pt x="78" y="392"/>
                </a:lnTo>
                <a:lnTo>
                  <a:pt x="87" y="394"/>
                </a:lnTo>
                <a:lnTo>
                  <a:pt x="89" y="392"/>
                </a:lnTo>
                <a:lnTo>
                  <a:pt x="91" y="388"/>
                </a:lnTo>
                <a:lnTo>
                  <a:pt x="93" y="383"/>
                </a:lnTo>
                <a:lnTo>
                  <a:pt x="93" y="377"/>
                </a:lnTo>
                <a:lnTo>
                  <a:pt x="92" y="368"/>
                </a:lnTo>
                <a:lnTo>
                  <a:pt x="91" y="362"/>
                </a:lnTo>
                <a:lnTo>
                  <a:pt x="85" y="358"/>
                </a:lnTo>
                <a:lnTo>
                  <a:pt x="78" y="354"/>
                </a:lnTo>
                <a:lnTo>
                  <a:pt x="86" y="338"/>
                </a:lnTo>
                <a:lnTo>
                  <a:pt x="92" y="327"/>
                </a:lnTo>
                <a:lnTo>
                  <a:pt x="100" y="310"/>
                </a:lnTo>
                <a:lnTo>
                  <a:pt x="102" y="303"/>
                </a:lnTo>
                <a:lnTo>
                  <a:pt x="103" y="301"/>
                </a:lnTo>
                <a:lnTo>
                  <a:pt x="106" y="275"/>
                </a:lnTo>
                <a:lnTo>
                  <a:pt x="107" y="267"/>
                </a:lnTo>
                <a:lnTo>
                  <a:pt x="108" y="264"/>
                </a:lnTo>
                <a:lnTo>
                  <a:pt x="108" y="260"/>
                </a:lnTo>
                <a:lnTo>
                  <a:pt x="108" y="253"/>
                </a:lnTo>
                <a:lnTo>
                  <a:pt x="105" y="238"/>
                </a:lnTo>
                <a:lnTo>
                  <a:pt x="117" y="236"/>
                </a:lnTo>
                <a:lnTo>
                  <a:pt x="121" y="235"/>
                </a:lnTo>
                <a:lnTo>
                  <a:pt x="125" y="233"/>
                </a:lnTo>
                <a:lnTo>
                  <a:pt x="131" y="228"/>
                </a:lnTo>
                <a:lnTo>
                  <a:pt x="135" y="224"/>
                </a:lnTo>
                <a:lnTo>
                  <a:pt x="133" y="210"/>
                </a:lnTo>
                <a:lnTo>
                  <a:pt x="137" y="205"/>
                </a:lnTo>
                <a:lnTo>
                  <a:pt x="147" y="188"/>
                </a:lnTo>
                <a:lnTo>
                  <a:pt x="158" y="171"/>
                </a:lnTo>
                <a:lnTo>
                  <a:pt x="163" y="165"/>
                </a:lnTo>
                <a:lnTo>
                  <a:pt x="164" y="162"/>
                </a:lnTo>
                <a:lnTo>
                  <a:pt x="164" y="157"/>
                </a:lnTo>
                <a:lnTo>
                  <a:pt x="162" y="149"/>
                </a:lnTo>
                <a:lnTo>
                  <a:pt x="160" y="145"/>
                </a:lnTo>
                <a:lnTo>
                  <a:pt x="155" y="135"/>
                </a:lnTo>
                <a:lnTo>
                  <a:pt x="157" y="129"/>
                </a:lnTo>
                <a:lnTo>
                  <a:pt x="160" y="128"/>
                </a:lnTo>
                <a:lnTo>
                  <a:pt x="165" y="125"/>
                </a:lnTo>
                <a:lnTo>
                  <a:pt x="169" y="120"/>
                </a:lnTo>
                <a:lnTo>
                  <a:pt x="169" y="119"/>
                </a:lnTo>
                <a:lnTo>
                  <a:pt x="175" y="97"/>
                </a:lnTo>
                <a:lnTo>
                  <a:pt x="187" y="86"/>
                </a:lnTo>
                <a:lnTo>
                  <a:pt x="192" y="80"/>
                </a:lnTo>
                <a:lnTo>
                  <a:pt x="200" y="84"/>
                </a:lnTo>
                <a:lnTo>
                  <a:pt x="211" y="91"/>
                </a:lnTo>
                <a:lnTo>
                  <a:pt x="216" y="81"/>
                </a:lnTo>
                <a:lnTo>
                  <a:pt x="217" y="77"/>
                </a:lnTo>
                <a:lnTo>
                  <a:pt x="219" y="71"/>
                </a:lnTo>
                <a:lnTo>
                  <a:pt x="218" y="62"/>
                </a:lnTo>
                <a:lnTo>
                  <a:pt x="218" y="49"/>
                </a:lnTo>
                <a:lnTo>
                  <a:pt x="218" y="44"/>
                </a:lnTo>
                <a:lnTo>
                  <a:pt x="223" y="41"/>
                </a:lnTo>
                <a:lnTo>
                  <a:pt x="225" y="41"/>
                </a:lnTo>
                <a:lnTo>
                  <a:pt x="237" y="46"/>
                </a:lnTo>
                <a:lnTo>
                  <a:pt x="240" y="46"/>
                </a:lnTo>
                <a:lnTo>
                  <a:pt x="246" y="47"/>
                </a:lnTo>
                <a:lnTo>
                  <a:pt x="253" y="49"/>
                </a:lnTo>
                <a:lnTo>
                  <a:pt x="266" y="55"/>
                </a:lnTo>
                <a:lnTo>
                  <a:pt x="272" y="58"/>
                </a:lnTo>
                <a:lnTo>
                  <a:pt x="275" y="58"/>
                </a:lnTo>
                <a:lnTo>
                  <a:pt x="277" y="55"/>
                </a:lnTo>
                <a:lnTo>
                  <a:pt x="283" y="48"/>
                </a:lnTo>
                <a:lnTo>
                  <a:pt x="275" y="43"/>
                </a:lnTo>
                <a:lnTo>
                  <a:pt x="280" y="37"/>
                </a:lnTo>
                <a:lnTo>
                  <a:pt x="283" y="31"/>
                </a:lnTo>
                <a:lnTo>
                  <a:pt x="286" y="24"/>
                </a:lnTo>
                <a:lnTo>
                  <a:pt x="286" y="16"/>
                </a:lnTo>
                <a:lnTo>
                  <a:pt x="286" y="12"/>
                </a:lnTo>
                <a:lnTo>
                  <a:pt x="284" y="9"/>
                </a:lnTo>
                <a:lnTo>
                  <a:pt x="279" y="1"/>
                </a:lnTo>
                <a:lnTo>
                  <a:pt x="291" y="0"/>
                </a:lnTo>
                <a:lnTo>
                  <a:pt x="295" y="0"/>
                </a:lnTo>
                <a:lnTo>
                  <a:pt x="304" y="5"/>
                </a:lnTo>
                <a:lnTo>
                  <a:pt x="304" y="6"/>
                </a:lnTo>
                <a:lnTo>
                  <a:pt x="304" y="9"/>
                </a:lnTo>
                <a:lnTo>
                  <a:pt x="304" y="11"/>
                </a:lnTo>
                <a:lnTo>
                  <a:pt x="313" y="18"/>
                </a:lnTo>
                <a:lnTo>
                  <a:pt x="315" y="22"/>
                </a:lnTo>
                <a:lnTo>
                  <a:pt x="320" y="27"/>
                </a:lnTo>
                <a:lnTo>
                  <a:pt x="321" y="30"/>
                </a:lnTo>
                <a:lnTo>
                  <a:pt x="326" y="33"/>
                </a:lnTo>
                <a:lnTo>
                  <a:pt x="329" y="37"/>
                </a:lnTo>
                <a:lnTo>
                  <a:pt x="333" y="40"/>
                </a:lnTo>
                <a:lnTo>
                  <a:pt x="338" y="44"/>
                </a:lnTo>
                <a:lnTo>
                  <a:pt x="344" y="48"/>
                </a:lnTo>
                <a:lnTo>
                  <a:pt x="349" y="49"/>
                </a:lnTo>
                <a:lnTo>
                  <a:pt x="362" y="55"/>
                </a:lnTo>
                <a:lnTo>
                  <a:pt x="365" y="57"/>
                </a:lnTo>
                <a:lnTo>
                  <a:pt x="368" y="62"/>
                </a:lnTo>
                <a:lnTo>
                  <a:pt x="372" y="67"/>
                </a:lnTo>
                <a:lnTo>
                  <a:pt x="375" y="77"/>
                </a:lnTo>
                <a:lnTo>
                  <a:pt x="379" y="77"/>
                </a:lnTo>
                <a:lnTo>
                  <a:pt x="380" y="81"/>
                </a:lnTo>
                <a:lnTo>
                  <a:pt x="384" y="87"/>
                </a:lnTo>
                <a:lnTo>
                  <a:pt x="389" y="92"/>
                </a:lnTo>
                <a:lnTo>
                  <a:pt x="389" y="94"/>
                </a:lnTo>
                <a:lnTo>
                  <a:pt x="385" y="99"/>
                </a:lnTo>
                <a:lnTo>
                  <a:pt x="384" y="105"/>
                </a:lnTo>
                <a:lnTo>
                  <a:pt x="385" y="113"/>
                </a:lnTo>
                <a:lnTo>
                  <a:pt x="386" y="120"/>
                </a:lnTo>
                <a:lnTo>
                  <a:pt x="386" y="122"/>
                </a:lnTo>
                <a:lnTo>
                  <a:pt x="385" y="124"/>
                </a:lnTo>
                <a:lnTo>
                  <a:pt x="384" y="128"/>
                </a:lnTo>
                <a:lnTo>
                  <a:pt x="383" y="131"/>
                </a:lnTo>
                <a:lnTo>
                  <a:pt x="383" y="133"/>
                </a:lnTo>
                <a:lnTo>
                  <a:pt x="384" y="133"/>
                </a:lnTo>
                <a:lnTo>
                  <a:pt x="386" y="133"/>
                </a:lnTo>
                <a:lnTo>
                  <a:pt x="390" y="134"/>
                </a:lnTo>
                <a:lnTo>
                  <a:pt x="392" y="136"/>
                </a:lnTo>
                <a:lnTo>
                  <a:pt x="393" y="143"/>
                </a:lnTo>
                <a:lnTo>
                  <a:pt x="393" y="145"/>
                </a:lnTo>
                <a:lnTo>
                  <a:pt x="390" y="148"/>
                </a:lnTo>
                <a:lnTo>
                  <a:pt x="389" y="151"/>
                </a:lnTo>
                <a:lnTo>
                  <a:pt x="389" y="155"/>
                </a:lnTo>
                <a:lnTo>
                  <a:pt x="389" y="159"/>
                </a:lnTo>
                <a:lnTo>
                  <a:pt x="390" y="164"/>
                </a:lnTo>
                <a:lnTo>
                  <a:pt x="393" y="169"/>
                </a:lnTo>
                <a:lnTo>
                  <a:pt x="396" y="175"/>
                </a:lnTo>
                <a:lnTo>
                  <a:pt x="399" y="179"/>
                </a:lnTo>
                <a:lnTo>
                  <a:pt x="400" y="182"/>
                </a:lnTo>
                <a:lnTo>
                  <a:pt x="400" y="185"/>
                </a:lnTo>
                <a:lnTo>
                  <a:pt x="398" y="187"/>
                </a:lnTo>
                <a:lnTo>
                  <a:pt x="397" y="193"/>
                </a:lnTo>
                <a:lnTo>
                  <a:pt x="397" y="199"/>
                </a:lnTo>
                <a:lnTo>
                  <a:pt x="396" y="203"/>
                </a:lnTo>
                <a:lnTo>
                  <a:pt x="393" y="209"/>
                </a:lnTo>
                <a:lnTo>
                  <a:pt x="391" y="211"/>
                </a:lnTo>
                <a:lnTo>
                  <a:pt x="390" y="213"/>
                </a:lnTo>
                <a:lnTo>
                  <a:pt x="390" y="218"/>
                </a:lnTo>
                <a:lnTo>
                  <a:pt x="391" y="224"/>
                </a:lnTo>
                <a:lnTo>
                  <a:pt x="391" y="228"/>
                </a:lnTo>
                <a:lnTo>
                  <a:pt x="392" y="231"/>
                </a:lnTo>
                <a:lnTo>
                  <a:pt x="393" y="233"/>
                </a:lnTo>
                <a:lnTo>
                  <a:pt x="398" y="236"/>
                </a:lnTo>
                <a:lnTo>
                  <a:pt x="400" y="243"/>
                </a:lnTo>
                <a:lnTo>
                  <a:pt x="402" y="249"/>
                </a:lnTo>
                <a:lnTo>
                  <a:pt x="405" y="263"/>
                </a:lnTo>
                <a:close/>
                <a:moveTo>
                  <a:pt x="232" y="694"/>
                </a:moveTo>
                <a:lnTo>
                  <a:pt x="232" y="694"/>
                </a:lnTo>
                <a:lnTo>
                  <a:pt x="231" y="696"/>
                </a:lnTo>
                <a:lnTo>
                  <a:pt x="230" y="693"/>
                </a:lnTo>
                <a:lnTo>
                  <a:pt x="231" y="693"/>
                </a:lnTo>
                <a:lnTo>
                  <a:pt x="231" y="690"/>
                </a:lnTo>
                <a:lnTo>
                  <a:pt x="233" y="689"/>
                </a:lnTo>
                <a:lnTo>
                  <a:pt x="235" y="690"/>
                </a:lnTo>
                <a:lnTo>
                  <a:pt x="235" y="690"/>
                </a:lnTo>
                <a:lnTo>
                  <a:pt x="233" y="692"/>
                </a:lnTo>
                <a:lnTo>
                  <a:pt x="232" y="694"/>
                </a:lnTo>
                <a:close/>
                <a:moveTo>
                  <a:pt x="226" y="720"/>
                </a:moveTo>
                <a:lnTo>
                  <a:pt x="226" y="720"/>
                </a:lnTo>
                <a:lnTo>
                  <a:pt x="225" y="721"/>
                </a:lnTo>
                <a:lnTo>
                  <a:pt x="224" y="721"/>
                </a:lnTo>
                <a:lnTo>
                  <a:pt x="225" y="718"/>
                </a:lnTo>
                <a:lnTo>
                  <a:pt x="226" y="717"/>
                </a:lnTo>
                <a:lnTo>
                  <a:pt x="228" y="716"/>
                </a:lnTo>
                <a:lnTo>
                  <a:pt x="229" y="716"/>
                </a:lnTo>
                <a:lnTo>
                  <a:pt x="226" y="720"/>
                </a:lnTo>
                <a:close/>
                <a:moveTo>
                  <a:pt x="249" y="786"/>
                </a:moveTo>
                <a:lnTo>
                  <a:pt x="249" y="786"/>
                </a:lnTo>
                <a:lnTo>
                  <a:pt x="249" y="790"/>
                </a:lnTo>
                <a:lnTo>
                  <a:pt x="247" y="790"/>
                </a:lnTo>
                <a:lnTo>
                  <a:pt x="246" y="787"/>
                </a:lnTo>
                <a:lnTo>
                  <a:pt x="249" y="783"/>
                </a:lnTo>
                <a:lnTo>
                  <a:pt x="253" y="783"/>
                </a:lnTo>
                <a:lnTo>
                  <a:pt x="255" y="784"/>
                </a:lnTo>
                <a:lnTo>
                  <a:pt x="249" y="786"/>
                </a:lnTo>
                <a:close/>
                <a:moveTo>
                  <a:pt x="247" y="791"/>
                </a:moveTo>
                <a:lnTo>
                  <a:pt x="247" y="791"/>
                </a:lnTo>
                <a:lnTo>
                  <a:pt x="244" y="793"/>
                </a:lnTo>
                <a:lnTo>
                  <a:pt x="243" y="797"/>
                </a:lnTo>
                <a:lnTo>
                  <a:pt x="241" y="798"/>
                </a:lnTo>
                <a:lnTo>
                  <a:pt x="239" y="799"/>
                </a:lnTo>
                <a:lnTo>
                  <a:pt x="238" y="812"/>
                </a:lnTo>
                <a:lnTo>
                  <a:pt x="242" y="817"/>
                </a:lnTo>
                <a:lnTo>
                  <a:pt x="240" y="818"/>
                </a:lnTo>
                <a:lnTo>
                  <a:pt x="238" y="819"/>
                </a:lnTo>
                <a:lnTo>
                  <a:pt x="237" y="821"/>
                </a:lnTo>
                <a:lnTo>
                  <a:pt x="235" y="826"/>
                </a:lnTo>
                <a:lnTo>
                  <a:pt x="230" y="828"/>
                </a:lnTo>
                <a:lnTo>
                  <a:pt x="228" y="830"/>
                </a:lnTo>
                <a:lnTo>
                  <a:pt x="225" y="835"/>
                </a:lnTo>
                <a:lnTo>
                  <a:pt x="224" y="841"/>
                </a:lnTo>
                <a:lnTo>
                  <a:pt x="221" y="844"/>
                </a:lnTo>
                <a:lnTo>
                  <a:pt x="218" y="844"/>
                </a:lnTo>
                <a:lnTo>
                  <a:pt x="220" y="839"/>
                </a:lnTo>
                <a:lnTo>
                  <a:pt x="222" y="835"/>
                </a:lnTo>
                <a:lnTo>
                  <a:pt x="220" y="832"/>
                </a:lnTo>
                <a:lnTo>
                  <a:pt x="219" y="828"/>
                </a:lnTo>
                <a:lnTo>
                  <a:pt x="217" y="824"/>
                </a:lnTo>
                <a:lnTo>
                  <a:pt x="218" y="820"/>
                </a:lnTo>
                <a:lnTo>
                  <a:pt x="217" y="814"/>
                </a:lnTo>
                <a:lnTo>
                  <a:pt x="218" y="808"/>
                </a:lnTo>
                <a:lnTo>
                  <a:pt x="220" y="805"/>
                </a:lnTo>
                <a:lnTo>
                  <a:pt x="222" y="802"/>
                </a:lnTo>
                <a:lnTo>
                  <a:pt x="226" y="796"/>
                </a:lnTo>
                <a:lnTo>
                  <a:pt x="230" y="792"/>
                </a:lnTo>
                <a:lnTo>
                  <a:pt x="236" y="790"/>
                </a:lnTo>
                <a:lnTo>
                  <a:pt x="239" y="792"/>
                </a:lnTo>
                <a:lnTo>
                  <a:pt x="240" y="788"/>
                </a:lnTo>
                <a:lnTo>
                  <a:pt x="242" y="787"/>
                </a:lnTo>
                <a:lnTo>
                  <a:pt x="243" y="788"/>
                </a:lnTo>
                <a:lnTo>
                  <a:pt x="247" y="791"/>
                </a:lnTo>
                <a:close/>
                <a:moveTo>
                  <a:pt x="168" y="880"/>
                </a:moveTo>
                <a:lnTo>
                  <a:pt x="168" y="880"/>
                </a:lnTo>
                <a:lnTo>
                  <a:pt x="166" y="883"/>
                </a:lnTo>
                <a:lnTo>
                  <a:pt x="165" y="883"/>
                </a:lnTo>
                <a:lnTo>
                  <a:pt x="164" y="879"/>
                </a:lnTo>
                <a:lnTo>
                  <a:pt x="163" y="869"/>
                </a:lnTo>
                <a:lnTo>
                  <a:pt x="164" y="864"/>
                </a:lnTo>
                <a:lnTo>
                  <a:pt x="171" y="847"/>
                </a:lnTo>
                <a:lnTo>
                  <a:pt x="174" y="845"/>
                </a:lnTo>
                <a:lnTo>
                  <a:pt x="178" y="835"/>
                </a:lnTo>
                <a:lnTo>
                  <a:pt x="179" y="830"/>
                </a:lnTo>
                <a:lnTo>
                  <a:pt x="181" y="825"/>
                </a:lnTo>
                <a:lnTo>
                  <a:pt x="182" y="821"/>
                </a:lnTo>
                <a:lnTo>
                  <a:pt x="183" y="820"/>
                </a:lnTo>
                <a:lnTo>
                  <a:pt x="185" y="821"/>
                </a:lnTo>
                <a:lnTo>
                  <a:pt x="186" y="821"/>
                </a:lnTo>
                <a:lnTo>
                  <a:pt x="184" y="824"/>
                </a:lnTo>
                <a:lnTo>
                  <a:pt x="184" y="827"/>
                </a:lnTo>
                <a:lnTo>
                  <a:pt x="184" y="828"/>
                </a:lnTo>
                <a:lnTo>
                  <a:pt x="179" y="841"/>
                </a:lnTo>
                <a:lnTo>
                  <a:pt x="177" y="849"/>
                </a:lnTo>
                <a:lnTo>
                  <a:pt x="175" y="85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3" name="Slovenia">
            <a:extLst>
              <a:ext uri="{FF2B5EF4-FFF2-40B4-BE49-F238E27FC236}">
                <a16:creationId xmlns:a16="http://schemas.microsoft.com/office/drawing/2014/main" id="{84B341AA-3595-4E88-91EB-0A8E138A5ACB}"/>
              </a:ext>
            </a:extLst>
          </p:cNvPr>
          <p:cNvSpPr>
            <a:spLocks/>
          </p:cNvSpPr>
          <p:nvPr/>
        </p:nvSpPr>
        <p:spPr bwMode="auto">
          <a:xfrm>
            <a:off x="6218583" y="3243904"/>
            <a:ext cx="95976" cy="54925"/>
          </a:xfrm>
          <a:custGeom>
            <a:avLst/>
            <a:gdLst>
              <a:gd name="T0" fmla="*/ 95 w 98"/>
              <a:gd name="T1" fmla="*/ 15 h 64"/>
              <a:gd name="T2" fmla="*/ 90 w 98"/>
              <a:gd name="T3" fmla="*/ 16 h 64"/>
              <a:gd name="T4" fmla="*/ 89 w 98"/>
              <a:gd name="T5" fmla="*/ 22 h 64"/>
              <a:gd name="T6" fmla="*/ 82 w 98"/>
              <a:gd name="T7" fmla="*/ 25 h 64"/>
              <a:gd name="T8" fmla="*/ 75 w 98"/>
              <a:gd name="T9" fmla="*/ 28 h 64"/>
              <a:gd name="T10" fmla="*/ 70 w 98"/>
              <a:gd name="T11" fmla="*/ 31 h 64"/>
              <a:gd name="T12" fmla="*/ 72 w 98"/>
              <a:gd name="T13" fmla="*/ 37 h 64"/>
              <a:gd name="T14" fmla="*/ 71 w 98"/>
              <a:gd name="T15" fmla="*/ 45 h 64"/>
              <a:gd name="T16" fmla="*/ 59 w 98"/>
              <a:gd name="T17" fmla="*/ 51 h 64"/>
              <a:gd name="T18" fmla="*/ 62 w 98"/>
              <a:gd name="T19" fmla="*/ 55 h 64"/>
              <a:gd name="T20" fmla="*/ 60 w 98"/>
              <a:gd name="T21" fmla="*/ 59 h 64"/>
              <a:gd name="T22" fmla="*/ 58 w 98"/>
              <a:gd name="T23" fmla="*/ 64 h 64"/>
              <a:gd name="T24" fmla="*/ 48 w 98"/>
              <a:gd name="T25" fmla="*/ 61 h 64"/>
              <a:gd name="T26" fmla="*/ 43 w 98"/>
              <a:gd name="T27" fmla="*/ 61 h 64"/>
              <a:gd name="T28" fmla="*/ 38 w 98"/>
              <a:gd name="T29" fmla="*/ 54 h 64"/>
              <a:gd name="T30" fmla="*/ 35 w 98"/>
              <a:gd name="T31" fmla="*/ 57 h 64"/>
              <a:gd name="T32" fmla="*/ 29 w 98"/>
              <a:gd name="T33" fmla="*/ 62 h 64"/>
              <a:gd name="T34" fmla="*/ 19 w 98"/>
              <a:gd name="T35" fmla="*/ 61 h 64"/>
              <a:gd name="T36" fmla="*/ 18 w 98"/>
              <a:gd name="T37" fmla="*/ 63 h 64"/>
              <a:gd name="T38" fmla="*/ 7 w 98"/>
              <a:gd name="T39" fmla="*/ 60 h 64"/>
              <a:gd name="T40" fmla="*/ 13 w 98"/>
              <a:gd name="T41" fmla="*/ 58 h 64"/>
              <a:gd name="T42" fmla="*/ 14 w 98"/>
              <a:gd name="T43" fmla="*/ 53 h 64"/>
              <a:gd name="T44" fmla="*/ 7 w 98"/>
              <a:gd name="T45" fmla="*/ 47 h 64"/>
              <a:gd name="T46" fmla="*/ 7 w 98"/>
              <a:gd name="T47" fmla="*/ 40 h 64"/>
              <a:gd name="T48" fmla="*/ 4 w 98"/>
              <a:gd name="T49" fmla="*/ 38 h 64"/>
              <a:gd name="T50" fmla="*/ 8 w 98"/>
              <a:gd name="T51" fmla="*/ 33 h 64"/>
              <a:gd name="T52" fmla="*/ 6 w 98"/>
              <a:gd name="T53" fmla="*/ 30 h 64"/>
              <a:gd name="T54" fmla="*/ 2 w 98"/>
              <a:gd name="T55" fmla="*/ 29 h 64"/>
              <a:gd name="T56" fmla="*/ 1 w 98"/>
              <a:gd name="T57" fmla="*/ 25 h 64"/>
              <a:gd name="T58" fmla="*/ 8 w 98"/>
              <a:gd name="T59" fmla="*/ 19 h 64"/>
              <a:gd name="T60" fmla="*/ 12 w 98"/>
              <a:gd name="T61" fmla="*/ 16 h 64"/>
              <a:gd name="T62" fmla="*/ 20 w 98"/>
              <a:gd name="T63" fmla="*/ 17 h 64"/>
              <a:gd name="T64" fmla="*/ 33 w 98"/>
              <a:gd name="T65" fmla="*/ 20 h 64"/>
              <a:gd name="T66" fmla="*/ 37 w 98"/>
              <a:gd name="T67" fmla="*/ 21 h 64"/>
              <a:gd name="T68" fmla="*/ 41 w 98"/>
              <a:gd name="T69" fmla="*/ 18 h 64"/>
              <a:gd name="T70" fmla="*/ 46 w 98"/>
              <a:gd name="T71" fmla="*/ 13 h 64"/>
              <a:gd name="T72" fmla="*/ 51 w 98"/>
              <a:gd name="T73" fmla="*/ 11 h 64"/>
              <a:gd name="T74" fmla="*/ 68 w 98"/>
              <a:gd name="T75" fmla="*/ 9 h 64"/>
              <a:gd name="T76" fmla="*/ 75 w 98"/>
              <a:gd name="T77" fmla="*/ 7 h 64"/>
              <a:gd name="T78" fmla="*/ 81 w 98"/>
              <a:gd name="T79" fmla="*/ 7 h 64"/>
              <a:gd name="T80" fmla="*/ 85 w 98"/>
              <a:gd name="T81" fmla="*/ 0 h 64"/>
              <a:gd name="T82" fmla="*/ 92 w 98"/>
              <a:gd name="T83" fmla="*/ 4 h 64"/>
              <a:gd name="T84" fmla="*/ 94 w 98"/>
              <a:gd name="T85" fmla="*/ 8 h 64"/>
              <a:gd name="T86" fmla="*/ 98 w 98"/>
              <a:gd name="T87"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 h="64">
                <a:moveTo>
                  <a:pt x="98" y="16"/>
                </a:moveTo>
                <a:lnTo>
                  <a:pt x="98" y="16"/>
                </a:lnTo>
                <a:lnTo>
                  <a:pt x="95" y="15"/>
                </a:lnTo>
                <a:lnTo>
                  <a:pt x="92" y="15"/>
                </a:lnTo>
                <a:lnTo>
                  <a:pt x="91" y="15"/>
                </a:lnTo>
                <a:lnTo>
                  <a:pt x="90" y="16"/>
                </a:lnTo>
                <a:lnTo>
                  <a:pt x="89" y="17"/>
                </a:lnTo>
                <a:lnTo>
                  <a:pt x="90" y="21"/>
                </a:lnTo>
                <a:lnTo>
                  <a:pt x="89" y="22"/>
                </a:lnTo>
                <a:lnTo>
                  <a:pt x="85" y="22"/>
                </a:lnTo>
                <a:lnTo>
                  <a:pt x="84" y="22"/>
                </a:lnTo>
                <a:lnTo>
                  <a:pt x="82" y="25"/>
                </a:lnTo>
                <a:lnTo>
                  <a:pt x="80" y="26"/>
                </a:lnTo>
                <a:lnTo>
                  <a:pt x="77" y="27"/>
                </a:lnTo>
                <a:lnTo>
                  <a:pt x="75" y="28"/>
                </a:lnTo>
                <a:lnTo>
                  <a:pt x="73" y="29"/>
                </a:lnTo>
                <a:lnTo>
                  <a:pt x="71" y="30"/>
                </a:lnTo>
                <a:lnTo>
                  <a:pt x="70" y="31"/>
                </a:lnTo>
                <a:lnTo>
                  <a:pt x="69" y="33"/>
                </a:lnTo>
                <a:lnTo>
                  <a:pt x="69" y="34"/>
                </a:lnTo>
                <a:lnTo>
                  <a:pt x="72" y="37"/>
                </a:lnTo>
                <a:lnTo>
                  <a:pt x="72" y="40"/>
                </a:lnTo>
                <a:lnTo>
                  <a:pt x="72" y="43"/>
                </a:lnTo>
                <a:lnTo>
                  <a:pt x="71" y="45"/>
                </a:lnTo>
                <a:lnTo>
                  <a:pt x="70" y="46"/>
                </a:lnTo>
                <a:lnTo>
                  <a:pt x="65" y="48"/>
                </a:lnTo>
                <a:lnTo>
                  <a:pt x="59" y="51"/>
                </a:lnTo>
                <a:lnTo>
                  <a:pt x="59" y="51"/>
                </a:lnTo>
                <a:lnTo>
                  <a:pt x="62" y="54"/>
                </a:lnTo>
                <a:lnTo>
                  <a:pt x="62" y="55"/>
                </a:lnTo>
                <a:lnTo>
                  <a:pt x="60" y="56"/>
                </a:lnTo>
                <a:lnTo>
                  <a:pt x="60" y="58"/>
                </a:lnTo>
                <a:lnTo>
                  <a:pt x="60" y="59"/>
                </a:lnTo>
                <a:lnTo>
                  <a:pt x="61" y="61"/>
                </a:lnTo>
                <a:lnTo>
                  <a:pt x="61" y="63"/>
                </a:lnTo>
                <a:lnTo>
                  <a:pt x="58" y="64"/>
                </a:lnTo>
                <a:lnTo>
                  <a:pt x="54" y="63"/>
                </a:lnTo>
                <a:lnTo>
                  <a:pt x="49" y="61"/>
                </a:lnTo>
                <a:lnTo>
                  <a:pt x="48" y="61"/>
                </a:lnTo>
                <a:lnTo>
                  <a:pt x="46" y="63"/>
                </a:lnTo>
                <a:lnTo>
                  <a:pt x="44" y="62"/>
                </a:lnTo>
                <a:lnTo>
                  <a:pt x="43" y="61"/>
                </a:lnTo>
                <a:lnTo>
                  <a:pt x="40" y="58"/>
                </a:lnTo>
                <a:lnTo>
                  <a:pt x="39" y="56"/>
                </a:lnTo>
                <a:lnTo>
                  <a:pt x="38" y="54"/>
                </a:lnTo>
                <a:lnTo>
                  <a:pt x="37" y="54"/>
                </a:lnTo>
                <a:lnTo>
                  <a:pt x="36" y="55"/>
                </a:lnTo>
                <a:lnTo>
                  <a:pt x="35" y="57"/>
                </a:lnTo>
                <a:lnTo>
                  <a:pt x="33" y="61"/>
                </a:lnTo>
                <a:lnTo>
                  <a:pt x="31" y="62"/>
                </a:lnTo>
                <a:lnTo>
                  <a:pt x="29" y="62"/>
                </a:lnTo>
                <a:lnTo>
                  <a:pt x="25" y="62"/>
                </a:lnTo>
                <a:lnTo>
                  <a:pt x="22" y="62"/>
                </a:lnTo>
                <a:lnTo>
                  <a:pt x="19" y="61"/>
                </a:lnTo>
                <a:lnTo>
                  <a:pt x="19" y="61"/>
                </a:lnTo>
                <a:lnTo>
                  <a:pt x="19" y="62"/>
                </a:lnTo>
                <a:lnTo>
                  <a:pt x="18" y="63"/>
                </a:lnTo>
                <a:lnTo>
                  <a:pt x="16" y="64"/>
                </a:lnTo>
                <a:lnTo>
                  <a:pt x="8" y="62"/>
                </a:lnTo>
                <a:lnTo>
                  <a:pt x="7" y="60"/>
                </a:lnTo>
                <a:lnTo>
                  <a:pt x="8" y="60"/>
                </a:lnTo>
                <a:lnTo>
                  <a:pt x="11" y="57"/>
                </a:lnTo>
                <a:lnTo>
                  <a:pt x="13" y="58"/>
                </a:lnTo>
                <a:lnTo>
                  <a:pt x="15" y="57"/>
                </a:lnTo>
                <a:lnTo>
                  <a:pt x="16" y="56"/>
                </a:lnTo>
                <a:lnTo>
                  <a:pt x="14" y="53"/>
                </a:lnTo>
                <a:lnTo>
                  <a:pt x="11" y="50"/>
                </a:lnTo>
                <a:lnTo>
                  <a:pt x="9" y="48"/>
                </a:lnTo>
                <a:lnTo>
                  <a:pt x="7" y="47"/>
                </a:lnTo>
                <a:lnTo>
                  <a:pt x="6" y="46"/>
                </a:lnTo>
                <a:lnTo>
                  <a:pt x="8" y="41"/>
                </a:lnTo>
                <a:lnTo>
                  <a:pt x="7" y="40"/>
                </a:lnTo>
                <a:lnTo>
                  <a:pt x="4" y="40"/>
                </a:lnTo>
                <a:lnTo>
                  <a:pt x="4" y="39"/>
                </a:lnTo>
                <a:lnTo>
                  <a:pt x="4" y="38"/>
                </a:lnTo>
                <a:lnTo>
                  <a:pt x="4" y="37"/>
                </a:lnTo>
                <a:lnTo>
                  <a:pt x="6" y="35"/>
                </a:lnTo>
                <a:lnTo>
                  <a:pt x="8" y="33"/>
                </a:lnTo>
                <a:lnTo>
                  <a:pt x="8" y="32"/>
                </a:lnTo>
                <a:lnTo>
                  <a:pt x="8" y="31"/>
                </a:lnTo>
                <a:lnTo>
                  <a:pt x="6" y="30"/>
                </a:lnTo>
                <a:lnTo>
                  <a:pt x="4" y="29"/>
                </a:lnTo>
                <a:lnTo>
                  <a:pt x="3" y="29"/>
                </a:lnTo>
                <a:lnTo>
                  <a:pt x="2" y="29"/>
                </a:lnTo>
                <a:lnTo>
                  <a:pt x="1" y="29"/>
                </a:lnTo>
                <a:lnTo>
                  <a:pt x="0" y="27"/>
                </a:lnTo>
                <a:lnTo>
                  <a:pt x="1" y="25"/>
                </a:lnTo>
                <a:lnTo>
                  <a:pt x="3" y="22"/>
                </a:lnTo>
                <a:lnTo>
                  <a:pt x="6" y="20"/>
                </a:lnTo>
                <a:lnTo>
                  <a:pt x="8" y="19"/>
                </a:lnTo>
                <a:lnTo>
                  <a:pt x="10" y="18"/>
                </a:lnTo>
                <a:lnTo>
                  <a:pt x="10" y="16"/>
                </a:lnTo>
                <a:lnTo>
                  <a:pt x="12" y="16"/>
                </a:lnTo>
                <a:lnTo>
                  <a:pt x="14" y="16"/>
                </a:lnTo>
                <a:lnTo>
                  <a:pt x="17" y="16"/>
                </a:lnTo>
                <a:lnTo>
                  <a:pt x="20" y="17"/>
                </a:lnTo>
                <a:lnTo>
                  <a:pt x="23" y="18"/>
                </a:lnTo>
                <a:lnTo>
                  <a:pt x="28" y="19"/>
                </a:lnTo>
                <a:lnTo>
                  <a:pt x="33" y="20"/>
                </a:lnTo>
                <a:lnTo>
                  <a:pt x="34" y="20"/>
                </a:lnTo>
                <a:lnTo>
                  <a:pt x="35" y="20"/>
                </a:lnTo>
                <a:lnTo>
                  <a:pt x="37" y="21"/>
                </a:lnTo>
                <a:lnTo>
                  <a:pt x="38" y="20"/>
                </a:lnTo>
                <a:lnTo>
                  <a:pt x="38" y="19"/>
                </a:lnTo>
                <a:lnTo>
                  <a:pt x="41" y="18"/>
                </a:lnTo>
                <a:lnTo>
                  <a:pt x="43" y="16"/>
                </a:lnTo>
                <a:lnTo>
                  <a:pt x="45" y="14"/>
                </a:lnTo>
                <a:lnTo>
                  <a:pt x="46" y="13"/>
                </a:lnTo>
                <a:lnTo>
                  <a:pt x="48" y="12"/>
                </a:lnTo>
                <a:lnTo>
                  <a:pt x="49" y="11"/>
                </a:lnTo>
                <a:lnTo>
                  <a:pt x="51" y="11"/>
                </a:lnTo>
                <a:lnTo>
                  <a:pt x="58" y="10"/>
                </a:lnTo>
                <a:lnTo>
                  <a:pt x="65" y="11"/>
                </a:lnTo>
                <a:lnTo>
                  <a:pt x="68" y="9"/>
                </a:lnTo>
                <a:lnTo>
                  <a:pt x="71" y="7"/>
                </a:lnTo>
                <a:lnTo>
                  <a:pt x="75" y="7"/>
                </a:lnTo>
                <a:lnTo>
                  <a:pt x="75" y="7"/>
                </a:lnTo>
                <a:lnTo>
                  <a:pt x="81" y="8"/>
                </a:lnTo>
                <a:lnTo>
                  <a:pt x="81" y="7"/>
                </a:lnTo>
                <a:lnTo>
                  <a:pt x="81" y="7"/>
                </a:lnTo>
                <a:lnTo>
                  <a:pt x="81" y="3"/>
                </a:lnTo>
                <a:lnTo>
                  <a:pt x="83" y="1"/>
                </a:lnTo>
                <a:lnTo>
                  <a:pt x="85" y="0"/>
                </a:lnTo>
                <a:lnTo>
                  <a:pt x="91" y="0"/>
                </a:lnTo>
                <a:lnTo>
                  <a:pt x="92" y="2"/>
                </a:lnTo>
                <a:lnTo>
                  <a:pt x="92" y="4"/>
                </a:lnTo>
                <a:lnTo>
                  <a:pt x="93" y="6"/>
                </a:lnTo>
                <a:lnTo>
                  <a:pt x="94" y="7"/>
                </a:lnTo>
                <a:lnTo>
                  <a:pt x="94" y="8"/>
                </a:lnTo>
                <a:lnTo>
                  <a:pt x="94" y="10"/>
                </a:lnTo>
                <a:lnTo>
                  <a:pt x="95" y="12"/>
                </a:lnTo>
                <a:lnTo>
                  <a:pt x="98" y="1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4" name="Slovakia">
            <a:extLst>
              <a:ext uri="{FF2B5EF4-FFF2-40B4-BE49-F238E27FC236}">
                <a16:creationId xmlns:a16="http://schemas.microsoft.com/office/drawing/2014/main" id="{935594D5-6830-4D4B-AEE1-5EB139A1722B}"/>
              </a:ext>
            </a:extLst>
          </p:cNvPr>
          <p:cNvSpPr>
            <a:spLocks/>
          </p:cNvSpPr>
          <p:nvPr/>
        </p:nvSpPr>
        <p:spPr bwMode="auto">
          <a:xfrm>
            <a:off x="6325719" y="3136016"/>
            <a:ext cx="169632" cy="74542"/>
          </a:xfrm>
          <a:custGeom>
            <a:avLst/>
            <a:gdLst>
              <a:gd name="T0" fmla="*/ 177 w 177"/>
              <a:gd name="T1" fmla="*/ 27 h 87"/>
              <a:gd name="T2" fmla="*/ 172 w 177"/>
              <a:gd name="T3" fmla="*/ 35 h 87"/>
              <a:gd name="T4" fmla="*/ 165 w 177"/>
              <a:gd name="T5" fmla="*/ 49 h 87"/>
              <a:gd name="T6" fmla="*/ 153 w 177"/>
              <a:gd name="T7" fmla="*/ 60 h 87"/>
              <a:gd name="T8" fmla="*/ 149 w 177"/>
              <a:gd name="T9" fmla="*/ 57 h 87"/>
              <a:gd name="T10" fmla="*/ 147 w 177"/>
              <a:gd name="T11" fmla="*/ 53 h 87"/>
              <a:gd name="T12" fmla="*/ 141 w 177"/>
              <a:gd name="T13" fmla="*/ 50 h 87"/>
              <a:gd name="T14" fmla="*/ 128 w 177"/>
              <a:gd name="T15" fmla="*/ 51 h 87"/>
              <a:gd name="T16" fmla="*/ 113 w 177"/>
              <a:gd name="T17" fmla="*/ 51 h 87"/>
              <a:gd name="T18" fmla="*/ 102 w 177"/>
              <a:gd name="T19" fmla="*/ 65 h 87"/>
              <a:gd name="T20" fmla="*/ 92 w 177"/>
              <a:gd name="T21" fmla="*/ 68 h 87"/>
              <a:gd name="T22" fmla="*/ 84 w 177"/>
              <a:gd name="T23" fmla="*/ 66 h 87"/>
              <a:gd name="T24" fmla="*/ 75 w 177"/>
              <a:gd name="T25" fmla="*/ 72 h 87"/>
              <a:gd name="T26" fmla="*/ 59 w 177"/>
              <a:gd name="T27" fmla="*/ 79 h 87"/>
              <a:gd name="T28" fmla="*/ 59 w 177"/>
              <a:gd name="T29" fmla="*/ 85 h 87"/>
              <a:gd name="T30" fmla="*/ 40 w 177"/>
              <a:gd name="T31" fmla="*/ 87 h 87"/>
              <a:gd name="T32" fmla="*/ 24 w 177"/>
              <a:gd name="T33" fmla="*/ 85 h 87"/>
              <a:gd name="T34" fmla="*/ 14 w 177"/>
              <a:gd name="T35" fmla="*/ 76 h 87"/>
              <a:gd name="T36" fmla="*/ 9 w 177"/>
              <a:gd name="T37" fmla="*/ 75 h 87"/>
              <a:gd name="T38" fmla="*/ 3 w 177"/>
              <a:gd name="T39" fmla="*/ 66 h 87"/>
              <a:gd name="T40" fmla="*/ 1 w 177"/>
              <a:gd name="T41" fmla="*/ 52 h 87"/>
              <a:gd name="T42" fmla="*/ 3 w 177"/>
              <a:gd name="T43" fmla="*/ 48 h 87"/>
              <a:gd name="T44" fmla="*/ 8 w 177"/>
              <a:gd name="T45" fmla="*/ 36 h 87"/>
              <a:gd name="T46" fmla="*/ 19 w 177"/>
              <a:gd name="T47" fmla="*/ 37 h 87"/>
              <a:gd name="T48" fmla="*/ 30 w 177"/>
              <a:gd name="T49" fmla="*/ 32 h 87"/>
              <a:gd name="T50" fmla="*/ 34 w 177"/>
              <a:gd name="T51" fmla="*/ 28 h 87"/>
              <a:gd name="T52" fmla="*/ 39 w 177"/>
              <a:gd name="T53" fmla="*/ 23 h 87"/>
              <a:gd name="T54" fmla="*/ 40 w 177"/>
              <a:gd name="T55" fmla="*/ 17 h 87"/>
              <a:gd name="T56" fmla="*/ 48 w 177"/>
              <a:gd name="T57" fmla="*/ 10 h 87"/>
              <a:gd name="T58" fmla="*/ 54 w 177"/>
              <a:gd name="T59" fmla="*/ 5 h 87"/>
              <a:gd name="T60" fmla="*/ 61 w 177"/>
              <a:gd name="T61" fmla="*/ 5 h 87"/>
              <a:gd name="T62" fmla="*/ 65 w 177"/>
              <a:gd name="T63" fmla="*/ 7 h 87"/>
              <a:gd name="T64" fmla="*/ 74 w 177"/>
              <a:gd name="T65" fmla="*/ 4 h 87"/>
              <a:gd name="T66" fmla="*/ 80 w 177"/>
              <a:gd name="T67" fmla="*/ 0 h 87"/>
              <a:gd name="T68" fmla="*/ 85 w 177"/>
              <a:gd name="T69" fmla="*/ 7 h 87"/>
              <a:gd name="T70" fmla="*/ 87 w 177"/>
              <a:gd name="T71" fmla="*/ 10 h 87"/>
              <a:gd name="T72" fmla="*/ 91 w 177"/>
              <a:gd name="T73" fmla="*/ 14 h 87"/>
              <a:gd name="T74" fmla="*/ 90 w 177"/>
              <a:gd name="T75" fmla="*/ 19 h 87"/>
              <a:gd name="T76" fmla="*/ 95 w 177"/>
              <a:gd name="T77" fmla="*/ 18 h 87"/>
              <a:gd name="T78" fmla="*/ 103 w 177"/>
              <a:gd name="T79" fmla="*/ 14 h 87"/>
              <a:gd name="T80" fmla="*/ 109 w 177"/>
              <a:gd name="T81" fmla="*/ 10 h 87"/>
              <a:gd name="T82" fmla="*/ 113 w 177"/>
              <a:gd name="T83" fmla="*/ 10 h 87"/>
              <a:gd name="T84" fmla="*/ 121 w 177"/>
              <a:gd name="T85" fmla="*/ 11 h 87"/>
              <a:gd name="T86" fmla="*/ 127 w 177"/>
              <a:gd name="T87" fmla="*/ 14 h 87"/>
              <a:gd name="T88" fmla="*/ 133 w 177"/>
              <a:gd name="T89" fmla="*/ 9 h 87"/>
              <a:gd name="T90" fmla="*/ 149 w 177"/>
              <a:gd name="T91" fmla="*/ 9 h 87"/>
              <a:gd name="T92" fmla="*/ 159 w 177"/>
              <a:gd name="T93" fmla="*/ 15 h 87"/>
              <a:gd name="T94" fmla="*/ 166 w 177"/>
              <a:gd name="T95"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7" h="87">
                <a:moveTo>
                  <a:pt x="177" y="25"/>
                </a:moveTo>
                <a:lnTo>
                  <a:pt x="177" y="25"/>
                </a:lnTo>
                <a:lnTo>
                  <a:pt x="177" y="27"/>
                </a:lnTo>
                <a:lnTo>
                  <a:pt x="175" y="30"/>
                </a:lnTo>
                <a:lnTo>
                  <a:pt x="174" y="32"/>
                </a:lnTo>
                <a:lnTo>
                  <a:pt x="172" y="35"/>
                </a:lnTo>
                <a:lnTo>
                  <a:pt x="170" y="41"/>
                </a:lnTo>
                <a:lnTo>
                  <a:pt x="169" y="44"/>
                </a:lnTo>
                <a:lnTo>
                  <a:pt x="165" y="49"/>
                </a:lnTo>
                <a:lnTo>
                  <a:pt x="164" y="57"/>
                </a:lnTo>
                <a:lnTo>
                  <a:pt x="164" y="57"/>
                </a:lnTo>
                <a:lnTo>
                  <a:pt x="153" y="60"/>
                </a:lnTo>
                <a:lnTo>
                  <a:pt x="151" y="60"/>
                </a:lnTo>
                <a:lnTo>
                  <a:pt x="150" y="58"/>
                </a:lnTo>
                <a:lnTo>
                  <a:pt x="149" y="57"/>
                </a:lnTo>
                <a:lnTo>
                  <a:pt x="149" y="56"/>
                </a:lnTo>
                <a:lnTo>
                  <a:pt x="148" y="54"/>
                </a:lnTo>
                <a:lnTo>
                  <a:pt x="147" y="53"/>
                </a:lnTo>
                <a:lnTo>
                  <a:pt x="145" y="51"/>
                </a:lnTo>
                <a:lnTo>
                  <a:pt x="143" y="50"/>
                </a:lnTo>
                <a:lnTo>
                  <a:pt x="141" y="50"/>
                </a:lnTo>
                <a:lnTo>
                  <a:pt x="135" y="52"/>
                </a:lnTo>
                <a:lnTo>
                  <a:pt x="131" y="52"/>
                </a:lnTo>
                <a:lnTo>
                  <a:pt x="128" y="51"/>
                </a:lnTo>
                <a:lnTo>
                  <a:pt x="125" y="50"/>
                </a:lnTo>
                <a:lnTo>
                  <a:pt x="118" y="50"/>
                </a:lnTo>
                <a:lnTo>
                  <a:pt x="113" y="51"/>
                </a:lnTo>
                <a:lnTo>
                  <a:pt x="113" y="53"/>
                </a:lnTo>
                <a:lnTo>
                  <a:pt x="108" y="62"/>
                </a:lnTo>
                <a:lnTo>
                  <a:pt x="102" y="65"/>
                </a:lnTo>
                <a:lnTo>
                  <a:pt x="96" y="69"/>
                </a:lnTo>
                <a:lnTo>
                  <a:pt x="95" y="70"/>
                </a:lnTo>
                <a:lnTo>
                  <a:pt x="92" y="68"/>
                </a:lnTo>
                <a:lnTo>
                  <a:pt x="89" y="66"/>
                </a:lnTo>
                <a:lnTo>
                  <a:pt x="86" y="65"/>
                </a:lnTo>
                <a:lnTo>
                  <a:pt x="84" y="66"/>
                </a:lnTo>
                <a:lnTo>
                  <a:pt x="82" y="68"/>
                </a:lnTo>
                <a:lnTo>
                  <a:pt x="81" y="71"/>
                </a:lnTo>
                <a:lnTo>
                  <a:pt x="75" y="72"/>
                </a:lnTo>
                <a:lnTo>
                  <a:pt x="64" y="73"/>
                </a:lnTo>
                <a:lnTo>
                  <a:pt x="60" y="76"/>
                </a:lnTo>
                <a:lnTo>
                  <a:pt x="59" y="79"/>
                </a:lnTo>
                <a:lnTo>
                  <a:pt x="59" y="81"/>
                </a:lnTo>
                <a:lnTo>
                  <a:pt x="60" y="83"/>
                </a:lnTo>
                <a:lnTo>
                  <a:pt x="59" y="85"/>
                </a:lnTo>
                <a:lnTo>
                  <a:pt x="58" y="86"/>
                </a:lnTo>
                <a:lnTo>
                  <a:pt x="50" y="86"/>
                </a:lnTo>
                <a:lnTo>
                  <a:pt x="40" y="87"/>
                </a:lnTo>
                <a:lnTo>
                  <a:pt x="34" y="86"/>
                </a:lnTo>
                <a:lnTo>
                  <a:pt x="28" y="86"/>
                </a:lnTo>
                <a:lnTo>
                  <a:pt x="24" y="85"/>
                </a:lnTo>
                <a:lnTo>
                  <a:pt x="19" y="81"/>
                </a:lnTo>
                <a:lnTo>
                  <a:pt x="14" y="76"/>
                </a:lnTo>
                <a:lnTo>
                  <a:pt x="14" y="76"/>
                </a:lnTo>
                <a:lnTo>
                  <a:pt x="13" y="76"/>
                </a:lnTo>
                <a:lnTo>
                  <a:pt x="10" y="75"/>
                </a:lnTo>
                <a:lnTo>
                  <a:pt x="9" y="75"/>
                </a:lnTo>
                <a:lnTo>
                  <a:pt x="7" y="74"/>
                </a:lnTo>
                <a:lnTo>
                  <a:pt x="6" y="72"/>
                </a:lnTo>
                <a:lnTo>
                  <a:pt x="3" y="66"/>
                </a:lnTo>
                <a:lnTo>
                  <a:pt x="0" y="58"/>
                </a:lnTo>
                <a:lnTo>
                  <a:pt x="0" y="55"/>
                </a:lnTo>
                <a:lnTo>
                  <a:pt x="1" y="52"/>
                </a:lnTo>
                <a:lnTo>
                  <a:pt x="2" y="50"/>
                </a:lnTo>
                <a:lnTo>
                  <a:pt x="3" y="48"/>
                </a:lnTo>
                <a:lnTo>
                  <a:pt x="3" y="48"/>
                </a:lnTo>
                <a:lnTo>
                  <a:pt x="4" y="44"/>
                </a:lnTo>
                <a:lnTo>
                  <a:pt x="6" y="39"/>
                </a:lnTo>
                <a:lnTo>
                  <a:pt x="8" y="36"/>
                </a:lnTo>
                <a:lnTo>
                  <a:pt x="10" y="35"/>
                </a:lnTo>
                <a:lnTo>
                  <a:pt x="13" y="36"/>
                </a:lnTo>
                <a:lnTo>
                  <a:pt x="19" y="37"/>
                </a:lnTo>
                <a:lnTo>
                  <a:pt x="24" y="36"/>
                </a:lnTo>
                <a:lnTo>
                  <a:pt x="28" y="34"/>
                </a:lnTo>
                <a:lnTo>
                  <a:pt x="30" y="32"/>
                </a:lnTo>
                <a:lnTo>
                  <a:pt x="32" y="30"/>
                </a:lnTo>
                <a:lnTo>
                  <a:pt x="33" y="29"/>
                </a:lnTo>
                <a:lnTo>
                  <a:pt x="34" y="28"/>
                </a:lnTo>
                <a:lnTo>
                  <a:pt x="37" y="27"/>
                </a:lnTo>
                <a:lnTo>
                  <a:pt x="38" y="26"/>
                </a:lnTo>
                <a:lnTo>
                  <a:pt x="39" y="23"/>
                </a:lnTo>
                <a:lnTo>
                  <a:pt x="39" y="20"/>
                </a:lnTo>
                <a:lnTo>
                  <a:pt x="40" y="18"/>
                </a:lnTo>
                <a:lnTo>
                  <a:pt x="40" y="17"/>
                </a:lnTo>
                <a:lnTo>
                  <a:pt x="47" y="13"/>
                </a:lnTo>
                <a:lnTo>
                  <a:pt x="47" y="11"/>
                </a:lnTo>
                <a:lnTo>
                  <a:pt x="48" y="10"/>
                </a:lnTo>
                <a:lnTo>
                  <a:pt x="50" y="9"/>
                </a:lnTo>
                <a:lnTo>
                  <a:pt x="52" y="7"/>
                </a:lnTo>
                <a:lnTo>
                  <a:pt x="54" y="5"/>
                </a:lnTo>
                <a:lnTo>
                  <a:pt x="57" y="6"/>
                </a:lnTo>
                <a:lnTo>
                  <a:pt x="59" y="5"/>
                </a:lnTo>
                <a:lnTo>
                  <a:pt x="61" y="5"/>
                </a:lnTo>
                <a:lnTo>
                  <a:pt x="61" y="4"/>
                </a:lnTo>
                <a:lnTo>
                  <a:pt x="65" y="5"/>
                </a:lnTo>
                <a:lnTo>
                  <a:pt x="65" y="7"/>
                </a:lnTo>
                <a:lnTo>
                  <a:pt x="66" y="10"/>
                </a:lnTo>
                <a:lnTo>
                  <a:pt x="71" y="10"/>
                </a:lnTo>
                <a:lnTo>
                  <a:pt x="74" y="4"/>
                </a:lnTo>
                <a:lnTo>
                  <a:pt x="76" y="4"/>
                </a:lnTo>
                <a:lnTo>
                  <a:pt x="79" y="2"/>
                </a:lnTo>
                <a:lnTo>
                  <a:pt x="80" y="0"/>
                </a:lnTo>
                <a:lnTo>
                  <a:pt x="82" y="1"/>
                </a:lnTo>
                <a:lnTo>
                  <a:pt x="83" y="5"/>
                </a:lnTo>
                <a:lnTo>
                  <a:pt x="85" y="7"/>
                </a:lnTo>
                <a:lnTo>
                  <a:pt x="86" y="9"/>
                </a:lnTo>
                <a:lnTo>
                  <a:pt x="86" y="9"/>
                </a:lnTo>
                <a:lnTo>
                  <a:pt x="87" y="10"/>
                </a:lnTo>
                <a:lnTo>
                  <a:pt x="89" y="10"/>
                </a:lnTo>
                <a:lnTo>
                  <a:pt x="91" y="11"/>
                </a:lnTo>
                <a:lnTo>
                  <a:pt x="91" y="14"/>
                </a:lnTo>
                <a:lnTo>
                  <a:pt x="91" y="16"/>
                </a:lnTo>
                <a:lnTo>
                  <a:pt x="91" y="18"/>
                </a:lnTo>
                <a:lnTo>
                  <a:pt x="90" y="19"/>
                </a:lnTo>
                <a:lnTo>
                  <a:pt x="92" y="20"/>
                </a:lnTo>
                <a:lnTo>
                  <a:pt x="94" y="19"/>
                </a:lnTo>
                <a:lnTo>
                  <a:pt x="95" y="18"/>
                </a:lnTo>
                <a:lnTo>
                  <a:pt x="100" y="20"/>
                </a:lnTo>
                <a:lnTo>
                  <a:pt x="101" y="16"/>
                </a:lnTo>
                <a:lnTo>
                  <a:pt x="103" y="14"/>
                </a:lnTo>
                <a:lnTo>
                  <a:pt x="105" y="13"/>
                </a:lnTo>
                <a:lnTo>
                  <a:pt x="107" y="11"/>
                </a:lnTo>
                <a:lnTo>
                  <a:pt x="109" y="10"/>
                </a:lnTo>
                <a:lnTo>
                  <a:pt x="110" y="11"/>
                </a:lnTo>
                <a:lnTo>
                  <a:pt x="111" y="10"/>
                </a:lnTo>
                <a:lnTo>
                  <a:pt x="113" y="10"/>
                </a:lnTo>
                <a:lnTo>
                  <a:pt x="114" y="11"/>
                </a:lnTo>
                <a:lnTo>
                  <a:pt x="117" y="10"/>
                </a:lnTo>
                <a:lnTo>
                  <a:pt x="121" y="11"/>
                </a:lnTo>
                <a:lnTo>
                  <a:pt x="123" y="13"/>
                </a:lnTo>
                <a:lnTo>
                  <a:pt x="125" y="14"/>
                </a:lnTo>
                <a:lnTo>
                  <a:pt x="127" y="14"/>
                </a:lnTo>
                <a:lnTo>
                  <a:pt x="129" y="13"/>
                </a:lnTo>
                <a:lnTo>
                  <a:pt x="131" y="9"/>
                </a:lnTo>
                <a:lnTo>
                  <a:pt x="133" y="9"/>
                </a:lnTo>
                <a:lnTo>
                  <a:pt x="136" y="8"/>
                </a:lnTo>
                <a:lnTo>
                  <a:pt x="140" y="8"/>
                </a:lnTo>
                <a:lnTo>
                  <a:pt x="149" y="9"/>
                </a:lnTo>
                <a:lnTo>
                  <a:pt x="151" y="11"/>
                </a:lnTo>
                <a:lnTo>
                  <a:pt x="157" y="12"/>
                </a:lnTo>
                <a:lnTo>
                  <a:pt x="159" y="15"/>
                </a:lnTo>
                <a:lnTo>
                  <a:pt x="160" y="17"/>
                </a:lnTo>
                <a:lnTo>
                  <a:pt x="161" y="19"/>
                </a:lnTo>
                <a:lnTo>
                  <a:pt x="166" y="21"/>
                </a:lnTo>
                <a:lnTo>
                  <a:pt x="175" y="25"/>
                </a:lnTo>
                <a:lnTo>
                  <a:pt x="177" y="25"/>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5" name="Ukraine">
            <a:extLst>
              <a:ext uri="{FF2B5EF4-FFF2-40B4-BE49-F238E27FC236}">
                <a16:creationId xmlns:a16="http://schemas.microsoft.com/office/drawing/2014/main" id="{DF9A0710-1B23-4343-A1C0-3BDD5FA0CEB7}"/>
              </a:ext>
            </a:extLst>
          </p:cNvPr>
          <p:cNvSpPr>
            <a:spLocks noEditPoints="1"/>
          </p:cNvSpPr>
          <p:nvPr/>
        </p:nvSpPr>
        <p:spPr bwMode="auto">
          <a:xfrm>
            <a:off x="6481959" y="3020282"/>
            <a:ext cx="542375" cy="317780"/>
          </a:xfrm>
          <a:custGeom>
            <a:avLst/>
            <a:gdLst>
              <a:gd name="T0" fmla="*/ 454 w 561"/>
              <a:gd name="T1" fmla="*/ 268 h 374"/>
              <a:gd name="T2" fmla="*/ 403 w 561"/>
              <a:gd name="T3" fmla="*/ 298 h 374"/>
              <a:gd name="T4" fmla="*/ 397 w 561"/>
              <a:gd name="T5" fmla="*/ 303 h 374"/>
              <a:gd name="T6" fmla="*/ 438 w 561"/>
              <a:gd name="T7" fmla="*/ 327 h 374"/>
              <a:gd name="T8" fmla="*/ 427 w 561"/>
              <a:gd name="T9" fmla="*/ 345 h 374"/>
              <a:gd name="T10" fmla="*/ 379 w 561"/>
              <a:gd name="T11" fmla="*/ 367 h 374"/>
              <a:gd name="T12" fmla="*/ 356 w 561"/>
              <a:gd name="T13" fmla="*/ 343 h 374"/>
              <a:gd name="T14" fmla="*/ 348 w 561"/>
              <a:gd name="T15" fmla="*/ 313 h 374"/>
              <a:gd name="T16" fmla="*/ 323 w 561"/>
              <a:gd name="T17" fmla="*/ 299 h 374"/>
              <a:gd name="T18" fmla="*/ 303 w 561"/>
              <a:gd name="T19" fmla="*/ 282 h 374"/>
              <a:gd name="T20" fmla="*/ 319 w 561"/>
              <a:gd name="T21" fmla="*/ 278 h 374"/>
              <a:gd name="T22" fmla="*/ 304 w 561"/>
              <a:gd name="T23" fmla="*/ 258 h 374"/>
              <a:gd name="T24" fmla="*/ 281 w 561"/>
              <a:gd name="T25" fmla="*/ 275 h 374"/>
              <a:gd name="T26" fmla="*/ 242 w 561"/>
              <a:gd name="T27" fmla="*/ 314 h 374"/>
              <a:gd name="T28" fmla="*/ 227 w 561"/>
              <a:gd name="T29" fmla="*/ 329 h 374"/>
              <a:gd name="T30" fmla="*/ 197 w 561"/>
              <a:gd name="T31" fmla="*/ 334 h 374"/>
              <a:gd name="T32" fmla="*/ 201 w 561"/>
              <a:gd name="T33" fmla="*/ 315 h 374"/>
              <a:gd name="T34" fmla="*/ 213 w 561"/>
              <a:gd name="T35" fmla="*/ 282 h 374"/>
              <a:gd name="T36" fmla="*/ 228 w 561"/>
              <a:gd name="T37" fmla="*/ 282 h 374"/>
              <a:gd name="T38" fmla="*/ 249 w 561"/>
              <a:gd name="T39" fmla="*/ 285 h 374"/>
              <a:gd name="T40" fmla="*/ 232 w 561"/>
              <a:gd name="T41" fmla="*/ 256 h 374"/>
              <a:gd name="T42" fmla="*/ 219 w 561"/>
              <a:gd name="T43" fmla="*/ 237 h 374"/>
              <a:gd name="T44" fmla="*/ 214 w 561"/>
              <a:gd name="T45" fmla="*/ 215 h 374"/>
              <a:gd name="T46" fmla="*/ 193 w 561"/>
              <a:gd name="T47" fmla="*/ 204 h 374"/>
              <a:gd name="T48" fmla="*/ 170 w 561"/>
              <a:gd name="T49" fmla="*/ 190 h 374"/>
              <a:gd name="T50" fmla="*/ 140 w 561"/>
              <a:gd name="T51" fmla="*/ 200 h 374"/>
              <a:gd name="T52" fmla="*/ 92 w 561"/>
              <a:gd name="T53" fmla="*/ 224 h 374"/>
              <a:gd name="T54" fmla="*/ 60 w 561"/>
              <a:gd name="T55" fmla="*/ 214 h 374"/>
              <a:gd name="T56" fmla="*/ 25 w 561"/>
              <a:gd name="T57" fmla="*/ 213 h 374"/>
              <a:gd name="T58" fmla="*/ 14 w 561"/>
              <a:gd name="T59" fmla="*/ 205 h 374"/>
              <a:gd name="T60" fmla="*/ 0 w 561"/>
              <a:gd name="T61" fmla="*/ 193 h 374"/>
              <a:gd name="T62" fmla="*/ 21 w 561"/>
              <a:gd name="T63" fmla="*/ 164 h 374"/>
              <a:gd name="T64" fmla="*/ 16 w 561"/>
              <a:gd name="T65" fmla="*/ 139 h 374"/>
              <a:gd name="T66" fmla="*/ 59 w 561"/>
              <a:gd name="T67" fmla="*/ 95 h 374"/>
              <a:gd name="T68" fmla="*/ 61 w 561"/>
              <a:gd name="T69" fmla="*/ 74 h 374"/>
              <a:gd name="T70" fmla="*/ 46 w 561"/>
              <a:gd name="T71" fmla="*/ 38 h 374"/>
              <a:gd name="T72" fmla="*/ 74 w 561"/>
              <a:gd name="T73" fmla="*/ 24 h 374"/>
              <a:gd name="T74" fmla="*/ 133 w 561"/>
              <a:gd name="T75" fmla="*/ 26 h 374"/>
              <a:gd name="T76" fmla="*/ 171 w 561"/>
              <a:gd name="T77" fmla="*/ 38 h 374"/>
              <a:gd name="T78" fmla="*/ 189 w 561"/>
              <a:gd name="T79" fmla="*/ 38 h 374"/>
              <a:gd name="T80" fmla="*/ 214 w 561"/>
              <a:gd name="T81" fmla="*/ 40 h 374"/>
              <a:gd name="T82" fmla="*/ 236 w 561"/>
              <a:gd name="T83" fmla="*/ 46 h 374"/>
              <a:gd name="T84" fmla="*/ 265 w 561"/>
              <a:gd name="T85" fmla="*/ 48 h 374"/>
              <a:gd name="T86" fmla="*/ 282 w 561"/>
              <a:gd name="T87" fmla="*/ 15 h 374"/>
              <a:gd name="T88" fmla="*/ 317 w 561"/>
              <a:gd name="T89" fmla="*/ 12 h 374"/>
              <a:gd name="T90" fmla="*/ 358 w 561"/>
              <a:gd name="T91" fmla="*/ 1 h 374"/>
              <a:gd name="T92" fmla="*/ 374 w 561"/>
              <a:gd name="T93" fmla="*/ 36 h 374"/>
              <a:gd name="T94" fmla="*/ 386 w 561"/>
              <a:gd name="T95" fmla="*/ 56 h 374"/>
              <a:gd name="T96" fmla="*/ 410 w 561"/>
              <a:gd name="T97" fmla="*/ 66 h 374"/>
              <a:gd name="T98" fmla="*/ 414 w 561"/>
              <a:gd name="T99" fmla="*/ 87 h 374"/>
              <a:gd name="T100" fmla="*/ 440 w 561"/>
              <a:gd name="T101" fmla="*/ 102 h 374"/>
              <a:gd name="T102" fmla="*/ 472 w 561"/>
              <a:gd name="T103" fmla="*/ 98 h 374"/>
              <a:gd name="T104" fmla="*/ 500 w 561"/>
              <a:gd name="T105" fmla="*/ 119 h 374"/>
              <a:gd name="T106" fmla="*/ 532 w 561"/>
              <a:gd name="T107" fmla="*/ 124 h 374"/>
              <a:gd name="T108" fmla="*/ 560 w 561"/>
              <a:gd name="T109" fmla="*/ 137 h 374"/>
              <a:gd name="T110" fmla="*/ 548 w 561"/>
              <a:gd name="T111" fmla="*/ 164 h 374"/>
              <a:gd name="T112" fmla="*/ 547 w 561"/>
              <a:gd name="T113" fmla="*/ 181 h 374"/>
              <a:gd name="T114" fmla="*/ 556 w 561"/>
              <a:gd name="T115" fmla="*/ 199 h 374"/>
              <a:gd name="T116" fmla="*/ 523 w 561"/>
              <a:gd name="T117" fmla="*/ 218 h 374"/>
              <a:gd name="T118" fmla="*/ 501 w 561"/>
              <a:gd name="T119" fmla="*/ 243 h 374"/>
              <a:gd name="T120" fmla="*/ 308 w 561"/>
              <a:gd name="T121" fmla="*/ 2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1" h="374">
                <a:moveTo>
                  <a:pt x="502" y="254"/>
                </a:moveTo>
                <a:lnTo>
                  <a:pt x="502" y="254"/>
                </a:lnTo>
                <a:lnTo>
                  <a:pt x="501" y="254"/>
                </a:lnTo>
                <a:lnTo>
                  <a:pt x="490" y="253"/>
                </a:lnTo>
                <a:lnTo>
                  <a:pt x="481" y="254"/>
                </a:lnTo>
                <a:lnTo>
                  <a:pt x="474" y="262"/>
                </a:lnTo>
                <a:lnTo>
                  <a:pt x="471" y="262"/>
                </a:lnTo>
                <a:lnTo>
                  <a:pt x="465" y="263"/>
                </a:lnTo>
                <a:lnTo>
                  <a:pt x="462" y="266"/>
                </a:lnTo>
                <a:lnTo>
                  <a:pt x="457" y="271"/>
                </a:lnTo>
                <a:lnTo>
                  <a:pt x="454" y="268"/>
                </a:lnTo>
                <a:lnTo>
                  <a:pt x="450" y="268"/>
                </a:lnTo>
                <a:lnTo>
                  <a:pt x="446" y="270"/>
                </a:lnTo>
                <a:lnTo>
                  <a:pt x="441" y="273"/>
                </a:lnTo>
                <a:lnTo>
                  <a:pt x="439" y="274"/>
                </a:lnTo>
                <a:lnTo>
                  <a:pt x="434" y="273"/>
                </a:lnTo>
                <a:lnTo>
                  <a:pt x="427" y="275"/>
                </a:lnTo>
                <a:lnTo>
                  <a:pt x="414" y="286"/>
                </a:lnTo>
                <a:lnTo>
                  <a:pt x="410" y="294"/>
                </a:lnTo>
                <a:lnTo>
                  <a:pt x="408" y="295"/>
                </a:lnTo>
                <a:lnTo>
                  <a:pt x="406" y="297"/>
                </a:lnTo>
                <a:lnTo>
                  <a:pt x="403" y="298"/>
                </a:lnTo>
                <a:lnTo>
                  <a:pt x="402" y="298"/>
                </a:lnTo>
                <a:lnTo>
                  <a:pt x="408" y="292"/>
                </a:lnTo>
                <a:lnTo>
                  <a:pt x="410" y="290"/>
                </a:lnTo>
                <a:lnTo>
                  <a:pt x="411" y="289"/>
                </a:lnTo>
                <a:lnTo>
                  <a:pt x="411" y="286"/>
                </a:lnTo>
                <a:lnTo>
                  <a:pt x="409" y="283"/>
                </a:lnTo>
                <a:lnTo>
                  <a:pt x="404" y="291"/>
                </a:lnTo>
                <a:lnTo>
                  <a:pt x="401" y="292"/>
                </a:lnTo>
                <a:lnTo>
                  <a:pt x="397" y="294"/>
                </a:lnTo>
                <a:lnTo>
                  <a:pt x="397" y="300"/>
                </a:lnTo>
                <a:lnTo>
                  <a:pt x="397" y="303"/>
                </a:lnTo>
                <a:lnTo>
                  <a:pt x="399" y="308"/>
                </a:lnTo>
                <a:lnTo>
                  <a:pt x="402" y="316"/>
                </a:lnTo>
                <a:lnTo>
                  <a:pt x="410" y="328"/>
                </a:lnTo>
                <a:lnTo>
                  <a:pt x="413" y="332"/>
                </a:lnTo>
                <a:lnTo>
                  <a:pt x="416" y="333"/>
                </a:lnTo>
                <a:lnTo>
                  <a:pt x="419" y="333"/>
                </a:lnTo>
                <a:lnTo>
                  <a:pt x="425" y="330"/>
                </a:lnTo>
                <a:lnTo>
                  <a:pt x="427" y="329"/>
                </a:lnTo>
                <a:lnTo>
                  <a:pt x="433" y="331"/>
                </a:lnTo>
                <a:lnTo>
                  <a:pt x="435" y="328"/>
                </a:lnTo>
                <a:lnTo>
                  <a:pt x="438" y="327"/>
                </a:lnTo>
                <a:lnTo>
                  <a:pt x="442" y="327"/>
                </a:lnTo>
                <a:lnTo>
                  <a:pt x="446" y="328"/>
                </a:lnTo>
                <a:lnTo>
                  <a:pt x="451" y="330"/>
                </a:lnTo>
                <a:lnTo>
                  <a:pt x="449" y="334"/>
                </a:lnTo>
                <a:lnTo>
                  <a:pt x="447" y="337"/>
                </a:lnTo>
                <a:lnTo>
                  <a:pt x="446" y="340"/>
                </a:lnTo>
                <a:lnTo>
                  <a:pt x="445" y="344"/>
                </a:lnTo>
                <a:lnTo>
                  <a:pt x="440" y="346"/>
                </a:lnTo>
                <a:lnTo>
                  <a:pt x="434" y="346"/>
                </a:lnTo>
                <a:lnTo>
                  <a:pt x="429" y="347"/>
                </a:lnTo>
                <a:lnTo>
                  <a:pt x="427" y="345"/>
                </a:lnTo>
                <a:lnTo>
                  <a:pt x="425" y="344"/>
                </a:lnTo>
                <a:lnTo>
                  <a:pt x="423" y="343"/>
                </a:lnTo>
                <a:lnTo>
                  <a:pt x="419" y="342"/>
                </a:lnTo>
                <a:lnTo>
                  <a:pt x="416" y="343"/>
                </a:lnTo>
                <a:lnTo>
                  <a:pt x="413" y="348"/>
                </a:lnTo>
                <a:lnTo>
                  <a:pt x="406" y="352"/>
                </a:lnTo>
                <a:lnTo>
                  <a:pt x="404" y="356"/>
                </a:lnTo>
                <a:lnTo>
                  <a:pt x="398" y="355"/>
                </a:lnTo>
                <a:lnTo>
                  <a:pt x="393" y="356"/>
                </a:lnTo>
                <a:lnTo>
                  <a:pt x="385" y="359"/>
                </a:lnTo>
                <a:lnTo>
                  <a:pt x="379" y="367"/>
                </a:lnTo>
                <a:lnTo>
                  <a:pt x="373" y="372"/>
                </a:lnTo>
                <a:lnTo>
                  <a:pt x="368" y="374"/>
                </a:lnTo>
                <a:lnTo>
                  <a:pt x="363" y="373"/>
                </a:lnTo>
                <a:lnTo>
                  <a:pt x="360" y="372"/>
                </a:lnTo>
                <a:lnTo>
                  <a:pt x="353" y="367"/>
                </a:lnTo>
                <a:lnTo>
                  <a:pt x="354" y="365"/>
                </a:lnTo>
                <a:lnTo>
                  <a:pt x="354" y="364"/>
                </a:lnTo>
                <a:lnTo>
                  <a:pt x="356" y="361"/>
                </a:lnTo>
                <a:lnTo>
                  <a:pt x="358" y="351"/>
                </a:lnTo>
                <a:lnTo>
                  <a:pt x="358" y="348"/>
                </a:lnTo>
                <a:lnTo>
                  <a:pt x="356" y="343"/>
                </a:lnTo>
                <a:lnTo>
                  <a:pt x="351" y="339"/>
                </a:lnTo>
                <a:lnTo>
                  <a:pt x="347" y="340"/>
                </a:lnTo>
                <a:lnTo>
                  <a:pt x="345" y="339"/>
                </a:lnTo>
                <a:lnTo>
                  <a:pt x="337" y="332"/>
                </a:lnTo>
                <a:lnTo>
                  <a:pt x="332" y="331"/>
                </a:lnTo>
                <a:lnTo>
                  <a:pt x="327" y="333"/>
                </a:lnTo>
                <a:lnTo>
                  <a:pt x="325" y="332"/>
                </a:lnTo>
                <a:lnTo>
                  <a:pt x="324" y="329"/>
                </a:lnTo>
                <a:lnTo>
                  <a:pt x="334" y="321"/>
                </a:lnTo>
                <a:lnTo>
                  <a:pt x="344" y="314"/>
                </a:lnTo>
                <a:lnTo>
                  <a:pt x="348" y="313"/>
                </a:lnTo>
                <a:lnTo>
                  <a:pt x="354" y="310"/>
                </a:lnTo>
                <a:lnTo>
                  <a:pt x="360" y="305"/>
                </a:lnTo>
                <a:lnTo>
                  <a:pt x="359" y="301"/>
                </a:lnTo>
                <a:lnTo>
                  <a:pt x="358" y="299"/>
                </a:lnTo>
                <a:lnTo>
                  <a:pt x="355" y="299"/>
                </a:lnTo>
                <a:lnTo>
                  <a:pt x="353" y="300"/>
                </a:lnTo>
                <a:lnTo>
                  <a:pt x="347" y="297"/>
                </a:lnTo>
                <a:lnTo>
                  <a:pt x="345" y="295"/>
                </a:lnTo>
                <a:lnTo>
                  <a:pt x="337" y="297"/>
                </a:lnTo>
                <a:lnTo>
                  <a:pt x="333" y="297"/>
                </a:lnTo>
                <a:lnTo>
                  <a:pt x="323" y="299"/>
                </a:lnTo>
                <a:lnTo>
                  <a:pt x="318" y="297"/>
                </a:lnTo>
                <a:lnTo>
                  <a:pt x="309" y="291"/>
                </a:lnTo>
                <a:lnTo>
                  <a:pt x="306" y="290"/>
                </a:lnTo>
                <a:lnTo>
                  <a:pt x="303" y="290"/>
                </a:lnTo>
                <a:lnTo>
                  <a:pt x="301" y="288"/>
                </a:lnTo>
                <a:lnTo>
                  <a:pt x="303" y="287"/>
                </a:lnTo>
                <a:lnTo>
                  <a:pt x="305" y="287"/>
                </a:lnTo>
                <a:lnTo>
                  <a:pt x="308" y="287"/>
                </a:lnTo>
                <a:lnTo>
                  <a:pt x="308" y="286"/>
                </a:lnTo>
                <a:lnTo>
                  <a:pt x="308" y="284"/>
                </a:lnTo>
                <a:lnTo>
                  <a:pt x="303" y="282"/>
                </a:lnTo>
                <a:lnTo>
                  <a:pt x="299" y="282"/>
                </a:lnTo>
                <a:lnTo>
                  <a:pt x="296" y="280"/>
                </a:lnTo>
                <a:lnTo>
                  <a:pt x="294" y="278"/>
                </a:lnTo>
                <a:lnTo>
                  <a:pt x="299" y="278"/>
                </a:lnTo>
                <a:lnTo>
                  <a:pt x="304" y="279"/>
                </a:lnTo>
                <a:lnTo>
                  <a:pt x="312" y="280"/>
                </a:lnTo>
                <a:lnTo>
                  <a:pt x="319" y="282"/>
                </a:lnTo>
                <a:lnTo>
                  <a:pt x="321" y="280"/>
                </a:lnTo>
                <a:lnTo>
                  <a:pt x="325" y="276"/>
                </a:lnTo>
                <a:lnTo>
                  <a:pt x="326" y="275"/>
                </a:lnTo>
                <a:lnTo>
                  <a:pt x="319" y="278"/>
                </a:lnTo>
                <a:lnTo>
                  <a:pt x="312" y="276"/>
                </a:lnTo>
                <a:lnTo>
                  <a:pt x="309" y="274"/>
                </a:lnTo>
                <a:lnTo>
                  <a:pt x="307" y="271"/>
                </a:lnTo>
                <a:lnTo>
                  <a:pt x="306" y="268"/>
                </a:lnTo>
                <a:lnTo>
                  <a:pt x="307" y="264"/>
                </a:lnTo>
                <a:lnTo>
                  <a:pt x="306" y="259"/>
                </a:lnTo>
                <a:lnTo>
                  <a:pt x="304" y="253"/>
                </a:lnTo>
                <a:lnTo>
                  <a:pt x="303" y="251"/>
                </a:lnTo>
                <a:lnTo>
                  <a:pt x="300" y="248"/>
                </a:lnTo>
                <a:lnTo>
                  <a:pt x="303" y="254"/>
                </a:lnTo>
                <a:lnTo>
                  <a:pt x="304" y="258"/>
                </a:lnTo>
                <a:lnTo>
                  <a:pt x="305" y="261"/>
                </a:lnTo>
                <a:lnTo>
                  <a:pt x="305" y="270"/>
                </a:lnTo>
                <a:lnTo>
                  <a:pt x="304" y="274"/>
                </a:lnTo>
                <a:lnTo>
                  <a:pt x="301" y="274"/>
                </a:lnTo>
                <a:lnTo>
                  <a:pt x="297" y="274"/>
                </a:lnTo>
                <a:lnTo>
                  <a:pt x="293" y="273"/>
                </a:lnTo>
                <a:lnTo>
                  <a:pt x="294" y="268"/>
                </a:lnTo>
                <a:lnTo>
                  <a:pt x="292" y="270"/>
                </a:lnTo>
                <a:lnTo>
                  <a:pt x="289" y="275"/>
                </a:lnTo>
                <a:lnTo>
                  <a:pt x="287" y="275"/>
                </a:lnTo>
                <a:lnTo>
                  <a:pt x="281" y="275"/>
                </a:lnTo>
                <a:lnTo>
                  <a:pt x="270" y="278"/>
                </a:lnTo>
                <a:lnTo>
                  <a:pt x="270" y="282"/>
                </a:lnTo>
                <a:lnTo>
                  <a:pt x="268" y="286"/>
                </a:lnTo>
                <a:lnTo>
                  <a:pt x="267" y="289"/>
                </a:lnTo>
                <a:lnTo>
                  <a:pt x="266" y="291"/>
                </a:lnTo>
                <a:lnTo>
                  <a:pt x="262" y="298"/>
                </a:lnTo>
                <a:lnTo>
                  <a:pt x="261" y="299"/>
                </a:lnTo>
                <a:lnTo>
                  <a:pt x="252" y="309"/>
                </a:lnTo>
                <a:lnTo>
                  <a:pt x="251" y="310"/>
                </a:lnTo>
                <a:lnTo>
                  <a:pt x="246" y="312"/>
                </a:lnTo>
                <a:lnTo>
                  <a:pt x="242" y="314"/>
                </a:lnTo>
                <a:lnTo>
                  <a:pt x="240" y="315"/>
                </a:lnTo>
                <a:lnTo>
                  <a:pt x="236" y="314"/>
                </a:lnTo>
                <a:lnTo>
                  <a:pt x="234" y="315"/>
                </a:lnTo>
                <a:lnTo>
                  <a:pt x="233" y="317"/>
                </a:lnTo>
                <a:lnTo>
                  <a:pt x="233" y="321"/>
                </a:lnTo>
                <a:lnTo>
                  <a:pt x="235" y="323"/>
                </a:lnTo>
                <a:lnTo>
                  <a:pt x="237" y="332"/>
                </a:lnTo>
                <a:lnTo>
                  <a:pt x="236" y="336"/>
                </a:lnTo>
                <a:lnTo>
                  <a:pt x="235" y="333"/>
                </a:lnTo>
                <a:lnTo>
                  <a:pt x="232" y="331"/>
                </a:lnTo>
                <a:lnTo>
                  <a:pt x="227" y="329"/>
                </a:lnTo>
                <a:lnTo>
                  <a:pt x="221" y="329"/>
                </a:lnTo>
                <a:lnTo>
                  <a:pt x="215" y="333"/>
                </a:lnTo>
                <a:lnTo>
                  <a:pt x="211" y="334"/>
                </a:lnTo>
                <a:lnTo>
                  <a:pt x="209" y="334"/>
                </a:lnTo>
                <a:lnTo>
                  <a:pt x="208" y="334"/>
                </a:lnTo>
                <a:lnTo>
                  <a:pt x="207" y="335"/>
                </a:lnTo>
                <a:lnTo>
                  <a:pt x="207" y="336"/>
                </a:lnTo>
                <a:lnTo>
                  <a:pt x="208" y="336"/>
                </a:lnTo>
                <a:lnTo>
                  <a:pt x="208" y="337"/>
                </a:lnTo>
                <a:lnTo>
                  <a:pt x="207" y="337"/>
                </a:lnTo>
                <a:lnTo>
                  <a:pt x="197" y="334"/>
                </a:lnTo>
                <a:lnTo>
                  <a:pt x="193" y="332"/>
                </a:lnTo>
                <a:lnTo>
                  <a:pt x="190" y="327"/>
                </a:lnTo>
                <a:lnTo>
                  <a:pt x="191" y="326"/>
                </a:lnTo>
                <a:lnTo>
                  <a:pt x="193" y="325"/>
                </a:lnTo>
                <a:lnTo>
                  <a:pt x="198" y="325"/>
                </a:lnTo>
                <a:lnTo>
                  <a:pt x="199" y="324"/>
                </a:lnTo>
                <a:lnTo>
                  <a:pt x="199" y="323"/>
                </a:lnTo>
                <a:lnTo>
                  <a:pt x="199" y="322"/>
                </a:lnTo>
                <a:lnTo>
                  <a:pt x="199" y="320"/>
                </a:lnTo>
                <a:lnTo>
                  <a:pt x="199" y="318"/>
                </a:lnTo>
                <a:lnTo>
                  <a:pt x="201" y="315"/>
                </a:lnTo>
                <a:lnTo>
                  <a:pt x="204" y="312"/>
                </a:lnTo>
                <a:lnTo>
                  <a:pt x="206" y="310"/>
                </a:lnTo>
                <a:lnTo>
                  <a:pt x="206" y="306"/>
                </a:lnTo>
                <a:lnTo>
                  <a:pt x="210" y="304"/>
                </a:lnTo>
                <a:lnTo>
                  <a:pt x="213" y="301"/>
                </a:lnTo>
                <a:lnTo>
                  <a:pt x="214" y="297"/>
                </a:lnTo>
                <a:lnTo>
                  <a:pt x="215" y="295"/>
                </a:lnTo>
                <a:lnTo>
                  <a:pt x="213" y="290"/>
                </a:lnTo>
                <a:lnTo>
                  <a:pt x="212" y="287"/>
                </a:lnTo>
                <a:lnTo>
                  <a:pt x="212" y="284"/>
                </a:lnTo>
                <a:lnTo>
                  <a:pt x="213" y="282"/>
                </a:lnTo>
                <a:lnTo>
                  <a:pt x="216" y="281"/>
                </a:lnTo>
                <a:lnTo>
                  <a:pt x="219" y="279"/>
                </a:lnTo>
                <a:lnTo>
                  <a:pt x="220" y="279"/>
                </a:lnTo>
                <a:lnTo>
                  <a:pt x="221" y="280"/>
                </a:lnTo>
                <a:lnTo>
                  <a:pt x="221" y="286"/>
                </a:lnTo>
                <a:lnTo>
                  <a:pt x="221" y="286"/>
                </a:lnTo>
                <a:lnTo>
                  <a:pt x="222" y="285"/>
                </a:lnTo>
                <a:lnTo>
                  <a:pt x="224" y="282"/>
                </a:lnTo>
                <a:lnTo>
                  <a:pt x="225" y="283"/>
                </a:lnTo>
                <a:lnTo>
                  <a:pt x="227" y="283"/>
                </a:lnTo>
                <a:lnTo>
                  <a:pt x="228" y="282"/>
                </a:lnTo>
                <a:lnTo>
                  <a:pt x="229" y="283"/>
                </a:lnTo>
                <a:lnTo>
                  <a:pt x="230" y="283"/>
                </a:lnTo>
                <a:lnTo>
                  <a:pt x="232" y="285"/>
                </a:lnTo>
                <a:lnTo>
                  <a:pt x="234" y="285"/>
                </a:lnTo>
                <a:lnTo>
                  <a:pt x="235" y="284"/>
                </a:lnTo>
                <a:lnTo>
                  <a:pt x="236" y="283"/>
                </a:lnTo>
                <a:lnTo>
                  <a:pt x="238" y="283"/>
                </a:lnTo>
                <a:lnTo>
                  <a:pt x="240" y="287"/>
                </a:lnTo>
                <a:lnTo>
                  <a:pt x="242" y="287"/>
                </a:lnTo>
                <a:lnTo>
                  <a:pt x="248" y="286"/>
                </a:lnTo>
                <a:lnTo>
                  <a:pt x="249" y="285"/>
                </a:lnTo>
                <a:lnTo>
                  <a:pt x="250" y="284"/>
                </a:lnTo>
                <a:lnTo>
                  <a:pt x="243" y="279"/>
                </a:lnTo>
                <a:lnTo>
                  <a:pt x="244" y="275"/>
                </a:lnTo>
                <a:lnTo>
                  <a:pt x="244" y="270"/>
                </a:lnTo>
                <a:lnTo>
                  <a:pt x="243" y="268"/>
                </a:lnTo>
                <a:lnTo>
                  <a:pt x="242" y="266"/>
                </a:lnTo>
                <a:lnTo>
                  <a:pt x="237" y="263"/>
                </a:lnTo>
                <a:lnTo>
                  <a:pt x="233" y="261"/>
                </a:lnTo>
                <a:lnTo>
                  <a:pt x="232" y="259"/>
                </a:lnTo>
                <a:lnTo>
                  <a:pt x="232" y="258"/>
                </a:lnTo>
                <a:lnTo>
                  <a:pt x="232" y="256"/>
                </a:lnTo>
                <a:lnTo>
                  <a:pt x="230" y="254"/>
                </a:lnTo>
                <a:lnTo>
                  <a:pt x="230" y="252"/>
                </a:lnTo>
                <a:lnTo>
                  <a:pt x="231" y="249"/>
                </a:lnTo>
                <a:lnTo>
                  <a:pt x="231" y="246"/>
                </a:lnTo>
                <a:lnTo>
                  <a:pt x="231" y="245"/>
                </a:lnTo>
                <a:lnTo>
                  <a:pt x="230" y="244"/>
                </a:lnTo>
                <a:lnTo>
                  <a:pt x="229" y="244"/>
                </a:lnTo>
                <a:lnTo>
                  <a:pt x="226" y="243"/>
                </a:lnTo>
                <a:lnTo>
                  <a:pt x="225" y="241"/>
                </a:lnTo>
                <a:lnTo>
                  <a:pt x="221" y="237"/>
                </a:lnTo>
                <a:lnTo>
                  <a:pt x="219" y="237"/>
                </a:lnTo>
                <a:lnTo>
                  <a:pt x="219" y="235"/>
                </a:lnTo>
                <a:lnTo>
                  <a:pt x="218" y="233"/>
                </a:lnTo>
                <a:lnTo>
                  <a:pt x="219" y="231"/>
                </a:lnTo>
                <a:lnTo>
                  <a:pt x="220" y="228"/>
                </a:lnTo>
                <a:lnTo>
                  <a:pt x="221" y="224"/>
                </a:lnTo>
                <a:lnTo>
                  <a:pt x="221" y="222"/>
                </a:lnTo>
                <a:lnTo>
                  <a:pt x="220" y="217"/>
                </a:lnTo>
                <a:lnTo>
                  <a:pt x="218" y="213"/>
                </a:lnTo>
                <a:lnTo>
                  <a:pt x="217" y="213"/>
                </a:lnTo>
                <a:lnTo>
                  <a:pt x="216" y="214"/>
                </a:lnTo>
                <a:lnTo>
                  <a:pt x="214" y="215"/>
                </a:lnTo>
                <a:lnTo>
                  <a:pt x="212" y="214"/>
                </a:lnTo>
                <a:lnTo>
                  <a:pt x="210" y="212"/>
                </a:lnTo>
                <a:lnTo>
                  <a:pt x="207" y="206"/>
                </a:lnTo>
                <a:lnTo>
                  <a:pt x="202" y="205"/>
                </a:lnTo>
                <a:lnTo>
                  <a:pt x="200" y="205"/>
                </a:lnTo>
                <a:lnTo>
                  <a:pt x="198" y="208"/>
                </a:lnTo>
                <a:lnTo>
                  <a:pt x="197" y="207"/>
                </a:lnTo>
                <a:lnTo>
                  <a:pt x="196" y="205"/>
                </a:lnTo>
                <a:lnTo>
                  <a:pt x="195" y="204"/>
                </a:lnTo>
                <a:lnTo>
                  <a:pt x="194" y="205"/>
                </a:lnTo>
                <a:lnTo>
                  <a:pt x="193" y="204"/>
                </a:lnTo>
                <a:lnTo>
                  <a:pt x="194" y="202"/>
                </a:lnTo>
                <a:lnTo>
                  <a:pt x="192" y="201"/>
                </a:lnTo>
                <a:lnTo>
                  <a:pt x="188" y="201"/>
                </a:lnTo>
                <a:lnTo>
                  <a:pt x="186" y="200"/>
                </a:lnTo>
                <a:lnTo>
                  <a:pt x="186" y="198"/>
                </a:lnTo>
                <a:lnTo>
                  <a:pt x="184" y="197"/>
                </a:lnTo>
                <a:lnTo>
                  <a:pt x="182" y="196"/>
                </a:lnTo>
                <a:lnTo>
                  <a:pt x="180" y="195"/>
                </a:lnTo>
                <a:lnTo>
                  <a:pt x="178" y="192"/>
                </a:lnTo>
                <a:lnTo>
                  <a:pt x="174" y="191"/>
                </a:lnTo>
                <a:lnTo>
                  <a:pt x="170" y="190"/>
                </a:lnTo>
                <a:lnTo>
                  <a:pt x="170" y="190"/>
                </a:lnTo>
                <a:lnTo>
                  <a:pt x="169" y="189"/>
                </a:lnTo>
                <a:lnTo>
                  <a:pt x="166" y="191"/>
                </a:lnTo>
                <a:lnTo>
                  <a:pt x="165" y="192"/>
                </a:lnTo>
                <a:lnTo>
                  <a:pt x="163" y="192"/>
                </a:lnTo>
                <a:lnTo>
                  <a:pt x="159" y="194"/>
                </a:lnTo>
                <a:lnTo>
                  <a:pt x="152" y="195"/>
                </a:lnTo>
                <a:lnTo>
                  <a:pt x="149" y="194"/>
                </a:lnTo>
                <a:lnTo>
                  <a:pt x="147" y="194"/>
                </a:lnTo>
                <a:lnTo>
                  <a:pt x="141" y="198"/>
                </a:lnTo>
                <a:lnTo>
                  <a:pt x="140" y="200"/>
                </a:lnTo>
                <a:lnTo>
                  <a:pt x="139" y="200"/>
                </a:lnTo>
                <a:lnTo>
                  <a:pt x="135" y="201"/>
                </a:lnTo>
                <a:lnTo>
                  <a:pt x="130" y="202"/>
                </a:lnTo>
                <a:lnTo>
                  <a:pt x="129" y="206"/>
                </a:lnTo>
                <a:lnTo>
                  <a:pt x="128" y="209"/>
                </a:lnTo>
                <a:lnTo>
                  <a:pt x="126" y="212"/>
                </a:lnTo>
                <a:lnTo>
                  <a:pt x="118" y="213"/>
                </a:lnTo>
                <a:lnTo>
                  <a:pt x="111" y="215"/>
                </a:lnTo>
                <a:lnTo>
                  <a:pt x="104" y="216"/>
                </a:lnTo>
                <a:lnTo>
                  <a:pt x="95" y="220"/>
                </a:lnTo>
                <a:lnTo>
                  <a:pt x="92" y="224"/>
                </a:lnTo>
                <a:lnTo>
                  <a:pt x="89" y="224"/>
                </a:lnTo>
                <a:lnTo>
                  <a:pt x="86" y="225"/>
                </a:lnTo>
                <a:lnTo>
                  <a:pt x="85" y="223"/>
                </a:lnTo>
                <a:lnTo>
                  <a:pt x="79" y="217"/>
                </a:lnTo>
                <a:lnTo>
                  <a:pt x="76" y="215"/>
                </a:lnTo>
                <a:lnTo>
                  <a:pt x="74" y="214"/>
                </a:lnTo>
                <a:lnTo>
                  <a:pt x="70" y="215"/>
                </a:lnTo>
                <a:lnTo>
                  <a:pt x="67" y="216"/>
                </a:lnTo>
                <a:lnTo>
                  <a:pt x="64" y="216"/>
                </a:lnTo>
                <a:lnTo>
                  <a:pt x="60" y="214"/>
                </a:lnTo>
                <a:lnTo>
                  <a:pt x="60" y="214"/>
                </a:lnTo>
                <a:lnTo>
                  <a:pt x="59" y="215"/>
                </a:lnTo>
                <a:lnTo>
                  <a:pt x="49" y="212"/>
                </a:lnTo>
                <a:lnTo>
                  <a:pt x="49" y="212"/>
                </a:lnTo>
                <a:lnTo>
                  <a:pt x="48" y="212"/>
                </a:lnTo>
                <a:lnTo>
                  <a:pt x="47" y="212"/>
                </a:lnTo>
                <a:lnTo>
                  <a:pt x="40" y="212"/>
                </a:lnTo>
                <a:lnTo>
                  <a:pt x="34" y="208"/>
                </a:lnTo>
                <a:lnTo>
                  <a:pt x="32" y="208"/>
                </a:lnTo>
                <a:lnTo>
                  <a:pt x="30" y="209"/>
                </a:lnTo>
                <a:lnTo>
                  <a:pt x="29" y="211"/>
                </a:lnTo>
                <a:lnTo>
                  <a:pt x="25" y="213"/>
                </a:lnTo>
                <a:lnTo>
                  <a:pt x="23" y="214"/>
                </a:lnTo>
                <a:lnTo>
                  <a:pt x="23" y="214"/>
                </a:lnTo>
                <a:lnTo>
                  <a:pt x="22" y="212"/>
                </a:lnTo>
                <a:lnTo>
                  <a:pt x="23" y="210"/>
                </a:lnTo>
                <a:lnTo>
                  <a:pt x="22" y="209"/>
                </a:lnTo>
                <a:lnTo>
                  <a:pt x="20" y="207"/>
                </a:lnTo>
                <a:lnTo>
                  <a:pt x="20" y="207"/>
                </a:lnTo>
                <a:lnTo>
                  <a:pt x="18" y="207"/>
                </a:lnTo>
                <a:lnTo>
                  <a:pt x="17" y="207"/>
                </a:lnTo>
                <a:lnTo>
                  <a:pt x="17" y="207"/>
                </a:lnTo>
                <a:lnTo>
                  <a:pt x="14" y="205"/>
                </a:lnTo>
                <a:lnTo>
                  <a:pt x="12" y="202"/>
                </a:lnTo>
                <a:lnTo>
                  <a:pt x="9" y="200"/>
                </a:lnTo>
                <a:lnTo>
                  <a:pt x="7" y="200"/>
                </a:lnTo>
                <a:lnTo>
                  <a:pt x="6" y="198"/>
                </a:lnTo>
                <a:lnTo>
                  <a:pt x="5" y="196"/>
                </a:lnTo>
                <a:lnTo>
                  <a:pt x="5" y="195"/>
                </a:lnTo>
                <a:lnTo>
                  <a:pt x="4" y="195"/>
                </a:lnTo>
                <a:lnTo>
                  <a:pt x="4" y="193"/>
                </a:lnTo>
                <a:lnTo>
                  <a:pt x="3" y="192"/>
                </a:lnTo>
                <a:lnTo>
                  <a:pt x="3" y="192"/>
                </a:lnTo>
                <a:lnTo>
                  <a:pt x="0" y="193"/>
                </a:lnTo>
                <a:lnTo>
                  <a:pt x="1" y="185"/>
                </a:lnTo>
                <a:lnTo>
                  <a:pt x="5" y="180"/>
                </a:lnTo>
                <a:lnTo>
                  <a:pt x="6" y="177"/>
                </a:lnTo>
                <a:lnTo>
                  <a:pt x="8" y="171"/>
                </a:lnTo>
                <a:lnTo>
                  <a:pt x="10" y="168"/>
                </a:lnTo>
                <a:lnTo>
                  <a:pt x="11" y="166"/>
                </a:lnTo>
                <a:lnTo>
                  <a:pt x="12" y="163"/>
                </a:lnTo>
                <a:lnTo>
                  <a:pt x="13" y="161"/>
                </a:lnTo>
                <a:lnTo>
                  <a:pt x="14" y="161"/>
                </a:lnTo>
                <a:lnTo>
                  <a:pt x="18" y="163"/>
                </a:lnTo>
                <a:lnTo>
                  <a:pt x="21" y="164"/>
                </a:lnTo>
                <a:lnTo>
                  <a:pt x="22" y="163"/>
                </a:lnTo>
                <a:lnTo>
                  <a:pt x="23" y="162"/>
                </a:lnTo>
                <a:lnTo>
                  <a:pt x="22" y="161"/>
                </a:lnTo>
                <a:lnTo>
                  <a:pt x="20" y="158"/>
                </a:lnTo>
                <a:lnTo>
                  <a:pt x="18" y="157"/>
                </a:lnTo>
                <a:lnTo>
                  <a:pt x="18" y="156"/>
                </a:lnTo>
                <a:lnTo>
                  <a:pt x="19" y="153"/>
                </a:lnTo>
                <a:lnTo>
                  <a:pt x="19" y="151"/>
                </a:lnTo>
                <a:lnTo>
                  <a:pt x="19" y="148"/>
                </a:lnTo>
                <a:lnTo>
                  <a:pt x="17" y="142"/>
                </a:lnTo>
                <a:lnTo>
                  <a:pt x="16" y="139"/>
                </a:lnTo>
                <a:lnTo>
                  <a:pt x="18" y="136"/>
                </a:lnTo>
                <a:lnTo>
                  <a:pt x="24" y="128"/>
                </a:lnTo>
                <a:lnTo>
                  <a:pt x="26" y="125"/>
                </a:lnTo>
                <a:lnTo>
                  <a:pt x="28" y="122"/>
                </a:lnTo>
                <a:lnTo>
                  <a:pt x="36" y="113"/>
                </a:lnTo>
                <a:lnTo>
                  <a:pt x="40" y="108"/>
                </a:lnTo>
                <a:lnTo>
                  <a:pt x="43" y="106"/>
                </a:lnTo>
                <a:lnTo>
                  <a:pt x="48" y="101"/>
                </a:lnTo>
                <a:lnTo>
                  <a:pt x="49" y="99"/>
                </a:lnTo>
                <a:lnTo>
                  <a:pt x="58" y="97"/>
                </a:lnTo>
                <a:lnTo>
                  <a:pt x="59" y="95"/>
                </a:lnTo>
                <a:lnTo>
                  <a:pt x="60" y="92"/>
                </a:lnTo>
                <a:lnTo>
                  <a:pt x="61" y="91"/>
                </a:lnTo>
                <a:lnTo>
                  <a:pt x="61" y="87"/>
                </a:lnTo>
                <a:lnTo>
                  <a:pt x="60" y="82"/>
                </a:lnTo>
                <a:lnTo>
                  <a:pt x="59" y="80"/>
                </a:lnTo>
                <a:lnTo>
                  <a:pt x="58" y="79"/>
                </a:lnTo>
                <a:lnTo>
                  <a:pt x="58" y="77"/>
                </a:lnTo>
                <a:lnTo>
                  <a:pt x="59" y="77"/>
                </a:lnTo>
                <a:lnTo>
                  <a:pt x="60" y="77"/>
                </a:lnTo>
                <a:lnTo>
                  <a:pt x="62" y="76"/>
                </a:lnTo>
                <a:lnTo>
                  <a:pt x="61" y="74"/>
                </a:lnTo>
                <a:lnTo>
                  <a:pt x="58" y="71"/>
                </a:lnTo>
                <a:lnTo>
                  <a:pt x="57" y="68"/>
                </a:lnTo>
                <a:lnTo>
                  <a:pt x="54" y="62"/>
                </a:lnTo>
                <a:lnTo>
                  <a:pt x="50" y="55"/>
                </a:lnTo>
                <a:lnTo>
                  <a:pt x="48" y="53"/>
                </a:lnTo>
                <a:lnTo>
                  <a:pt x="48" y="50"/>
                </a:lnTo>
                <a:lnTo>
                  <a:pt x="48" y="48"/>
                </a:lnTo>
                <a:lnTo>
                  <a:pt x="48" y="46"/>
                </a:lnTo>
                <a:lnTo>
                  <a:pt x="46" y="42"/>
                </a:lnTo>
                <a:lnTo>
                  <a:pt x="46" y="42"/>
                </a:lnTo>
                <a:lnTo>
                  <a:pt x="46" y="38"/>
                </a:lnTo>
                <a:lnTo>
                  <a:pt x="47" y="37"/>
                </a:lnTo>
                <a:lnTo>
                  <a:pt x="49" y="36"/>
                </a:lnTo>
                <a:lnTo>
                  <a:pt x="52" y="36"/>
                </a:lnTo>
                <a:lnTo>
                  <a:pt x="54" y="37"/>
                </a:lnTo>
                <a:lnTo>
                  <a:pt x="57" y="39"/>
                </a:lnTo>
                <a:lnTo>
                  <a:pt x="58" y="39"/>
                </a:lnTo>
                <a:lnTo>
                  <a:pt x="62" y="35"/>
                </a:lnTo>
                <a:lnTo>
                  <a:pt x="67" y="29"/>
                </a:lnTo>
                <a:lnTo>
                  <a:pt x="69" y="26"/>
                </a:lnTo>
                <a:lnTo>
                  <a:pt x="70" y="25"/>
                </a:lnTo>
                <a:lnTo>
                  <a:pt x="74" y="24"/>
                </a:lnTo>
                <a:lnTo>
                  <a:pt x="78" y="24"/>
                </a:lnTo>
                <a:lnTo>
                  <a:pt x="80" y="24"/>
                </a:lnTo>
                <a:lnTo>
                  <a:pt x="86" y="23"/>
                </a:lnTo>
                <a:lnTo>
                  <a:pt x="89" y="23"/>
                </a:lnTo>
                <a:lnTo>
                  <a:pt x="92" y="22"/>
                </a:lnTo>
                <a:lnTo>
                  <a:pt x="98" y="21"/>
                </a:lnTo>
                <a:lnTo>
                  <a:pt x="108" y="22"/>
                </a:lnTo>
                <a:lnTo>
                  <a:pt x="114" y="22"/>
                </a:lnTo>
                <a:lnTo>
                  <a:pt x="119" y="22"/>
                </a:lnTo>
                <a:lnTo>
                  <a:pt x="129" y="25"/>
                </a:lnTo>
                <a:lnTo>
                  <a:pt x="133" y="26"/>
                </a:lnTo>
                <a:lnTo>
                  <a:pt x="135" y="27"/>
                </a:lnTo>
                <a:lnTo>
                  <a:pt x="139" y="28"/>
                </a:lnTo>
                <a:lnTo>
                  <a:pt x="145" y="30"/>
                </a:lnTo>
                <a:lnTo>
                  <a:pt x="151" y="30"/>
                </a:lnTo>
                <a:lnTo>
                  <a:pt x="154" y="30"/>
                </a:lnTo>
                <a:lnTo>
                  <a:pt x="156" y="31"/>
                </a:lnTo>
                <a:lnTo>
                  <a:pt x="160" y="37"/>
                </a:lnTo>
                <a:lnTo>
                  <a:pt x="161" y="38"/>
                </a:lnTo>
                <a:lnTo>
                  <a:pt x="163" y="38"/>
                </a:lnTo>
                <a:lnTo>
                  <a:pt x="166" y="38"/>
                </a:lnTo>
                <a:lnTo>
                  <a:pt x="171" y="38"/>
                </a:lnTo>
                <a:lnTo>
                  <a:pt x="174" y="40"/>
                </a:lnTo>
                <a:lnTo>
                  <a:pt x="173" y="44"/>
                </a:lnTo>
                <a:lnTo>
                  <a:pt x="174" y="44"/>
                </a:lnTo>
                <a:lnTo>
                  <a:pt x="175" y="44"/>
                </a:lnTo>
                <a:lnTo>
                  <a:pt x="177" y="42"/>
                </a:lnTo>
                <a:lnTo>
                  <a:pt x="178" y="39"/>
                </a:lnTo>
                <a:lnTo>
                  <a:pt x="179" y="39"/>
                </a:lnTo>
                <a:lnTo>
                  <a:pt x="184" y="40"/>
                </a:lnTo>
                <a:lnTo>
                  <a:pt x="186" y="40"/>
                </a:lnTo>
                <a:lnTo>
                  <a:pt x="188" y="38"/>
                </a:lnTo>
                <a:lnTo>
                  <a:pt x="189" y="38"/>
                </a:lnTo>
                <a:lnTo>
                  <a:pt x="192" y="39"/>
                </a:lnTo>
                <a:lnTo>
                  <a:pt x="196" y="40"/>
                </a:lnTo>
                <a:lnTo>
                  <a:pt x="200" y="40"/>
                </a:lnTo>
                <a:lnTo>
                  <a:pt x="202" y="41"/>
                </a:lnTo>
                <a:lnTo>
                  <a:pt x="203" y="45"/>
                </a:lnTo>
                <a:lnTo>
                  <a:pt x="205" y="46"/>
                </a:lnTo>
                <a:lnTo>
                  <a:pt x="206" y="46"/>
                </a:lnTo>
                <a:lnTo>
                  <a:pt x="208" y="43"/>
                </a:lnTo>
                <a:lnTo>
                  <a:pt x="210" y="41"/>
                </a:lnTo>
                <a:lnTo>
                  <a:pt x="212" y="40"/>
                </a:lnTo>
                <a:lnTo>
                  <a:pt x="214" y="40"/>
                </a:lnTo>
                <a:lnTo>
                  <a:pt x="215" y="38"/>
                </a:lnTo>
                <a:lnTo>
                  <a:pt x="216" y="37"/>
                </a:lnTo>
                <a:lnTo>
                  <a:pt x="218" y="37"/>
                </a:lnTo>
                <a:lnTo>
                  <a:pt x="219" y="37"/>
                </a:lnTo>
                <a:lnTo>
                  <a:pt x="220" y="39"/>
                </a:lnTo>
                <a:lnTo>
                  <a:pt x="222" y="43"/>
                </a:lnTo>
                <a:lnTo>
                  <a:pt x="224" y="47"/>
                </a:lnTo>
                <a:lnTo>
                  <a:pt x="225" y="49"/>
                </a:lnTo>
                <a:lnTo>
                  <a:pt x="229" y="48"/>
                </a:lnTo>
                <a:lnTo>
                  <a:pt x="232" y="46"/>
                </a:lnTo>
                <a:lnTo>
                  <a:pt x="236" y="46"/>
                </a:lnTo>
                <a:lnTo>
                  <a:pt x="243" y="45"/>
                </a:lnTo>
                <a:lnTo>
                  <a:pt x="248" y="44"/>
                </a:lnTo>
                <a:lnTo>
                  <a:pt x="251" y="44"/>
                </a:lnTo>
                <a:lnTo>
                  <a:pt x="252" y="46"/>
                </a:lnTo>
                <a:lnTo>
                  <a:pt x="255" y="48"/>
                </a:lnTo>
                <a:lnTo>
                  <a:pt x="256" y="52"/>
                </a:lnTo>
                <a:lnTo>
                  <a:pt x="260" y="54"/>
                </a:lnTo>
                <a:lnTo>
                  <a:pt x="263" y="55"/>
                </a:lnTo>
                <a:lnTo>
                  <a:pt x="264" y="52"/>
                </a:lnTo>
                <a:lnTo>
                  <a:pt x="265" y="50"/>
                </a:lnTo>
                <a:lnTo>
                  <a:pt x="265" y="48"/>
                </a:lnTo>
                <a:lnTo>
                  <a:pt x="264" y="45"/>
                </a:lnTo>
                <a:lnTo>
                  <a:pt x="263" y="42"/>
                </a:lnTo>
                <a:lnTo>
                  <a:pt x="262" y="38"/>
                </a:lnTo>
                <a:lnTo>
                  <a:pt x="264" y="34"/>
                </a:lnTo>
                <a:lnTo>
                  <a:pt x="266" y="30"/>
                </a:lnTo>
                <a:lnTo>
                  <a:pt x="266" y="27"/>
                </a:lnTo>
                <a:lnTo>
                  <a:pt x="269" y="23"/>
                </a:lnTo>
                <a:lnTo>
                  <a:pt x="272" y="20"/>
                </a:lnTo>
                <a:lnTo>
                  <a:pt x="276" y="16"/>
                </a:lnTo>
                <a:lnTo>
                  <a:pt x="279" y="14"/>
                </a:lnTo>
                <a:lnTo>
                  <a:pt x="282" y="15"/>
                </a:lnTo>
                <a:lnTo>
                  <a:pt x="284" y="15"/>
                </a:lnTo>
                <a:lnTo>
                  <a:pt x="288" y="13"/>
                </a:lnTo>
                <a:lnTo>
                  <a:pt x="295" y="13"/>
                </a:lnTo>
                <a:lnTo>
                  <a:pt x="301" y="13"/>
                </a:lnTo>
                <a:lnTo>
                  <a:pt x="301" y="13"/>
                </a:lnTo>
                <a:lnTo>
                  <a:pt x="304" y="14"/>
                </a:lnTo>
                <a:lnTo>
                  <a:pt x="307" y="16"/>
                </a:lnTo>
                <a:lnTo>
                  <a:pt x="309" y="16"/>
                </a:lnTo>
                <a:lnTo>
                  <a:pt x="312" y="15"/>
                </a:lnTo>
                <a:lnTo>
                  <a:pt x="315" y="14"/>
                </a:lnTo>
                <a:lnTo>
                  <a:pt x="317" y="12"/>
                </a:lnTo>
                <a:lnTo>
                  <a:pt x="319" y="4"/>
                </a:lnTo>
                <a:lnTo>
                  <a:pt x="320" y="3"/>
                </a:lnTo>
                <a:lnTo>
                  <a:pt x="322" y="2"/>
                </a:lnTo>
                <a:lnTo>
                  <a:pt x="324" y="2"/>
                </a:lnTo>
                <a:lnTo>
                  <a:pt x="328" y="4"/>
                </a:lnTo>
                <a:lnTo>
                  <a:pt x="333" y="5"/>
                </a:lnTo>
                <a:lnTo>
                  <a:pt x="336" y="5"/>
                </a:lnTo>
                <a:lnTo>
                  <a:pt x="344" y="1"/>
                </a:lnTo>
                <a:lnTo>
                  <a:pt x="348" y="0"/>
                </a:lnTo>
                <a:lnTo>
                  <a:pt x="353" y="1"/>
                </a:lnTo>
                <a:lnTo>
                  <a:pt x="358" y="1"/>
                </a:lnTo>
                <a:lnTo>
                  <a:pt x="362" y="0"/>
                </a:lnTo>
                <a:lnTo>
                  <a:pt x="365" y="2"/>
                </a:lnTo>
                <a:lnTo>
                  <a:pt x="368" y="5"/>
                </a:lnTo>
                <a:lnTo>
                  <a:pt x="371" y="10"/>
                </a:lnTo>
                <a:lnTo>
                  <a:pt x="374" y="19"/>
                </a:lnTo>
                <a:lnTo>
                  <a:pt x="383" y="29"/>
                </a:lnTo>
                <a:lnTo>
                  <a:pt x="383" y="31"/>
                </a:lnTo>
                <a:lnTo>
                  <a:pt x="382" y="32"/>
                </a:lnTo>
                <a:lnTo>
                  <a:pt x="378" y="33"/>
                </a:lnTo>
                <a:lnTo>
                  <a:pt x="374" y="34"/>
                </a:lnTo>
                <a:lnTo>
                  <a:pt x="374" y="36"/>
                </a:lnTo>
                <a:lnTo>
                  <a:pt x="375" y="38"/>
                </a:lnTo>
                <a:lnTo>
                  <a:pt x="377" y="40"/>
                </a:lnTo>
                <a:lnTo>
                  <a:pt x="377" y="44"/>
                </a:lnTo>
                <a:lnTo>
                  <a:pt x="377" y="47"/>
                </a:lnTo>
                <a:lnTo>
                  <a:pt x="377" y="50"/>
                </a:lnTo>
                <a:lnTo>
                  <a:pt x="379" y="51"/>
                </a:lnTo>
                <a:lnTo>
                  <a:pt x="379" y="52"/>
                </a:lnTo>
                <a:lnTo>
                  <a:pt x="377" y="54"/>
                </a:lnTo>
                <a:lnTo>
                  <a:pt x="377" y="55"/>
                </a:lnTo>
                <a:lnTo>
                  <a:pt x="378" y="56"/>
                </a:lnTo>
                <a:lnTo>
                  <a:pt x="386" y="56"/>
                </a:lnTo>
                <a:lnTo>
                  <a:pt x="390" y="58"/>
                </a:lnTo>
                <a:lnTo>
                  <a:pt x="393" y="59"/>
                </a:lnTo>
                <a:lnTo>
                  <a:pt x="394" y="60"/>
                </a:lnTo>
                <a:lnTo>
                  <a:pt x="397" y="59"/>
                </a:lnTo>
                <a:lnTo>
                  <a:pt x="401" y="58"/>
                </a:lnTo>
                <a:lnTo>
                  <a:pt x="404" y="58"/>
                </a:lnTo>
                <a:lnTo>
                  <a:pt x="404" y="59"/>
                </a:lnTo>
                <a:lnTo>
                  <a:pt x="405" y="62"/>
                </a:lnTo>
                <a:lnTo>
                  <a:pt x="406" y="65"/>
                </a:lnTo>
                <a:lnTo>
                  <a:pt x="408" y="66"/>
                </a:lnTo>
                <a:lnTo>
                  <a:pt x="410" y="66"/>
                </a:lnTo>
                <a:lnTo>
                  <a:pt x="411" y="66"/>
                </a:lnTo>
                <a:lnTo>
                  <a:pt x="412" y="67"/>
                </a:lnTo>
                <a:lnTo>
                  <a:pt x="411" y="69"/>
                </a:lnTo>
                <a:lnTo>
                  <a:pt x="411" y="70"/>
                </a:lnTo>
                <a:lnTo>
                  <a:pt x="412" y="73"/>
                </a:lnTo>
                <a:lnTo>
                  <a:pt x="413" y="78"/>
                </a:lnTo>
                <a:lnTo>
                  <a:pt x="415" y="79"/>
                </a:lnTo>
                <a:lnTo>
                  <a:pt x="415" y="81"/>
                </a:lnTo>
                <a:lnTo>
                  <a:pt x="415" y="84"/>
                </a:lnTo>
                <a:lnTo>
                  <a:pt x="414" y="86"/>
                </a:lnTo>
                <a:lnTo>
                  <a:pt x="414" y="87"/>
                </a:lnTo>
                <a:lnTo>
                  <a:pt x="414" y="91"/>
                </a:lnTo>
                <a:lnTo>
                  <a:pt x="417" y="94"/>
                </a:lnTo>
                <a:lnTo>
                  <a:pt x="419" y="95"/>
                </a:lnTo>
                <a:lnTo>
                  <a:pt x="420" y="99"/>
                </a:lnTo>
                <a:lnTo>
                  <a:pt x="423" y="100"/>
                </a:lnTo>
                <a:lnTo>
                  <a:pt x="426" y="97"/>
                </a:lnTo>
                <a:lnTo>
                  <a:pt x="429" y="96"/>
                </a:lnTo>
                <a:lnTo>
                  <a:pt x="433" y="96"/>
                </a:lnTo>
                <a:lnTo>
                  <a:pt x="436" y="97"/>
                </a:lnTo>
                <a:lnTo>
                  <a:pt x="439" y="99"/>
                </a:lnTo>
                <a:lnTo>
                  <a:pt x="440" y="102"/>
                </a:lnTo>
                <a:lnTo>
                  <a:pt x="442" y="103"/>
                </a:lnTo>
                <a:lnTo>
                  <a:pt x="444" y="102"/>
                </a:lnTo>
                <a:lnTo>
                  <a:pt x="448" y="103"/>
                </a:lnTo>
                <a:lnTo>
                  <a:pt x="450" y="105"/>
                </a:lnTo>
                <a:lnTo>
                  <a:pt x="452" y="107"/>
                </a:lnTo>
                <a:lnTo>
                  <a:pt x="454" y="105"/>
                </a:lnTo>
                <a:lnTo>
                  <a:pt x="456" y="103"/>
                </a:lnTo>
                <a:lnTo>
                  <a:pt x="464" y="100"/>
                </a:lnTo>
                <a:lnTo>
                  <a:pt x="468" y="100"/>
                </a:lnTo>
                <a:lnTo>
                  <a:pt x="469" y="99"/>
                </a:lnTo>
                <a:lnTo>
                  <a:pt x="472" y="98"/>
                </a:lnTo>
                <a:lnTo>
                  <a:pt x="475" y="97"/>
                </a:lnTo>
                <a:lnTo>
                  <a:pt x="477" y="97"/>
                </a:lnTo>
                <a:lnTo>
                  <a:pt x="480" y="100"/>
                </a:lnTo>
                <a:lnTo>
                  <a:pt x="482" y="103"/>
                </a:lnTo>
                <a:lnTo>
                  <a:pt x="483" y="106"/>
                </a:lnTo>
                <a:lnTo>
                  <a:pt x="486" y="112"/>
                </a:lnTo>
                <a:lnTo>
                  <a:pt x="494" y="119"/>
                </a:lnTo>
                <a:lnTo>
                  <a:pt x="497" y="121"/>
                </a:lnTo>
                <a:lnTo>
                  <a:pt x="499" y="120"/>
                </a:lnTo>
                <a:lnTo>
                  <a:pt x="500" y="120"/>
                </a:lnTo>
                <a:lnTo>
                  <a:pt x="500" y="119"/>
                </a:lnTo>
                <a:lnTo>
                  <a:pt x="501" y="116"/>
                </a:lnTo>
                <a:lnTo>
                  <a:pt x="502" y="114"/>
                </a:lnTo>
                <a:lnTo>
                  <a:pt x="503" y="114"/>
                </a:lnTo>
                <a:lnTo>
                  <a:pt x="509" y="119"/>
                </a:lnTo>
                <a:lnTo>
                  <a:pt x="512" y="119"/>
                </a:lnTo>
                <a:lnTo>
                  <a:pt x="515" y="119"/>
                </a:lnTo>
                <a:lnTo>
                  <a:pt x="519" y="122"/>
                </a:lnTo>
                <a:lnTo>
                  <a:pt x="524" y="125"/>
                </a:lnTo>
                <a:lnTo>
                  <a:pt x="527" y="126"/>
                </a:lnTo>
                <a:lnTo>
                  <a:pt x="530" y="124"/>
                </a:lnTo>
                <a:lnTo>
                  <a:pt x="532" y="124"/>
                </a:lnTo>
                <a:lnTo>
                  <a:pt x="533" y="125"/>
                </a:lnTo>
                <a:lnTo>
                  <a:pt x="534" y="127"/>
                </a:lnTo>
                <a:lnTo>
                  <a:pt x="536" y="129"/>
                </a:lnTo>
                <a:lnTo>
                  <a:pt x="538" y="130"/>
                </a:lnTo>
                <a:lnTo>
                  <a:pt x="541" y="130"/>
                </a:lnTo>
                <a:lnTo>
                  <a:pt x="546" y="134"/>
                </a:lnTo>
                <a:lnTo>
                  <a:pt x="551" y="137"/>
                </a:lnTo>
                <a:lnTo>
                  <a:pt x="554" y="138"/>
                </a:lnTo>
                <a:lnTo>
                  <a:pt x="556" y="137"/>
                </a:lnTo>
                <a:lnTo>
                  <a:pt x="558" y="136"/>
                </a:lnTo>
                <a:lnTo>
                  <a:pt x="560" y="137"/>
                </a:lnTo>
                <a:lnTo>
                  <a:pt x="560" y="139"/>
                </a:lnTo>
                <a:lnTo>
                  <a:pt x="559" y="141"/>
                </a:lnTo>
                <a:lnTo>
                  <a:pt x="559" y="144"/>
                </a:lnTo>
                <a:lnTo>
                  <a:pt x="561" y="147"/>
                </a:lnTo>
                <a:lnTo>
                  <a:pt x="561" y="150"/>
                </a:lnTo>
                <a:lnTo>
                  <a:pt x="561" y="153"/>
                </a:lnTo>
                <a:lnTo>
                  <a:pt x="560" y="155"/>
                </a:lnTo>
                <a:lnTo>
                  <a:pt x="557" y="159"/>
                </a:lnTo>
                <a:lnTo>
                  <a:pt x="554" y="162"/>
                </a:lnTo>
                <a:lnTo>
                  <a:pt x="550" y="163"/>
                </a:lnTo>
                <a:lnTo>
                  <a:pt x="548" y="164"/>
                </a:lnTo>
                <a:lnTo>
                  <a:pt x="548" y="167"/>
                </a:lnTo>
                <a:lnTo>
                  <a:pt x="550" y="169"/>
                </a:lnTo>
                <a:lnTo>
                  <a:pt x="553" y="170"/>
                </a:lnTo>
                <a:lnTo>
                  <a:pt x="557" y="172"/>
                </a:lnTo>
                <a:lnTo>
                  <a:pt x="558" y="173"/>
                </a:lnTo>
                <a:lnTo>
                  <a:pt x="557" y="174"/>
                </a:lnTo>
                <a:lnTo>
                  <a:pt x="554" y="174"/>
                </a:lnTo>
                <a:lnTo>
                  <a:pt x="551" y="174"/>
                </a:lnTo>
                <a:lnTo>
                  <a:pt x="550" y="175"/>
                </a:lnTo>
                <a:lnTo>
                  <a:pt x="548" y="177"/>
                </a:lnTo>
                <a:lnTo>
                  <a:pt x="547" y="181"/>
                </a:lnTo>
                <a:lnTo>
                  <a:pt x="546" y="184"/>
                </a:lnTo>
                <a:lnTo>
                  <a:pt x="550" y="185"/>
                </a:lnTo>
                <a:lnTo>
                  <a:pt x="552" y="186"/>
                </a:lnTo>
                <a:lnTo>
                  <a:pt x="553" y="189"/>
                </a:lnTo>
                <a:lnTo>
                  <a:pt x="554" y="192"/>
                </a:lnTo>
                <a:lnTo>
                  <a:pt x="554" y="195"/>
                </a:lnTo>
                <a:lnTo>
                  <a:pt x="553" y="196"/>
                </a:lnTo>
                <a:lnTo>
                  <a:pt x="553" y="198"/>
                </a:lnTo>
                <a:lnTo>
                  <a:pt x="553" y="198"/>
                </a:lnTo>
                <a:lnTo>
                  <a:pt x="555" y="199"/>
                </a:lnTo>
                <a:lnTo>
                  <a:pt x="556" y="199"/>
                </a:lnTo>
                <a:lnTo>
                  <a:pt x="556" y="201"/>
                </a:lnTo>
                <a:lnTo>
                  <a:pt x="554" y="204"/>
                </a:lnTo>
                <a:lnTo>
                  <a:pt x="552" y="210"/>
                </a:lnTo>
                <a:lnTo>
                  <a:pt x="550" y="213"/>
                </a:lnTo>
                <a:lnTo>
                  <a:pt x="551" y="217"/>
                </a:lnTo>
                <a:lnTo>
                  <a:pt x="549" y="219"/>
                </a:lnTo>
                <a:lnTo>
                  <a:pt x="547" y="219"/>
                </a:lnTo>
                <a:lnTo>
                  <a:pt x="538" y="219"/>
                </a:lnTo>
                <a:lnTo>
                  <a:pt x="531" y="219"/>
                </a:lnTo>
                <a:lnTo>
                  <a:pt x="528" y="219"/>
                </a:lnTo>
                <a:lnTo>
                  <a:pt x="523" y="218"/>
                </a:lnTo>
                <a:lnTo>
                  <a:pt x="521" y="219"/>
                </a:lnTo>
                <a:lnTo>
                  <a:pt x="518" y="225"/>
                </a:lnTo>
                <a:lnTo>
                  <a:pt x="515" y="227"/>
                </a:lnTo>
                <a:lnTo>
                  <a:pt x="511" y="229"/>
                </a:lnTo>
                <a:lnTo>
                  <a:pt x="507" y="230"/>
                </a:lnTo>
                <a:lnTo>
                  <a:pt x="504" y="232"/>
                </a:lnTo>
                <a:lnTo>
                  <a:pt x="503" y="236"/>
                </a:lnTo>
                <a:lnTo>
                  <a:pt x="503" y="239"/>
                </a:lnTo>
                <a:lnTo>
                  <a:pt x="503" y="241"/>
                </a:lnTo>
                <a:lnTo>
                  <a:pt x="502" y="242"/>
                </a:lnTo>
                <a:lnTo>
                  <a:pt x="501" y="243"/>
                </a:lnTo>
                <a:lnTo>
                  <a:pt x="502" y="244"/>
                </a:lnTo>
                <a:lnTo>
                  <a:pt x="503" y="245"/>
                </a:lnTo>
                <a:lnTo>
                  <a:pt x="504" y="245"/>
                </a:lnTo>
                <a:lnTo>
                  <a:pt x="504" y="246"/>
                </a:lnTo>
                <a:lnTo>
                  <a:pt x="503" y="247"/>
                </a:lnTo>
                <a:lnTo>
                  <a:pt x="502" y="248"/>
                </a:lnTo>
                <a:lnTo>
                  <a:pt x="501" y="250"/>
                </a:lnTo>
                <a:lnTo>
                  <a:pt x="501" y="252"/>
                </a:lnTo>
                <a:lnTo>
                  <a:pt x="502" y="254"/>
                </a:lnTo>
                <a:close/>
                <a:moveTo>
                  <a:pt x="308" y="294"/>
                </a:moveTo>
                <a:lnTo>
                  <a:pt x="308" y="294"/>
                </a:lnTo>
                <a:lnTo>
                  <a:pt x="313" y="296"/>
                </a:lnTo>
                <a:lnTo>
                  <a:pt x="308" y="295"/>
                </a:lnTo>
                <a:lnTo>
                  <a:pt x="299" y="293"/>
                </a:lnTo>
                <a:lnTo>
                  <a:pt x="294" y="291"/>
                </a:lnTo>
                <a:lnTo>
                  <a:pt x="293" y="289"/>
                </a:lnTo>
                <a:lnTo>
                  <a:pt x="293" y="286"/>
                </a:lnTo>
                <a:lnTo>
                  <a:pt x="295" y="289"/>
                </a:lnTo>
                <a:lnTo>
                  <a:pt x="297" y="29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7" name="Andorra">
            <a:extLst>
              <a:ext uri="{FF2B5EF4-FFF2-40B4-BE49-F238E27FC236}">
                <a16:creationId xmlns:a16="http://schemas.microsoft.com/office/drawing/2014/main" id="{D2DCE795-A5E4-43D4-914B-4107016D0766}"/>
              </a:ext>
            </a:extLst>
          </p:cNvPr>
          <p:cNvSpPr>
            <a:spLocks/>
          </p:cNvSpPr>
          <p:nvPr/>
        </p:nvSpPr>
        <p:spPr bwMode="auto">
          <a:xfrm>
            <a:off x="5857509" y="3401911"/>
            <a:ext cx="11256" cy="7914"/>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8" name="Switzerland">
            <a:extLst>
              <a:ext uri="{FF2B5EF4-FFF2-40B4-BE49-F238E27FC236}">
                <a16:creationId xmlns:a16="http://schemas.microsoft.com/office/drawing/2014/main" id="{1FD02854-AD6D-434A-825B-314BB04F81AD}"/>
              </a:ext>
            </a:extLst>
          </p:cNvPr>
          <p:cNvSpPr>
            <a:spLocks/>
          </p:cNvSpPr>
          <p:nvPr/>
        </p:nvSpPr>
        <p:spPr bwMode="auto">
          <a:xfrm>
            <a:off x="5997087" y="3208017"/>
            <a:ext cx="135074" cy="75184"/>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49" name="France">
            <a:extLst>
              <a:ext uri="{FF2B5EF4-FFF2-40B4-BE49-F238E27FC236}">
                <a16:creationId xmlns:a16="http://schemas.microsoft.com/office/drawing/2014/main" id="{8714FE46-E8BF-4101-811E-A8344D9761F7}"/>
              </a:ext>
            </a:extLst>
          </p:cNvPr>
          <p:cNvSpPr>
            <a:spLocks noEditPoints="1"/>
          </p:cNvSpPr>
          <p:nvPr/>
        </p:nvSpPr>
        <p:spPr bwMode="auto">
          <a:xfrm>
            <a:off x="5670657" y="3073477"/>
            <a:ext cx="434490" cy="373939"/>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0" name="Untied Kingdom">
            <a:extLst>
              <a:ext uri="{FF2B5EF4-FFF2-40B4-BE49-F238E27FC236}">
                <a16:creationId xmlns:a16="http://schemas.microsoft.com/office/drawing/2014/main" id="{9D552DA6-1731-4E4F-BC93-323B4C1A8D81}"/>
              </a:ext>
            </a:extLst>
          </p:cNvPr>
          <p:cNvSpPr>
            <a:spLocks noEditPoints="1"/>
          </p:cNvSpPr>
          <p:nvPr/>
        </p:nvSpPr>
        <p:spPr bwMode="auto">
          <a:xfrm>
            <a:off x="5569350" y="2606549"/>
            <a:ext cx="299415" cy="512436"/>
          </a:xfrm>
          <a:custGeom>
            <a:avLst/>
            <a:gdLst>
              <a:gd name="T0" fmla="*/ 123 w 309"/>
              <a:gd name="T1" fmla="*/ 432 h 598"/>
              <a:gd name="T2" fmla="*/ 60 w 309"/>
              <a:gd name="T3" fmla="*/ 331 h 598"/>
              <a:gd name="T4" fmla="*/ 83 w 309"/>
              <a:gd name="T5" fmla="*/ 373 h 598"/>
              <a:gd name="T6" fmla="*/ 63 w 309"/>
              <a:gd name="T7" fmla="*/ 394 h 598"/>
              <a:gd name="T8" fmla="*/ 38 w 309"/>
              <a:gd name="T9" fmla="*/ 377 h 598"/>
              <a:gd name="T10" fmla="*/ 8 w 309"/>
              <a:gd name="T11" fmla="*/ 382 h 598"/>
              <a:gd name="T12" fmla="*/ 14 w 309"/>
              <a:gd name="T13" fmla="*/ 358 h 598"/>
              <a:gd name="T14" fmla="*/ 52 w 309"/>
              <a:gd name="T15" fmla="*/ 330 h 598"/>
              <a:gd name="T16" fmla="*/ 95 w 309"/>
              <a:gd name="T17" fmla="*/ 319 h 598"/>
              <a:gd name="T18" fmla="*/ 52 w 309"/>
              <a:gd name="T19" fmla="*/ 305 h 598"/>
              <a:gd name="T20" fmla="*/ 65 w 309"/>
              <a:gd name="T21" fmla="*/ 297 h 598"/>
              <a:gd name="T22" fmla="*/ 57 w 309"/>
              <a:gd name="T23" fmla="*/ 270 h 598"/>
              <a:gd name="T24" fmla="*/ 48 w 309"/>
              <a:gd name="T25" fmla="*/ 255 h 598"/>
              <a:gd name="T26" fmla="*/ 23 w 309"/>
              <a:gd name="T27" fmla="*/ 232 h 598"/>
              <a:gd name="T28" fmla="*/ 27 w 309"/>
              <a:gd name="T29" fmla="*/ 225 h 598"/>
              <a:gd name="T30" fmla="*/ 63 w 309"/>
              <a:gd name="T31" fmla="*/ 214 h 598"/>
              <a:gd name="T32" fmla="*/ 57 w 309"/>
              <a:gd name="T33" fmla="*/ 220 h 598"/>
              <a:gd name="T34" fmla="*/ 57 w 309"/>
              <a:gd name="T35" fmla="*/ 193 h 598"/>
              <a:gd name="T36" fmla="*/ 27 w 309"/>
              <a:gd name="T37" fmla="*/ 194 h 598"/>
              <a:gd name="T38" fmla="*/ 39 w 309"/>
              <a:gd name="T39" fmla="*/ 187 h 598"/>
              <a:gd name="T40" fmla="*/ 33 w 309"/>
              <a:gd name="T41" fmla="*/ 168 h 598"/>
              <a:gd name="T42" fmla="*/ 60 w 309"/>
              <a:gd name="T43" fmla="*/ 144 h 598"/>
              <a:gd name="T44" fmla="*/ 134 w 309"/>
              <a:gd name="T45" fmla="*/ 184 h 598"/>
              <a:gd name="T46" fmla="*/ 196 w 309"/>
              <a:gd name="T47" fmla="*/ 196 h 598"/>
              <a:gd name="T48" fmla="*/ 157 w 309"/>
              <a:gd name="T49" fmla="*/ 264 h 598"/>
              <a:gd name="T50" fmla="*/ 139 w 309"/>
              <a:gd name="T51" fmla="*/ 286 h 598"/>
              <a:gd name="T52" fmla="*/ 218 w 309"/>
              <a:gd name="T53" fmla="*/ 362 h 598"/>
              <a:gd name="T54" fmla="*/ 252 w 309"/>
              <a:gd name="T55" fmla="*/ 415 h 598"/>
              <a:gd name="T56" fmla="*/ 264 w 309"/>
              <a:gd name="T57" fmla="*/ 459 h 598"/>
              <a:gd name="T58" fmla="*/ 306 w 309"/>
              <a:gd name="T59" fmla="*/ 486 h 598"/>
              <a:gd name="T60" fmla="*/ 283 w 309"/>
              <a:gd name="T61" fmla="*/ 518 h 598"/>
              <a:gd name="T62" fmla="*/ 298 w 309"/>
              <a:gd name="T63" fmla="*/ 535 h 598"/>
              <a:gd name="T64" fmla="*/ 223 w 309"/>
              <a:gd name="T65" fmla="*/ 559 h 598"/>
              <a:gd name="T66" fmla="*/ 178 w 309"/>
              <a:gd name="T67" fmla="*/ 570 h 598"/>
              <a:gd name="T68" fmla="*/ 123 w 309"/>
              <a:gd name="T69" fmla="*/ 581 h 598"/>
              <a:gd name="T70" fmla="*/ 80 w 309"/>
              <a:gd name="T71" fmla="*/ 589 h 598"/>
              <a:gd name="T72" fmla="*/ 142 w 309"/>
              <a:gd name="T73" fmla="*/ 539 h 598"/>
              <a:gd name="T74" fmla="*/ 151 w 309"/>
              <a:gd name="T75" fmla="*/ 531 h 598"/>
              <a:gd name="T76" fmla="*/ 101 w 309"/>
              <a:gd name="T77" fmla="*/ 519 h 598"/>
              <a:gd name="T78" fmla="*/ 128 w 309"/>
              <a:gd name="T79" fmla="*/ 472 h 598"/>
              <a:gd name="T80" fmla="*/ 117 w 309"/>
              <a:gd name="T81" fmla="*/ 448 h 598"/>
              <a:gd name="T82" fmla="*/ 168 w 309"/>
              <a:gd name="T83" fmla="*/ 433 h 598"/>
              <a:gd name="T84" fmla="*/ 165 w 309"/>
              <a:gd name="T85" fmla="*/ 387 h 598"/>
              <a:gd name="T86" fmla="*/ 138 w 309"/>
              <a:gd name="T87" fmla="*/ 350 h 598"/>
              <a:gd name="T88" fmla="*/ 102 w 309"/>
              <a:gd name="T89" fmla="*/ 355 h 598"/>
              <a:gd name="T90" fmla="*/ 102 w 309"/>
              <a:gd name="T91" fmla="*/ 295 h 598"/>
              <a:gd name="T92" fmla="*/ 91 w 309"/>
              <a:gd name="T93" fmla="*/ 294 h 598"/>
              <a:gd name="T94" fmla="*/ 80 w 309"/>
              <a:gd name="T95" fmla="*/ 324 h 598"/>
              <a:gd name="T96" fmla="*/ 81 w 309"/>
              <a:gd name="T97" fmla="*/ 281 h 598"/>
              <a:gd name="T98" fmla="*/ 65 w 309"/>
              <a:gd name="T99" fmla="*/ 249 h 598"/>
              <a:gd name="T100" fmla="*/ 75 w 309"/>
              <a:gd name="T101" fmla="*/ 203 h 598"/>
              <a:gd name="T102" fmla="*/ 85 w 309"/>
              <a:gd name="T103" fmla="*/ 170 h 598"/>
              <a:gd name="T104" fmla="*/ 100 w 309"/>
              <a:gd name="T105" fmla="*/ 139 h 598"/>
              <a:gd name="T106" fmla="*/ 157 w 309"/>
              <a:gd name="T107" fmla="*/ 143 h 598"/>
              <a:gd name="T108" fmla="*/ 148 w 309"/>
              <a:gd name="T109" fmla="*/ 120 h 598"/>
              <a:gd name="T110" fmla="*/ 166 w 309"/>
              <a:gd name="T111" fmla="*/ 121 h 598"/>
              <a:gd name="T112" fmla="*/ 156 w 309"/>
              <a:gd name="T113" fmla="*/ 106 h 598"/>
              <a:gd name="T114" fmla="*/ 165 w 309"/>
              <a:gd name="T115" fmla="*/ 103 h 598"/>
              <a:gd name="T116" fmla="*/ 218 w 309"/>
              <a:gd name="T117" fmla="*/ 27 h 598"/>
              <a:gd name="T118" fmla="*/ 213 w 309"/>
              <a:gd name="T119" fmla="*/ 41 h 598"/>
              <a:gd name="T120" fmla="*/ 206 w 309"/>
              <a:gd name="T121" fmla="*/ 20 h 598"/>
              <a:gd name="T122" fmla="*/ 222 w 309"/>
              <a:gd name="T123" fmla="*/ 16 h 598"/>
              <a:gd name="T124" fmla="*/ 229 w 309"/>
              <a:gd name="T125"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9" h="598">
                <a:moveTo>
                  <a:pt x="221" y="565"/>
                </a:moveTo>
                <a:lnTo>
                  <a:pt x="221" y="565"/>
                </a:lnTo>
                <a:lnTo>
                  <a:pt x="218" y="567"/>
                </a:lnTo>
                <a:lnTo>
                  <a:pt x="217" y="569"/>
                </a:lnTo>
                <a:lnTo>
                  <a:pt x="217" y="570"/>
                </a:lnTo>
                <a:lnTo>
                  <a:pt x="215" y="570"/>
                </a:lnTo>
                <a:lnTo>
                  <a:pt x="213" y="570"/>
                </a:lnTo>
                <a:lnTo>
                  <a:pt x="207" y="566"/>
                </a:lnTo>
                <a:lnTo>
                  <a:pt x="205" y="566"/>
                </a:lnTo>
                <a:lnTo>
                  <a:pt x="207" y="565"/>
                </a:lnTo>
                <a:lnTo>
                  <a:pt x="211" y="563"/>
                </a:lnTo>
                <a:lnTo>
                  <a:pt x="213" y="561"/>
                </a:lnTo>
                <a:lnTo>
                  <a:pt x="218" y="563"/>
                </a:lnTo>
                <a:lnTo>
                  <a:pt x="221" y="565"/>
                </a:lnTo>
                <a:close/>
                <a:moveTo>
                  <a:pt x="123" y="432"/>
                </a:moveTo>
                <a:lnTo>
                  <a:pt x="123" y="432"/>
                </a:lnTo>
                <a:lnTo>
                  <a:pt x="125" y="433"/>
                </a:lnTo>
                <a:lnTo>
                  <a:pt x="128" y="433"/>
                </a:lnTo>
                <a:lnTo>
                  <a:pt x="127" y="435"/>
                </a:lnTo>
                <a:lnTo>
                  <a:pt x="123" y="438"/>
                </a:lnTo>
                <a:lnTo>
                  <a:pt x="121" y="440"/>
                </a:lnTo>
                <a:lnTo>
                  <a:pt x="118" y="442"/>
                </a:lnTo>
                <a:lnTo>
                  <a:pt x="116" y="440"/>
                </a:lnTo>
                <a:lnTo>
                  <a:pt x="115" y="440"/>
                </a:lnTo>
                <a:lnTo>
                  <a:pt x="112" y="435"/>
                </a:lnTo>
                <a:lnTo>
                  <a:pt x="112" y="429"/>
                </a:lnTo>
                <a:lnTo>
                  <a:pt x="115" y="427"/>
                </a:lnTo>
                <a:lnTo>
                  <a:pt x="120" y="427"/>
                </a:lnTo>
                <a:lnTo>
                  <a:pt x="123" y="432"/>
                </a:lnTo>
                <a:close/>
                <a:moveTo>
                  <a:pt x="55" y="330"/>
                </a:moveTo>
                <a:lnTo>
                  <a:pt x="55" y="330"/>
                </a:lnTo>
                <a:lnTo>
                  <a:pt x="60" y="331"/>
                </a:lnTo>
                <a:lnTo>
                  <a:pt x="63" y="331"/>
                </a:lnTo>
                <a:lnTo>
                  <a:pt x="66" y="335"/>
                </a:lnTo>
                <a:lnTo>
                  <a:pt x="67" y="341"/>
                </a:lnTo>
                <a:lnTo>
                  <a:pt x="71" y="348"/>
                </a:lnTo>
                <a:lnTo>
                  <a:pt x="76" y="353"/>
                </a:lnTo>
                <a:lnTo>
                  <a:pt x="76" y="356"/>
                </a:lnTo>
                <a:lnTo>
                  <a:pt x="74" y="358"/>
                </a:lnTo>
                <a:lnTo>
                  <a:pt x="71" y="360"/>
                </a:lnTo>
                <a:lnTo>
                  <a:pt x="71" y="362"/>
                </a:lnTo>
                <a:lnTo>
                  <a:pt x="73" y="361"/>
                </a:lnTo>
                <a:lnTo>
                  <a:pt x="75" y="361"/>
                </a:lnTo>
                <a:lnTo>
                  <a:pt x="80" y="361"/>
                </a:lnTo>
                <a:lnTo>
                  <a:pt x="82" y="364"/>
                </a:lnTo>
                <a:lnTo>
                  <a:pt x="83" y="367"/>
                </a:lnTo>
                <a:lnTo>
                  <a:pt x="84" y="370"/>
                </a:lnTo>
                <a:lnTo>
                  <a:pt x="83" y="373"/>
                </a:lnTo>
                <a:lnTo>
                  <a:pt x="82" y="372"/>
                </a:lnTo>
                <a:lnTo>
                  <a:pt x="80" y="369"/>
                </a:lnTo>
                <a:lnTo>
                  <a:pt x="79" y="368"/>
                </a:lnTo>
                <a:lnTo>
                  <a:pt x="77" y="367"/>
                </a:lnTo>
                <a:lnTo>
                  <a:pt x="78" y="371"/>
                </a:lnTo>
                <a:lnTo>
                  <a:pt x="78" y="376"/>
                </a:lnTo>
                <a:lnTo>
                  <a:pt x="78" y="377"/>
                </a:lnTo>
                <a:lnTo>
                  <a:pt x="81" y="377"/>
                </a:lnTo>
                <a:lnTo>
                  <a:pt x="79" y="382"/>
                </a:lnTo>
                <a:lnTo>
                  <a:pt x="76" y="384"/>
                </a:lnTo>
                <a:lnTo>
                  <a:pt x="72" y="384"/>
                </a:lnTo>
                <a:lnTo>
                  <a:pt x="72" y="386"/>
                </a:lnTo>
                <a:lnTo>
                  <a:pt x="71" y="388"/>
                </a:lnTo>
                <a:lnTo>
                  <a:pt x="69" y="392"/>
                </a:lnTo>
                <a:lnTo>
                  <a:pt x="66" y="394"/>
                </a:lnTo>
                <a:lnTo>
                  <a:pt x="63" y="394"/>
                </a:lnTo>
                <a:lnTo>
                  <a:pt x="60" y="392"/>
                </a:lnTo>
                <a:lnTo>
                  <a:pt x="58" y="392"/>
                </a:lnTo>
                <a:lnTo>
                  <a:pt x="56" y="393"/>
                </a:lnTo>
                <a:lnTo>
                  <a:pt x="54" y="393"/>
                </a:lnTo>
                <a:lnTo>
                  <a:pt x="53" y="393"/>
                </a:lnTo>
                <a:lnTo>
                  <a:pt x="50" y="394"/>
                </a:lnTo>
                <a:lnTo>
                  <a:pt x="47" y="394"/>
                </a:lnTo>
                <a:lnTo>
                  <a:pt x="46" y="392"/>
                </a:lnTo>
                <a:lnTo>
                  <a:pt x="47" y="388"/>
                </a:lnTo>
                <a:lnTo>
                  <a:pt x="46" y="387"/>
                </a:lnTo>
                <a:lnTo>
                  <a:pt x="43" y="386"/>
                </a:lnTo>
                <a:lnTo>
                  <a:pt x="42" y="385"/>
                </a:lnTo>
                <a:lnTo>
                  <a:pt x="40" y="382"/>
                </a:lnTo>
                <a:lnTo>
                  <a:pt x="40" y="381"/>
                </a:lnTo>
                <a:lnTo>
                  <a:pt x="40" y="379"/>
                </a:lnTo>
                <a:lnTo>
                  <a:pt x="38" y="377"/>
                </a:lnTo>
                <a:lnTo>
                  <a:pt x="36" y="375"/>
                </a:lnTo>
                <a:lnTo>
                  <a:pt x="34" y="375"/>
                </a:lnTo>
                <a:lnTo>
                  <a:pt x="32" y="378"/>
                </a:lnTo>
                <a:lnTo>
                  <a:pt x="29" y="381"/>
                </a:lnTo>
                <a:lnTo>
                  <a:pt x="30" y="382"/>
                </a:lnTo>
                <a:lnTo>
                  <a:pt x="31" y="384"/>
                </a:lnTo>
                <a:lnTo>
                  <a:pt x="30" y="385"/>
                </a:lnTo>
                <a:lnTo>
                  <a:pt x="26" y="388"/>
                </a:lnTo>
                <a:lnTo>
                  <a:pt x="26" y="390"/>
                </a:lnTo>
                <a:lnTo>
                  <a:pt x="25" y="390"/>
                </a:lnTo>
                <a:lnTo>
                  <a:pt x="23" y="389"/>
                </a:lnTo>
                <a:lnTo>
                  <a:pt x="19" y="390"/>
                </a:lnTo>
                <a:lnTo>
                  <a:pt x="17" y="389"/>
                </a:lnTo>
                <a:lnTo>
                  <a:pt x="15" y="387"/>
                </a:lnTo>
                <a:lnTo>
                  <a:pt x="9" y="385"/>
                </a:lnTo>
                <a:lnTo>
                  <a:pt x="8" y="382"/>
                </a:lnTo>
                <a:lnTo>
                  <a:pt x="7" y="381"/>
                </a:lnTo>
                <a:lnTo>
                  <a:pt x="1" y="375"/>
                </a:lnTo>
                <a:lnTo>
                  <a:pt x="0" y="373"/>
                </a:lnTo>
                <a:lnTo>
                  <a:pt x="1" y="371"/>
                </a:lnTo>
                <a:lnTo>
                  <a:pt x="3" y="369"/>
                </a:lnTo>
                <a:lnTo>
                  <a:pt x="11" y="366"/>
                </a:lnTo>
                <a:lnTo>
                  <a:pt x="12" y="365"/>
                </a:lnTo>
                <a:lnTo>
                  <a:pt x="13" y="364"/>
                </a:lnTo>
                <a:lnTo>
                  <a:pt x="10" y="363"/>
                </a:lnTo>
                <a:lnTo>
                  <a:pt x="8" y="361"/>
                </a:lnTo>
                <a:lnTo>
                  <a:pt x="7" y="360"/>
                </a:lnTo>
                <a:lnTo>
                  <a:pt x="7" y="359"/>
                </a:lnTo>
                <a:lnTo>
                  <a:pt x="9" y="358"/>
                </a:lnTo>
                <a:lnTo>
                  <a:pt x="11" y="358"/>
                </a:lnTo>
                <a:lnTo>
                  <a:pt x="13" y="359"/>
                </a:lnTo>
                <a:lnTo>
                  <a:pt x="14" y="358"/>
                </a:lnTo>
                <a:lnTo>
                  <a:pt x="17" y="357"/>
                </a:lnTo>
                <a:lnTo>
                  <a:pt x="19" y="356"/>
                </a:lnTo>
                <a:lnTo>
                  <a:pt x="20" y="352"/>
                </a:lnTo>
                <a:lnTo>
                  <a:pt x="22" y="350"/>
                </a:lnTo>
                <a:lnTo>
                  <a:pt x="22" y="348"/>
                </a:lnTo>
                <a:lnTo>
                  <a:pt x="23" y="343"/>
                </a:lnTo>
                <a:lnTo>
                  <a:pt x="24" y="342"/>
                </a:lnTo>
                <a:lnTo>
                  <a:pt x="29" y="338"/>
                </a:lnTo>
                <a:lnTo>
                  <a:pt x="30" y="340"/>
                </a:lnTo>
                <a:lnTo>
                  <a:pt x="33" y="340"/>
                </a:lnTo>
                <a:lnTo>
                  <a:pt x="35" y="339"/>
                </a:lnTo>
                <a:lnTo>
                  <a:pt x="37" y="333"/>
                </a:lnTo>
                <a:lnTo>
                  <a:pt x="39" y="333"/>
                </a:lnTo>
                <a:lnTo>
                  <a:pt x="41" y="333"/>
                </a:lnTo>
                <a:lnTo>
                  <a:pt x="45" y="333"/>
                </a:lnTo>
                <a:lnTo>
                  <a:pt x="52" y="330"/>
                </a:lnTo>
                <a:lnTo>
                  <a:pt x="55" y="330"/>
                </a:lnTo>
                <a:close/>
                <a:moveTo>
                  <a:pt x="95" y="319"/>
                </a:moveTo>
                <a:lnTo>
                  <a:pt x="95" y="319"/>
                </a:lnTo>
                <a:lnTo>
                  <a:pt x="91" y="319"/>
                </a:lnTo>
                <a:lnTo>
                  <a:pt x="90" y="318"/>
                </a:lnTo>
                <a:lnTo>
                  <a:pt x="88" y="317"/>
                </a:lnTo>
                <a:lnTo>
                  <a:pt x="86" y="309"/>
                </a:lnTo>
                <a:lnTo>
                  <a:pt x="87" y="307"/>
                </a:lnTo>
                <a:lnTo>
                  <a:pt x="87" y="305"/>
                </a:lnTo>
                <a:lnTo>
                  <a:pt x="88" y="304"/>
                </a:lnTo>
                <a:lnTo>
                  <a:pt x="90" y="304"/>
                </a:lnTo>
                <a:lnTo>
                  <a:pt x="92" y="305"/>
                </a:lnTo>
                <a:lnTo>
                  <a:pt x="93" y="307"/>
                </a:lnTo>
                <a:lnTo>
                  <a:pt x="95" y="312"/>
                </a:lnTo>
                <a:lnTo>
                  <a:pt x="95" y="316"/>
                </a:lnTo>
                <a:lnTo>
                  <a:pt x="95" y="319"/>
                </a:lnTo>
                <a:close/>
                <a:moveTo>
                  <a:pt x="63" y="292"/>
                </a:moveTo>
                <a:lnTo>
                  <a:pt x="63" y="292"/>
                </a:lnTo>
                <a:lnTo>
                  <a:pt x="64" y="299"/>
                </a:lnTo>
                <a:lnTo>
                  <a:pt x="65" y="304"/>
                </a:lnTo>
                <a:lnTo>
                  <a:pt x="65" y="305"/>
                </a:lnTo>
                <a:lnTo>
                  <a:pt x="64" y="307"/>
                </a:lnTo>
                <a:lnTo>
                  <a:pt x="59" y="310"/>
                </a:lnTo>
                <a:lnTo>
                  <a:pt x="58" y="310"/>
                </a:lnTo>
                <a:lnTo>
                  <a:pt x="57" y="309"/>
                </a:lnTo>
                <a:lnTo>
                  <a:pt x="59" y="306"/>
                </a:lnTo>
                <a:lnTo>
                  <a:pt x="58" y="303"/>
                </a:lnTo>
                <a:lnTo>
                  <a:pt x="58" y="301"/>
                </a:lnTo>
                <a:lnTo>
                  <a:pt x="58" y="300"/>
                </a:lnTo>
                <a:lnTo>
                  <a:pt x="57" y="301"/>
                </a:lnTo>
                <a:lnTo>
                  <a:pt x="53" y="304"/>
                </a:lnTo>
                <a:lnTo>
                  <a:pt x="52" y="305"/>
                </a:lnTo>
                <a:lnTo>
                  <a:pt x="52" y="304"/>
                </a:lnTo>
                <a:lnTo>
                  <a:pt x="52" y="301"/>
                </a:lnTo>
                <a:lnTo>
                  <a:pt x="53" y="299"/>
                </a:lnTo>
                <a:lnTo>
                  <a:pt x="53" y="297"/>
                </a:lnTo>
                <a:lnTo>
                  <a:pt x="54" y="296"/>
                </a:lnTo>
                <a:lnTo>
                  <a:pt x="55" y="295"/>
                </a:lnTo>
                <a:lnTo>
                  <a:pt x="56" y="295"/>
                </a:lnTo>
                <a:lnTo>
                  <a:pt x="57" y="296"/>
                </a:lnTo>
                <a:lnTo>
                  <a:pt x="60" y="293"/>
                </a:lnTo>
                <a:lnTo>
                  <a:pt x="63" y="292"/>
                </a:lnTo>
                <a:close/>
                <a:moveTo>
                  <a:pt x="68" y="298"/>
                </a:moveTo>
                <a:lnTo>
                  <a:pt x="68" y="298"/>
                </a:lnTo>
                <a:lnTo>
                  <a:pt x="67" y="299"/>
                </a:lnTo>
                <a:lnTo>
                  <a:pt x="66" y="299"/>
                </a:lnTo>
                <a:lnTo>
                  <a:pt x="65" y="298"/>
                </a:lnTo>
                <a:lnTo>
                  <a:pt x="65" y="297"/>
                </a:lnTo>
                <a:lnTo>
                  <a:pt x="65" y="294"/>
                </a:lnTo>
                <a:lnTo>
                  <a:pt x="66" y="292"/>
                </a:lnTo>
                <a:lnTo>
                  <a:pt x="70" y="290"/>
                </a:lnTo>
                <a:lnTo>
                  <a:pt x="68" y="289"/>
                </a:lnTo>
                <a:lnTo>
                  <a:pt x="68" y="288"/>
                </a:lnTo>
                <a:lnTo>
                  <a:pt x="69" y="286"/>
                </a:lnTo>
                <a:lnTo>
                  <a:pt x="73" y="282"/>
                </a:lnTo>
                <a:lnTo>
                  <a:pt x="74" y="281"/>
                </a:lnTo>
                <a:lnTo>
                  <a:pt x="76" y="281"/>
                </a:lnTo>
                <a:lnTo>
                  <a:pt x="73" y="288"/>
                </a:lnTo>
                <a:lnTo>
                  <a:pt x="68" y="298"/>
                </a:lnTo>
                <a:close/>
                <a:moveTo>
                  <a:pt x="74" y="269"/>
                </a:moveTo>
                <a:lnTo>
                  <a:pt x="74" y="269"/>
                </a:lnTo>
                <a:lnTo>
                  <a:pt x="62" y="272"/>
                </a:lnTo>
                <a:lnTo>
                  <a:pt x="57" y="272"/>
                </a:lnTo>
                <a:lnTo>
                  <a:pt x="57" y="270"/>
                </a:lnTo>
                <a:lnTo>
                  <a:pt x="58" y="269"/>
                </a:lnTo>
                <a:lnTo>
                  <a:pt x="61" y="268"/>
                </a:lnTo>
                <a:lnTo>
                  <a:pt x="63" y="261"/>
                </a:lnTo>
                <a:lnTo>
                  <a:pt x="57" y="257"/>
                </a:lnTo>
                <a:lnTo>
                  <a:pt x="57" y="256"/>
                </a:lnTo>
                <a:lnTo>
                  <a:pt x="57" y="255"/>
                </a:lnTo>
                <a:lnTo>
                  <a:pt x="58" y="254"/>
                </a:lnTo>
                <a:lnTo>
                  <a:pt x="61" y="252"/>
                </a:lnTo>
                <a:lnTo>
                  <a:pt x="63" y="252"/>
                </a:lnTo>
                <a:lnTo>
                  <a:pt x="64" y="252"/>
                </a:lnTo>
                <a:lnTo>
                  <a:pt x="66" y="254"/>
                </a:lnTo>
                <a:lnTo>
                  <a:pt x="69" y="258"/>
                </a:lnTo>
                <a:lnTo>
                  <a:pt x="72" y="259"/>
                </a:lnTo>
                <a:lnTo>
                  <a:pt x="75" y="261"/>
                </a:lnTo>
                <a:lnTo>
                  <a:pt x="74" y="269"/>
                </a:lnTo>
                <a:close/>
                <a:moveTo>
                  <a:pt x="48" y="255"/>
                </a:moveTo>
                <a:lnTo>
                  <a:pt x="48" y="255"/>
                </a:lnTo>
                <a:lnTo>
                  <a:pt x="46" y="256"/>
                </a:lnTo>
                <a:lnTo>
                  <a:pt x="46" y="255"/>
                </a:lnTo>
                <a:lnTo>
                  <a:pt x="49" y="251"/>
                </a:lnTo>
                <a:lnTo>
                  <a:pt x="51" y="250"/>
                </a:lnTo>
                <a:lnTo>
                  <a:pt x="52" y="251"/>
                </a:lnTo>
                <a:lnTo>
                  <a:pt x="50" y="253"/>
                </a:lnTo>
                <a:lnTo>
                  <a:pt x="48" y="255"/>
                </a:lnTo>
                <a:close/>
                <a:moveTo>
                  <a:pt x="23" y="234"/>
                </a:moveTo>
                <a:lnTo>
                  <a:pt x="23" y="234"/>
                </a:lnTo>
                <a:lnTo>
                  <a:pt x="20" y="234"/>
                </a:lnTo>
                <a:lnTo>
                  <a:pt x="19" y="234"/>
                </a:lnTo>
                <a:lnTo>
                  <a:pt x="19" y="233"/>
                </a:lnTo>
                <a:lnTo>
                  <a:pt x="20" y="231"/>
                </a:lnTo>
                <a:lnTo>
                  <a:pt x="22" y="231"/>
                </a:lnTo>
                <a:lnTo>
                  <a:pt x="23" y="232"/>
                </a:lnTo>
                <a:lnTo>
                  <a:pt x="23" y="233"/>
                </a:lnTo>
                <a:lnTo>
                  <a:pt x="23" y="234"/>
                </a:lnTo>
                <a:close/>
                <a:moveTo>
                  <a:pt x="58" y="234"/>
                </a:moveTo>
                <a:lnTo>
                  <a:pt x="58" y="234"/>
                </a:lnTo>
                <a:lnTo>
                  <a:pt x="57" y="234"/>
                </a:lnTo>
                <a:lnTo>
                  <a:pt x="56" y="234"/>
                </a:lnTo>
                <a:lnTo>
                  <a:pt x="55" y="233"/>
                </a:lnTo>
                <a:lnTo>
                  <a:pt x="54" y="231"/>
                </a:lnTo>
                <a:lnTo>
                  <a:pt x="57" y="229"/>
                </a:lnTo>
                <a:lnTo>
                  <a:pt x="58" y="230"/>
                </a:lnTo>
                <a:lnTo>
                  <a:pt x="59" y="231"/>
                </a:lnTo>
                <a:lnTo>
                  <a:pt x="59" y="233"/>
                </a:lnTo>
                <a:lnTo>
                  <a:pt x="58" y="234"/>
                </a:lnTo>
                <a:close/>
                <a:moveTo>
                  <a:pt x="28" y="225"/>
                </a:moveTo>
                <a:lnTo>
                  <a:pt x="28" y="225"/>
                </a:lnTo>
                <a:lnTo>
                  <a:pt x="27" y="225"/>
                </a:lnTo>
                <a:lnTo>
                  <a:pt x="25" y="225"/>
                </a:lnTo>
                <a:lnTo>
                  <a:pt x="24" y="224"/>
                </a:lnTo>
                <a:lnTo>
                  <a:pt x="23" y="221"/>
                </a:lnTo>
                <a:lnTo>
                  <a:pt x="23" y="219"/>
                </a:lnTo>
                <a:lnTo>
                  <a:pt x="23" y="215"/>
                </a:lnTo>
                <a:lnTo>
                  <a:pt x="23" y="210"/>
                </a:lnTo>
                <a:lnTo>
                  <a:pt x="27" y="210"/>
                </a:lnTo>
                <a:lnTo>
                  <a:pt x="28" y="210"/>
                </a:lnTo>
                <a:lnTo>
                  <a:pt x="28" y="225"/>
                </a:lnTo>
                <a:lnTo>
                  <a:pt x="28" y="225"/>
                </a:lnTo>
                <a:close/>
                <a:moveTo>
                  <a:pt x="63" y="203"/>
                </a:moveTo>
                <a:lnTo>
                  <a:pt x="63" y="203"/>
                </a:lnTo>
                <a:lnTo>
                  <a:pt x="62" y="205"/>
                </a:lnTo>
                <a:lnTo>
                  <a:pt x="62" y="208"/>
                </a:lnTo>
                <a:lnTo>
                  <a:pt x="63" y="211"/>
                </a:lnTo>
                <a:lnTo>
                  <a:pt x="63" y="214"/>
                </a:lnTo>
                <a:lnTo>
                  <a:pt x="64" y="214"/>
                </a:lnTo>
                <a:lnTo>
                  <a:pt x="65" y="216"/>
                </a:lnTo>
                <a:lnTo>
                  <a:pt x="71" y="217"/>
                </a:lnTo>
                <a:lnTo>
                  <a:pt x="76" y="216"/>
                </a:lnTo>
                <a:lnTo>
                  <a:pt x="77" y="217"/>
                </a:lnTo>
                <a:lnTo>
                  <a:pt x="77" y="219"/>
                </a:lnTo>
                <a:lnTo>
                  <a:pt x="77" y="220"/>
                </a:lnTo>
                <a:lnTo>
                  <a:pt x="73" y="223"/>
                </a:lnTo>
                <a:lnTo>
                  <a:pt x="70" y="228"/>
                </a:lnTo>
                <a:lnTo>
                  <a:pt x="69" y="229"/>
                </a:lnTo>
                <a:lnTo>
                  <a:pt x="67" y="229"/>
                </a:lnTo>
                <a:lnTo>
                  <a:pt x="67" y="229"/>
                </a:lnTo>
                <a:lnTo>
                  <a:pt x="66" y="220"/>
                </a:lnTo>
                <a:lnTo>
                  <a:pt x="62" y="221"/>
                </a:lnTo>
                <a:lnTo>
                  <a:pt x="59" y="221"/>
                </a:lnTo>
                <a:lnTo>
                  <a:pt x="57" y="220"/>
                </a:lnTo>
                <a:lnTo>
                  <a:pt x="56" y="218"/>
                </a:lnTo>
                <a:lnTo>
                  <a:pt x="53" y="213"/>
                </a:lnTo>
                <a:lnTo>
                  <a:pt x="46" y="211"/>
                </a:lnTo>
                <a:lnTo>
                  <a:pt x="44" y="208"/>
                </a:lnTo>
                <a:lnTo>
                  <a:pt x="43" y="206"/>
                </a:lnTo>
                <a:lnTo>
                  <a:pt x="44" y="205"/>
                </a:lnTo>
                <a:lnTo>
                  <a:pt x="45" y="203"/>
                </a:lnTo>
                <a:lnTo>
                  <a:pt x="47" y="204"/>
                </a:lnTo>
                <a:lnTo>
                  <a:pt x="48" y="204"/>
                </a:lnTo>
                <a:lnTo>
                  <a:pt x="49" y="203"/>
                </a:lnTo>
                <a:lnTo>
                  <a:pt x="49" y="202"/>
                </a:lnTo>
                <a:lnTo>
                  <a:pt x="48" y="200"/>
                </a:lnTo>
                <a:lnTo>
                  <a:pt x="48" y="199"/>
                </a:lnTo>
                <a:lnTo>
                  <a:pt x="55" y="197"/>
                </a:lnTo>
                <a:lnTo>
                  <a:pt x="56" y="193"/>
                </a:lnTo>
                <a:lnTo>
                  <a:pt x="57" y="193"/>
                </a:lnTo>
                <a:lnTo>
                  <a:pt x="59" y="194"/>
                </a:lnTo>
                <a:lnTo>
                  <a:pt x="62" y="198"/>
                </a:lnTo>
                <a:lnTo>
                  <a:pt x="63" y="203"/>
                </a:lnTo>
                <a:close/>
                <a:moveTo>
                  <a:pt x="29" y="192"/>
                </a:moveTo>
                <a:lnTo>
                  <a:pt x="29" y="192"/>
                </a:lnTo>
                <a:lnTo>
                  <a:pt x="33" y="196"/>
                </a:lnTo>
                <a:lnTo>
                  <a:pt x="30" y="201"/>
                </a:lnTo>
                <a:lnTo>
                  <a:pt x="26" y="201"/>
                </a:lnTo>
                <a:lnTo>
                  <a:pt x="20" y="197"/>
                </a:lnTo>
                <a:lnTo>
                  <a:pt x="20" y="196"/>
                </a:lnTo>
                <a:lnTo>
                  <a:pt x="20" y="195"/>
                </a:lnTo>
                <a:lnTo>
                  <a:pt x="21" y="194"/>
                </a:lnTo>
                <a:lnTo>
                  <a:pt x="22" y="194"/>
                </a:lnTo>
                <a:lnTo>
                  <a:pt x="24" y="195"/>
                </a:lnTo>
                <a:lnTo>
                  <a:pt x="26" y="193"/>
                </a:lnTo>
                <a:lnTo>
                  <a:pt x="27" y="194"/>
                </a:lnTo>
                <a:lnTo>
                  <a:pt x="29" y="192"/>
                </a:lnTo>
                <a:close/>
                <a:moveTo>
                  <a:pt x="61" y="152"/>
                </a:moveTo>
                <a:lnTo>
                  <a:pt x="61" y="152"/>
                </a:lnTo>
                <a:lnTo>
                  <a:pt x="57" y="163"/>
                </a:lnTo>
                <a:lnTo>
                  <a:pt x="55" y="163"/>
                </a:lnTo>
                <a:lnTo>
                  <a:pt x="54" y="166"/>
                </a:lnTo>
                <a:lnTo>
                  <a:pt x="50" y="168"/>
                </a:lnTo>
                <a:lnTo>
                  <a:pt x="53" y="168"/>
                </a:lnTo>
                <a:lnTo>
                  <a:pt x="54" y="169"/>
                </a:lnTo>
                <a:lnTo>
                  <a:pt x="54" y="171"/>
                </a:lnTo>
                <a:lnTo>
                  <a:pt x="54" y="173"/>
                </a:lnTo>
                <a:lnTo>
                  <a:pt x="49" y="177"/>
                </a:lnTo>
                <a:lnTo>
                  <a:pt x="46" y="179"/>
                </a:lnTo>
                <a:lnTo>
                  <a:pt x="42" y="184"/>
                </a:lnTo>
                <a:lnTo>
                  <a:pt x="40" y="184"/>
                </a:lnTo>
                <a:lnTo>
                  <a:pt x="39" y="187"/>
                </a:lnTo>
                <a:lnTo>
                  <a:pt x="37" y="188"/>
                </a:lnTo>
                <a:lnTo>
                  <a:pt x="36" y="188"/>
                </a:lnTo>
                <a:lnTo>
                  <a:pt x="35" y="188"/>
                </a:lnTo>
                <a:lnTo>
                  <a:pt x="33" y="185"/>
                </a:lnTo>
                <a:lnTo>
                  <a:pt x="37" y="182"/>
                </a:lnTo>
                <a:lnTo>
                  <a:pt x="38" y="180"/>
                </a:lnTo>
                <a:lnTo>
                  <a:pt x="40" y="178"/>
                </a:lnTo>
                <a:lnTo>
                  <a:pt x="40" y="178"/>
                </a:lnTo>
                <a:lnTo>
                  <a:pt x="36" y="175"/>
                </a:lnTo>
                <a:lnTo>
                  <a:pt x="34" y="174"/>
                </a:lnTo>
                <a:lnTo>
                  <a:pt x="34" y="173"/>
                </a:lnTo>
                <a:lnTo>
                  <a:pt x="36" y="171"/>
                </a:lnTo>
                <a:lnTo>
                  <a:pt x="35" y="171"/>
                </a:lnTo>
                <a:lnTo>
                  <a:pt x="35" y="170"/>
                </a:lnTo>
                <a:lnTo>
                  <a:pt x="33" y="169"/>
                </a:lnTo>
                <a:lnTo>
                  <a:pt x="33" y="168"/>
                </a:lnTo>
                <a:lnTo>
                  <a:pt x="33" y="166"/>
                </a:lnTo>
                <a:lnTo>
                  <a:pt x="33" y="163"/>
                </a:lnTo>
                <a:lnTo>
                  <a:pt x="34" y="162"/>
                </a:lnTo>
                <a:lnTo>
                  <a:pt x="35" y="161"/>
                </a:lnTo>
                <a:lnTo>
                  <a:pt x="35" y="160"/>
                </a:lnTo>
                <a:lnTo>
                  <a:pt x="37" y="161"/>
                </a:lnTo>
                <a:lnTo>
                  <a:pt x="39" y="163"/>
                </a:lnTo>
                <a:lnTo>
                  <a:pt x="42" y="162"/>
                </a:lnTo>
                <a:lnTo>
                  <a:pt x="44" y="163"/>
                </a:lnTo>
                <a:lnTo>
                  <a:pt x="44" y="162"/>
                </a:lnTo>
                <a:lnTo>
                  <a:pt x="42" y="157"/>
                </a:lnTo>
                <a:lnTo>
                  <a:pt x="43" y="156"/>
                </a:lnTo>
                <a:lnTo>
                  <a:pt x="44" y="155"/>
                </a:lnTo>
                <a:lnTo>
                  <a:pt x="50" y="151"/>
                </a:lnTo>
                <a:lnTo>
                  <a:pt x="58" y="145"/>
                </a:lnTo>
                <a:lnTo>
                  <a:pt x="60" y="144"/>
                </a:lnTo>
                <a:lnTo>
                  <a:pt x="60" y="145"/>
                </a:lnTo>
                <a:lnTo>
                  <a:pt x="61" y="148"/>
                </a:lnTo>
                <a:lnTo>
                  <a:pt x="61" y="152"/>
                </a:lnTo>
                <a:close/>
                <a:moveTo>
                  <a:pt x="157" y="143"/>
                </a:moveTo>
                <a:lnTo>
                  <a:pt x="157" y="143"/>
                </a:lnTo>
                <a:lnTo>
                  <a:pt x="157" y="148"/>
                </a:lnTo>
                <a:lnTo>
                  <a:pt x="157" y="150"/>
                </a:lnTo>
                <a:lnTo>
                  <a:pt x="156" y="151"/>
                </a:lnTo>
                <a:lnTo>
                  <a:pt x="154" y="155"/>
                </a:lnTo>
                <a:lnTo>
                  <a:pt x="148" y="160"/>
                </a:lnTo>
                <a:lnTo>
                  <a:pt x="136" y="171"/>
                </a:lnTo>
                <a:lnTo>
                  <a:pt x="130" y="176"/>
                </a:lnTo>
                <a:lnTo>
                  <a:pt x="129" y="179"/>
                </a:lnTo>
                <a:lnTo>
                  <a:pt x="128" y="183"/>
                </a:lnTo>
                <a:lnTo>
                  <a:pt x="132" y="183"/>
                </a:lnTo>
                <a:lnTo>
                  <a:pt x="134" y="184"/>
                </a:lnTo>
                <a:lnTo>
                  <a:pt x="133" y="186"/>
                </a:lnTo>
                <a:lnTo>
                  <a:pt x="127" y="193"/>
                </a:lnTo>
                <a:lnTo>
                  <a:pt x="125" y="198"/>
                </a:lnTo>
                <a:lnTo>
                  <a:pt x="130" y="198"/>
                </a:lnTo>
                <a:lnTo>
                  <a:pt x="133" y="197"/>
                </a:lnTo>
                <a:lnTo>
                  <a:pt x="141" y="194"/>
                </a:lnTo>
                <a:lnTo>
                  <a:pt x="148" y="191"/>
                </a:lnTo>
                <a:lnTo>
                  <a:pt x="151" y="191"/>
                </a:lnTo>
                <a:lnTo>
                  <a:pt x="158" y="193"/>
                </a:lnTo>
                <a:lnTo>
                  <a:pt x="159" y="193"/>
                </a:lnTo>
                <a:lnTo>
                  <a:pt x="162" y="192"/>
                </a:lnTo>
                <a:lnTo>
                  <a:pt x="165" y="192"/>
                </a:lnTo>
                <a:lnTo>
                  <a:pt x="184" y="193"/>
                </a:lnTo>
                <a:lnTo>
                  <a:pt x="189" y="191"/>
                </a:lnTo>
                <a:lnTo>
                  <a:pt x="193" y="193"/>
                </a:lnTo>
                <a:lnTo>
                  <a:pt x="196" y="196"/>
                </a:lnTo>
                <a:lnTo>
                  <a:pt x="199" y="203"/>
                </a:lnTo>
                <a:lnTo>
                  <a:pt x="199" y="204"/>
                </a:lnTo>
                <a:lnTo>
                  <a:pt x="197" y="208"/>
                </a:lnTo>
                <a:lnTo>
                  <a:pt x="194" y="211"/>
                </a:lnTo>
                <a:lnTo>
                  <a:pt x="191" y="217"/>
                </a:lnTo>
                <a:lnTo>
                  <a:pt x="190" y="220"/>
                </a:lnTo>
                <a:lnTo>
                  <a:pt x="190" y="223"/>
                </a:lnTo>
                <a:lnTo>
                  <a:pt x="189" y="226"/>
                </a:lnTo>
                <a:lnTo>
                  <a:pt x="184" y="240"/>
                </a:lnTo>
                <a:lnTo>
                  <a:pt x="178" y="247"/>
                </a:lnTo>
                <a:lnTo>
                  <a:pt x="176" y="252"/>
                </a:lnTo>
                <a:lnTo>
                  <a:pt x="173" y="257"/>
                </a:lnTo>
                <a:lnTo>
                  <a:pt x="171" y="259"/>
                </a:lnTo>
                <a:lnTo>
                  <a:pt x="168" y="261"/>
                </a:lnTo>
                <a:lnTo>
                  <a:pt x="159" y="263"/>
                </a:lnTo>
                <a:lnTo>
                  <a:pt x="157" y="264"/>
                </a:lnTo>
                <a:lnTo>
                  <a:pt x="154" y="267"/>
                </a:lnTo>
                <a:lnTo>
                  <a:pt x="151" y="268"/>
                </a:lnTo>
                <a:lnTo>
                  <a:pt x="154" y="268"/>
                </a:lnTo>
                <a:lnTo>
                  <a:pt x="158" y="266"/>
                </a:lnTo>
                <a:lnTo>
                  <a:pt x="164" y="266"/>
                </a:lnTo>
                <a:lnTo>
                  <a:pt x="171" y="270"/>
                </a:lnTo>
                <a:lnTo>
                  <a:pt x="171" y="274"/>
                </a:lnTo>
                <a:lnTo>
                  <a:pt x="168" y="277"/>
                </a:lnTo>
                <a:lnTo>
                  <a:pt x="161" y="277"/>
                </a:lnTo>
                <a:lnTo>
                  <a:pt x="155" y="284"/>
                </a:lnTo>
                <a:lnTo>
                  <a:pt x="152" y="286"/>
                </a:lnTo>
                <a:lnTo>
                  <a:pt x="149" y="287"/>
                </a:lnTo>
                <a:lnTo>
                  <a:pt x="146" y="286"/>
                </a:lnTo>
                <a:lnTo>
                  <a:pt x="139" y="285"/>
                </a:lnTo>
                <a:lnTo>
                  <a:pt x="136" y="283"/>
                </a:lnTo>
                <a:lnTo>
                  <a:pt x="139" y="286"/>
                </a:lnTo>
                <a:lnTo>
                  <a:pt x="142" y="287"/>
                </a:lnTo>
                <a:lnTo>
                  <a:pt x="159" y="291"/>
                </a:lnTo>
                <a:lnTo>
                  <a:pt x="160" y="290"/>
                </a:lnTo>
                <a:lnTo>
                  <a:pt x="166" y="287"/>
                </a:lnTo>
                <a:lnTo>
                  <a:pt x="173" y="287"/>
                </a:lnTo>
                <a:lnTo>
                  <a:pt x="187" y="294"/>
                </a:lnTo>
                <a:lnTo>
                  <a:pt x="191" y="299"/>
                </a:lnTo>
                <a:lnTo>
                  <a:pt x="197" y="306"/>
                </a:lnTo>
                <a:lnTo>
                  <a:pt x="200" y="309"/>
                </a:lnTo>
                <a:lnTo>
                  <a:pt x="202" y="312"/>
                </a:lnTo>
                <a:lnTo>
                  <a:pt x="204" y="316"/>
                </a:lnTo>
                <a:lnTo>
                  <a:pt x="207" y="329"/>
                </a:lnTo>
                <a:lnTo>
                  <a:pt x="210" y="342"/>
                </a:lnTo>
                <a:lnTo>
                  <a:pt x="214" y="355"/>
                </a:lnTo>
                <a:lnTo>
                  <a:pt x="216" y="359"/>
                </a:lnTo>
                <a:lnTo>
                  <a:pt x="218" y="362"/>
                </a:lnTo>
                <a:lnTo>
                  <a:pt x="230" y="368"/>
                </a:lnTo>
                <a:lnTo>
                  <a:pt x="233" y="370"/>
                </a:lnTo>
                <a:lnTo>
                  <a:pt x="238" y="376"/>
                </a:lnTo>
                <a:lnTo>
                  <a:pt x="243" y="382"/>
                </a:lnTo>
                <a:lnTo>
                  <a:pt x="247" y="387"/>
                </a:lnTo>
                <a:lnTo>
                  <a:pt x="251" y="390"/>
                </a:lnTo>
                <a:lnTo>
                  <a:pt x="249" y="392"/>
                </a:lnTo>
                <a:lnTo>
                  <a:pt x="248" y="396"/>
                </a:lnTo>
                <a:lnTo>
                  <a:pt x="249" y="400"/>
                </a:lnTo>
                <a:lnTo>
                  <a:pt x="251" y="404"/>
                </a:lnTo>
                <a:lnTo>
                  <a:pt x="254" y="410"/>
                </a:lnTo>
                <a:lnTo>
                  <a:pt x="258" y="417"/>
                </a:lnTo>
                <a:lnTo>
                  <a:pt x="257" y="416"/>
                </a:lnTo>
                <a:lnTo>
                  <a:pt x="255" y="416"/>
                </a:lnTo>
                <a:lnTo>
                  <a:pt x="254" y="416"/>
                </a:lnTo>
                <a:lnTo>
                  <a:pt x="252" y="415"/>
                </a:lnTo>
                <a:lnTo>
                  <a:pt x="249" y="413"/>
                </a:lnTo>
                <a:lnTo>
                  <a:pt x="246" y="411"/>
                </a:lnTo>
                <a:lnTo>
                  <a:pt x="240" y="412"/>
                </a:lnTo>
                <a:lnTo>
                  <a:pt x="236" y="411"/>
                </a:lnTo>
                <a:lnTo>
                  <a:pt x="234" y="411"/>
                </a:lnTo>
                <a:lnTo>
                  <a:pt x="239" y="413"/>
                </a:lnTo>
                <a:lnTo>
                  <a:pt x="245" y="413"/>
                </a:lnTo>
                <a:lnTo>
                  <a:pt x="258" y="425"/>
                </a:lnTo>
                <a:lnTo>
                  <a:pt x="263" y="432"/>
                </a:lnTo>
                <a:lnTo>
                  <a:pt x="265" y="441"/>
                </a:lnTo>
                <a:lnTo>
                  <a:pt x="263" y="445"/>
                </a:lnTo>
                <a:lnTo>
                  <a:pt x="261" y="447"/>
                </a:lnTo>
                <a:lnTo>
                  <a:pt x="258" y="450"/>
                </a:lnTo>
                <a:lnTo>
                  <a:pt x="256" y="454"/>
                </a:lnTo>
                <a:lnTo>
                  <a:pt x="263" y="459"/>
                </a:lnTo>
                <a:lnTo>
                  <a:pt x="264" y="459"/>
                </a:lnTo>
                <a:lnTo>
                  <a:pt x="266" y="458"/>
                </a:lnTo>
                <a:lnTo>
                  <a:pt x="268" y="456"/>
                </a:lnTo>
                <a:lnTo>
                  <a:pt x="270" y="452"/>
                </a:lnTo>
                <a:lnTo>
                  <a:pt x="272" y="451"/>
                </a:lnTo>
                <a:lnTo>
                  <a:pt x="276" y="450"/>
                </a:lnTo>
                <a:lnTo>
                  <a:pt x="280" y="450"/>
                </a:lnTo>
                <a:lnTo>
                  <a:pt x="284" y="451"/>
                </a:lnTo>
                <a:lnTo>
                  <a:pt x="287" y="451"/>
                </a:lnTo>
                <a:lnTo>
                  <a:pt x="294" y="453"/>
                </a:lnTo>
                <a:lnTo>
                  <a:pt x="297" y="454"/>
                </a:lnTo>
                <a:lnTo>
                  <a:pt x="306" y="462"/>
                </a:lnTo>
                <a:lnTo>
                  <a:pt x="308" y="466"/>
                </a:lnTo>
                <a:lnTo>
                  <a:pt x="309" y="471"/>
                </a:lnTo>
                <a:lnTo>
                  <a:pt x="309" y="476"/>
                </a:lnTo>
                <a:lnTo>
                  <a:pt x="307" y="481"/>
                </a:lnTo>
                <a:lnTo>
                  <a:pt x="306" y="486"/>
                </a:lnTo>
                <a:lnTo>
                  <a:pt x="304" y="492"/>
                </a:lnTo>
                <a:lnTo>
                  <a:pt x="304" y="494"/>
                </a:lnTo>
                <a:lnTo>
                  <a:pt x="303" y="496"/>
                </a:lnTo>
                <a:lnTo>
                  <a:pt x="298" y="500"/>
                </a:lnTo>
                <a:lnTo>
                  <a:pt x="295" y="502"/>
                </a:lnTo>
                <a:lnTo>
                  <a:pt x="294" y="501"/>
                </a:lnTo>
                <a:lnTo>
                  <a:pt x="293" y="502"/>
                </a:lnTo>
                <a:lnTo>
                  <a:pt x="292" y="503"/>
                </a:lnTo>
                <a:lnTo>
                  <a:pt x="294" y="505"/>
                </a:lnTo>
                <a:lnTo>
                  <a:pt x="294" y="508"/>
                </a:lnTo>
                <a:lnTo>
                  <a:pt x="291" y="510"/>
                </a:lnTo>
                <a:lnTo>
                  <a:pt x="288" y="511"/>
                </a:lnTo>
                <a:lnTo>
                  <a:pt x="284" y="510"/>
                </a:lnTo>
                <a:lnTo>
                  <a:pt x="278" y="514"/>
                </a:lnTo>
                <a:lnTo>
                  <a:pt x="282" y="516"/>
                </a:lnTo>
                <a:lnTo>
                  <a:pt x="283" y="518"/>
                </a:lnTo>
                <a:lnTo>
                  <a:pt x="282" y="522"/>
                </a:lnTo>
                <a:lnTo>
                  <a:pt x="279" y="523"/>
                </a:lnTo>
                <a:lnTo>
                  <a:pt x="276" y="524"/>
                </a:lnTo>
                <a:lnTo>
                  <a:pt x="273" y="524"/>
                </a:lnTo>
                <a:lnTo>
                  <a:pt x="270" y="525"/>
                </a:lnTo>
                <a:lnTo>
                  <a:pt x="267" y="527"/>
                </a:lnTo>
                <a:lnTo>
                  <a:pt x="271" y="526"/>
                </a:lnTo>
                <a:lnTo>
                  <a:pt x="273" y="527"/>
                </a:lnTo>
                <a:lnTo>
                  <a:pt x="274" y="530"/>
                </a:lnTo>
                <a:lnTo>
                  <a:pt x="276" y="531"/>
                </a:lnTo>
                <a:lnTo>
                  <a:pt x="282" y="532"/>
                </a:lnTo>
                <a:lnTo>
                  <a:pt x="286" y="532"/>
                </a:lnTo>
                <a:lnTo>
                  <a:pt x="293" y="531"/>
                </a:lnTo>
                <a:lnTo>
                  <a:pt x="297" y="531"/>
                </a:lnTo>
                <a:lnTo>
                  <a:pt x="298" y="532"/>
                </a:lnTo>
                <a:lnTo>
                  <a:pt x="298" y="535"/>
                </a:lnTo>
                <a:lnTo>
                  <a:pt x="298" y="541"/>
                </a:lnTo>
                <a:lnTo>
                  <a:pt x="297" y="542"/>
                </a:lnTo>
                <a:lnTo>
                  <a:pt x="287" y="548"/>
                </a:lnTo>
                <a:lnTo>
                  <a:pt x="285" y="551"/>
                </a:lnTo>
                <a:lnTo>
                  <a:pt x="284" y="554"/>
                </a:lnTo>
                <a:lnTo>
                  <a:pt x="278" y="553"/>
                </a:lnTo>
                <a:lnTo>
                  <a:pt x="276" y="556"/>
                </a:lnTo>
                <a:lnTo>
                  <a:pt x="271" y="557"/>
                </a:lnTo>
                <a:lnTo>
                  <a:pt x="267" y="559"/>
                </a:lnTo>
                <a:lnTo>
                  <a:pt x="264" y="561"/>
                </a:lnTo>
                <a:lnTo>
                  <a:pt x="261" y="562"/>
                </a:lnTo>
                <a:lnTo>
                  <a:pt x="248" y="559"/>
                </a:lnTo>
                <a:lnTo>
                  <a:pt x="240" y="559"/>
                </a:lnTo>
                <a:lnTo>
                  <a:pt x="230" y="562"/>
                </a:lnTo>
                <a:lnTo>
                  <a:pt x="227" y="561"/>
                </a:lnTo>
                <a:lnTo>
                  <a:pt x="223" y="559"/>
                </a:lnTo>
                <a:lnTo>
                  <a:pt x="219" y="558"/>
                </a:lnTo>
                <a:lnTo>
                  <a:pt x="214" y="557"/>
                </a:lnTo>
                <a:lnTo>
                  <a:pt x="210" y="555"/>
                </a:lnTo>
                <a:lnTo>
                  <a:pt x="213" y="559"/>
                </a:lnTo>
                <a:lnTo>
                  <a:pt x="207" y="563"/>
                </a:lnTo>
                <a:lnTo>
                  <a:pt x="204" y="563"/>
                </a:lnTo>
                <a:lnTo>
                  <a:pt x="202" y="563"/>
                </a:lnTo>
                <a:lnTo>
                  <a:pt x="196" y="564"/>
                </a:lnTo>
                <a:lnTo>
                  <a:pt x="191" y="564"/>
                </a:lnTo>
                <a:lnTo>
                  <a:pt x="192" y="566"/>
                </a:lnTo>
                <a:lnTo>
                  <a:pt x="193" y="568"/>
                </a:lnTo>
                <a:lnTo>
                  <a:pt x="192" y="569"/>
                </a:lnTo>
                <a:lnTo>
                  <a:pt x="191" y="570"/>
                </a:lnTo>
                <a:lnTo>
                  <a:pt x="181" y="568"/>
                </a:lnTo>
                <a:lnTo>
                  <a:pt x="179" y="568"/>
                </a:lnTo>
                <a:lnTo>
                  <a:pt x="178" y="570"/>
                </a:lnTo>
                <a:lnTo>
                  <a:pt x="175" y="569"/>
                </a:lnTo>
                <a:lnTo>
                  <a:pt x="171" y="566"/>
                </a:lnTo>
                <a:lnTo>
                  <a:pt x="168" y="565"/>
                </a:lnTo>
                <a:lnTo>
                  <a:pt x="164" y="564"/>
                </a:lnTo>
                <a:lnTo>
                  <a:pt x="161" y="564"/>
                </a:lnTo>
                <a:lnTo>
                  <a:pt x="148" y="568"/>
                </a:lnTo>
                <a:lnTo>
                  <a:pt x="145" y="572"/>
                </a:lnTo>
                <a:lnTo>
                  <a:pt x="144" y="578"/>
                </a:lnTo>
                <a:lnTo>
                  <a:pt x="142" y="583"/>
                </a:lnTo>
                <a:lnTo>
                  <a:pt x="139" y="587"/>
                </a:lnTo>
                <a:lnTo>
                  <a:pt x="136" y="588"/>
                </a:lnTo>
                <a:lnTo>
                  <a:pt x="133" y="585"/>
                </a:lnTo>
                <a:lnTo>
                  <a:pt x="126" y="582"/>
                </a:lnTo>
                <a:lnTo>
                  <a:pt x="124" y="580"/>
                </a:lnTo>
                <a:lnTo>
                  <a:pt x="123" y="580"/>
                </a:lnTo>
                <a:lnTo>
                  <a:pt x="123" y="581"/>
                </a:lnTo>
                <a:lnTo>
                  <a:pt x="120" y="581"/>
                </a:lnTo>
                <a:lnTo>
                  <a:pt x="118" y="581"/>
                </a:lnTo>
                <a:lnTo>
                  <a:pt x="114" y="582"/>
                </a:lnTo>
                <a:lnTo>
                  <a:pt x="107" y="585"/>
                </a:lnTo>
                <a:lnTo>
                  <a:pt x="104" y="586"/>
                </a:lnTo>
                <a:lnTo>
                  <a:pt x="98" y="591"/>
                </a:lnTo>
                <a:lnTo>
                  <a:pt x="97" y="592"/>
                </a:lnTo>
                <a:lnTo>
                  <a:pt x="95" y="597"/>
                </a:lnTo>
                <a:lnTo>
                  <a:pt x="91" y="598"/>
                </a:lnTo>
                <a:lnTo>
                  <a:pt x="88" y="595"/>
                </a:lnTo>
                <a:lnTo>
                  <a:pt x="85" y="594"/>
                </a:lnTo>
                <a:lnTo>
                  <a:pt x="81" y="595"/>
                </a:lnTo>
                <a:lnTo>
                  <a:pt x="79" y="596"/>
                </a:lnTo>
                <a:lnTo>
                  <a:pt x="78" y="595"/>
                </a:lnTo>
                <a:lnTo>
                  <a:pt x="78" y="593"/>
                </a:lnTo>
                <a:lnTo>
                  <a:pt x="80" y="589"/>
                </a:lnTo>
                <a:lnTo>
                  <a:pt x="88" y="587"/>
                </a:lnTo>
                <a:lnTo>
                  <a:pt x="94" y="581"/>
                </a:lnTo>
                <a:lnTo>
                  <a:pt x="97" y="577"/>
                </a:lnTo>
                <a:lnTo>
                  <a:pt x="98" y="575"/>
                </a:lnTo>
                <a:lnTo>
                  <a:pt x="100" y="573"/>
                </a:lnTo>
                <a:lnTo>
                  <a:pt x="102" y="573"/>
                </a:lnTo>
                <a:lnTo>
                  <a:pt x="103" y="571"/>
                </a:lnTo>
                <a:lnTo>
                  <a:pt x="111" y="561"/>
                </a:lnTo>
                <a:lnTo>
                  <a:pt x="112" y="559"/>
                </a:lnTo>
                <a:lnTo>
                  <a:pt x="112" y="555"/>
                </a:lnTo>
                <a:lnTo>
                  <a:pt x="113" y="551"/>
                </a:lnTo>
                <a:lnTo>
                  <a:pt x="120" y="549"/>
                </a:lnTo>
                <a:lnTo>
                  <a:pt x="124" y="541"/>
                </a:lnTo>
                <a:lnTo>
                  <a:pt x="124" y="540"/>
                </a:lnTo>
                <a:lnTo>
                  <a:pt x="134" y="539"/>
                </a:lnTo>
                <a:lnTo>
                  <a:pt x="142" y="539"/>
                </a:lnTo>
                <a:lnTo>
                  <a:pt x="149" y="540"/>
                </a:lnTo>
                <a:lnTo>
                  <a:pt x="153" y="540"/>
                </a:lnTo>
                <a:lnTo>
                  <a:pt x="156" y="540"/>
                </a:lnTo>
                <a:lnTo>
                  <a:pt x="159" y="538"/>
                </a:lnTo>
                <a:lnTo>
                  <a:pt x="164" y="530"/>
                </a:lnTo>
                <a:lnTo>
                  <a:pt x="167" y="526"/>
                </a:lnTo>
                <a:lnTo>
                  <a:pt x="170" y="523"/>
                </a:lnTo>
                <a:lnTo>
                  <a:pt x="173" y="520"/>
                </a:lnTo>
                <a:lnTo>
                  <a:pt x="178" y="513"/>
                </a:lnTo>
                <a:lnTo>
                  <a:pt x="175" y="515"/>
                </a:lnTo>
                <a:lnTo>
                  <a:pt x="171" y="519"/>
                </a:lnTo>
                <a:lnTo>
                  <a:pt x="169" y="521"/>
                </a:lnTo>
                <a:lnTo>
                  <a:pt x="161" y="523"/>
                </a:lnTo>
                <a:lnTo>
                  <a:pt x="158" y="525"/>
                </a:lnTo>
                <a:lnTo>
                  <a:pt x="153" y="530"/>
                </a:lnTo>
                <a:lnTo>
                  <a:pt x="151" y="531"/>
                </a:lnTo>
                <a:lnTo>
                  <a:pt x="143" y="530"/>
                </a:lnTo>
                <a:lnTo>
                  <a:pt x="137" y="523"/>
                </a:lnTo>
                <a:lnTo>
                  <a:pt x="133" y="521"/>
                </a:lnTo>
                <a:lnTo>
                  <a:pt x="131" y="520"/>
                </a:lnTo>
                <a:lnTo>
                  <a:pt x="129" y="521"/>
                </a:lnTo>
                <a:lnTo>
                  <a:pt x="126" y="522"/>
                </a:lnTo>
                <a:lnTo>
                  <a:pt x="122" y="522"/>
                </a:lnTo>
                <a:lnTo>
                  <a:pt x="124" y="519"/>
                </a:lnTo>
                <a:lnTo>
                  <a:pt x="127" y="517"/>
                </a:lnTo>
                <a:lnTo>
                  <a:pt x="121" y="516"/>
                </a:lnTo>
                <a:lnTo>
                  <a:pt x="119" y="515"/>
                </a:lnTo>
                <a:lnTo>
                  <a:pt x="117" y="513"/>
                </a:lnTo>
                <a:lnTo>
                  <a:pt x="113" y="513"/>
                </a:lnTo>
                <a:lnTo>
                  <a:pt x="111" y="513"/>
                </a:lnTo>
                <a:lnTo>
                  <a:pt x="107" y="516"/>
                </a:lnTo>
                <a:lnTo>
                  <a:pt x="101" y="519"/>
                </a:lnTo>
                <a:lnTo>
                  <a:pt x="94" y="515"/>
                </a:lnTo>
                <a:lnTo>
                  <a:pt x="93" y="513"/>
                </a:lnTo>
                <a:lnTo>
                  <a:pt x="93" y="510"/>
                </a:lnTo>
                <a:lnTo>
                  <a:pt x="92" y="507"/>
                </a:lnTo>
                <a:lnTo>
                  <a:pt x="90" y="506"/>
                </a:lnTo>
                <a:lnTo>
                  <a:pt x="92" y="503"/>
                </a:lnTo>
                <a:lnTo>
                  <a:pt x="95" y="500"/>
                </a:lnTo>
                <a:lnTo>
                  <a:pt x="102" y="498"/>
                </a:lnTo>
                <a:lnTo>
                  <a:pt x="112" y="492"/>
                </a:lnTo>
                <a:lnTo>
                  <a:pt x="117" y="490"/>
                </a:lnTo>
                <a:lnTo>
                  <a:pt x="123" y="486"/>
                </a:lnTo>
                <a:lnTo>
                  <a:pt x="125" y="484"/>
                </a:lnTo>
                <a:lnTo>
                  <a:pt x="126" y="480"/>
                </a:lnTo>
                <a:lnTo>
                  <a:pt x="128" y="476"/>
                </a:lnTo>
                <a:lnTo>
                  <a:pt x="130" y="473"/>
                </a:lnTo>
                <a:lnTo>
                  <a:pt x="128" y="472"/>
                </a:lnTo>
                <a:lnTo>
                  <a:pt x="127" y="469"/>
                </a:lnTo>
                <a:lnTo>
                  <a:pt x="127" y="467"/>
                </a:lnTo>
                <a:lnTo>
                  <a:pt x="128" y="464"/>
                </a:lnTo>
                <a:lnTo>
                  <a:pt x="127" y="461"/>
                </a:lnTo>
                <a:lnTo>
                  <a:pt x="126" y="458"/>
                </a:lnTo>
                <a:lnTo>
                  <a:pt x="126" y="456"/>
                </a:lnTo>
                <a:lnTo>
                  <a:pt x="126" y="453"/>
                </a:lnTo>
                <a:lnTo>
                  <a:pt x="122" y="453"/>
                </a:lnTo>
                <a:lnTo>
                  <a:pt x="118" y="454"/>
                </a:lnTo>
                <a:lnTo>
                  <a:pt x="115" y="456"/>
                </a:lnTo>
                <a:lnTo>
                  <a:pt x="111" y="459"/>
                </a:lnTo>
                <a:lnTo>
                  <a:pt x="108" y="459"/>
                </a:lnTo>
                <a:lnTo>
                  <a:pt x="108" y="457"/>
                </a:lnTo>
                <a:lnTo>
                  <a:pt x="110" y="455"/>
                </a:lnTo>
                <a:lnTo>
                  <a:pt x="113" y="451"/>
                </a:lnTo>
                <a:lnTo>
                  <a:pt x="117" y="448"/>
                </a:lnTo>
                <a:lnTo>
                  <a:pt x="118" y="446"/>
                </a:lnTo>
                <a:lnTo>
                  <a:pt x="119" y="444"/>
                </a:lnTo>
                <a:lnTo>
                  <a:pt x="121" y="441"/>
                </a:lnTo>
                <a:lnTo>
                  <a:pt x="126" y="438"/>
                </a:lnTo>
                <a:lnTo>
                  <a:pt x="135" y="433"/>
                </a:lnTo>
                <a:lnTo>
                  <a:pt x="137" y="433"/>
                </a:lnTo>
                <a:lnTo>
                  <a:pt x="140" y="433"/>
                </a:lnTo>
                <a:lnTo>
                  <a:pt x="144" y="433"/>
                </a:lnTo>
                <a:lnTo>
                  <a:pt x="147" y="431"/>
                </a:lnTo>
                <a:lnTo>
                  <a:pt x="150" y="431"/>
                </a:lnTo>
                <a:lnTo>
                  <a:pt x="158" y="435"/>
                </a:lnTo>
                <a:lnTo>
                  <a:pt x="155" y="428"/>
                </a:lnTo>
                <a:lnTo>
                  <a:pt x="159" y="427"/>
                </a:lnTo>
                <a:lnTo>
                  <a:pt x="163" y="433"/>
                </a:lnTo>
                <a:lnTo>
                  <a:pt x="165" y="434"/>
                </a:lnTo>
                <a:lnTo>
                  <a:pt x="168" y="433"/>
                </a:lnTo>
                <a:lnTo>
                  <a:pt x="167" y="432"/>
                </a:lnTo>
                <a:lnTo>
                  <a:pt x="165" y="432"/>
                </a:lnTo>
                <a:lnTo>
                  <a:pt x="163" y="431"/>
                </a:lnTo>
                <a:lnTo>
                  <a:pt x="161" y="429"/>
                </a:lnTo>
                <a:lnTo>
                  <a:pt x="159" y="422"/>
                </a:lnTo>
                <a:lnTo>
                  <a:pt x="159" y="418"/>
                </a:lnTo>
                <a:lnTo>
                  <a:pt x="161" y="414"/>
                </a:lnTo>
                <a:lnTo>
                  <a:pt x="163" y="411"/>
                </a:lnTo>
                <a:lnTo>
                  <a:pt x="161" y="410"/>
                </a:lnTo>
                <a:lnTo>
                  <a:pt x="160" y="409"/>
                </a:lnTo>
                <a:lnTo>
                  <a:pt x="159" y="405"/>
                </a:lnTo>
                <a:lnTo>
                  <a:pt x="160" y="402"/>
                </a:lnTo>
                <a:lnTo>
                  <a:pt x="164" y="399"/>
                </a:lnTo>
                <a:lnTo>
                  <a:pt x="165" y="394"/>
                </a:lnTo>
                <a:lnTo>
                  <a:pt x="165" y="389"/>
                </a:lnTo>
                <a:lnTo>
                  <a:pt x="165" y="387"/>
                </a:lnTo>
                <a:lnTo>
                  <a:pt x="161" y="388"/>
                </a:lnTo>
                <a:lnTo>
                  <a:pt x="159" y="389"/>
                </a:lnTo>
                <a:lnTo>
                  <a:pt x="157" y="390"/>
                </a:lnTo>
                <a:lnTo>
                  <a:pt x="155" y="390"/>
                </a:lnTo>
                <a:lnTo>
                  <a:pt x="151" y="385"/>
                </a:lnTo>
                <a:lnTo>
                  <a:pt x="148" y="380"/>
                </a:lnTo>
                <a:lnTo>
                  <a:pt x="143" y="372"/>
                </a:lnTo>
                <a:lnTo>
                  <a:pt x="142" y="367"/>
                </a:lnTo>
                <a:lnTo>
                  <a:pt x="146" y="355"/>
                </a:lnTo>
                <a:lnTo>
                  <a:pt x="152" y="348"/>
                </a:lnTo>
                <a:lnTo>
                  <a:pt x="159" y="346"/>
                </a:lnTo>
                <a:lnTo>
                  <a:pt x="158" y="345"/>
                </a:lnTo>
                <a:lnTo>
                  <a:pt x="147" y="345"/>
                </a:lnTo>
                <a:lnTo>
                  <a:pt x="143" y="346"/>
                </a:lnTo>
                <a:lnTo>
                  <a:pt x="140" y="349"/>
                </a:lnTo>
                <a:lnTo>
                  <a:pt x="138" y="350"/>
                </a:lnTo>
                <a:lnTo>
                  <a:pt x="136" y="350"/>
                </a:lnTo>
                <a:lnTo>
                  <a:pt x="134" y="352"/>
                </a:lnTo>
                <a:lnTo>
                  <a:pt x="133" y="354"/>
                </a:lnTo>
                <a:lnTo>
                  <a:pt x="131" y="355"/>
                </a:lnTo>
                <a:lnTo>
                  <a:pt x="127" y="355"/>
                </a:lnTo>
                <a:lnTo>
                  <a:pt x="125" y="355"/>
                </a:lnTo>
                <a:lnTo>
                  <a:pt x="124" y="354"/>
                </a:lnTo>
                <a:lnTo>
                  <a:pt x="123" y="352"/>
                </a:lnTo>
                <a:lnTo>
                  <a:pt x="121" y="351"/>
                </a:lnTo>
                <a:lnTo>
                  <a:pt x="120" y="352"/>
                </a:lnTo>
                <a:lnTo>
                  <a:pt x="117" y="355"/>
                </a:lnTo>
                <a:lnTo>
                  <a:pt x="113" y="356"/>
                </a:lnTo>
                <a:lnTo>
                  <a:pt x="109" y="354"/>
                </a:lnTo>
                <a:lnTo>
                  <a:pt x="104" y="351"/>
                </a:lnTo>
                <a:lnTo>
                  <a:pt x="103" y="353"/>
                </a:lnTo>
                <a:lnTo>
                  <a:pt x="102" y="355"/>
                </a:lnTo>
                <a:lnTo>
                  <a:pt x="101" y="360"/>
                </a:lnTo>
                <a:lnTo>
                  <a:pt x="97" y="356"/>
                </a:lnTo>
                <a:lnTo>
                  <a:pt x="94" y="351"/>
                </a:lnTo>
                <a:lnTo>
                  <a:pt x="93" y="347"/>
                </a:lnTo>
                <a:lnTo>
                  <a:pt x="93" y="344"/>
                </a:lnTo>
                <a:lnTo>
                  <a:pt x="95" y="342"/>
                </a:lnTo>
                <a:lnTo>
                  <a:pt x="96" y="344"/>
                </a:lnTo>
                <a:lnTo>
                  <a:pt x="99" y="335"/>
                </a:lnTo>
                <a:lnTo>
                  <a:pt x="105" y="323"/>
                </a:lnTo>
                <a:lnTo>
                  <a:pt x="107" y="320"/>
                </a:lnTo>
                <a:lnTo>
                  <a:pt x="108" y="316"/>
                </a:lnTo>
                <a:lnTo>
                  <a:pt x="108" y="313"/>
                </a:lnTo>
                <a:lnTo>
                  <a:pt x="107" y="310"/>
                </a:lnTo>
                <a:lnTo>
                  <a:pt x="102" y="305"/>
                </a:lnTo>
                <a:lnTo>
                  <a:pt x="102" y="300"/>
                </a:lnTo>
                <a:lnTo>
                  <a:pt x="102" y="295"/>
                </a:lnTo>
                <a:lnTo>
                  <a:pt x="104" y="292"/>
                </a:lnTo>
                <a:lnTo>
                  <a:pt x="104" y="291"/>
                </a:lnTo>
                <a:lnTo>
                  <a:pt x="111" y="292"/>
                </a:lnTo>
                <a:lnTo>
                  <a:pt x="108" y="290"/>
                </a:lnTo>
                <a:lnTo>
                  <a:pt x="103" y="285"/>
                </a:lnTo>
                <a:lnTo>
                  <a:pt x="103" y="284"/>
                </a:lnTo>
                <a:lnTo>
                  <a:pt x="104" y="279"/>
                </a:lnTo>
                <a:lnTo>
                  <a:pt x="104" y="280"/>
                </a:lnTo>
                <a:lnTo>
                  <a:pt x="103" y="282"/>
                </a:lnTo>
                <a:lnTo>
                  <a:pt x="100" y="287"/>
                </a:lnTo>
                <a:lnTo>
                  <a:pt x="99" y="288"/>
                </a:lnTo>
                <a:lnTo>
                  <a:pt x="95" y="289"/>
                </a:lnTo>
                <a:lnTo>
                  <a:pt x="95" y="291"/>
                </a:lnTo>
                <a:lnTo>
                  <a:pt x="94" y="292"/>
                </a:lnTo>
                <a:lnTo>
                  <a:pt x="92" y="292"/>
                </a:lnTo>
                <a:lnTo>
                  <a:pt x="91" y="294"/>
                </a:lnTo>
                <a:lnTo>
                  <a:pt x="91" y="294"/>
                </a:lnTo>
                <a:lnTo>
                  <a:pt x="91" y="292"/>
                </a:lnTo>
                <a:lnTo>
                  <a:pt x="90" y="288"/>
                </a:lnTo>
                <a:lnTo>
                  <a:pt x="91" y="284"/>
                </a:lnTo>
                <a:lnTo>
                  <a:pt x="93" y="282"/>
                </a:lnTo>
                <a:lnTo>
                  <a:pt x="98" y="275"/>
                </a:lnTo>
                <a:lnTo>
                  <a:pt x="96" y="277"/>
                </a:lnTo>
                <a:lnTo>
                  <a:pt x="89" y="283"/>
                </a:lnTo>
                <a:lnTo>
                  <a:pt x="86" y="287"/>
                </a:lnTo>
                <a:lnTo>
                  <a:pt x="85" y="288"/>
                </a:lnTo>
                <a:lnTo>
                  <a:pt x="85" y="290"/>
                </a:lnTo>
                <a:lnTo>
                  <a:pt x="85" y="291"/>
                </a:lnTo>
                <a:lnTo>
                  <a:pt x="87" y="298"/>
                </a:lnTo>
                <a:lnTo>
                  <a:pt x="86" y="301"/>
                </a:lnTo>
                <a:lnTo>
                  <a:pt x="81" y="322"/>
                </a:lnTo>
                <a:lnTo>
                  <a:pt x="80" y="324"/>
                </a:lnTo>
                <a:lnTo>
                  <a:pt x="79" y="325"/>
                </a:lnTo>
                <a:lnTo>
                  <a:pt x="78" y="325"/>
                </a:lnTo>
                <a:lnTo>
                  <a:pt x="75" y="325"/>
                </a:lnTo>
                <a:lnTo>
                  <a:pt x="74" y="323"/>
                </a:lnTo>
                <a:lnTo>
                  <a:pt x="74" y="322"/>
                </a:lnTo>
                <a:lnTo>
                  <a:pt x="75" y="319"/>
                </a:lnTo>
                <a:lnTo>
                  <a:pt x="77" y="309"/>
                </a:lnTo>
                <a:lnTo>
                  <a:pt x="78" y="306"/>
                </a:lnTo>
                <a:lnTo>
                  <a:pt x="79" y="304"/>
                </a:lnTo>
                <a:lnTo>
                  <a:pt x="82" y="299"/>
                </a:lnTo>
                <a:lnTo>
                  <a:pt x="82" y="299"/>
                </a:lnTo>
                <a:lnTo>
                  <a:pt x="80" y="300"/>
                </a:lnTo>
                <a:lnTo>
                  <a:pt x="79" y="299"/>
                </a:lnTo>
                <a:lnTo>
                  <a:pt x="79" y="299"/>
                </a:lnTo>
                <a:lnTo>
                  <a:pt x="79" y="285"/>
                </a:lnTo>
                <a:lnTo>
                  <a:pt x="81" y="281"/>
                </a:lnTo>
                <a:lnTo>
                  <a:pt x="81" y="274"/>
                </a:lnTo>
                <a:lnTo>
                  <a:pt x="83" y="269"/>
                </a:lnTo>
                <a:lnTo>
                  <a:pt x="85" y="264"/>
                </a:lnTo>
                <a:lnTo>
                  <a:pt x="86" y="259"/>
                </a:lnTo>
                <a:lnTo>
                  <a:pt x="88" y="257"/>
                </a:lnTo>
                <a:lnTo>
                  <a:pt x="88" y="253"/>
                </a:lnTo>
                <a:lnTo>
                  <a:pt x="91" y="250"/>
                </a:lnTo>
                <a:lnTo>
                  <a:pt x="92" y="246"/>
                </a:lnTo>
                <a:lnTo>
                  <a:pt x="91" y="246"/>
                </a:lnTo>
                <a:lnTo>
                  <a:pt x="81" y="256"/>
                </a:lnTo>
                <a:lnTo>
                  <a:pt x="78" y="258"/>
                </a:lnTo>
                <a:lnTo>
                  <a:pt x="74" y="258"/>
                </a:lnTo>
                <a:lnTo>
                  <a:pt x="71" y="257"/>
                </a:lnTo>
                <a:lnTo>
                  <a:pt x="69" y="254"/>
                </a:lnTo>
                <a:lnTo>
                  <a:pt x="68" y="249"/>
                </a:lnTo>
                <a:lnTo>
                  <a:pt x="65" y="249"/>
                </a:lnTo>
                <a:lnTo>
                  <a:pt x="63" y="248"/>
                </a:lnTo>
                <a:lnTo>
                  <a:pt x="63" y="248"/>
                </a:lnTo>
                <a:lnTo>
                  <a:pt x="66" y="245"/>
                </a:lnTo>
                <a:lnTo>
                  <a:pt x="71" y="244"/>
                </a:lnTo>
                <a:lnTo>
                  <a:pt x="75" y="240"/>
                </a:lnTo>
                <a:lnTo>
                  <a:pt x="71" y="237"/>
                </a:lnTo>
                <a:lnTo>
                  <a:pt x="72" y="236"/>
                </a:lnTo>
                <a:lnTo>
                  <a:pt x="75" y="234"/>
                </a:lnTo>
                <a:lnTo>
                  <a:pt x="80" y="226"/>
                </a:lnTo>
                <a:lnTo>
                  <a:pt x="81" y="218"/>
                </a:lnTo>
                <a:lnTo>
                  <a:pt x="78" y="215"/>
                </a:lnTo>
                <a:lnTo>
                  <a:pt x="78" y="213"/>
                </a:lnTo>
                <a:lnTo>
                  <a:pt x="73" y="210"/>
                </a:lnTo>
                <a:lnTo>
                  <a:pt x="73" y="207"/>
                </a:lnTo>
                <a:lnTo>
                  <a:pt x="73" y="205"/>
                </a:lnTo>
                <a:lnTo>
                  <a:pt x="75" y="203"/>
                </a:lnTo>
                <a:lnTo>
                  <a:pt x="77" y="202"/>
                </a:lnTo>
                <a:lnTo>
                  <a:pt x="80" y="200"/>
                </a:lnTo>
                <a:lnTo>
                  <a:pt x="77" y="199"/>
                </a:lnTo>
                <a:lnTo>
                  <a:pt x="76" y="197"/>
                </a:lnTo>
                <a:lnTo>
                  <a:pt x="75" y="195"/>
                </a:lnTo>
                <a:lnTo>
                  <a:pt x="75" y="193"/>
                </a:lnTo>
                <a:lnTo>
                  <a:pt x="76" y="187"/>
                </a:lnTo>
                <a:lnTo>
                  <a:pt x="77" y="184"/>
                </a:lnTo>
                <a:lnTo>
                  <a:pt x="79" y="181"/>
                </a:lnTo>
                <a:lnTo>
                  <a:pt x="87" y="181"/>
                </a:lnTo>
                <a:lnTo>
                  <a:pt x="88" y="179"/>
                </a:lnTo>
                <a:lnTo>
                  <a:pt x="89" y="179"/>
                </a:lnTo>
                <a:lnTo>
                  <a:pt x="93" y="181"/>
                </a:lnTo>
                <a:lnTo>
                  <a:pt x="93" y="179"/>
                </a:lnTo>
                <a:lnTo>
                  <a:pt x="86" y="171"/>
                </a:lnTo>
                <a:lnTo>
                  <a:pt x="85" y="170"/>
                </a:lnTo>
                <a:lnTo>
                  <a:pt x="87" y="165"/>
                </a:lnTo>
                <a:lnTo>
                  <a:pt x="87" y="163"/>
                </a:lnTo>
                <a:lnTo>
                  <a:pt x="87" y="161"/>
                </a:lnTo>
                <a:lnTo>
                  <a:pt x="88" y="160"/>
                </a:lnTo>
                <a:lnTo>
                  <a:pt x="90" y="159"/>
                </a:lnTo>
                <a:lnTo>
                  <a:pt x="96" y="159"/>
                </a:lnTo>
                <a:lnTo>
                  <a:pt x="98" y="158"/>
                </a:lnTo>
                <a:lnTo>
                  <a:pt x="97" y="156"/>
                </a:lnTo>
                <a:lnTo>
                  <a:pt x="96" y="153"/>
                </a:lnTo>
                <a:lnTo>
                  <a:pt x="95" y="151"/>
                </a:lnTo>
                <a:lnTo>
                  <a:pt x="96" y="149"/>
                </a:lnTo>
                <a:lnTo>
                  <a:pt x="96" y="145"/>
                </a:lnTo>
                <a:lnTo>
                  <a:pt x="96" y="143"/>
                </a:lnTo>
                <a:lnTo>
                  <a:pt x="98" y="140"/>
                </a:lnTo>
                <a:lnTo>
                  <a:pt x="99" y="139"/>
                </a:lnTo>
                <a:lnTo>
                  <a:pt x="100" y="139"/>
                </a:lnTo>
                <a:lnTo>
                  <a:pt x="104" y="140"/>
                </a:lnTo>
                <a:lnTo>
                  <a:pt x="105" y="141"/>
                </a:lnTo>
                <a:lnTo>
                  <a:pt x="107" y="144"/>
                </a:lnTo>
                <a:lnTo>
                  <a:pt x="108" y="143"/>
                </a:lnTo>
                <a:lnTo>
                  <a:pt x="113" y="141"/>
                </a:lnTo>
                <a:lnTo>
                  <a:pt x="114" y="140"/>
                </a:lnTo>
                <a:lnTo>
                  <a:pt x="116" y="144"/>
                </a:lnTo>
                <a:lnTo>
                  <a:pt x="123" y="141"/>
                </a:lnTo>
                <a:lnTo>
                  <a:pt x="134" y="140"/>
                </a:lnTo>
                <a:lnTo>
                  <a:pt x="140" y="138"/>
                </a:lnTo>
                <a:lnTo>
                  <a:pt x="146" y="137"/>
                </a:lnTo>
                <a:lnTo>
                  <a:pt x="152" y="135"/>
                </a:lnTo>
                <a:lnTo>
                  <a:pt x="159" y="136"/>
                </a:lnTo>
                <a:lnTo>
                  <a:pt x="159" y="137"/>
                </a:lnTo>
                <a:lnTo>
                  <a:pt x="159" y="139"/>
                </a:lnTo>
                <a:lnTo>
                  <a:pt x="157" y="143"/>
                </a:lnTo>
                <a:close/>
                <a:moveTo>
                  <a:pt x="163" y="130"/>
                </a:moveTo>
                <a:lnTo>
                  <a:pt x="163" y="130"/>
                </a:lnTo>
                <a:lnTo>
                  <a:pt x="162" y="130"/>
                </a:lnTo>
                <a:lnTo>
                  <a:pt x="161" y="129"/>
                </a:lnTo>
                <a:lnTo>
                  <a:pt x="159" y="125"/>
                </a:lnTo>
                <a:lnTo>
                  <a:pt x="162" y="124"/>
                </a:lnTo>
                <a:lnTo>
                  <a:pt x="164" y="125"/>
                </a:lnTo>
                <a:lnTo>
                  <a:pt x="163" y="126"/>
                </a:lnTo>
                <a:lnTo>
                  <a:pt x="163" y="130"/>
                </a:lnTo>
                <a:close/>
                <a:moveTo>
                  <a:pt x="155" y="127"/>
                </a:moveTo>
                <a:lnTo>
                  <a:pt x="155" y="127"/>
                </a:lnTo>
                <a:lnTo>
                  <a:pt x="154" y="127"/>
                </a:lnTo>
                <a:lnTo>
                  <a:pt x="152" y="127"/>
                </a:lnTo>
                <a:lnTo>
                  <a:pt x="149" y="124"/>
                </a:lnTo>
                <a:lnTo>
                  <a:pt x="148" y="121"/>
                </a:lnTo>
                <a:lnTo>
                  <a:pt x="148" y="120"/>
                </a:lnTo>
                <a:lnTo>
                  <a:pt x="149" y="119"/>
                </a:lnTo>
                <a:lnTo>
                  <a:pt x="152" y="120"/>
                </a:lnTo>
                <a:lnTo>
                  <a:pt x="153" y="123"/>
                </a:lnTo>
                <a:lnTo>
                  <a:pt x="154" y="125"/>
                </a:lnTo>
                <a:lnTo>
                  <a:pt x="154" y="125"/>
                </a:lnTo>
                <a:lnTo>
                  <a:pt x="156" y="126"/>
                </a:lnTo>
                <a:lnTo>
                  <a:pt x="155" y="127"/>
                </a:lnTo>
                <a:close/>
                <a:moveTo>
                  <a:pt x="159" y="112"/>
                </a:moveTo>
                <a:lnTo>
                  <a:pt x="159" y="112"/>
                </a:lnTo>
                <a:lnTo>
                  <a:pt x="158" y="114"/>
                </a:lnTo>
                <a:lnTo>
                  <a:pt x="161" y="114"/>
                </a:lnTo>
                <a:lnTo>
                  <a:pt x="164" y="115"/>
                </a:lnTo>
                <a:lnTo>
                  <a:pt x="166" y="115"/>
                </a:lnTo>
                <a:lnTo>
                  <a:pt x="168" y="117"/>
                </a:lnTo>
                <a:lnTo>
                  <a:pt x="167" y="120"/>
                </a:lnTo>
                <a:lnTo>
                  <a:pt x="166" y="121"/>
                </a:lnTo>
                <a:lnTo>
                  <a:pt x="165" y="121"/>
                </a:lnTo>
                <a:lnTo>
                  <a:pt x="161" y="118"/>
                </a:lnTo>
                <a:lnTo>
                  <a:pt x="155" y="119"/>
                </a:lnTo>
                <a:lnTo>
                  <a:pt x="154" y="119"/>
                </a:lnTo>
                <a:lnTo>
                  <a:pt x="154" y="118"/>
                </a:lnTo>
                <a:lnTo>
                  <a:pt x="153" y="117"/>
                </a:lnTo>
                <a:lnTo>
                  <a:pt x="153" y="115"/>
                </a:lnTo>
                <a:lnTo>
                  <a:pt x="153" y="114"/>
                </a:lnTo>
                <a:lnTo>
                  <a:pt x="151" y="116"/>
                </a:lnTo>
                <a:lnTo>
                  <a:pt x="150" y="116"/>
                </a:lnTo>
                <a:lnTo>
                  <a:pt x="150" y="115"/>
                </a:lnTo>
                <a:lnTo>
                  <a:pt x="150" y="113"/>
                </a:lnTo>
                <a:lnTo>
                  <a:pt x="150" y="110"/>
                </a:lnTo>
                <a:lnTo>
                  <a:pt x="151" y="106"/>
                </a:lnTo>
                <a:lnTo>
                  <a:pt x="153" y="106"/>
                </a:lnTo>
                <a:lnTo>
                  <a:pt x="156" y="106"/>
                </a:lnTo>
                <a:lnTo>
                  <a:pt x="159" y="108"/>
                </a:lnTo>
                <a:lnTo>
                  <a:pt x="160" y="110"/>
                </a:lnTo>
                <a:lnTo>
                  <a:pt x="160" y="111"/>
                </a:lnTo>
                <a:lnTo>
                  <a:pt x="159" y="112"/>
                </a:lnTo>
                <a:close/>
                <a:moveTo>
                  <a:pt x="175" y="100"/>
                </a:moveTo>
                <a:lnTo>
                  <a:pt x="175" y="100"/>
                </a:lnTo>
                <a:lnTo>
                  <a:pt x="171" y="100"/>
                </a:lnTo>
                <a:lnTo>
                  <a:pt x="173" y="97"/>
                </a:lnTo>
                <a:lnTo>
                  <a:pt x="175" y="96"/>
                </a:lnTo>
                <a:lnTo>
                  <a:pt x="179" y="96"/>
                </a:lnTo>
                <a:lnTo>
                  <a:pt x="178" y="98"/>
                </a:lnTo>
                <a:lnTo>
                  <a:pt x="175" y="100"/>
                </a:lnTo>
                <a:close/>
                <a:moveTo>
                  <a:pt x="169" y="103"/>
                </a:moveTo>
                <a:lnTo>
                  <a:pt x="169" y="103"/>
                </a:lnTo>
                <a:lnTo>
                  <a:pt x="166" y="104"/>
                </a:lnTo>
                <a:lnTo>
                  <a:pt x="165" y="103"/>
                </a:lnTo>
                <a:lnTo>
                  <a:pt x="165" y="99"/>
                </a:lnTo>
                <a:lnTo>
                  <a:pt x="162" y="98"/>
                </a:lnTo>
                <a:lnTo>
                  <a:pt x="160" y="97"/>
                </a:lnTo>
                <a:lnTo>
                  <a:pt x="159" y="95"/>
                </a:lnTo>
                <a:lnTo>
                  <a:pt x="159" y="94"/>
                </a:lnTo>
                <a:lnTo>
                  <a:pt x="161" y="93"/>
                </a:lnTo>
                <a:lnTo>
                  <a:pt x="165" y="97"/>
                </a:lnTo>
                <a:lnTo>
                  <a:pt x="166" y="100"/>
                </a:lnTo>
                <a:lnTo>
                  <a:pt x="169" y="100"/>
                </a:lnTo>
                <a:lnTo>
                  <a:pt x="169" y="101"/>
                </a:lnTo>
                <a:lnTo>
                  <a:pt x="169" y="103"/>
                </a:lnTo>
                <a:close/>
                <a:moveTo>
                  <a:pt x="213" y="19"/>
                </a:moveTo>
                <a:lnTo>
                  <a:pt x="213" y="19"/>
                </a:lnTo>
                <a:lnTo>
                  <a:pt x="214" y="24"/>
                </a:lnTo>
                <a:lnTo>
                  <a:pt x="216" y="22"/>
                </a:lnTo>
                <a:lnTo>
                  <a:pt x="218" y="27"/>
                </a:lnTo>
                <a:lnTo>
                  <a:pt x="219" y="27"/>
                </a:lnTo>
                <a:lnTo>
                  <a:pt x="221" y="25"/>
                </a:lnTo>
                <a:lnTo>
                  <a:pt x="221" y="29"/>
                </a:lnTo>
                <a:lnTo>
                  <a:pt x="219" y="40"/>
                </a:lnTo>
                <a:lnTo>
                  <a:pt x="218" y="42"/>
                </a:lnTo>
                <a:lnTo>
                  <a:pt x="218" y="45"/>
                </a:lnTo>
                <a:lnTo>
                  <a:pt x="217" y="46"/>
                </a:lnTo>
                <a:lnTo>
                  <a:pt x="217" y="53"/>
                </a:lnTo>
                <a:lnTo>
                  <a:pt x="215" y="55"/>
                </a:lnTo>
                <a:lnTo>
                  <a:pt x="214" y="60"/>
                </a:lnTo>
                <a:lnTo>
                  <a:pt x="214" y="60"/>
                </a:lnTo>
                <a:lnTo>
                  <a:pt x="212" y="58"/>
                </a:lnTo>
                <a:lnTo>
                  <a:pt x="214" y="50"/>
                </a:lnTo>
                <a:lnTo>
                  <a:pt x="214" y="46"/>
                </a:lnTo>
                <a:lnTo>
                  <a:pt x="214" y="43"/>
                </a:lnTo>
                <a:lnTo>
                  <a:pt x="213" y="41"/>
                </a:lnTo>
                <a:lnTo>
                  <a:pt x="210" y="41"/>
                </a:lnTo>
                <a:lnTo>
                  <a:pt x="208" y="42"/>
                </a:lnTo>
                <a:lnTo>
                  <a:pt x="207" y="41"/>
                </a:lnTo>
                <a:lnTo>
                  <a:pt x="207" y="39"/>
                </a:lnTo>
                <a:lnTo>
                  <a:pt x="207" y="38"/>
                </a:lnTo>
                <a:lnTo>
                  <a:pt x="204" y="39"/>
                </a:lnTo>
                <a:lnTo>
                  <a:pt x="203" y="38"/>
                </a:lnTo>
                <a:lnTo>
                  <a:pt x="202" y="37"/>
                </a:lnTo>
                <a:lnTo>
                  <a:pt x="202" y="35"/>
                </a:lnTo>
                <a:lnTo>
                  <a:pt x="205" y="34"/>
                </a:lnTo>
                <a:lnTo>
                  <a:pt x="207" y="35"/>
                </a:lnTo>
                <a:lnTo>
                  <a:pt x="211" y="32"/>
                </a:lnTo>
                <a:lnTo>
                  <a:pt x="209" y="24"/>
                </a:lnTo>
                <a:lnTo>
                  <a:pt x="206" y="23"/>
                </a:lnTo>
                <a:lnTo>
                  <a:pt x="205" y="22"/>
                </a:lnTo>
                <a:lnTo>
                  <a:pt x="206" y="20"/>
                </a:lnTo>
                <a:lnTo>
                  <a:pt x="207" y="20"/>
                </a:lnTo>
                <a:lnTo>
                  <a:pt x="210" y="15"/>
                </a:lnTo>
                <a:lnTo>
                  <a:pt x="212" y="15"/>
                </a:lnTo>
                <a:lnTo>
                  <a:pt x="214" y="15"/>
                </a:lnTo>
                <a:lnTo>
                  <a:pt x="213" y="19"/>
                </a:lnTo>
                <a:close/>
                <a:moveTo>
                  <a:pt x="222" y="21"/>
                </a:moveTo>
                <a:lnTo>
                  <a:pt x="222" y="21"/>
                </a:lnTo>
                <a:lnTo>
                  <a:pt x="221" y="21"/>
                </a:lnTo>
                <a:lnTo>
                  <a:pt x="218" y="15"/>
                </a:lnTo>
                <a:lnTo>
                  <a:pt x="220" y="8"/>
                </a:lnTo>
                <a:lnTo>
                  <a:pt x="223" y="8"/>
                </a:lnTo>
                <a:lnTo>
                  <a:pt x="223" y="10"/>
                </a:lnTo>
                <a:lnTo>
                  <a:pt x="223" y="12"/>
                </a:lnTo>
                <a:lnTo>
                  <a:pt x="222" y="12"/>
                </a:lnTo>
                <a:lnTo>
                  <a:pt x="221" y="12"/>
                </a:lnTo>
                <a:lnTo>
                  <a:pt x="222" y="16"/>
                </a:lnTo>
                <a:lnTo>
                  <a:pt x="222" y="20"/>
                </a:lnTo>
                <a:lnTo>
                  <a:pt x="222" y="21"/>
                </a:lnTo>
                <a:close/>
                <a:moveTo>
                  <a:pt x="230" y="2"/>
                </a:moveTo>
                <a:lnTo>
                  <a:pt x="230" y="2"/>
                </a:lnTo>
                <a:lnTo>
                  <a:pt x="230" y="2"/>
                </a:lnTo>
                <a:lnTo>
                  <a:pt x="228" y="8"/>
                </a:lnTo>
                <a:lnTo>
                  <a:pt x="228" y="10"/>
                </a:lnTo>
                <a:lnTo>
                  <a:pt x="226" y="10"/>
                </a:lnTo>
                <a:lnTo>
                  <a:pt x="225" y="9"/>
                </a:lnTo>
                <a:lnTo>
                  <a:pt x="225" y="6"/>
                </a:lnTo>
                <a:lnTo>
                  <a:pt x="225" y="3"/>
                </a:lnTo>
                <a:lnTo>
                  <a:pt x="226" y="2"/>
                </a:lnTo>
                <a:lnTo>
                  <a:pt x="226" y="1"/>
                </a:lnTo>
                <a:lnTo>
                  <a:pt x="227" y="2"/>
                </a:lnTo>
                <a:lnTo>
                  <a:pt x="228" y="0"/>
                </a:lnTo>
                <a:lnTo>
                  <a:pt x="229" y="0"/>
                </a:lnTo>
                <a:lnTo>
                  <a:pt x="23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1" name="Ireland">
            <a:extLst>
              <a:ext uri="{FF2B5EF4-FFF2-40B4-BE49-F238E27FC236}">
                <a16:creationId xmlns:a16="http://schemas.microsoft.com/office/drawing/2014/main" id="{50AED675-FABE-4332-AF46-A0DF7E45F5F1}"/>
              </a:ext>
            </a:extLst>
          </p:cNvPr>
          <p:cNvSpPr>
            <a:spLocks noEditPoints="1"/>
          </p:cNvSpPr>
          <p:nvPr/>
        </p:nvSpPr>
        <p:spPr bwMode="auto">
          <a:xfrm>
            <a:off x="5499563" y="2883541"/>
            <a:ext cx="132824" cy="172131"/>
          </a:xfrm>
          <a:custGeom>
            <a:avLst/>
            <a:gdLst>
              <a:gd name="T0" fmla="*/ 92 w 136"/>
              <a:gd name="T1" fmla="*/ 25 h 203"/>
              <a:gd name="T2" fmla="*/ 84 w 136"/>
              <a:gd name="T3" fmla="*/ 35 h 203"/>
              <a:gd name="T4" fmla="*/ 78 w 136"/>
              <a:gd name="T5" fmla="*/ 37 h 203"/>
              <a:gd name="T6" fmla="*/ 81 w 136"/>
              <a:gd name="T7" fmla="*/ 43 h 203"/>
              <a:gd name="T8" fmla="*/ 77 w 136"/>
              <a:gd name="T9" fmla="*/ 58 h 203"/>
              <a:gd name="T10" fmla="*/ 89 w 136"/>
              <a:gd name="T11" fmla="*/ 67 h 203"/>
              <a:gd name="T12" fmla="*/ 100 w 136"/>
              <a:gd name="T13" fmla="*/ 62 h 203"/>
              <a:gd name="T14" fmla="*/ 104 w 136"/>
              <a:gd name="T15" fmla="*/ 52 h 203"/>
              <a:gd name="T16" fmla="*/ 110 w 136"/>
              <a:gd name="T17" fmla="*/ 59 h 203"/>
              <a:gd name="T18" fmla="*/ 116 w 136"/>
              <a:gd name="T19" fmla="*/ 69 h 203"/>
              <a:gd name="T20" fmla="*/ 126 w 136"/>
              <a:gd name="T21" fmla="*/ 70 h 203"/>
              <a:gd name="T22" fmla="*/ 130 w 136"/>
              <a:gd name="T23" fmla="*/ 73 h 203"/>
              <a:gd name="T24" fmla="*/ 129 w 136"/>
              <a:gd name="T25" fmla="*/ 82 h 203"/>
              <a:gd name="T26" fmla="*/ 133 w 136"/>
              <a:gd name="T27" fmla="*/ 102 h 203"/>
              <a:gd name="T28" fmla="*/ 136 w 136"/>
              <a:gd name="T29" fmla="*/ 121 h 203"/>
              <a:gd name="T30" fmla="*/ 131 w 136"/>
              <a:gd name="T31" fmla="*/ 143 h 203"/>
              <a:gd name="T32" fmla="*/ 127 w 136"/>
              <a:gd name="T33" fmla="*/ 165 h 203"/>
              <a:gd name="T34" fmla="*/ 110 w 136"/>
              <a:gd name="T35" fmla="*/ 168 h 203"/>
              <a:gd name="T36" fmla="*/ 103 w 136"/>
              <a:gd name="T37" fmla="*/ 170 h 203"/>
              <a:gd name="T38" fmla="*/ 87 w 136"/>
              <a:gd name="T39" fmla="*/ 176 h 203"/>
              <a:gd name="T40" fmla="*/ 76 w 136"/>
              <a:gd name="T41" fmla="*/ 184 h 203"/>
              <a:gd name="T42" fmla="*/ 66 w 136"/>
              <a:gd name="T43" fmla="*/ 183 h 203"/>
              <a:gd name="T44" fmla="*/ 64 w 136"/>
              <a:gd name="T45" fmla="*/ 190 h 203"/>
              <a:gd name="T46" fmla="*/ 49 w 136"/>
              <a:gd name="T47" fmla="*/ 198 h 203"/>
              <a:gd name="T48" fmla="*/ 27 w 136"/>
              <a:gd name="T49" fmla="*/ 201 h 203"/>
              <a:gd name="T50" fmla="*/ 27 w 136"/>
              <a:gd name="T51" fmla="*/ 193 h 203"/>
              <a:gd name="T52" fmla="*/ 10 w 136"/>
              <a:gd name="T53" fmla="*/ 194 h 203"/>
              <a:gd name="T54" fmla="*/ 25 w 136"/>
              <a:gd name="T55" fmla="*/ 183 h 203"/>
              <a:gd name="T56" fmla="*/ 1 w 136"/>
              <a:gd name="T57" fmla="*/ 184 h 203"/>
              <a:gd name="T58" fmla="*/ 15 w 136"/>
              <a:gd name="T59" fmla="*/ 171 h 203"/>
              <a:gd name="T60" fmla="*/ 1 w 136"/>
              <a:gd name="T61" fmla="*/ 167 h 203"/>
              <a:gd name="T62" fmla="*/ 14 w 136"/>
              <a:gd name="T63" fmla="*/ 165 h 203"/>
              <a:gd name="T64" fmla="*/ 17 w 136"/>
              <a:gd name="T65" fmla="*/ 155 h 203"/>
              <a:gd name="T66" fmla="*/ 42 w 136"/>
              <a:gd name="T67" fmla="*/ 145 h 203"/>
              <a:gd name="T68" fmla="*/ 38 w 136"/>
              <a:gd name="T69" fmla="*/ 145 h 203"/>
              <a:gd name="T70" fmla="*/ 24 w 136"/>
              <a:gd name="T71" fmla="*/ 145 h 203"/>
              <a:gd name="T72" fmla="*/ 29 w 136"/>
              <a:gd name="T73" fmla="*/ 135 h 203"/>
              <a:gd name="T74" fmla="*/ 36 w 136"/>
              <a:gd name="T75" fmla="*/ 120 h 203"/>
              <a:gd name="T76" fmla="*/ 46 w 136"/>
              <a:gd name="T77" fmla="*/ 115 h 203"/>
              <a:gd name="T78" fmla="*/ 26 w 136"/>
              <a:gd name="T79" fmla="*/ 113 h 203"/>
              <a:gd name="T80" fmla="*/ 19 w 136"/>
              <a:gd name="T81" fmla="*/ 109 h 203"/>
              <a:gd name="T82" fmla="*/ 12 w 136"/>
              <a:gd name="T83" fmla="*/ 105 h 203"/>
              <a:gd name="T84" fmla="*/ 9 w 136"/>
              <a:gd name="T85" fmla="*/ 97 h 203"/>
              <a:gd name="T86" fmla="*/ 17 w 136"/>
              <a:gd name="T87" fmla="*/ 93 h 203"/>
              <a:gd name="T88" fmla="*/ 25 w 136"/>
              <a:gd name="T89" fmla="*/ 84 h 203"/>
              <a:gd name="T90" fmla="*/ 16 w 136"/>
              <a:gd name="T91" fmla="*/ 77 h 203"/>
              <a:gd name="T92" fmla="*/ 14 w 136"/>
              <a:gd name="T93" fmla="*/ 66 h 203"/>
              <a:gd name="T94" fmla="*/ 12 w 136"/>
              <a:gd name="T95" fmla="*/ 59 h 203"/>
              <a:gd name="T96" fmla="*/ 34 w 136"/>
              <a:gd name="T97" fmla="*/ 58 h 203"/>
              <a:gd name="T98" fmla="*/ 51 w 136"/>
              <a:gd name="T99" fmla="*/ 60 h 203"/>
              <a:gd name="T100" fmla="*/ 57 w 136"/>
              <a:gd name="T101" fmla="*/ 52 h 203"/>
              <a:gd name="T102" fmla="*/ 69 w 136"/>
              <a:gd name="T103" fmla="*/ 43 h 203"/>
              <a:gd name="T104" fmla="*/ 54 w 136"/>
              <a:gd name="T105" fmla="*/ 33 h 203"/>
              <a:gd name="T106" fmla="*/ 62 w 136"/>
              <a:gd name="T107" fmla="*/ 22 h 203"/>
              <a:gd name="T108" fmla="*/ 70 w 136"/>
              <a:gd name="T109" fmla="*/ 11 h 203"/>
              <a:gd name="T110" fmla="*/ 82 w 136"/>
              <a:gd name="T111" fmla="*/ 7 h 203"/>
              <a:gd name="T112" fmla="*/ 88 w 136"/>
              <a:gd name="T113" fmla="*/ 13 h 203"/>
              <a:gd name="T114" fmla="*/ 88 w 136"/>
              <a:gd name="T115" fmla="*/ 20 h 203"/>
              <a:gd name="T116" fmla="*/ 90 w 136"/>
              <a:gd name="T117" fmla="*/ 7 h 203"/>
              <a:gd name="T118" fmla="*/ 98 w 136"/>
              <a:gd name="T119" fmla="*/ 1 h 203"/>
              <a:gd name="T120" fmla="*/ 100 w 136"/>
              <a:gd name="T121" fmla="*/ 13 h 203"/>
              <a:gd name="T122" fmla="*/ 11 w 136"/>
              <a:gd name="T123" fmla="*/ 78 h 203"/>
              <a:gd name="T124" fmla="*/ 12 w 136"/>
              <a:gd name="T125" fmla="*/ 7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203">
                <a:moveTo>
                  <a:pt x="99" y="15"/>
                </a:moveTo>
                <a:lnTo>
                  <a:pt x="99" y="15"/>
                </a:lnTo>
                <a:lnTo>
                  <a:pt x="94" y="19"/>
                </a:lnTo>
                <a:lnTo>
                  <a:pt x="93" y="20"/>
                </a:lnTo>
                <a:lnTo>
                  <a:pt x="92" y="25"/>
                </a:lnTo>
                <a:lnTo>
                  <a:pt x="92" y="27"/>
                </a:lnTo>
                <a:lnTo>
                  <a:pt x="90" y="29"/>
                </a:lnTo>
                <a:lnTo>
                  <a:pt x="89" y="33"/>
                </a:lnTo>
                <a:lnTo>
                  <a:pt x="87" y="34"/>
                </a:lnTo>
                <a:lnTo>
                  <a:pt x="84" y="35"/>
                </a:lnTo>
                <a:lnTo>
                  <a:pt x="83" y="36"/>
                </a:lnTo>
                <a:lnTo>
                  <a:pt x="81" y="35"/>
                </a:lnTo>
                <a:lnTo>
                  <a:pt x="79" y="35"/>
                </a:lnTo>
                <a:lnTo>
                  <a:pt x="77" y="36"/>
                </a:lnTo>
                <a:lnTo>
                  <a:pt x="78" y="37"/>
                </a:lnTo>
                <a:lnTo>
                  <a:pt x="78" y="38"/>
                </a:lnTo>
                <a:lnTo>
                  <a:pt x="80" y="40"/>
                </a:lnTo>
                <a:lnTo>
                  <a:pt x="83" y="41"/>
                </a:lnTo>
                <a:lnTo>
                  <a:pt x="82" y="42"/>
                </a:lnTo>
                <a:lnTo>
                  <a:pt x="81" y="43"/>
                </a:lnTo>
                <a:lnTo>
                  <a:pt x="73" y="46"/>
                </a:lnTo>
                <a:lnTo>
                  <a:pt x="71" y="48"/>
                </a:lnTo>
                <a:lnTo>
                  <a:pt x="70" y="50"/>
                </a:lnTo>
                <a:lnTo>
                  <a:pt x="71" y="52"/>
                </a:lnTo>
                <a:lnTo>
                  <a:pt x="77" y="58"/>
                </a:lnTo>
                <a:lnTo>
                  <a:pt x="78" y="59"/>
                </a:lnTo>
                <a:lnTo>
                  <a:pt x="79" y="62"/>
                </a:lnTo>
                <a:lnTo>
                  <a:pt x="85" y="64"/>
                </a:lnTo>
                <a:lnTo>
                  <a:pt x="87" y="66"/>
                </a:lnTo>
                <a:lnTo>
                  <a:pt x="89" y="67"/>
                </a:lnTo>
                <a:lnTo>
                  <a:pt x="93" y="66"/>
                </a:lnTo>
                <a:lnTo>
                  <a:pt x="95" y="67"/>
                </a:lnTo>
                <a:lnTo>
                  <a:pt x="96" y="67"/>
                </a:lnTo>
                <a:lnTo>
                  <a:pt x="96" y="65"/>
                </a:lnTo>
                <a:lnTo>
                  <a:pt x="100" y="62"/>
                </a:lnTo>
                <a:lnTo>
                  <a:pt x="101" y="61"/>
                </a:lnTo>
                <a:lnTo>
                  <a:pt x="100" y="59"/>
                </a:lnTo>
                <a:lnTo>
                  <a:pt x="100" y="58"/>
                </a:lnTo>
                <a:lnTo>
                  <a:pt x="102" y="55"/>
                </a:lnTo>
                <a:lnTo>
                  <a:pt x="104" y="52"/>
                </a:lnTo>
                <a:lnTo>
                  <a:pt x="106" y="52"/>
                </a:lnTo>
                <a:lnTo>
                  <a:pt x="108" y="54"/>
                </a:lnTo>
                <a:lnTo>
                  <a:pt x="110" y="56"/>
                </a:lnTo>
                <a:lnTo>
                  <a:pt x="110" y="58"/>
                </a:lnTo>
                <a:lnTo>
                  <a:pt x="110" y="59"/>
                </a:lnTo>
                <a:lnTo>
                  <a:pt x="112" y="62"/>
                </a:lnTo>
                <a:lnTo>
                  <a:pt x="113" y="63"/>
                </a:lnTo>
                <a:lnTo>
                  <a:pt x="116" y="64"/>
                </a:lnTo>
                <a:lnTo>
                  <a:pt x="117" y="65"/>
                </a:lnTo>
                <a:lnTo>
                  <a:pt x="116" y="69"/>
                </a:lnTo>
                <a:lnTo>
                  <a:pt x="117" y="71"/>
                </a:lnTo>
                <a:lnTo>
                  <a:pt x="120" y="71"/>
                </a:lnTo>
                <a:lnTo>
                  <a:pt x="123" y="70"/>
                </a:lnTo>
                <a:lnTo>
                  <a:pt x="124" y="70"/>
                </a:lnTo>
                <a:lnTo>
                  <a:pt x="126" y="70"/>
                </a:lnTo>
                <a:lnTo>
                  <a:pt x="128" y="69"/>
                </a:lnTo>
                <a:lnTo>
                  <a:pt x="130" y="69"/>
                </a:lnTo>
                <a:lnTo>
                  <a:pt x="132" y="71"/>
                </a:lnTo>
                <a:lnTo>
                  <a:pt x="132" y="73"/>
                </a:lnTo>
                <a:lnTo>
                  <a:pt x="130" y="73"/>
                </a:lnTo>
                <a:lnTo>
                  <a:pt x="127" y="73"/>
                </a:lnTo>
                <a:lnTo>
                  <a:pt x="126" y="74"/>
                </a:lnTo>
                <a:lnTo>
                  <a:pt x="126" y="77"/>
                </a:lnTo>
                <a:lnTo>
                  <a:pt x="127" y="80"/>
                </a:lnTo>
                <a:lnTo>
                  <a:pt x="129" y="82"/>
                </a:lnTo>
                <a:lnTo>
                  <a:pt x="130" y="87"/>
                </a:lnTo>
                <a:lnTo>
                  <a:pt x="131" y="93"/>
                </a:lnTo>
                <a:lnTo>
                  <a:pt x="133" y="96"/>
                </a:lnTo>
                <a:lnTo>
                  <a:pt x="133" y="100"/>
                </a:lnTo>
                <a:lnTo>
                  <a:pt x="133" y="102"/>
                </a:lnTo>
                <a:lnTo>
                  <a:pt x="133" y="106"/>
                </a:lnTo>
                <a:lnTo>
                  <a:pt x="132" y="107"/>
                </a:lnTo>
                <a:lnTo>
                  <a:pt x="133" y="110"/>
                </a:lnTo>
                <a:lnTo>
                  <a:pt x="135" y="117"/>
                </a:lnTo>
                <a:lnTo>
                  <a:pt x="136" y="121"/>
                </a:lnTo>
                <a:lnTo>
                  <a:pt x="136" y="130"/>
                </a:lnTo>
                <a:lnTo>
                  <a:pt x="135" y="133"/>
                </a:lnTo>
                <a:lnTo>
                  <a:pt x="133" y="136"/>
                </a:lnTo>
                <a:lnTo>
                  <a:pt x="132" y="139"/>
                </a:lnTo>
                <a:lnTo>
                  <a:pt x="131" y="143"/>
                </a:lnTo>
                <a:lnTo>
                  <a:pt x="130" y="149"/>
                </a:lnTo>
                <a:lnTo>
                  <a:pt x="126" y="157"/>
                </a:lnTo>
                <a:lnTo>
                  <a:pt x="125" y="158"/>
                </a:lnTo>
                <a:lnTo>
                  <a:pt x="123" y="160"/>
                </a:lnTo>
                <a:lnTo>
                  <a:pt x="127" y="165"/>
                </a:lnTo>
                <a:lnTo>
                  <a:pt x="123" y="167"/>
                </a:lnTo>
                <a:lnTo>
                  <a:pt x="120" y="168"/>
                </a:lnTo>
                <a:lnTo>
                  <a:pt x="115" y="166"/>
                </a:lnTo>
                <a:lnTo>
                  <a:pt x="113" y="166"/>
                </a:lnTo>
                <a:lnTo>
                  <a:pt x="110" y="168"/>
                </a:lnTo>
                <a:lnTo>
                  <a:pt x="109" y="169"/>
                </a:lnTo>
                <a:lnTo>
                  <a:pt x="109" y="169"/>
                </a:lnTo>
                <a:lnTo>
                  <a:pt x="107" y="164"/>
                </a:lnTo>
                <a:lnTo>
                  <a:pt x="106" y="169"/>
                </a:lnTo>
                <a:lnTo>
                  <a:pt x="103" y="170"/>
                </a:lnTo>
                <a:lnTo>
                  <a:pt x="99" y="170"/>
                </a:lnTo>
                <a:lnTo>
                  <a:pt x="92" y="171"/>
                </a:lnTo>
                <a:lnTo>
                  <a:pt x="89" y="172"/>
                </a:lnTo>
                <a:lnTo>
                  <a:pt x="88" y="174"/>
                </a:lnTo>
                <a:lnTo>
                  <a:pt x="87" y="176"/>
                </a:lnTo>
                <a:lnTo>
                  <a:pt x="86" y="177"/>
                </a:lnTo>
                <a:lnTo>
                  <a:pt x="85" y="178"/>
                </a:lnTo>
                <a:lnTo>
                  <a:pt x="80" y="180"/>
                </a:lnTo>
                <a:lnTo>
                  <a:pt x="79" y="180"/>
                </a:lnTo>
                <a:lnTo>
                  <a:pt x="76" y="184"/>
                </a:lnTo>
                <a:lnTo>
                  <a:pt x="73" y="186"/>
                </a:lnTo>
                <a:lnTo>
                  <a:pt x="70" y="186"/>
                </a:lnTo>
                <a:lnTo>
                  <a:pt x="68" y="184"/>
                </a:lnTo>
                <a:lnTo>
                  <a:pt x="67" y="183"/>
                </a:lnTo>
                <a:lnTo>
                  <a:pt x="66" y="183"/>
                </a:lnTo>
                <a:lnTo>
                  <a:pt x="62" y="183"/>
                </a:lnTo>
                <a:lnTo>
                  <a:pt x="63" y="183"/>
                </a:lnTo>
                <a:lnTo>
                  <a:pt x="64" y="185"/>
                </a:lnTo>
                <a:lnTo>
                  <a:pt x="64" y="188"/>
                </a:lnTo>
                <a:lnTo>
                  <a:pt x="64" y="190"/>
                </a:lnTo>
                <a:lnTo>
                  <a:pt x="62" y="192"/>
                </a:lnTo>
                <a:lnTo>
                  <a:pt x="60" y="192"/>
                </a:lnTo>
                <a:lnTo>
                  <a:pt x="56" y="195"/>
                </a:lnTo>
                <a:lnTo>
                  <a:pt x="52" y="195"/>
                </a:lnTo>
                <a:lnTo>
                  <a:pt x="49" y="198"/>
                </a:lnTo>
                <a:lnTo>
                  <a:pt x="34" y="202"/>
                </a:lnTo>
                <a:lnTo>
                  <a:pt x="33" y="202"/>
                </a:lnTo>
                <a:lnTo>
                  <a:pt x="31" y="201"/>
                </a:lnTo>
                <a:lnTo>
                  <a:pt x="29" y="201"/>
                </a:lnTo>
                <a:lnTo>
                  <a:pt x="27" y="201"/>
                </a:lnTo>
                <a:lnTo>
                  <a:pt x="20" y="203"/>
                </a:lnTo>
                <a:lnTo>
                  <a:pt x="17" y="203"/>
                </a:lnTo>
                <a:lnTo>
                  <a:pt x="21" y="197"/>
                </a:lnTo>
                <a:lnTo>
                  <a:pt x="27" y="194"/>
                </a:lnTo>
                <a:lnTo>
                  <a:pt x="27" y="193"/>
                </a:lnTo>
                <a:lnTo>
                  <a:pt x="25" y="193"/>
                </a:lnTo>
                <a:lnTo>
                  <a:pt x="15" y="195"/>
                </a:lnTo>
                <a:lnTo>
                  <a:pt x="12" y="197"/>
                </a:lnTo>
                <a:lnTo>
                  <a:pt x="9" y="197"/>
                </a:lnTo>
                <a:lnTo>
                  <a:pt x="10" y="194"/>
                </a:lnTo>
                <a:lnTo>
                  <a:pt x="15" y="191"/>
                </a:lnTo>
                <a:lnTo>
                  <a:pt x="17" y="189"/>
                </a:lnTo>
                <a:lnTo>
                  <a:pt x="18" y="188"/>
                </a:lnTo>
                <a:lnTo>
                  <a:pt x="20" y="186"/>
                </a:lnTo>
                <a:lnTo>
                  <a:pt x="25" y="183"/>
                </a:lnTo>
                <a:lnTo>
                  <a:pt x="10" y="189"/>
                </a:lnTo>
                <a:lnTo>
                  <a:pt x="6" y="188"/>
                </a:lnTo>
                <a:lnTo>
                  <a:pt x="5" y="187"/>
                </a:lnTo>
                <a:lnTo>
                  <a:pt x="2" y="187"/>
                </a:lnTo>
                <a:lnTo>
                  <a:pt x="1" y="184"/>
                </a:lnTo>
                <a:lnTo>
                  <a:pt x="5" y="178"/>
                </a:lnTo>
                <a:lnTo>
                  <a:pt x="8" y="176"/>
                </a:lnTo>
                <a:lnTo>
                  <a:pt x="11" y="175"/>
                </a:lnTo>
                <a:lnTo>
                  <a:pt x="14" y="173"/>
                </a:lnTo>
                <a:lnTo>
                  <a:pt x="15" y="171"/>
                </a:lnTo>
                <a:lnTo>
                  <a:pt x="14" y="170"/>
                </a:lnTo>
                <a:lnTo>
                  <a:pt x="5" y="171"/>
                </a:lnTo>
                <a:lnTo>
                  <a:pt x="0" y="170"/>
                </a:lnTo>
                <a:lnTo>
                  <a:pt x="0" y="168"/>
                </a:lnTo>
                <a:lnTo>
                  <a:pt x="1" y="167"/>
                </a:lnTo>
                <a:lnTo>
                  <a:pt x="6" y="163"/>
                </a:lnTo>
                <a:lnTo>
                  <a:pt x="8" y="163"/>
                </a:lnTo>
                <a:lnTo>
                  <a:pt x="10" y="163"/>
                </a:lnTo>
                <a:lnTo>
                  <a:pt x="13" y="164"/>
                </a:lnTo>
                <a:lnTo>
                  <a:pt x="14" y="165"/>
                </a:lnTo>
                <a:lnTo>
                  <a:pt x="19" y="164"/>
                </a:lnTo>
                <a:lnTo>
                  <a:pt x="17" y="162"/>
                </a:lnTo>
                <a:lnTo>
                  <a:pt x="17" y="158"/>
                </a:lnTo>
                <a:lnTo>
                  <a:pt x="15" y="157"/>
                </a:lnTo>
                <a:lnTo>
                  <a:pt x="17" y="155"/>
                </a:lnTo>
                <a:lnTo>
                  <a:pt x="20" y="153"/>
                </a:lnTo>
                <a:lnTo>
                  <a:pt x="24" y="149"/>
                </a:lnTo>
                <a:lnTo>
                  <a:pt x="25" y="149"/>
                </a:lnTo>
                <a:lnTo>
                  <a:pt x="33" y="148"/>
                </a:lnTo>
                <a:lnTo>
                  <a:pt x="42" y="145"/>
                </a:lnTo>
                <a:lnTo>
                  <a:pt x="50" y="142"/>
                </a:lnTo>
                <a:lnTo>
                  <a:pt x="46" y="141"/>
                </a:lnTo>
                <a:lnTo>
                  <a:pt x="44" y="139"/>
                </a:lnTo>
                <a:lnTo>
                  <a:pt x="40" y="143"/>
                </a:lnTo>
                <a:lnTo>
                  <a:pt x="38" y="145"/>
                </a:lnTo>
                <a:lnTo>
                  <a:pt x="31" y="146"/>
                </a:lnTo>
                <a:lnTo>
                  <a:pt x="29" y="145"/>
                </a:lnTo>
                <a:lnTo>
                  <a:pt x="26" y="144"/>
                </a:lnTo>
                <a:lnTo>
                  <a:pt x="25" y="144"/>
                </a:lnTo>
                <a:lnTo>
                  <a:pt x="24" y="145"/>
                </a:lnTo>
                <a:lnTo>
                  <a:pt x="20" y="148"/>
                </a:lnTo>
                <a:lnTo>
                  <a:pt x="15" y="148"/>
                </a:lnTo>
                <a:lnTo>
                  <a:pt x="20" y="144"/>
                </a:lnTo>
                <a:lnTo>
                  <a:pt x="27" y="137"/>
                </a:lnTo>
                <a:lnTo>
                  <a:pt x="29" y="135"/>
                </a:lnTo>
                <a:lnTo>
                  <a:pt x="31" y="131"/>
                </a:lnTo>
                <a:lnTo>
                  <a:pt x="31" y="130"/>
                </a:lnTo>
                <a:lnTo>
                  <a:pt x="29" y="129"/>
                </a:lnTo>
                <a:lnTo>
                  <a:pt x="34" y="121"/>
                </a:lnTo>
                <a:lnTo>
                  <a:pt x="36" y="120"/>
                </a:lnTo>
                <a:lnTo>
                  <a:pt x="39" y="119"/>
                </a:lnTo>
                <a:lnTo>
                  <a:pt x="42" y="118"/>
                </a:lnTo>
                <a:lnTo>
                  <a:pt x="43" y="118"/>
                </a:lnTo>
                <a:lnTo>
                  <a:pt x="44" y="118"/>
                </a:lnTo>
                <a:lnTo>
                  <a:pt x="46" y="115"/>
                </a:lnTo>
                <a:lnTo>
                  <a:pt x="42" y="114"/>
                </a:lnTo>
                <a:lnTo>
                  <a:pt x="39" y="113"/>
                </a:lnTo>
                <a:lnTo>
                  <a:pt x="29" y="114"/>
                </a:lnTo>
                <a:lnTo>
                  <a:pt x="27" y="114"/>
                </a:lnTo>
                <a:lnTo>
                  <a:pt x="26" y="113"/>
                </a:lnTo>
                <a:lnTo>
                  <a:pt x="25" y="112"/>
                </a:lnTo>
                <a:lnTo>
                  <a:pt x="25" y="109"/>
                </a:lnTo>
                <a:lnTo>
                  <a:pt x="24" y="109"/>
                </a:lnTo>
                <a:lnTo>
                  <a:pt x="22" y="109"/>
                </a:lnTo>
                <a:lnTo>
                  <a:pt x="19" y="109"/>
                </a:lnTo>
                <a:lnTo>
                  <a:pt x="18" y="109"/>
                </a:lnTo>
                <a:lnTo>
                  <a:pt x="16" y="108"/>
                </a:lnTo>
                <a:lnTo>
                  <a:pt x="19" y="105"/>
                </a:lnTo>
                <a:lnTo>
                  <a:pt x="15" y="105"/>
                </a:lnTo>
                <a:lnTo>
                  <a:pt x="12" y="105"/>
                </a:lnTo>
                <a:lnTo>
                  <a:pt x="9" y="104"/>
                </a:lnTo>
                <a:lnTo>
                  <a:pt x="9" y="103"/>
                </a:lnTo>
                <a:lnTo>
                  <a:pt x="11" y="101"/>
                </a:lnTo>
                <a:lnTo>
                  <a:pt x="9" y="99"/>
                </a:lnTo>
                <a:lnTo>
                  <a:pt x="9" y="97"/>
                </a:lnTo>
                <a:lnTo>
                  <a:pt x="10" y="96"/>
                </a:lnTo>
                <a:lnTo>
                  <a:pt x="12" y="97"/>
                </a:lnTo>
                <a:lnTo>
                  <a:pt x="16" y="95"/>
                </a:lnTo>
                <a:lnTo>
                  <a:pt x="21" y="94"/>
                </a:lnTo>
                <a:lnTo>
                  <a:pt x="17" y="93"/>
                </a:lnTo>
                <a:lnTo>
                  <a:pt x="15" y="92"/>
                </a:lnTo>
                <a:lnTo>
                  <a:pt x="15" y="90"/>
                </a:lnTo>
                <a:lnTo>
                  <a:pt x="15" y="88"/>
                </a:lnTo>
                <a:lnTo>
                  <a:pt x="20" y="85"/>
                </a:lnTo>
                <a:lnTo>
                  <a:pt x="25" y="84"/>
                </a:lnTo>
                <a:lnTo>
                  <a:pt x="25" y="82"/>
                </a:lnTo>
                <a:lnTo>
                  <a:pt x="25" y="80"/>
                </a:lnTo>
                <a:lnTo>
                  <a:pt x="20" y="79"/>
                </a:lnTo>
                <a:lnTo>
                  <a:pt x="15" y="81"/>
                </a:lnTo>
                <a:lnTo>
                  <a:pt x="16" y="77"/>
                </a:lnTo>
                <a:lnTo>
                  <a:pt x="17" y="73"/>
                </a:lnTo>
                <a:lnTo>
                  <a:pt x="17" y="71"/>
                </a:lnTo>
                <a:lnTo>
                  <a:pt x="17" y="69"/>
                </a:lnTo>
                <a:lnTo>
                  <a:pt x="14" y="70"/>
                </a:lnTo>
                <a:lnTo>
                  <a:pt x="14" y="66"/>
                </a:lnTo>
                <a:lnTo>
                  <a:pt x="13" y="64"/>
                </a:lnTo>
                <a:lnTo>
                  <a:pt x="9" y="65"/>
                </a:lnTo>
                <a:lnTo>
                  <a:pt x="10" y="62"/>
                </a:lnTo>
                <a:lnTo>
                  <a:pt x="11" y="60"/>
                </a:lnTo>
                <a:lnTo>
                  <a:pt x="12" y="59"/>
                </a:lnTo>
                <a:lnTo>
                  <a:pt x="14" y="59"/>
                </a:lnTo>
                <a:lnTo>
                  <a:pt x="18" y="59"/>
                </a:lnTo>
                <a:lnTo>
                  <a:pt x="21" y="58"/>
                </a:lnTo>
                <a:lnTo>
                  <a:pt x="26" y="57"/>
                </a:lnTo>
                <a:lnTo>
                  <a:pt x="34" y="58"/>
                </a:lnTo>
                <a:lnTo>
                  <a:pt x="39" y="62"/>
                </a:lnTo>
                <a:lnTo>
                  <a:pt x="40" y="62"/>
                </a:lnTo>
                <a:lnTo>
                  <a:pt x="42" y="59"/>
                </a:lnTo>
                <a:lnTo>
                  <a:pt x="43" y="58"/>
                </a:lnTo>
                <a:lnTo>
                  <a:pt x="51" y="60"/>
                </a:lnTo>
                <a:lnTo>
                  <a:pt x="56" y="61"/>
                </a:lnTo>
                <a:lnTo>
                  <a:pt x="58" y="61"/>
                </a:lnTo>
                <a:lnTo>
                  <a:pt x="57" y="57"/>
                </a:lnTo>
                <a:lnTo>
                  <a:pt x="55" y="55"/>
                </a:lnTo>
                <a:lnTo>
                  <a:pt x="57" y="52"/>
                </a:lnTo>
                <a:lnTo>
                  <a:pt x="60" y="50"/>
                </a:lnTo>
                <a:lnTo>
                  <a:pt x="62" y="49"/>
                </a:lnTo>
                <a:lnTo>
                  <a:pt x="66" y="48"/>
                </a:lnTo>
                <a:lnTo>
                  <a:pt x="68" y="47"/>
                </a:lnTo>
                <a:lnTo>
                  <a:pt x="69" y="43"/>
                </a:lnTo>
                <a:lnTo>
                  <a:pt x="71" y="39"/>
                </a:lnTo>
                <a:lnTo>
                  <a:pt x="60" y="41"/>
                </a:lnTo>
                <a:lnTo>
                  <a:pt x="51" y="37"/>
                </a:lnTo>
                <a:lnTo>
                  <a:pt x="52" y="35"/>
                </a:lnTo>
                <a:lnTo>
                  <a:pt x="54" y="33"/>
                </a:lnTo>
                <a:lnTo>
                  <a:pt x="58" y="32"/>
                </a:lnTo>
                <a:lnTo>
                  <a:pt x="58" y="30"/>
                </a:lnTo>
                <a:lnTo>
                  <a:pt x="60" y="29"/>
                </a:lnTo>
                <a:lnTo>
                  <a:pt x="63" y="26"/>
                </a:lnTo>
                <a:lnTo>
                  <a:pt x="62" y="22"/>
                </a:lnTo>
                <a:lnTo>
                  <a:pt x="62" y="19"/>
                </a:lnTo>
                <a:lnTo>
                  <a:pt x="64" y="17"/>
                </a:lnTo>
                <a:lnTo>
                  <a:pt x="65" y="14"/>
                </a:lnTo>
                <a:lnTo>
                  <a:pt x="66" y="12"/>
                </a:lnTo>
                <a:lnTo>
                  <a:pt x="70" y="11"/>
                </a:lnTo>
                <a:lnTo>
                  <a:pt x="74" y="9"/>
                </a:lnTo>
                <a:lnTo>
                  <a:pt x="76" y="10"/>
                </a:lnTo>
                <a:lnTo>
                  <a:pt x="81" y="9"/>
                </a:lnTo>
                <a:lnTo>
                  <a:pt x="82" y="10"/>
                </a:lnTo>
                <a:lnTo>
                  <a:pt x="82" y="7"/>
                </a:lnTo>
                <a:lnTo>
                  <a:pt x="85" y="6"/>
                </a:lnTo>
                <a:lnTo>
                  <a:pt x="86" y="7"/>
                </a:lnTo>
                <a:lnTo>
                  <a:pt x="87" y="9"/>
                </a:lnTo>
                <a:lnTo>
                  <a:pt x="88" y="11"/>
                </a:lnTo>
                <a:lnTo>
                  <a:pt x="88" y="13"/>
                </a:lnTo>
                <a:lnTo>
                  <a:pt x="88" y="15"/>
                </a:lnTo>
                <a:lnTo>
                  <a:pt x="86" y="17"/>
                </a:lnTo>
                <a:lnTo>
                  <a:pt x="87" y="19"/>
                </a:lnTo>
                <a:lnTo>
                  <a:pt x="85" y="22"/>
                </a:lnTo>
                <a:lnTo>
                  <a:pt x="88" y="20"/>
                </a:lnTo>
                <a:lnTo>
                  <a:pt x="91" y="18"/>
                </a:lnTo>
                <a:lnTo>
                  <a:pt x="91" y="15"/>
                </a:lnTo>
                <a:lnTo>
                  <a:pt x="90" y="12"/>
                </a:lnTo>
                <a:lnTo>
                  <a:pt x="89" y="10"/>
                </a:lnTo>
                <a:lnTo>
                  <a:pt x="90" y="7"/>
                </a:lnTo>
                <a:lnTo>
                  <a:pt x="92" y="5"/>
                </a:lnTo>
                <a:lnTo>
                  <a:pt x="96" y="4"/>
                </a:lnTo>
                <a:lnTo>
                  <a:pt x="94" y="0"/>
                </a:lnTo>
                <a:lnTo>
                  <a:pt x="96" y="0"/>
                </a:lnTo>
                <a:lnTo>
                  <a:pt x="98" y="1"/>
                </a:lnTo>
                <a:lnTo>
                  <a:pt x="101" y="3"/>
                </a:lnTo>
                <a:lnTo>
                  <a:pt x="104" y="6"/>
                </a:lnTo>
                <a:lnTo>
                  <a:pt x="107" y="7"/>
                </a:lnTo>
                <a:lnTo>
                  <a:pt x="104" y="10"/>
                </a:lnTo>
                <a:lnTo>
                  <a:pt x="100" y="13"/>
                </a:lnTo>
                <a:lnTo>
                  <a:pt x="99" y="15"/>
                </a:lnTo>
                <a:close/>
                <a:moveTo>
                  <a:pt x="14" y="78"/>
                </a:moveTo>
                <a:lnTo>
                  <a:pt x="14" y="78"/>
                </a:lnTo>
                <a:lnTo>
                  <a:pt x="14" y="80"/>
                </a:lnTo>
                <a:lnTo>
                  <a:pt x="11" y="78"/>
                </a:lnTo>
                <a:lnTo>
                  <a:pt x="10" y="76"/>
                </a:lnTo>
                <a:lnTo>
                  <a:pt x="4" y="75"/>
                </a:lnTo>
                <a:lnTo>
                  <a:pt x="7" y="73"/>
                </a:lnTo>
                <a:lnTo>
                  <a:pt x="8" y="73"/>
                </a:lnTo>
                <a:lnTo>
                  <a:pt x="12" y="73"/>
                </a:lnTo>
                <a:lnTo>
                  <a:pt x="14" y="74"/>
                </a:lnTo>
                <a:lnTo>
                  <a:pt x="14" y="7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2" name="Italy">
            <a:extLst>
              <a:ext uri="{FF2B5EF4-FFF2-40B4-BE49-F238E27FC236}">
                <a16:creationId xmlns:a16="http://schemas.microsoft.com/office/drawing/2014/main" id="{BAB84617-C112-4B06-9A42-9EDC07BF2C68}"/>
              </a:ext>
            </a:extLst>
          </p:cNvPr>
          <p:cNvSpPr>
            <a:spLocks noEditPoints="1"/>
          </p:cNvSpPr>
          <p:nvPr/>
        </p:nvSpPr>
        <p:spPr bwMode="auto">
          <a:xfrm>
            <a:off x="6017349" y="3235716"/>
            <a:ext cx="360198" cy="371960"/>
          </a:xfrm>
          <a:custGeom>
            <a:avLst/>
            <a:gdLst>
              <a:gd name="T0" fmla="*/ 212 w 370"/>
              <a:gd name="T1" fmla="*/ 39 h 435"/>
              <a:gd name="T2" fmla="*/ 214 w 370"/>
              <a:gd name="T3" fmla="*/ 49 h 435"/>
              <a:gd name="T4" fmla="*/ 225 w 370"/>
              <a:gd name="T5" fmla="*/ 67 h 435"/>
              <a:gd name="T6" fmla="*/ 199 w 370"/>
              <a:gd name="T7" fmla="*/ 65 h 435"/>
              <a:gd name="T8" fmla="*/ 175 w 370"/>
              <a:gd name="T9" fmla="*/ 77 h 435"/>
              <a:gd name="T10" fmla="*/ 175 w 370"/>
              <a:gd name="T11" fmla="*/ 105 h 435"/>
              <a:gd name="T12" fmla="*/ 224 w 370"/>
              <a:gd name="T13" fmla="*/ 172 h 435"/>
              <a:gd name="T14" fmla="*/ 297 w 370"/>
              <a:gd name="T15" fmla="*/ 226 h 435"/>
              <a:gd name="T16" fmla="*/ 338 w 370"/>
              <a:gd name="T17" fmla="*/ 270 h 435"/>
              <a:gd name="T18" fmla="*/ 357 w 370"/>
              <a:gd name="T19" fmla="*/ 307 h 435"/>
              <a:gd name="T20" fmla="*/ 317 w 370"/>
              <a:gd name="T21" fmla="*/ 291 h 435"/>
              <a:gd name="T22" fmla="*/ 326 w 370"/>
              <a:gd name="T23" fmla="*/ 348 h 435"/>
              <a:gd name="T24" fmla="*/ 294 w 370"/>
              <a:gd name="T25" fmla="*/ 386 h 435"/>
              <a:gd name="T26" fmla="*/ 294 w 370"/>
              <a:gd name="T27" fmla="*/ 355 h 435"/>
              <a:gd name="T28" fmla="*/ 273 w 370"/>
              <a:gd name="T29" fmla="*/ 302 h 435"/>
              <a:gd name="T30" fmla="*/ 249 w 370"/>
              <a:gd name="T31" fmla="*/ 278 h 435"/>
              <a:gd name="T32" fmla="*/ 232 w 370"/>
              <a:gd name="T33" fmla="*/ 272 h 435"/>
              <a:gd name="T34" fmla="*/ 201 w 370"/>
              <a:gd name="T35" fmla="*/ 253 h 435"/>
              <a:gd name="T36" fmla="*/ 145 w 370"/>
              <a:gd name="T37" fmla="*/ 204 h 435"/>
              <a:gd name="T38" fmla="*/ 129 w 370"/>
              <a:gd name="T39" fmla="*/ 186 h 435"/>
              <a:gd name="T40" fmla="*/ 115 w 370"/>
              <a:gd name="T41" fmla="*/ 158 h 435"/>
              <a:gd name="T42" fmla="*/ 52 w 370"/>
              <a:gd name="T43" fmla="*/ 131 h 435"/>
              <a:gd name="T44" fmla="*/ 33 w 370"/>
              <a:gd name="T45" fmla="*/ 133 h 435"/>
              <a:gd name="T46" fmla="*/ 8 w 370"/>
              <a:gd name="T47" fmla="*/ 118 h 435"/>
              <a:gd name="T48" fmla="*/ 10 w 370"/>
              <a:gd name="T49" fmla="*/ 100 h 435"/>
              <a:gd name="T50" fmla="*/ 7 w 370"/>
              <a:gd name="T51" fmla="*/ 87 h 435"/>
              <a:gd name="T52" fmla="*/ 8 w 370"/>
              <a:gd name="T53" fmla="*/ 64 h 435"/>
              <a:gd name="T54" fmla="*/ 26 w 370"/>
              <a:gd name="T55" fmla="*/ 52 h 435"/>
              <a:gd name="T56" fmla="*/ 46 w 370"/>
              <a:gd name="T57" fmla="*/ 37 h 435"/>
              <a:gd name="T58" fmla="*/ 63 w 370"/>
              <a:gd name="T59" fmla="*/ 44 h 435"/>
              <a:gd name="T60" fmla="*/ 74 w 370"/>
              <a:gd name="T61" fmla="*/ 50 h 435"/>
              <a:gd name="T62" fmla="*/ 87 w 370"/>
              <a:gd name="T63" fmla="*/ 27 h 435"/>
              <a:gd name="T64" fmla="*/ 106 w 370"/>
              <a:gd name="T65" fmla="*/ 38 h 435"/>
              <a:gd name="T66" fmla="*/ 108 w 370"/>
              <a:gd name="T67" fmla="*/ 22 h 435"/>
              <a:gd name="T68" fmla="*/ 119 w 370"/>
              <a:gd name="T69" fmla="*/ 10 h 435"/>
              <a:gd name="T70" fmla="*/ 140 w 370"/>
              <a:gd name="T71" fmla="*/ 7 h 435"/>
              <a:gd name="T72" fmla="*/ 174 w 370"/>
              <a:gd name="T73" fmla="*/ 1 h 435"/>
              <a:gd name="T74" fmla="*/ 193 w 370"/>
              <a:gd name="T75" fmla="*/ 21 h 435"/>
              <a:gd name="T76" fmla="*/ 180 w 370"/>
              <a:gd name="T77" fmla="*/ 140 h 435"/>
              <a:gd name="T78" fmla="*/ 117 w 370"/>
              <a:gd name="T79" fmla="*/ 186 h 435"/>
              <a:gd name="T80" fmla="*/ 109 w 370"/>
              <a:gd name="T81" fmla="*/ 188 h 435"/>
              <a:gd name="T82" fmla="*/ 98 w 370"/>
              <a:gd name="T83" fmla="*/ 286 h 435"/>
              <a:gd name="T84" fmla="*/ 89 w 370"/>
              <a:gd name="T85" fmla="*/ 339 h 435"/>
              <a:gd name="T86" fmla="*/ 68 w 370"/>
              <a:gd name="T87" fmla="*/ 348 h 435"/>
              <a:gd name="T88" fmla="*/ 56 w 370"/>
              <a:gd name="T89" fmla="*/ 322 h 435"/>
              <a:gd name="T90" fmla="*/ 55 w 370"/>
              <a:gd name="T91" fmla="*/ 305 h 435"/>
              <a:gd name="T92" fmla="*/ 48 w 370"/>
              <a:gd name="T93" fmla="*/ 278 h 435"/>
              <a:gd name="T94" fmla="*/ 68 w 370"/>
              <a:gd name="T95" fmla="*/ 265 h 435"/>
              <a:gd name="T96" fmla="*/ 91 w 370"/>
              <a:gd name="T97" fmla="*/ 261 h 435"/>
              <a:gd name="T98" fmla="*/ 50 w 370"/>
              <a:gd name="T99" fmla="*/ 264 h 435"/>
              <a:gd name="T100" fmla="*/ 226 w 370"/>
              <a:gd name="T101" fmla="*/ 276 h 435"/>
              <a:gd name="T102" fmla="*/ 54 w 370"/>
              <a:gd name="T103" fmla="*/ 343 h 435"/>
              <a:gd name="T104" fmla="*/ 267 w 370"/>
              <a:gd name="T105" fmla="*/ 395 h 435"/>
              <a:gd name="T106" fmla="*/ 266 w 370"/>
              <a:gd name="T107" fmla="*/ 415 h 435"/>
              <a:gd name="T108" fmla="*/ 264 w 370"/>
              <a:gd name="T109" fmla="*/ 435 h 435"/>
              <a:gd name="T110" fmla="*/ 230 w 370"/>
              <a:gd name="T111" fmla="*/ 419 h 435"/>
              <a:gd name="T112" fmla="*/ 195 w 370"/>
              <a:gd name="T113" fmla="*/ 401 h 435"/>
              <a:gd name="T114" fmla="*/ 188 w 370"/>
              <a:gd name="T115" fmla="*/ 380 h 435"/>
              <a:gd name="T116" fmla="*/ 209 w 370"/>
              <a:gd name="T117" fmla="*/ 377 h 435"/>
              <a:gd name="T118" fmla="*/ 243 w 370"/>
              <a:gd name="T119" fmla="*/ 382 h 435"/>
              <a:gd name="T120" fmla="*/ 270 w 370"/>
              <a:gd name="T121" fmla="*/ 375 h 435"/>
              <a:gd name="T122" fmla="*/ 165 w 370"/>
              <a:gd name="T123" fmla="*/ 43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0" h="435">
                <a:moveTo>
                  <a:pt x="220" y="26"/>
                </a:moveTo>
                <a:lnTo>
                  <a:pt x="220" y="26"/>
                </a:lnTo>
                <a:lnTo>
                  <a:pt x="220" y="28"/>
                </a:lnTo>
                <a:lnTo>
                  <a:pt x="218" y="29"/>
                </a:lnTo>
                <a:lnTo>
                  <a:pt x="216" y="30"/>
                </a:lnTo>
                <a:lnTo>
                  <a:pt x="213" y="32"/>
                </a:lnTo>
                <a:lnTo>
                  <a:pt x="211" y="35"/>
                </a:lnTo>
                <a:lnTo>
                  <a:pt x="210" y="37"/>
                </a:lnTo>
                <a:lnTo>
                  <a:pt x="211" y="39"/>
                </a:lnTo>
                <a:lnTo>
                  <a:pt x="212" y="39"/>
                </a:lnTo>
                <a:lnTo>
                  <a:pt x="213" y="39"/>
                </a:lnTo>
                <a:lnTo>
                  <a:pt x="214" y="39"/>
                </a:lnTo>
                <a:lnTo>
                  <a:pt x="216" y="40"/>
                </a:lnTo>
                <a:lnTo>
                  <a:pt x="218" y="41"/>
                </a:lnTo>
                <a:lnTo>
                  <a:pt x="218" y="42"/>
                </a:lnTo>
                <a:lnTo>
                  <a:pt x="218" y="43"/>
                </a:lnTo>
                <a:lnTo>
                  <a:pt x="216" y="45"/>
                </a:lnTo>
                <a:lnTo>
                  <a:pt x="214" y="47"/>
                </a:lnTo>
                <a:lnTo>
                  <a:pt x="214" y="48"/>
                </a:lnTo>
                <a:lnTo>
                  <a:pt x="214" y="49"/>
                </a:lnTo>
                <a:lnTo>
                  <a:pt x="214" y="50"/>
                </a:lnTo>
                <a:lnTo>
                  <a:pt x="217" y="50"/>
                </a:lnTo>
                <a:lnTo>
                  <a:pt x="218" y="51"/>
                </a:lnTo>
                <a:lnTo>
                  <a:pt x="216" y="56"/>
                </a:lnTo>
                <a:lnTo>
                  <a:pt x="217" y="57"/>
                </a:lnTo>
                <a:lnTo>
                  <a:pt x="219" y="58"/>
                </a:lnTo>
                <a:lnTo>
                  <a:pt x="221" y="60"/>
                </a:lnTo>
                <a:lnTo>
                  <a:pt x="224" y="63"/>
                </a:lnTo>
                <a:lnTo>
                  <a:pt x="226" y="66"/>
                </a:lnTo>
                <a:lnTo>
                  <a:pt x="225" y="67"/>
                </a:lnTo>
                <a:lnTo>
                  <a:pt x="223" y="68"/>
                </a:lnTo>
                <a:lnTo>
                  <a:pt x="221" y="67"/>
                </a:lnTo>
                <a:lnTo>
                  <a:pt x="223" y="65"/>
                </a:lnTo>
                <a:lnTo>
                  <a:pt x="218" y="59"/>
                </a:lnTo>
                <a:lnTo>
                  <a:pt x="216" y="59"/>
                </a:lnTo>
                <a:lnTo>
                  <a:pt x="213" y="62"/>
                </a:lnTo>
                <a:lnTo>
                  <a:pt x="205" y="59"/>
                </a:lnTo>
                <a:lnTo>
                  <a:pt x="203" y="60"/>
                </a:lnTo>
                <a:lnTo>
                  <a:pt x="202" y="62"/>
                </a:lnTo>
                <a:lnTo>
                  <a:pt x="199" y="65"/>
                </a:lnTo>
                <a:lnTo>
                  <a:pt x="195" y="66"/>
                </a:lnTo>
                <a:lnTo>
                  <a:pt x="191" y="69"/>
                </a:lnTo>
                <a:lnTo>
                  <a:pt x="186" y="71"/>
                </a:lnTo>
                <a:lnTo>
                  <a:pt x="183" y="73"/>
                </a:lnTo>
                <a:lnTo>
                  <a:pt x="181" y="73"/>
                </a:lnTo>
                <a:lnTo>
                  <a:pt x="184" y="69"/>
                </a:lnTo>
                <a:lnTo>
                  <a:pt x="183" y="69"/>
                </a:lnTo>
                <a:lnTo>
                  <a:pt x="178" y="72"/>
                </a:lnTo>
                <a:lnTo>
                  <a:pt x="176" y="74"/>
                </a:lnTo>
                <a:lnTo>
                  <a:pt x="175" y="77"/>
                </a:lnTo>
                <a:lnTo>
                  <a:pt x="174" y="83"/>
                </a:lnTo>
                <a:lnTo>
                  <a:pt x="176" y="84"/>
                </a:lnTo>
                <a:lnTo>
                  <a:pt x="180" y="91"/>
                </a:lnTo>
                <a:lnTo>
                  <a:pt x="184" y="95"/>
                </a:lnTo>
                <a:lnTo>
                  <a:pt x="183" y="98"/>
                </a:lnTo>
                <a:lnTo>
                  <a:pt x="182" y="100"/>
                </a:lnTo>
                <a:lnTo>
                  <a:pt x="179" y="102"/>
                </a:lnTo>
                <a:lnTo>
                  <a:pt x="177" y="101"/>
                </a:lnTo>
                <a:lnTo>
                  <a:pt x="176" y="101"/>
                </a:lnTo>
                <a:lnTo>
                  <a:pt x="175" y="105"/>
                </a:lnTo>
                <a:lnTo>
                  <a:pt x="177" y="118"/>
                </a:lnTo>
                <a:lnTo>
                  <a:pt x="180" y="127"/>
                </a:lnTo>
                <a:lnTo>
                  <a:pt x="183" y="131"/>
                </a:lnTo>
                <a:lnTo>
                  <a:pt x="189" y="137"/>
                </a:lnTo>
                <a:lnTo>
                  <a:pt x="196" y="140"/>
                </a:lnTo>
                <a:lnTo>
                  <a:pt x="208" y="150"/>
                </a:lnTo>
                <a:lnTo>
                  <a:pt x="214" y="154"/>
                </a:lnTo>
                <a:lnTo>
                  <a:pt x="216" y="155"/>
                </a:lnTo>
                <a:lnTo>
                  <a:pt x="220" y="163"/>
                </a:lnTo>
                <a:lnTo>
                  <a:pt x="224" y="172"/>
                </a:lnTo>
                <a:lnTo>
                  <a:pt x="227" y="186"/>
                </a:lnTo>
                <a:lnTo>
                  <a:pt x="230" y="193"/>
                </a:lnTo>
                <a:lnTo>
                  <a:pt x="235" y="201"/>
                </a:lnTo>
                <a:lnTo>
                  <a:pt x="247" y="212"/>
                </a:lnTo>
                <a:lnTo>
                  <a:pt x="257" y="220"/>
                </a:lnTo>
                <a:lnTo>
                  <a:pt x="266" y="225"/>
                </a:lnTo>
                <a:lnTo>
                  <a:pt x="274" y="225"/>
                </a:lnTo>
                <a:lnTo>
                  <a:pt x="291" y="224"/>
                </a:lnTo>
                <a:lnTo>
                  <a:pt x="294" y="225"/>
                </a:lnTo>
                <a:lnTo>
                  <a:pt x="297" y="226"/>
                </a:lnTo>
                <a:lnTo>
                  <a:pt x="298" y="230"/>
                </a:lnTo>
                <a:lnTo>
                  <a:pt x="297" y="232"/>
                </a:lnTo>
                <a:lnTo>
                  <a:pt x="293" y="234"/>
                </a:lnTo>
                <a:lnTo>
                  <a:pt x="289" y="238"/>
                </a:lnTo>
                <a:lnTo>
                  <a:pt x="289" y="242"/>
                </a:lnTo>
                <a:lnTo>
                  <a:pt x="292" y="245"/>
                </a:lnTo>
                <a:lnTo>
                  <a:pt x="309" y="254"/>
                </a:lnTo>
                <a:lnTo>
                  <a:pt x="326" y="261"/>
                </a:lnTo>
                <a:lnTo>
                  <a:pt x="332" y="264"/>
                </a:lnTo>
                <a:lnTo>
                  <a:pt x="338" y="270"/>
                </a:lnTo>
                <a:lnTo>
                  <a:pt x="353" y="277"/>
                </a:lnTo>
                <a:lnTo>
                  <a:pt x="356" y="281"/>
                </a:lnTo>
                <a:lnTo>
                  <a:pt x="365" y="289"/>
                </a:lnTo>
                <a:lnTo>
                  <a:pt x="369" y="295"/>
                </a:lnTo>
                <a:lnTo>
                  <a:pt x="370" y="300"/>
                </a:lnTo>
                <a:lnTo>
                  <a:pt x="368" y="305"/>
                </a:lnTo>
                <a:lnTo>
                  <a:pt x="367" y="308"/>
                </a:lnTo>
                <a:lnTo>
                  <a:pt x="365" y="311"/>
                </a:lnTo>
                <a:lnTo>
                  <a:pt x="361" y="310"/>
                </a:lnTo>
                <a:lnTo>
                  <a:pt x="357" y="307"/>
                </a:lnTo>
                <a:lnTo>
                  <a:pt x="350" y="293"/>
                </a:lnTo>
                <a:lnTo>
                  <a:pt x="338" y="291"/>
                </a:lnTo>
                <a:lnTo>
                  <a:pt x="336" y="290"/>
                </a:lnTo>
                <a:lnTo>
                  <a:pt x="331" y="288"/>
                </a:lnTo>
                <a:lnTo>
                  <a:pt x="331" y="286"/>
                </a:lnTo>
                <a:lnTo>
                  <a:pt x="330" y="284"/>
                </a:lnTo>
                <a:lnTo>
                  <a:pt x="329" y="284"/>
                </a:lnTo>
                <a:lnTo>
                  <a:pt x="324" y="283"/>
                </a:lnTo>
                <a:lnTo>
                  <a:pt x="321" y="285"/>
                </a:lnTo>
                <a:lnTo>
                  <a:pt x="317" y="291"/>
                </a:lnTo>
                <a:lnTo>
                  <a:pt x="313" y="299"/>
                </a:lnTo>
                <a:lnTo>
                  <a:pt x="309" y="310"/>
                </a:lnTo>
                <a:lnTo>
                  <a:pt x="308" y="314"/>
                </a:lnTo>
                <a:lnTo>
                  <a:pt x="311" y="319"/>
                </a:lnTo>
                <a:lnTo>
                  <a:pt x="318" y="321"/>
                </a:lnTo>
                <a:lnTo>
                  <a:pt x="323" y="325"/>
                </a:lnTo>
                <a:lnTo>
                  <a:pt x="327" y="329"/>
                </a:lnTo>
                <a:lnTo>
                  <a:pt x="327" y="339"/>
                </a:lnTo>
                <a:lnTo>
                  <a:pt x="329" y="344"/>
                </a:lnTo>
                <a:lnTo>
                  <a:pt x="326" y="348"/>
                </a:lnTo>
                <a:lnTo>
                  <a:pt x="322" y="347"/>
                </a:lnTo>
                <a:lnTo>
                  <a:pt x="316" y="349"/>
                </a:lnTo>
                <a:lnTo>
                  <a:pt x="311" y="352"/>
                </a:lnTo>
                <a:lnTo>
                  <a:pt x="310" y="356"/>
                </a:lnTo>
                <a:lnTo>
                  <a:pt x="310" y="365"/>
                </a:lnTo>
                <a:lnTo>
                  <a:pt x="309" y="368"/>
                </a:lnTo>
                <a:lnTo>
                  <a:pt x="301" y="374"/>
                </a:lnTo>
                <a:lnTo>
                  <a:pt x="297" y="381"/>
                </a:lnTo>
                <a:lnTo>
                  <a:pt x="295" y="383"/>
                </a:lnTo>
                <a:lnTo>
                  <a:pt x="294" y="386"/>
                </a:lnTo>
                <a:lnTo>
                  <a:pt x="283" y="387"/>
                </a:lnTo>
                <a:lnTo>
                  <a:pt x="281" y="383"/>
                </a:lnTo>
                <a:lnTo>
                  <a:pt x="281" y="377"/>
                </a:lnTo>
                <a:lnTo>
                  <a:pt x="283" y="374"/>
                </a:lnTo>
                <a:lnTo>
                  <a:pt x="287" y="372"/>
                </a:lnTo>
                <a:lnTo>
                  <a:pt x="289" y="365"/>
                </a:lnTo>
                <a:lnTo>
                  <a:pt x="288" y="360"/>
                </a:lnTo>
                <a:lnTo>
                  <a:pt x="290" y="357"/>
                </a:lnTo>
                <a:lnTo>
                  <a:pt x="291" y="356"/>
                </a:lnTo>
                <a:lnTo>
                  <a:pt x="294" y="355"/>
                </a:lnTo>
                <a:lnTo>
                  <a:pt x="298" y="354"/>
                </a:lnTo>
                <a:lnTo>
                  <a:pt x="299" y="347"/>
                </a:lnTo>
                <a:lnTo>
                  <a:pt x="295" y="343"/>
                </a:lnTo>
                <a:lnTo>
                  <a:pt x="294" y="339"/>
                </a:lnTo>
                <a:lnTo>
                  <a:pt x="293" y="330"/>
                </a:lnTo>
                <a:lnTo>
                  <a:pt x="288" y="319"/>
                </a:lnTo>
                <a:lnTo>
                  <a:pt x="285" y="309"/>
                </a:lnTo>
                <a:lnTo>
                  <a:pt x="282" y="305"/>
                </a:lnTo>
                <a:lnTo>
                  <a:pt x="279" y="302"/>
                </a:lnTo>
                <a:lnTo>
                  <a:pt x="273" y="302"/>
                </a:lnTo>
                <a:lnTo>
                  <a:pt x="270" y="301"/>
                </a:lnTo>
                <a:lnTo>
                  <a:pt x="259" y="294"/>
                </a:lnTo>
                <a:lnTo>
                  <a:pt x="259" y="293"/>
                </a:lnTo>
                <a:lnTo>
                  <a:pt x="259" y="292"/>
                </a:lnTo>
                <a:lnTo>
                  <a:pt x="260" y="289"/>
                </a:lnTo>
                <a:lnTo>
                  <a:pt x="259" y="285"/>
                </a:lnTo>
                <a:lnTo>
                  <a:pt x="258" y="282"/>
                </a:lnTo>
                <a:lnTo>
                  <a:pt x="256" y="278"/>
                </a:lnTo>
                <a:lnTo>
                  <a:pt x="254" y="277"/>
                </a:lnTo>
                <a:lnTo>
                  <a:pt x="249" y="278"/>
                </a:lnTo>
                <a:lnTo>
                  <a:pt x="247" y="279"/>
                </a:lnTo>
                <a:lnTo>
                  <a:pt x="244" y="278"/>
                </a:lnTo>
                <a:lnTo>
                  <a:pt x="242" y="280"/>
                </a:lnTo>
                <a:lnTo>
                  <a:pt x="240" y="280"/>
                </a:lnTo>
                <a:lnTo>
                  <a:pt x="244" y="274"/>
                </a:lnTo>
                <a:lnTo>
                  <a:pt x="243" y="273"/>
                </a:lnTo>
                <a:lnTo>
                  <a:pt x="239" y="271"/>
                </a:lnTo>
                <a:lnTo>
                  <a:pt x="234" y="271"/>
                </a:lnTo>
                <a:lnTo>
                  <a:pt x="233" y="270"/>
                </a:lnTo>
                <a:lnTo>
                  <a:pt x="232" y="272"/>
                </a:lnTo>
                <a:lnTo>
                  <a:pt x="231" y="271"/>
                </a:lnTo>
                <a:lnTo>
                  <a:pt x="231" y="269"/>
                </a:lnTo>
                <a:lnTo>
                  <a:pt x="225" y="258"/>
                </a:lnTo>
                <a:lnTo>
                  <a:pt x="221" y="254"/>
                </a:lnTo>
                <a:lnTo>
                  <a:pt x="219" y="253"/>
                </a:lnTo>
                <a:lnTo>
                  <a:pt x="216" y="254"/>
                </a:lnTo>
                <a:lnTo>
                  <a:pt x="210" y="252"/>
                </a:lnTo>
                <a:lnTo>
                  <a:pt x="206" y="251"/>
                </a:lnTo>
                <a:lnTo>
                  <a:pt x="204" y="252"/>
                </a:lnTo>
                <a:lnTo>
                  <a:pt x="201" y="253"/>
                </a:lnTo>
                <a:lnTo>
                  <a:pt x="200" y="252"/>
                </a:lnTo>
                <a:lnTo>
                  <a:pt x="199" y="251"/>
                </a:lnTo>
                <a:lnTo>
                  <a:pt x="194" y="246"/>
                </a:lnTo>
                <a:lnTo>
                  <a:pt x="187" y="244"/>
                </a:lnTo>
                <a:lnTo>
                  <a:pt x="174" y="230"/>
                </a:lnTo>
                <a:lnTo>
                  <a:pt x="170" y="224"/>
                </a:lnTo>
                <a:lnTo>
                  <a:pt x="161" y="218"/>
                </a:lnTo>
                <a:lnTo>
                  <a:pt x="156" y="210"/>
                </a:lnTo>
                <a:lnTo>
                  <a:pt x="152" y="207"/>
                </a:lnTo>
                <a:lnTo>
                  <a:pt x="145" y="204"/>
                </a:lnTo>
                <a:lnTo>
                  <a:pt x="144" y="204"/>
                </a:lnTo>
                <a:lnTo>
                  <a:pt x="142" y="205"/>
                </a:lnTo>
                <a:lnTo>
                  <a:pt x="141" y="206"/>
                </a:lnTo>
                <a:lnTo>
                  <a:pt x="139" y="204"/>
                </a:lnTo>
                <a:lnTo>
                  <a:pt x="141" y="203"/>
                </a:lnTo>
                <a:lnTo>
                  <a:pt x="142" y="203"/>
                </a:lnTo>
                <a:lnTo>
                  <a:pt x="141" y="199"/>
                </a:lnTo>
                <a:lnTo>
                  <a:pt x="134" y="191"/>
                </a:lnTo>
                <a:lnTo>
                  <a:pt x="130" y="188"/>
                </a:lnTo>
                <a:lnTo>
                  <a:pt x="129" y="186"/>
                </a:lnTo>
                <a:lnTo>
                  <a:pt x="128" y="184"/>
                </a:lnTo>
                <a:lnTo>
                  <a:pt x="127" y="182"/>
                </a:lnTo>
                <a:lnTo>
                  <a:pt x="125" y="182"/>
                </a:lnTo>
                <a:lnTo>
                  <a:pt x="123" y="182"/>
                </a:lnTo>
                <a:lnTo>
                  <a:pt x="121" y="181"/>
                </a:lnTo>
                <a:lnTo>
                  <a:pt x="121" y="177"/>
                </a:lnTo>
                <a:lnTo>
                  <a:pt x="122" y="174"/>
                </a:lnTo>
                <a:lnTo>
                  <a:pt x="121" y="171"/>
                </a:lnTo>
                <a:lnTo>
                  <a:pt x="119" y="164"/>
                </a:lnTo>
                <a:lnTo>
                  <a:pt x="115" y="158"/>
                </a:lnTo>
                <a:lnTo>
                  <a:pt x="113" y="143"/>
                </a:lnTo>
                <a:lnTo>
                  <a:pt x="111" y="139"/>
                </a:lnTo>
                <a:lnTo>
                  <a:pt x="106" y="136"/>
                </a:lnTo>
                <a:lnTo>
                  <a:pt x="97" y="133"/>
                </a:lnTo>
                <a:lnTo>
                  <a:pt x="83" y="123"/>
                </a:lnTo>
                <a:lnTo>
                  <a:pt x="80" y="123"/>
                </a:lnTo>
                <a:lnTo>
                  <a:pt x="72" y="119"/>
                </a:lnTo>
                <a:lnTo>
                  <a:pt x="67" y="119"/>
                </a:lnTo>
                <a:lnTo>
                  <a:pt x="60" y="122"/>
                </a:lnTo>
                <a:lnTo>
                  <a:pt x="52" y="131"/>
                </a:lnTo>
                <a:lnTo>
                  <a:pt x="45" y="140"/>
                </a:lnTo>
                <a:lnTo>
                  <a:pt x="43" y="142"/>
                </a:lnTo>
                <a:lnTo>
                  <a:pt x="34" y="145"/>
                </a:lnTo>
                <a:lnTo>
                  <a:pt x="27" y="147"/>
                </a:lnTo>
                <a:lnTo>
                  <a:pt x="27" y="144"/>
                </a:lnTo>
                <a:lnTo>
                  <a:pt x="26" y="143"/>
                </a:lnTo>
                <a:lnTo>
                  <a:pt x="28" y="141"/>
                </a:lnTo>
                <a:lnTo>
                  <a:pt x="30" y="138"/>
                </a:lnTo>
                <a:lnTo>
                  <a:pt x="32" y="135"/>
                </a:lnTo>
                <a:lnTo>
                  <a:pt x="33" y="133"/>
                </a:lnTo>
                <a:lnTo>
                  <a:pt x="32" y="132"/>
                </a:lnTo>
                <a:lnTo>
                  <a:pt x="31" y="130"/>
                </a:lnTo>
                <a:lnTo>
                  <a:pt x="30" y="130"/>
                </a:lnTo>
                <a:lnTo>
                  <a:pt x="23" y="131"/>
                </a:lnTo>
                <a:lnTo>
                  <a:pt x="21" y="131"/>
                </a:lnTo>
                <a:lnTo>
                  <a:pt x="16" y="128"/>
                </a:lnTo>
                <a:lnTo>
                  <a:pt x="10" y="125"/>
                </a:lnTo>
                <a:lnTo>
                  <a:pt x="8" y="122"/>
                </a:lnTo>
                <a:lnTo>
                  <a:pt x="8" y="120"/>
                </a:lnTo>
                <a:lnTo>
                  <a:pt x="8" y="118"/>
                </a:lnTo>
                <a:lnTo>
                  <a:pt x="8" y="117"/>
                </a:lnTo>
                <a:lnTo>
                  <a:pt x="7" y="115"/>
                </a:lnTo>
                <a:lnTo>
                  <a:pt x="8" y="112"/>
                </a:lnTo>
                <a:lnTo>
                  <a:pt x="9" y="109"/>
                </a:lnTo>
                <a:lnTo>
                  <a:pt x="10" y="107"/>
                </a:lnTo>
                <a:lnTo>
                  <a:pt x="12" y="107"/>
                </a:lnTo>
                <a:lnTo>
                  <a:pt x="12" y="106"/>
                </a:lnTo>
                <a:lnTo>
                  <a:pt x="11" y="101"/>
                </a:lnTo>
                <a:lnTo>
                  <a:pt x="11" y="100"/>
                </a:lnTo>
                <a:lnTo>
                  <a:pt x="10" y="100"/>
                </a:lnTo>
                <a:lnTo>
                  <a:pt x="8" y="99"/>
                </a:lnTo>
                <a:lnTo>
                  <a:pt x="5" y="98"/>
                </a:lnTo>
                <a:lnTo>
                  <a:pt x="3" y="97"/>
                </a:lnTo>
                <a:lnTo>
                  <a:pt x="3" y="94"/>
                </a:lnTo>
                <a:lnTo>
                  <a:pt x="2" y="92"/>
                </a:lnTo>
                <a:lnTo>
                  <a:pt x="0" y="90"/>
                </a:lnTo>
                <a:lnTo>
                  <a:pt x="0" y="88"/>
                </a:lnTo>
                <a:lnTo>
                  <a:pt x="2" y="87"/>
                </a:lnTo>
                <a:lnTo>
                  <a:pt x="5" y="87"/>
                </a:lnTo>
                <a:lnTo>
                  <a:pt x="7" y="87"/>
                </a:lnTo>
                <a:lnTo>
                  <a:pt x="11" y="84"/>
                </a:lnTo>
                <a:lnTo>
                  <a:pt x="12" y="83"/>
                </a:lnTo>
                <a:lnTo>
                  <a:pt x="14" y="83"/>
                </a:lnTo>
                <a:lnTo>
                  <a:pt x="15" y="78"/>
                </a:lnTo>
                <a:lnTo>
                  <a:pt x="16" y="77"/>
                </a:lnTo>
                <a:lnTo>
                  <a:pt x="16" y="76"/>
                </a:lnTo>
                <a:lnTo>
                  <a:pt x="15" y="75"/>
                </a:lnTo>
                <a:lnTo>
                  <a:pt x="12" y="71"/>
                </a:lnTo>
                <a:lnTo>
                  <a:pt x="10" y="68"/>
                </a:lnTo>
                <a:lnTo>
                  <a:pt x="8" y="64"/>
                </a:lnTo>
                <a:lnTo>
                  <a:pt x="5" y="62"/>
                </a:lnTo>
                <a:lnTo>
                  <a:pt x="5" y="61"/>
                </a:lnTo>
                <a:lnTo>
                  <a:pt x="5" y="59"/>
                </a:lnTo>
                <a:lnTo>
                  <a:pt x="5" y="57"/>
                </a:lnTo>
                <a:lnTo>
                  <a:pt x="10" y="55"/>
                </a:lnTo>
                <a:lnTo>
                  <a:pt x="12" y="52"/>
                </a:lnTo>
                <a:lnTo>
                  <a:pt x="13" y="53"/>
                </a:lnTo>
                <a:lnTo>
                  <a:pt x="15" y="54"/>
                </a:lnTo>
                <a:lnTo>
                  <a:pt x="22" y="53"/>
                </a:lnTo>
                <a:lnTo>
                  <a:pt x="26" y="52"/>
                </a:lnTo>
                <a:lnTo>
                  <a:pt x="28" y="50"/>
                </a:lnTo>
                <a:lnTo>
                  <a:pt x="30" y="50"/>
                </a:lnTo>
                <a:lnTo>
                  <a:pt x="36" y="52"/>
                </a:lnTo>
                <a:lnTo>
                  <a:pt x="38" y="51"/>
                </a:lnTo>
                <a:lnTo>
                  <a:pt x="42" y="48"/>
                </a:lnTo>
                <a:lnTo>
                  <a:pt x="43" y="47"/>
                </a:lnTo>
                <a:lnTo>
                  <a:pt x="47" y="42"/>
                </a:lnTo>
                <a:lnTo>
                  <a:pt x="47" y="41"/>
                </a:lnTo>
                <a:lnTo>
                  <a:pt x="45" y="37"/>
                </a:lnTo>
                <a:lnTo>
                  <a:pt x="46" y="37"/>
                </a:lnTo>
                <a:lnTo>
                  <a:pt x="50" y="34"/>
                </a:lnTo>
                <a:lnTo>
                  <a:pt x="52" y="31"/>
                </a:lnTo>
                <a:lnTo>
                  <a:pt x="54" y="29"/>
                </a:lnTo>
                <a:lnTo>
                  <a:pt x="56" y="29"/>
                </a:lnTo>
                <a:lnTo>
                  <a:pt x="56" y="30"/>
                </a:lnTo>
                <a:lnTo>
                  <a:pt x="56" y="31"/>
                </a:lnTo>
                <a:lnTo>
                  <a:pt x="56" y="36"/>
                </a:lnTo>
                <a:lnTo>
                  <a:pt x="57" y="38"/>
                </a:lnTo>
                <a:lnTo>
                  <a:pt x="60" y="42"/>
                </a:lnTo>
                <a:lnTo>
                  <a:pt x="63" y="44"/>
                </a:lnTo>
                <a:lnTo>
                  <a:pt x="68" y="46"/>
                </a:lnTo>
                <a:lnTo>
                  <a:pt x="68" y="46"/>
                </a:lnTo>
                <a:lnTo>
                  <a:pt x="67" y="49"/>
                </a:lnTo>
                <a:lnTo>
                  <a:pt x="70" y="53"/>
                </a:lnTo>
                <a:lnTo>
                  <a:pt x="71" y="55"/>
                </a:lnTo>
                <a:lnTo>
                  <a:pt x="72" y="57"/>
                </a:lnTo>
                <a:lnTo>
                  <a:pt x="75" y="56"/>
                </a:lnTo>
                <a:lnTo>
                  <a:pt x="75" y="55"/>
                </a:lnTo>
                <a:lnTo>
                  <a:pt x="74" y="52"/>
                </a:lnTo>
                <a:lnTo>
                  <a:pt x="74" y="50"/>
                </a:lnTo>
                <a:lnTo>
                  <a:pt x="74" y="48"/>
                </a:lnTo>
                <a:lnTo>
                  <a:pt x="75" y="47"/>
                </a:lnTo>
                <a:lnTo>
                  <a:pt x="76" y="44"/>
                </a:lnTo>
                <a:lnTo>
                  <a:pt x="80" y="39"/>
                </a:lnTo>
                <a:lnTo>
                  <a:pt x="82" y="36"/>
                </a:lnTo>
                <a:lnTo>
                  <a:pt x="82" y="31"/>
                </a:lnTo>
                <a:lnTo>
                  <a:pt x="82" y="28"/>
                </a:lnTo>
                <a:lnTo>
                  <a:pt x="83" y="27"/>
                </a:lnTo>
                <a:lnTo>
                  <a:pt x="86" y="27"/>
                </a:lnTo>
                <a:lnTo>
                  <a:pt x="87" y="27"/>
                </a:lnTo>
                <a:lnTo>
                  <a:pt x="88" y="30"/>
                </a:lnTo>
                <a:lnTo>
                  <a:pt x="89" y="33"/>
                </a:lnTo>
                <a:lnTo>
                  <a:pt x="90" y="35"/>
                </a:lnTo>
                <a:lnTo>
                  <a:pt x="92" y="36"/>
                </a:lnTo>
                <a:lnTo>
                  <a:pt x="94" y="36"/>
                </a:lnTo>
                <a:lnTo>
                  <a:pt x="98" y="33"/>
                </a:lnTo>
                <a:lnTo>
                  <a:pt x="101" y="33"/>
                </a:lnTo>
                <a:lnTo>
                  <a:pt x="103" y="33"/>
                </a:lnTo>
                <a:lnTo>
                  <a:pt x="104" y="34"/>
                </a:lnTo>
                <a:lnTo>
                  <a:pt x="106" y="38"/>
                </a:lnTo>
                <a:lnTo>
                  <a:pt x="108" y="39"/>
                </a:lnTo>
                <a:lnTo>
                  <a:pt x="109" y="38"/>
                </a:lnTo>
                <a:lnTo>
                  <a:pt x="110" y="38"/>
                </a:lnTo>
                <a:lnTo>
                  <a:pt x="109" y="36"/>
                </a:lnTo>
                <a:lnTo>
                  <a:pt x="108" y="33"/>
                </a:lnTo>
                <a:lnTo>
                  <a:pt x="108" y="30"/>
                </a:lnTo>
                <a:lnTo>
                  <a:pt x="106" y="29"/>
                </a:lnTo>
                <a:lnTo>
                  <a:pt x="106" y="27"/>
                </a:lnTo>
                <a:lnTo>
                  <a:pt x="107" y="24"/>
                </a:lnTo>
                <a:lnTo>
                  <a:pt x="108" y="22"/>
                </a:lnTo>
                <a:lnTo>
                  <a:pt x="109" y="21"/>
                </a:lnTo>
                <a:lnTo>
                  <a:pt x="111" y="21"/>
                </a:lnTo>
                <a:lnTo>
                  <a:pt x="114" y="24"/>
                </a:lnTo>
                <a:lnTo>
                  <a:pt x="116" y="24"/>
                </a:lnTo>
                <a:lnTo>
                  <a:pt x="118" y="24"/>
                </a:lnTo>
                <a:lnTo>
                  <a:pt x="119" y="23"/>
                </a:lnTo>
                <a:lnTo>
                  <a:pt x="119" y="21"/>
                </a:lnTo>
                <a:lnTo>
                  <a:pt x="117" y="19"/>
                </a:lnTo>
                <a:lnTo>
                  <a:pt x="118" y="16"/>
                </a:lnTo>
                <a:lnTo>
                  <a:pt x="119" y="10"/>
                </a:lnTo>
                <a:lnTo>
                  <a:pt x="120" y="10"/>
                </a:lnTo>
                <a:lnTo>
                  <a:pt x="123" y="11"/>
                </a:lnTo>
                <a:lnTo>
                  <a:pt x="126" y="11"/>
                </a:lnTo>
                <a:lnTo>
                  <a:pt x="129" y="13"/>
                </a:lnTo>
                <a:lnTo>
                  <a:pt x="131" y="14"/>
                </a:lnTo>
                <a:lnTo>
                  <a:pt x="134" y="14"/>
                </a:lnTo>
                <a:lnTo>
                  <a:pt x="136" y="14"/>
                </a:lnTo>
                <a:lnTo>
                  <a:pt x="137" y="13"/>
                </a:lnTo>
                <a:lnTo>
                  <a:pt x="138" y="10"/>
                </a:lnTo>
                <a:lnTo>
                  <a:pt x="140" y="7"/>
                </a:lnTo>
                <a:lnTo>
                  <a:pt x="144" y="5"/>
                </a:lnTo>
                <a:lnTo>
                  <a:pt x="150" y="5"/>
                </a:lnTo>
                <a:lnTo>
                  <a:pt x="153" y="4"/>
                </a:lnTo>
                <a:lnTo>
                  <a:pt x="156" y="4"/>
                </a:lnTo>
                <a:lnTo>
                  <a:pt x="158" y="5"/>
                </a:lnTo>
                <a:lnTo>
                  <a:pt x="160" y="5"/>
                </a:lnTo>
                <a:lnTo>
                  <a:pt x="166" y="2"/>
                </a:lnTo>
                <a:lnTo>
                  <a:pt x="173" y="0"/>
                </a:lnTo>
                <a:lnTo>
                  <a:pt x="174" y="0"/>
                </a:lnTo>
                <a:lnTo>
                  <a:pt x="174" y="1"/>
                </a:lnTo>
                <a:lnTo>
                  <a:pt x="173" y="3"/>
                </a:lnTo>
                <a:lnTo>
                  <a:pt x="171" y="5"/>
                </a:lnTo>
                <a:lnTo>
                  <a:pt x="172" y="7"/>
                </a:lnTo>
                <a:lnTo>
                  <a:pt x="176" y="11"/>
                </a:lnTo>
                <a:lnTo>
                  <a:pt x="178" y="15"/>
                </a:lnTo>
                <a:lnTo>
                  <a:pt x="179" y="17"/>
                </a:lnTo>
                <a:lnTo>
                  <a:pt x="182" y="19"/>
                </a:lnTo>
                <a:lnTo>
                  <a:pt x="186" y="20"/>
                </a:lnTo>
                <a:lnTo>
                  <a:pt x="189" y="20"/>
                </a:lnTo>
                <a:lnTo>
                  <a:pt x="193" y="21"/>
                </a:lnTo>
                <a:lnTo>
                  <a:pt x="204" y="23"/>
                </a:lnTo>
                <a:lnTo>
                  <a:pt x="209" y="24"/>
                </a:lnTo>
                <a:lnTo>
                  <a:pt x="214" y="24"/>
                </a:lnTo>
                <a:lnTo>
                  <a:pt x="220" y="26"/>
                </a:lnTo>
                <a:close/>
                <a:moveTo>
                  <a:pt x="182" y="141"/>
                </a:moveTo>
                <a:lnTo>
                  <a:pt x="182" y="141"/>
                </a:lnTo>
                <a:lnTo>
                  <a:pt x="183" y="139"/>
                </a:lnTo>
                <a:lnTo>
                  <a:pt x="183" y="137"/>
                </a:lnTo>
                <a:lnTo>
                  <a:pt x="181" y="138"/>
                </a:lnTo>
                <a:lnTo>
                  <a:pt x="180" y="140"/>
                </a:lnTo>
                <a:lnTo>
                  <a:pt x="181" y="141"/>
                </a:lnTo>
                <a:lnTo>
                  <a:pt x="182" y="141"/>
                </a:lnTo>
                <a:close/>
                <a:moveTo>
                  <a:pt x="181" y="226"/>
                </a:moveTo>
                <a:lnTo>
                  <a:pt x="181" y="226"/>
                </a:lnTo>
                <a:lnTo>
                  <a:pt x="181" y="226"/>
                </a:lnTo>
                <a:lnTo>
                  <a:pt x="181" y="226"/>
                </a:lnTo>
                <a:lnTo>
                  <a:pt x="181" y="226"/>
                </a:lnTo>
                <a:lnTo>
                  <a:pt x="181" y="226"/>
                </a:lnTo>
                <a:lnTo>
                  <a:pt x="181" y="226"/>
                </a:lnTo>
                <a:close/>
                <a:moveTo>
                  <a:pt x="117" y="186"/>
                </a:moveTo>
                <a:lnTo>
                  <a:pt x="117" y="186"/>
                </a:lnTo>
                <a:lnTo>
                  <a:pt x="118" y="187"/>
                </a:lnTo>
                <a:lnTo>
                  <a:pt x="118" y="188"/>
                </a:lnTo>
                <a:lnTo>
                  <a:pt x="118" y="189"/>
                </a:lnTo>
                <a:lnTo>
                  <a:pt x="118" y="192"/>
                </a:lnTo>
                <a:lnTo>
                  <a:pt x="115" y="190"/>
                </a:lnTo>
                <a:lnTo>
                  <a:pt x="111" y="191"/>
                </a:lnTo>
                <a:lnTo>
                  <a:pt x="109" y="191"/>
                </a:lnTo>
                <a:lnTo>
                  <a:pt x="108" y="189"/>
                </a:lnTo>
                <a:lnTo>
                  <a:pt x="109" y="188"/>
                </a:lnTo>
                <a:lnTo>
                  <a:pt x="113" y="187"/>
                </a:lnTo>
                <a:lnTo>
                  <a:pt x="114" y="187"/>
                </a:lnTo>
                <a:lnTo>
                  <a:pt x="116" y="187"/>
                </a:lnTo>
                <a:lnTo>
                  <a:pt x="117" y="186"/>
                </a:lnTo>
                <a:close/>
                <a:moveTo>
                  <a:pt x="93" y="268"/>
                </a:moveTo>
                <a:lnTo>
                  <a:pt x="93" y="268"/>
                </a:lnTo>
                <a:lnTo>
                  <a:pt x="95" y="271"/>
                </a:lnTo>
                <a:lnTo>
                  <a:pt x="99" y="281"/>
                </a:lnTo>
                <a:lnTo>
                  <a:pt x="99" y="284"/>
                </a:lnTo>
                <a:lnTo>
                  <a:pt x="98" y="286"/>
                </a:lnTo>
                <a:lnTo>
                  <a:pt x="97" y="288"/>
                </a:lnTo>
                <a:lnTo>
                  <a:pt x="94" y="293"/>
                </a:lnTo>
                <a:lnTo>
                  <a:pt x="94" y="298"/>
                </a:lnTo>
                <a:lnTo>
                  <a:pt x="96" y="300"/>
                </a:lnTo>
                <a:lnTo>
                  <a:pt x="96" y="303"/>
                </a:lnTo>
                <a:lnTo>
                  <a:pt x="95" y="307"/>
                </a:lnTo>
                <a:lnTo>
                  <a:pt x="93" y="330"/>
                </a:lnTo>
                <a:lnTo>
                  <a:pt x="92" y="334"/>
                </a:lnTo>
                <a:lnTo>
                  <a:pt x="91" y="338"/>
                </a:lnTo>
                <a:lnTo>
                  <a:pt x="89" y="339"/>
                </a:lnTo>
                <a:lnTo>
                  <a:pt x="86" y="338"/>
                </a:lnTo>
                <a:lnTo>
                  <a:pt x="82" y="336"/>
                </a:lnTo>
                <a:lnTo>
                  <a:pt x="80" y="336"/>
                </a:lnTo>
                <a:lnTo>
                  <a:pt x="78" y="336"/>
                </a:lnTo>
                <a:lnTo>
                  <a:pt x="77" y="336"/>
                </a:lnTo>
                <a:lnTo>
                  <a:pt x="75" y="335"/>
                </a:lnTo>
                <a:lnTo>
                  <a:pt x="74" y="343"/>
                </a:lnTo>
                <a:lnTo>
                  <a:pt x="73" y="346"/>
                </a:lnTo>
                <a:lnTo>
                  <a:pt x="70" y="348"/>
                </a:lnTo>
                <a:lnTo>
                  <a:pt x="68" y="348"/>
                </a:lnTo>
                <a:lnTo>
                  <a:pt x="65" y="347"/>
                </a:lnTo>
                <a:lnTo>
                  <a:pt x="63" y="347"/>
                </a:lnTo>
                <a:lnTo>
                  <a:pt x="61" y="346"/>
                </a:lnTo>
                <a:lnTo>
                  <a:pt x="60" y="343"/>
                </a:lnTo>
                <a:lnTo>
                  <a:pt x="58" y="340"/>
                </a:lnTo>
                <a:lnTo>
                  <a:pt x="56" y="336"/>
                </a:lnTo>
                <a:lnTo>
                  <a:pt x="55" y="333"/>
                </a:lnTo>
                <a:lnTo>
                  <a:pt x="55" y="325"/>
                </a:lnTo>
                <a:lnTo>
                  <a:pt x="56" y="323"/>
                </a:lnTo>
                <a:lnTo>
                  <a:pt x="56" y="322"/>
                </a:lnTo>
                <a:lnTo>
                  <a:pt x="57" y="318"/>
                </a:lnTo>
                <a:lnTo>
                  <a:pt x="57" y="315"/>
                </a:lnTo>
                <a:lnTo>
                  <a:pt x="57" y="314"/>
                </a:lnTo>
                <a:lnTo>
                  <a:pt x="58" y="315"/>
                </a:lnTo>
                <a:lnTo>
                  <a:pt x="59" y="315"/>
                </a:lnTo>
                <a:lnTo>
                  <a:pt x="59" y="313"/>
                </a:lnTo>
                <a:lnTo>
                  <a:pt x="60" y="311"/>
                </a:lnTo>
                <a:lnTo>
                  <a:pt x="58" y="308"/>
                </a:lnTo>
                <a:lnTo>
                  <a:pt x="55" y="307"/>
                </a:lnTo>
                <a:lnTo>
                  <a:pt x="55" y="305"/>
                </a:lnTo>
                <a:lnTo>
                  <a:pt x="55" y="303"/>
                </a:lnTo>
                <a:lnTo>
                  <a:pt x="57" y="301"/>
                </a:lnTo>
                <a:lnTo>
                  <a:pt x="57" y="299"/>
                </a:lnTo>
                <a:lnTo>
                  <a:pt x="57" y="292"/>
                </a:lnTo>
                <a:lnTo>
                  <a:pt x="55" y="290"/>
                </a:lnTo>
                <a:lnTo>
                  <a:pt x="55" y="286"/>
                </a:lnTo>
                <a:lnTo>
                  <a:pt x="54" y="284"/>
                </a:lnTo>
                <a:lnTo>
                  <a:pt x="52" y="281"/>
                </a:lnTo>
                <a:lnTo>
                  <a:pt x="50" y="279"/>
                </a:lnTo>
                <a:lnTo>
                  <a:pt x="48" y="278"/>
                </a:lnTo>
                <a:lnTo>
                  <a:pt x="48" y="273"/>
                </a:lnTo>
                <a:lnTo>
                  <a:pt x="49" y="269"/>
                </a:lnTo>
                <a:lnTo>
                  <a:pt x="50" y="267"/>
                </a:lnTo>
                <a:lnTo>
                  <a:pt x="50" y="267"/>
                </a:lnTo>
                <a:lnTo>
                  <a:pt x="52" y="269"/>
                </a:lnTo>
                <a:lnTo>
                  <a:pt x="54" y="270"/>
                </a:lnTo>
                <a:lnTo>
                  <a:pt x="57" y="270"/>
                </a:lnTo>
                <a:lnTo>
                  <a:pt x="60" y="269"/>
                </a:lnTo>
                <a:lnTo>
                  <a:pt x="64" y="268"/>
                </a:lnTo>
                <a:lnTo>
                  <a:pt x="68" y="265"/>
                </a:lnTo>
                <a:lnTo>
                  <a:pt x="74" y="259"/>
                </a:lnTo>
                <a:lnTo>
                  <a:pt x="77" y="257"/>
                </a:lnTo>
                <a:lnTo>
                  <a:pt x="79" y="256"/>
                </a:lnTo>
                <a:lnTo>
                  <a:pt x="79" y="253"/>
                </a:lnTo>
                <a:lnTo>
                  <a:pt x="81" y="253"/>
                </a:lnTo>
                <a:lnTo>
                  <a:pt x="83" y="255"/>
                </a:lnTo>
                <a:lnTo>
                  <a:pt x="85" y="255"/>
                </a:lnTo>
                <a:lnTo>
                  <a:pt x="88" y="257"/>
                </a:lnTo>
                <a:lnTo>
                  <a:pt x="89" y="259"/>
                </a:lnTo>
                <a:lnTo>
                  <a:pt x="91" y="261"/>
                </a:lnTo>
                <a:lnTo>
                  <a:pt x="92" y="262"/>
                </a:lnTo>
                <a:lnTo>
                  <a:pt x="93" y="262"/>
                </a:lnTo>
                <a:lnTo>
                  <a:pt x="93" y="263"/>
                </a:lnTo>
                <a:lnTo>
                  <a:pt x="92" y="264"/>
                </a:lnTo>
                <a:lnTo>
                  <a:pt x="91" y="266"/>
                </a:lnTo>
                <a:lnTo>
                  <a:pt x="92" y="267"/>
                </a:lnTo>
                <a:lnTo>
                  <a:pt x="93" y="268"/>
                </a:lnTo>
                <a:close/>
                <a:moveTo>
                  <a:pt x="52" y="262"/>
                </a:moveTo>
                <a:lnTo>
                  <a:pt x="52" y="262"/>
                </a:lnTo>
                <a:lnTo>
                  <a:pt x="50" y="264"/>
                </a:lnTo>
                <a:lnTo>
                  <a:pt x="49" y="263"/>
                </a:lnTo>
                <a:lnTo>
                  <a:pt x="50" y="262"/>
                </a:lnTo>
                <a:lnTo>
                  <a:pt x="51" y="259"/>
                </a:lnTo>
                <a:lnTo>
                  <a:pt x="53" y="258"/>
                </a:lnTo>
                <a:lnTo>
                  <a:pt x="53" y="259"/>
                </a:lnTo>
                <a:lnTo>
                  <a:pt x="53" y="261"/>
                </a:lnTo>
                <a:lnTo>
                  <a:pt x="52" y="262"/>
                </a:lnTo>
                <a:close/>
                <a:moveTo>
                  <a:pt x="228" y="275"/>
                </a:moveTo>
                <a:lnTo>
                  <a:pt x="228" y="275"/>
                </a:lnTo>
                <a:lnTo>
                  <a:pt x="226" y="276"/>
                </a:lnTo>
                <a:lnTo>
                  <a:pt x="226" y="275"/>
                </a:lnTo>
                <a:lnTo>
                  <a:pt x="225" y="275"/>
                </a:lnTo>
                <a:lnTo>
                  <a:pt x="226" y="273"/>
                </a:lnTo>
                <a:lnTo>
                  <a:pt x="228" y="274"/>
                </a:lnTo>
                <a:lnTo>
                  <a:pt x="228" y="275"/>
                </a:lnTo>
                <a:lnTo>
                  <a:pt x="228" y="275"/>
                </a:lnTo>
                <a:close/>
                <a:moveTo>
                  <a:pt x="58" y="342"/>
                </a:moveTo>
                <a:lnTo>
                  <a:pt x="58" y="342"/>
                </a:lnTo>
                <a:lnTo>
                  <a:pt x="56" y="346"/>
                </a:lnTo>
                <a:lnTo>
                  <a:pt x="54" y="343"/>
                </a:lnTo>
                <a:lnTo>
                  <a:pt x="54" y="340"/>
                </a:lnTo>
                <a:lnTo>
                  <a:pt x="54" y="340"/>
                </a:lnTo>
                <a:lnTo>
                  <a:pt x="56" y="341"/>
                </a:lnTo>
                <a:lnTo>
                  <a:pt x="58" y="342"/>
                </a:lnTo>
                <a:close/>
                <a:moveTo>
                  <a:pt x="279" y="375"/>
                </a:moveTo>
                <a:lnTo>
                  <a:pt x="279" y="375"/>
                </a:lnTo>
                <a:lnTo>
                  <a:pt x="277" y="380"/>
                </a:lnTo>
                <a:lnTo>
                  <a:pt x="276" y="382"/>
                </a:lnTo>
                <a:lnTo>
                  <a:pt x="268" y="393"/>
                </a:lnTo>
                <a:lnTo>
                  <a:pt x="267" y="395"/>
                </a:lnTo>
                <a:lnTo>
                  <a:pt x="267" y="398"/>
                </a:lnTo>
                <a:lnTo>
                  <a:pt x="266" y="400"/>
                </a:lnTo>
                <a:lnTo>
                  <a:pt x="265" y="402"/>
                </a:lnTo>
                <a:lnTo>
                  <a:pt x="264" y="405"/>
                </a:lnTo>
                <a:lnTo>
                  <a:pt x="264" y="409"/>
                </a:lnTo>
                <a:lnTo>
                  <a:pt x="264" y="410"/>
                </a:lnTo>
                <a:lnTo>
                  <a:pt x="265" y="411"/>
                </a:lnTo>
                <a:lnTo>
                  <a:pt x="267" y="412"/>
                </a:lnTo>
                <a:lnTo>
                  <a:pt x="268" y="414"/>
                </a:lnTo>
                <a:lnTo>
                  <a:pt x="266" y="415"/>
                </a:lnTo>
                <a:lnTo>
                  <a:pt x="268" y="418"/>
                </a:lnTo>
                <a:lnTo>
                  <a:pt x="270" y="419"/>
                </a:lnTo>
                <a:lnTo>
                  <a:pt x="270" y="421"/>
                </a:lnTo>
                <a:lnTo>
                  <a:pt x="270" y="423"/>
                </a:lnTo>
                <a:lnTo>
                  <a:pt x="267" y="426"/>
                </a:lnTo>
                <a:lnTo>
                  <a:pt x="265" y="427"/>
                </a:lnTo>
                <a:lnTo>
                  <a:pt x="264" y="429"/>
                </a:lnTo>
                <a:lnTo>
                  <a:pt x="264" y="431"/>
                </a:lnTo>
                <a:lnTo>
                  <a:pt x="264" y="433"/>
                </a:lnTo>
                <a:lnTo>
                  <a:pt x="264" y="435"/>
                </a:lnTo>
                <a:lnTo>
                  <a:pt x="261" y="435"/>
                </a:lnTo>
                <a:lnTo>
                  <a:pt x="257" y="434"/>
                </a:lnTo>
                <a:lnTo>
                  <a:pt x="254" y="434"/>
                </a:lnTo>
                <a:lnTo>
                  <a:pt x="249" y="432"/>
                </a:lnTo>
                <a:lnTo>
                  <a:pt x="247" y="432"/>
                </a:lnTo>
                <a:lnTo>
                  <a:pt x="245" y="431"/>
                </a:lnTo>
                <a:lnTo>
                  <a:pt x="241" y="424"/>
                </a:lnTo>
                <a:lnTo>
                  <a:pt x="238" y="421"/>
                </a:lnTo>
                <a:lnTo>
                  <a:pt x="234" y="419"/>
                </a:lnTo>
                <a:lnTo>
                  <a:pt x="230" y="419"/>
                </a:lnTo>
                <a:lnTo>
                  <a:pt x="227" y="419"/>
                </a:lnTo>
                <a:lnTo>
                  <a:pt x="223" y="418"/>
                </a:lnTo>
                <a:lnTo>
                  <a:pt x="217" y="413"/>
                </a:lnTo>
                <a:lnTo>
                  <a:pt x="210" y="410"/>
                </a:lnTo>
                <a:lnTo>
                  <a:pt x="207" y="407"/>
                </a:lnTo>
                <a:lnTo>
                  <a:pt x="205" y="405"/>
                </a:lnTo>
                <a:lnTo>
                  <a:pt x="204" y="404"/>
                </a:lnTo>
                <a:lnTo>
                  <a:pt x="200" y="403"/>
                </a:lnTo>
                <a:lnTo>
                  <a:pt x="196" y="401"/>
                </a:lnTo>
                <a:lnTo>
                  <a:pt x="195" y="401"/>
                </a:lnTo>
                <a:lnTo>
                  <a:pt x="191" y="401"/>
                </a:lnTo>
                <a:lnTo>
                  <a:pt x="189" y="401"/>
                </a:lnTo>
                <a:lnTo>
                  <a:pt x="187" y="400"/>
                </a:lnTo>
                <a:lnTo>
                  <a:pt x="184" y="397"/>
                </a:lnTo>
                <a:lnTo>
                  <a:pt x="182" y="393"/>
                </a:lnTo>
                <a:lnTo>
                  <a:pt x="181" y="391"/>
                </a:lnTo>
                <a:lnTo>
                  <a:pt x="183" y="386"/>
                </a:lnTo>
                <a:lnTo>
                  <a:pt x="184" y="382"/>
                </a:lnTo>
                <a:lnTo>
                  <a:pt x="186" y="381"/>
                </a:lnTo>
                <a:lnTo>
                  <a:pt x="188" y="380"/>
                </a:lnTo>
                <a:lnTo>
                  <a:pt x="189" y="378"/>
                </a:lnTo>
                <a:lnTo>
                  <a:pt x="190" y="377"/>
                </a:lnTo>
                <a:lnTo>
                  <a:pt x="194" y="381"/>
                </a:lnTo>
                <a:lnTo>
                  <a:pt x="195" y="383"/>
                </a:lnTo>
                <a:lnTo>
                  <a:pt x="197" y="382"/>
                </a:lnTo>
                <a:lnTo>
                  <a:pt x="200" y="381"/>
                </a:lnTo>
                <a:lnTo>
                  <a:pt x="200" y="379"/>
                </a:lnTo>
                <a:lnTo>
                  <a:pt x="204" y="376"/>
                </a:lnTo>
                <a:lnTo>
                  <a:pt x="208" y="376"/>
                </a:lnTo>
                <a:lnTo>
                  <a:pt x="209" y="377"/>
                </a:lnTo>
                <a:lnTo>
                  <a:pt x="211" y="379"/>
                </a:lnTo>
                <a:lnTo>
                  <a:pt x="212" y="380"/>
                </a:lnTo>
                <a:lnTo>
                  <a:pt x="214" y="380"/>
                </a:lnTo>
                <a:lnTo>
                  <a:pt x="220" y="384"/>
                </a:lnTo>
                <a:lnTo>
                  <a:pt x="221" y="385"/>
                </a:lnTo>
                <a:lnTo>
                  <a:pt x="223" y="385"/>
                </a:lnTo>
                <a:lnTo>
                  <a:pt x="228" y="383"/>
                </a:lnTo>
                <a:lnTo>
                  <a:pt x="231" y="382"/>
                </a:lnTo>
                <a:lnTo>
                  <a:pt x="239" y="383"/>
                </a:lnTo>
                <a:lnTo>
                  <a:pt x="243" y="382"/>
                </a:lnTo>
                <a:lnTo>
                  <a:pt x="245" y="382"/>
                </a:lnTo>
                <a:lnTo>
                  <a:pt x="250" y="381"/>
                </a:lnTo>
                <a:lnTo>
                  <a:pt x="253" y="378"/>
                </a:lnTo>
                <a:lnTo>
                  <a:pt x="254" y="377"/>
                </a:lnTo>
                <a:lnTo>
                  <a:pt x="256" y="377"/>
                </a:lnTo>
                <a:lnTo>
                  <a:pt x="260" y="377"/>
                </a:lnTo>
                <a:lnTo>
                  <a:pt x="265" y="378"/>
                </a:lnTo>
                <a:lnTo>
                  <a:pt x="266" y="377"/>
                </a:lnTo>
                <a:lnTo>
                  <a:pt x="268" y="376"/>
                </a:lnTo>
                <a:lnTo>
                  <a:pt x="270" y="375"/>
                </a:lnTo>
                <a:lnTo>
                  <a:pt x="271" y="375"/>
                </a:lnTo>
                <a:lnTo>
                  <a:pt x="276" y="372"/>
                </a:lnTo>
                <a:lnTo>
                  <a:pt x="279" y="372"/>
                </a:lnTo>
                <a:lnTo>
                  <a:pt x="281" y="373"/>
                </a:lnTo>
                <a:lnTo>
                  <a:pt x="279" y="375"/>
                </a:lnTo>
                <a:close/>
                <a:moveTo>
                  <a:pt x="169" y="433"/>
                </a:moveTo>
                <a:lnTo>
                  <a:pt x="169" y="433"/>
                </a:lnTo>
                <a:lnTo>
                  <a:pt x="167" y="433"/>
                </a:lnTo>
                <a:lnTo>
                  <a:pt x="165" y="432"/>
                </a:lnTo>
                <a:lnTo>
                  <a:pt x="165" y="430"/>
                </a:lnTo>
                <a:lnTo>
                  <a:pt x="166" y="429"/>
                </a:lnTo>
                <a:lnTo>
                  <a:pt x="168" y="430"/>
                </a:lnTo>
                <a:lnTo>
                  <a:pt x="169" y="43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3" name="Luxembourg">
            <a:extLst>
              <a:ext uri="{FF2B5EF4-FFF2-40B4-BE49-F238E27FC236}">
                <a16:creationId xmlns:a16="http://schemas.microsoft.com/office/drawing/2014/main" id="{D944995B-379D-49D2-B17F-C3D1246E1E21}"/>
              </a:ext>
            </a:extLst>
          </p:cNvPr>
          <p:cNvSpPr>
            <a:spLocks/>
          </p:cNvSpPr>
          <p:nvPr/>
        </p:nvSpPr>
        <p:spPr bwMode="auto">
          <a:xfrm>
            <a:off x="5990334" y="3111070"/>
            <a:ext cx="22513" cy="31657"/>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4" name="Monaco">
            <a:extLst>
              <a:ext uri="{FF2B5EF4-FFF2-40B4-BE49-F238E27FC236}">
                <a16:creationId xmlns:a16="http://schemas.microsoft.com/office/drawing/2014/main" id="{5E5A7D8A-5DDF-4067-BE29-36CA82AD454C}"/>
              </a:ext>
            </a:extLst>
          </p:cNvPr>
          <p:cNvSpPr>
            <a:spLocks/>
          </p:cNvSpPr>
          <p:nvPr/>
        </p:nvSpPr>
        <p:spPr bwMode="auto">
          <a:xfrm>
            <a:off x="6039860" y="3362341"/>
            <a:ext cx="2252"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1255" name="Spain">
            <a:extLst>
              <a:ext uri="{FF2B5EF4-FFF2-40B4-BE49-F238E27FC236}">
                <a16:creationId xmlns:a16="http://schemas.microsoft.com/office/drawing/2014/main" id="{C3DED12F-300B-474A-88DF-6ACAFBB146BE}"/>
              </a:ext>
            </a:extLst>
          </p:cNvPr>
          <p:cNvSpPr>
            <a:spLocks noEditPoints="1"/>
          </p:cNvSpPr>
          <p:nvPr/>
        </p:nvSpPr>
        <p:spPr bwMode="auto">
          <a:xfrm>
            <a:off x="5265434" y="3362341"/>
            <a:ext cx="682126" cy="530241"/>
          </a:xfrm>
          <a:custGeom>
            <a:avLst/>
            <a:gdLst>
              <a:gd name="T0" fmla="*/ 522 w 701"/>
              <a:gd name="T1" fmla="*/ 22 h 620"/>
              <a:gd name="T2" fmla="*/ 524 w 701"/>
              <a:gd name="T3" fmla="*/ 30 h 620"/>
              <a:gd name="T4" fmla="*/ 543 w 701"/>
              <a:gd name="T5" fmla="*/ 36 h 620"/>
              <a:gd name="T6" fmla="*/ 562 w 701"/>
              <a:gd name="T7" fmla="*/ 43 h 620"/>
              <a:gd name="T8" fmla="*/ 586 w 701"/>
              <a:gd name="T9" fmla="*/ 45 h 620"/>
              <a:gd name="T10" fmla="*/ 608 w 701"/>
              <a:gd name="T11" fmla="*/ 46 h 620"/>
              <a:gd name="T12" fmla="*/ 616 w 701"/>
              <a:gd name="T13" fmla="*/ 56 h 620"/>
              <a:gd name="T14" fmla="*/ 635 w 701"/>
              <a:gd name="T15" fmla="*/ 57 h 620"/>
              <a:gd name="T16" fmla="*/ 656 w 701"/>
              <a:gd name="T17" fmla="*/ 56 h 620"/>
              <a:gd name="T18" fmla="*/ 665 w 701"/>
              <a:gd name="T19" fmla="*/ 64 h 620"/>
              <a:gd name="T20" fmla="*/ 633 w 701"/>
              <a:gd name="T21" fmla="*/ 103 h 620"/>
              <a:gd name="T22" fmla="*/ 593 w 701"/>
              <a:gd name="T23" fmla="*/ 129 h 620"/>
              <a:gd name="T24" fmla="*/ 556 w 701"/>
              <a:gd name="T25" fmla="*/ 177 h 620"/>
              <a:gd name="T26" fmla="*/ 554 w 701"/>
              <a:gd name="T27" fmla="*/ 220 h 620"/>
              <a:gd name="T28" fmla="*/ 544 w 701"/>
              <a:gd name="T29" fmla="*/ 252 h 620"/>
              <a:gd name="T30" fmla="*/ 498 w 701"/>
              <a:gd name="T31" fmla="*/ 286 h 620"/>
              <a:gd name="T32" fmla="*/ 459 w 701"/>
              <a:gd name="T33" fmla="*/ 288 h 620"/>
              <a:gd name="T34" fmla="*/ 403 w 701"/>
              <a:gd name="T35" fmla="*/ 300 h 620"/>
              <a:gd name="T36" fmla="*/ 385 w 701"/>
              <a:gd name="T37" fmla="*/ 311 h 620"/>
              <a:gd name="T38" fmla="*/ 366 w 701"/>
              <a:gd name="T39" fmla="*/ 287 h 620"/>
              <a:gd name="T40" fmla="*/ 352 w 701"/>
              <a:gd name="T41" fmla="*/ 265 h 620"/>
              <a:gd name="T42" fmla="*/ 336 w 701"/>
              <a:gd name="T43" fmla="*/ 245 h 620"/>
              <a:gd name="T44" fmla="*/ 337 w 701"/>
              <a:gd name="T45" fmla="*/ 219 h 620"/>
              <a:gd name="T46" fmla="*/ 348 w 701"/>
              <a:gd name="T47" fmla="*/ 195 h 620"/>
              <a:gd name="T48" fmla="*/ 334 w 701"/>
              <a:gd name="T49" fmla="*/ 170 h 620"/>
              <a:gd name="T50" fmla="*/ 347 w 701"/>
              <a:gd name="T51" fmla="*/ 150 h 620"/>
              <a:gd name="T52" fmla="*/ 353 w 701"/>
              <a:gd name="T53" fmla="*/ 132 h 620"/>
              <a:gd name="T54" fmla="*/ 361 w 701"/>
              <a:gd name="T55" fmla="*/ 104 h 620"/>
              <a:gd name="T56" fmla="*/ 364 w 701"/>
              <a:gd name="T57" fmla="*/ 89 h 620"/>
              <a:gd name="T58" fmla="*/ 353 w 701"/>
              <a:gd name="T59" fmla="*/ 76 h 620"/>
              <a:gd name="T60" fmla="*/ 340 w 701"/>
              <a:gd name="T61" fmla="*/ 81 h 620"/>
              <a:gd name="T62" fmla="*/ 314 w 701"/>
              <a:gd name="T63" fmla="*/ 83 h 620"/>
              <a:gd name="T64" fmla="*/ 310 w 701"/>
              <a:gd name="T65" fmla="*/ 70 h 620"/>
              <a:gd name="T66" fmla="*/ 289 w 701"/>
              <a:gd name="T67" fmla="*/ 77 h 620"/>
              <a:gd name="T68" fmla="*/ 293 w 701"/>
              <a:gd name="T69" fmla="*/ 57 h 620"/>
              <a:gd name="T70" fmla="*/ 288 w 701"/>
              <a:gd name="T71" fmla="*/ 41 h 620"/>
              <a:gd name="T72" fmla="*/ 290 w 701"/>
              <a:gd name="T73" fmla="*/ 19 h 620"/>
              <a:gd name="T74" fmla="*/ 312 w 701"/>
              <a:gd name="T75" fmla="*/ 6 h 620"/>
              <a:gd name="T76" fmla="*/ 351 w 701"/>
              <a:gd name="T77" fmla="*/ 8 h 620"/>
              <a:gd name="T78" fmla="*/ 425 w 701"/>
              <a:gd name="T79" fmla="*/ 15 h 620"/>
              <a:gd name="T80" fmla="*/ 474 w 701"/>
              <a:gd name="T81" fmla="*/ 14 h 620"/>
              <a:gd name="T82" fmla="*/ 700 w 701"/>
              <a:gd name="T83" fmla="*/ 164 h 620"/>
              <a:gd name="T84" fmla="*/ 701 w 701"/>
              <a:gd name="T85" fmla="*/ 160 h 620"/>
              <a:gd name="T86" fmla="*/ 674 w 701"/>
              <a:gd name="T87" fmla="*/ 169 h 620"/>
              <a:gd name="T88" fmla="*/ 653 w 701"/>
              <a:gd name="T89" fmla="*/ 181 h 620"/>
              <a:gd name="T90" fmla="*/ 640 w 701"/>
              <a:gd name="T91" fmla="*/ 173 h 620"/>
              <a:gd name="T92" fmla="*/ 665 w 701"/>
              <a:gd name="T93" fmla="*/ 164 h 620"/>
              <a:gd name="T94" fmla="*/ 607 w 701"/>
              <a:gd name="T95" fmla="*/ 196 h 620"/>
              <a:gd name="T96" fmla="*/ 615 w 701"/>
              <a:gd name="T97" fmla="*/ 211 h 620"/>
              <a:gd name="T98" fmla="*/ 138 w 701"/>
              <a:gd name="T99" fmla="*/ 576 h 620"/>
              <a:gd name="T100" fmla="*/ 146 w 701"/>
              <a:gd name="T101" fmla="*/ 564 h 620"/>
              <a:gd name="T102" fmla="*/ 9 w 701"/>
              <a:gd name="T103" fmla="*/ 588 h 620"/>
              <a:gd name="T104" fmla="*/ 10 w 701"/>
              <a:gd name="T105" fmla="*/ 591 h 620"/>
              <a:gd name="T106" fmla="*/ 129 w 701"/>
              <a:gd name="T107" fmla="*/ 586 h 620"/>
              <a:gd name="T108" fmla="*/ 123 w 701"/>
              <a:gd name="T109" fmla="*/ 602 h 620"/>
              <a:gd name="T110" fmla="*/ 39 w 701"/>
              <a:gd name="T111" fmla="*/ 596 h 620"/>
              <a:gd name="T112" fmla="*/ 30 w 701"/>
              <a:gd name="T113" fmla="*/ 607 h 620"/>
              <a:gd name="T114" fmla="*/ 33 w 701"/>
              <a:gd name="T115" fmla="*/ 604 h 620"/>
              <a:gd name="T116" fmla="*/ 81 w 701"/>
              <a:gd name="T117" fmla="*/ 617 h 620"/>
              <a:gd name="T118" fmla="*/ 85 w 701"/>
              <a:gd name="T119" fmla="*/ 602 h 620"/>
              <a:gd name="T120" fmla="*/ 7 w 701"/>
              <a:gd name="T121" fmla="*/ 613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1" h="620">
                <a:moveTo>
                  <a:pt x="510" y="15"/>
                </a:moveTo>
                <a:lnTo>
                  <a:pt x="510" y="15"/>
                </a:lnTo>
                <a:lnTo>
                  <a:pt x="510" y="17"/>
                </a:lnTo>
                <a:lnTo>
                  <a:pt x="511" y="19"/>
                </a:lnTo>
                <a:lnTo>
                  <a:pt x="513" y="20"/>
                </a:lnTo>
                <a:lnTo>
                  <a:pt x="515" y="21"/>
                </a:lnTo>
                <a:lnTo>
                  <a:pt x="517" y="21"/>
                </a:lnTo>
                <a:lnTo>
                  <a:pt x="520" y="21"/>
                </a:lnTo>
                <a:lnTo>
                  <a:pt x="522" y="22"/>
                </a:lnTo>
                <a:lnTo>
                  <a:pt x="522" y="24"/>
                </a:lnTo>
                <a:lnTo>
                  <a:pt x="522" y="26"/>
                </a:lnTo>
                <a:lnTo>
                  <a:pt x="521" y="28"/>
                </a:lnTo>
                <a:lnTo>
                  <a:pt x="520" y="30"/>
                </a:lnTo>
                <a:lnTo>
                  <a:pt x="521" y="30"/>
                </a:lnTo>
                <a:lnTo>
                  <a:pt x="522" y="31"/>
                </a:lnTo>
                <a:lnTo>
                  <a:pt x="523" y="31"/>
                </a:lnTo>
                <a:lnTo>
                  <a:pt x="523" y="31"/>
                </a:lnTo>
                <a:lnTo>
                  <a:pt x="524" y="30"/>
                </a:lnTo>
                <a:lnTo>
                  <a:pt x="525" y="29"/>
                </a:lnTo>
                <a:lnTo>
                  <a:pt x="526" y="28"/>
                </a:lnTo>
                <a:lnTo>
                  <a:pt x="526" y="29"/>
                </a:lnTo>
                <a:lnTo>
                  <a:pt x="526" y="30"/>
                </a:lnTo>
                <a:lnTo>
                  <a:pt x="529" y="32"/>
                </a:lnTo>
                <a:lnTo>
                  <a:pt x="537" y="35"/>
                </a:lnTo>
                <a:lnTo>
                  <a:pt x="540" y="35"/>
                </a:lnTo>
                <a:lnTo>
                  <a:pt x="542" y="35"/>
                </a:lnTo>
                <a:lnTo>
                  <a:pt x="543" y="36"/>
                </a:lnTo>
                <a:lnTo>
                  <a:pt x="548" y="41"/>
                </a:lnTo>
                <a:lnTo>
                  <a:pt x="549" y="41"/>
                </a:lnTo>
                <a:lnTo>
                  <a:pt x="551" y="41"/>
                </a:lnTo>
                <a:lnTo>
                  <a:pt x="554" y="41"/>
                </a:lnTo>
                <a:lnTo>
                  <a:pt x="556" y="40"/>
                </a:lnTo>
                <a:lnTo>
                  <a:pt x="557" y="40"/>
                </a:lnTo>
                <a:lnTo>
                  <a:pt x="558" y="41"/>
                </a:lnTo>
                <a:lnTo>
                  <a:pt x="560" y="42"/>
                </a:lnTo>
                <a:lnTo>
                  <a:pt x="562" y="43"/>
                </a:lnTo>
                <a:lnTo>
                  <a:pt x="564" y="45"/>
                </a:lnTo>
                <a:lnTo>
                  <a:pt x="565" y="46"/>
                </a:lnTo>
                <a:lnTo>
                  <a:pt x="572" y="45"/>
                </a:lnTo>
                <a:lnTo>
                  <a:pt x="574" y="46"/>
                </a:lnTo>
                <a:lnTo>
                  <a:pt x="576" y="46"/>
                </a:lnTo>
                <a:lnTo>
                  <a:pt x="578" y="45"/>
                </a:lnTo>
                <a:lnTo>
                  <a:pt x="582" y="46"/>
                </a:lnTo>
                <a:lnTo>
                  <a:pt x="586" y="46"/>
                </a:lnTo>
                <a:lnTo>
                  <a:pt x="586" y="45"/>
                </a:lnTo>
                <a:lnTo>
                  <a:pt x="586" y="41"/>
                </a:lnTo>
                <a:lnTo>
                  <a:pt x="587" y="40"/>
                </a:lnTo>
                <a:lnTo>
                  <a:pt x="588" y="39"/>
                </a:lnTo>
                <a:lnTo>
                  <a:pt x="590" y="40"/>
                </a:lnTo>
                <a:lnTo>
                  <a:pt x="598" y="42"/>
                </a:lnTo>
                <a:lnTo>
                  <a:pt x="601" y="44"/>
                </a:lnTo>
                <a:lnTo>
                  <a:pt x="604" y="45"/>
                </a:lnTo>
                <a:lnTo>
                  <a:pt x="606" y="45"/>
                </a:lnTo>
                <a:lnTo>
                  <a:pt x="608" y="46"/>
                </a:lnTo>
                <a:lnTo>
                  <a:pt x="611" y="50"/>
                </a:lnTo>
                <a:lnTo>
                  <a:pt x="610" y="52"/>
                </a:lnTo>
                <a:lnTo>
                  <a:pt x="610" y="52"/>
                </a:lnTo>
                <a:lnTo>
                  <a:pt x="611" y="54"/>
                </a:lnTo>
                <a:lnTo>
                  <a:pt x="611" y="55"/>
                </a:lnTo>
                <a:lnTo>
                  <a:pt x="611" y="56"/>
                </a:lnTo>
                <a:lnTo>
                  <a:pt x="612" y="57"/>
                </a:lnTo>
                <a:lnTo>
                  <a:pt x="614" y="56"/>
                </a:lnTo>
                <a:lnTo>
                  <a:pt x="616" y="56"/>
                </a:lnTo>
                <a:lnTo>
                  <a:pt x="618" y="54"/>
                </a:lnTo>
                <a:lnTo>
                  <a:pt x="619" y="54"/>
                </a:lnTo>
                <a:lnTo>
                  <a:pt x="624" y="56"/>
                </a:lnTo>
                <a:lnTo>
                  <a:pt x="626" y="57"/>
                </a:lnTo>
                <a:lnTo>
                  <a:pt x="627" y="58"/>
                </a:lnTo>
                <a:lnTo>
                  <a:pt x="628" y="60"/>
                </a:lnTo>
                <a:lnTo>
                  <a:pt x="630" y="60"/>
                </a:lnTo>
                <a:lnTo>
                  <a:pt x="632" y="59"/>
                </a:lnTo>
                <a:lnTo>
                  <a:pt x="635" y="57"/>
                </a:lnTo>
                <a:lnTo>
                  <a:pt x="640" y="58"/>
                </a:lnTo>
                <a:lnTo>
                  <a:pt x="646" y="60"/>
                </a:lnTo>
                <a:lnTo>
                  <a:pt x="649" y="61"/>
                </a:lnTo>
                <a:lnTo>
                  <a:pt x="649" y="60"/>
                </a:lnTo>
                <a:lnTo>
                  <a:pt x="649" y="58"/>
                </a:lnTo>
                <a:lnTo>
                  <a:pt x="650" y="58"/>
                </a:lnTo>
                <a:lnTo>
                  <a:pt x="652" y="57"/>
                </a:lnTo>
                <a:lnTo>
                  <a:pt x="654" y="57"/>
                </a:lnTo>
                <a:lnTo>
                  <a:pt x="656" y="56"/>
                </a:lnTo>
                <a:lnTo>
                  <a:pt x="659" y="55"/>
                </a:lnTo>
                <a:lnTo>
                  <a:pt x="661" y="56"/>
                </a:lnTo>
                <a:lnTo>
                  <a:pt x="664" y="57"/>
                </a:lnTo>
                <a:lnTo>
                  <a:pt x="666" y="57"/>
                </a:lnTo>
                <a:lnTo>
                  <a:pt x="667" y="59"/>
                </a:lnTo>
                <a:lnTo>
                  <a:pt x="669" y="60"/>
                </a:lnTo>
                <a:lnTo>
                  <a:pt x="669" y="63"/>
                </a:lnTo>
                <a:lnTo>
                  <a:pt x="666" y="64"/>
                </a:lnTo>
                <a:lnTo>
                  <a:pt x="665" y="64"/>
                </a:lnTo>
                <a:lnTo>
                  <a:pt x="664" y="68"/>
                </a:lnTo>
                <a:lnTo>
                  <a:pt x="665" y="69"/>
                </a:lnTo>
                <a:lnTo>
                  <a:pt x="667" y="70"/>
                </a:lnTo>
                <a:lnTo>
                  <a:pt x="667" y="71"/>
                </a:lnTo>
                <a:lnTo>
                  <a:pt x="667" y="77"/>
                </a:lnTo>
                <a:lnTo>
                  <a:pt x="664" y="81"/>
                </a:lnTo>
                <a:lnTo>
                  <a:pt x="660" y="85"/>
                </a:lnTo>
                <a:lnTo>
                  <a:pt x="638" y="97"/>
                </a:lnTo>
                <a:lnTo>
                  <a:pt x="633" y="103"/>
                </a:lnTo>
                <a:lnTo>
                  <a:pt x="631" y="104"/>
                </a:lnTo>
                <a:lnTo>
                  <a:pt x="615" y="108"/>
                </a:lnTo>
                <a:lnTo>
                  <a:pt x="604" y="112"/>
                </a:lnTo>
                <a:lnTo>
                  <a:pt x="598" y="114"/>
                </a:lnTo>
                <a:lnTo>
                  <a:pt x="592" y="121"/>
                </a:lnTo>
                <a:lnTo>
                  <a:pt x="588" y="124"/>
                </a:lnTo>
                <a:lnTo>
                  <a:pt x="591" y="124"/>
                </a:lnTo>
                <a:lnTo>
                  <a:pt x="594" y="128"/>
                </a:lnTo>
                <a:lnTo>
                  <a:pt x="593" y="129"/>
                </a:lnTo>
                <a:lnTo>
                  <a:pt x="589" y="131"/>
                </a:lnTo>
                <a:lnTo>
                  <a:pt x="587" y="132"/>
                </a:lnTo>
                <a:lnTo>
                  <a:pt x="586" y="132"/>
                </a:lnTo>
                <a:lnTo>
                  <a:pt x="585" y="132"/>
                </a:lnTo>
                <a:lnTo>
                  <a:pt x="577" y="144"/>
                </a:lnTo>
                <a:lnTo>
                  <a:pt x="571" y="153"/>
                </a:lnTo>
                <a:lnTo>
                  <a:pt x="568" y="157"/>
                </a:lnTo>
                <a:lnTo>
                  <a:pt x="564" y="162"/>
                </a:lnTo>
                <a:lnTo>
                  <a:pt x="556" y="177"/>
                </a:lnTo>
                <a:lnTo>
                  <a:pt x="556" y="181"/>
                </a:lnTo>
                <a:lnTo>
                  <a:pt x="560" y="195"/>
                </a:lnTo>
                <a:lnTo>
                  <a:pt x="562" y="199"/>
                </a:lnTo>
                <a:lnTo>
                  <a:pt x="565" y="202"/>
                </a:lnTo>
                <a:lnTo>
                  <a:pt x="571" y="204"/>
                </a:lnTo>
                <a:lnTo>
                  <a:pt x="572" y="207"/>
                </a:lnTo>
                <a:lnTo>
                  <a:pt x="570" y="210"/>
                </a:lnTo>
                <a:lnTo>
                  <a:pt x="565" y="214"/>
                </a:lnTo>
                <a:lnTo>
                  <a:pt x="554" y="220"/>
                </a:lnTo>
                <a:lnTo>
                  <a:pt x="550" y="225"/>
                </a:lnTo>
                <a:lnTo>
                  <a:pt x="549" y="229"/>
                </a:lnTo>
                <a:lnTo>
                  <a:pt x="546" y="231"/>
                </a:lnTo>
                <a:lnTo>
                  <a:pt x="545" y="237"/>
                </a:lnTo>
                <a:lnTo>
                  <a:pt x="543" y="242"/>
                </a:lnTo>
                <a:lnTo>
                  <a:pt x="543" y="243"/>
                </a:lnTo>
                <a:lnTo>
                  <a:pt x="541" y="246"/>
                </a:lnTo>
                <a:lnTo>
                  <a:pt x="540" y="248"/>
                </a:lnTo>
                <a:lnTo>
                  <a:pt x="544" y="252"/>
                </a:lnTo>
                <a:lnTo>
                  <a:pt x="542" y="253"/>
                </a:lnTo>
                <a:lnTo>
                  <a:pt x="541" y="254"/>
                </a:lnTo>
                <a:lnTo>
                  <a:pt x="537" y="254"/>
                </a:lnTo>
                <a:lnTo>
                  <a:pt x="525" y="254"/>
                </a:lnTo>
                <a:lnTo>
                  <a:pt x="515" y="261"/>
                </a:lnTo>
                <a:lnTo>
                  <a:pt x="510" y="267"/>
                </a:lnTo>
                <a:lnTo>
                  <a:pt x="506" y="278"/>
                </a:lnTo>
                <a:lnTo>
                  <a:pt x="500" y="285"/>
                </a:lnTo>
                <a:lnTo>
                  <a:pt x="498" y="286"/>
                </a:lnTo>
                <a:lnTo>
                  <a:pt x="494" y="283"/>
                </a:lnTo>
                <a:lnTo>
                  <a:pt x="490" y="283"/>
                </a:lnTo>
                <a:lnTo>
                  <a:pt x="485" y="284"/>
                </a:lnTo>
                <a:lnTo>
                  <a:pt x="483" y="286"/>
                </a:lnTo>
                <a:lnTo>
                  <a:pt x="479" y="287"/>
                </a:lnTo>
                <a:lnTo>
                  <a:pt x="476" y="286"/>
                </a:lnTo>
                <a:lnTo>
                  <a:pt x="468" y="286"/>
                </a:lnTo>
                <a:lnTo>
                  <a:pt x="465" y="286"/>
                </a:lnTo>
                <a:lnTo>
                  <a:pt x="459" y="288"/>
                </a:lnTo>
                <a:lnTo>
                  <a:pt x="455" y="286"/>
                </a:lnTo>
                <a:lnTo>
                  <a:pt x="447" y="286"/>
                </a:lnTo>
                <a:lnTo>
                  <a:pt x="430" y="287"/>
                </a:lnTo>
                <a:lnTo>
                  <a:pt x="428" y="288"/>
                </a:lnTo>
                <a:lnTo>
                  <a:pt x="426" y="291"/>
                </a:lnTo>
                <a:lnTo>
                  <a:pt x="420" y="295"/>
                </a:lnTo>
                <a:lnTo>
                  <a:pt x="412" y="296"/>
                </a:lnTo>
                <a:lnTo>
                  <a:pt x="405" y="299"/>
                </a:lnTo>
                <a:lnTo>
                  <a:pt x="403" y="300"/>
                </a:lnTo>
                <a:lnTo>
                  <a:pt x="400" y="306"/>
                </a:lnTo>
                <a:lnTo>
                  <a:pt x="399" y="310"/>
                </a:lnTo>
                <a:lnTo>
                  <a:pt x="398" y="310"/>
                </a:lnTo>
                <a:lnTo>
                  <a:pt x="398" y="309"/>
                </a:lnTo>
                <a:lnTo>
                  <a:pt x="396" y="309"/>
                </a:lnTo>
                <a:lnTo>
                  <a:pt x="396" y="312"/>
                </a:lnTo>
                <a:lnTo>
                  <a:pt x="393" y="313"/>
                </a:lnTo>
                <a:lnTo>
                  <a:pt x="391" y="314"/>
                </a:lnTo>
                <a:lnTo>
                  <a:pt x="385" y="311"/>
                </a:lnTo>
                <a:lnTo>
                  <a:pt x="380" y="308"/>
                </a:lnTo>
                <a:lnTo>
                  <a:pt x="378" y="308"/>
                </a:lnTo>
                <a:lnTo>
                  <a:pt x="374" y="302"/>
                </a:lnTo>
                <a:lnTo>
                  <a:pt x="372" y="298"/>
                </a:lnTo>
                <a:lnTo>
                  <a:pt x="371" y="295"/>
                </a:lnTo>
                <a:lnTo>
                  <a:pt x="371" y="293"/>
                </a:lnTo>
                <a:lnTo>
                  <a:pt x="371" y="292"/>
                </a:lnTo>
                <a:lnTo>
                  <a:pt x="367" y="290"/>
                </a:lnTo>
                <a:lnTo>
                  <a:pt x="366" y="287"/>
                </a:lnTo>
                <a:lnTo>
                  <a:pt x="369" y="282"/>
                </a:lnTo>
                <a:lnTo>
                  <a:pt x="371" y="280"/>
                </a:lnTo>
                <a:lnTo>
                  <a:pt x="372" y="280"/>
                </a:lnTo>
                <a:lnTo>
                  <a:pt x="369" y="280"/>
                </a:lnTo>
                <a:lnTo>
                  <a:pt x="367" y="283"/>
                </a:lnTo>
                <a:lnTo>
                  <a:pt x="364" y="278"/>
                </a:lnTo>
                <a:lnTo>
                  <a:pt x="352" y="269"/>
                </a:lnTo>
                <a:lnTo>
                  <a:pt x="352" y="267"/>
                </a:lnTo>
                <a:lnTo>
                  <a:pt x="352" y="265"/>
                </a:lnTo>
                <a:lnTo>
                  <a:pt x="350" y="268"/>
                </a:lnTo>
                <a:lnTo>
                  <a:pt x="349" y="269"/>
                </a:lnTo>
                <a:lnTo>
                  <a:pt x="342" y="268"/>
                </a:lnTo>
                <a:lnTo>
                  <a:pt x="335" y="269"/>
                </a:lnTo>
                <a:lnTo>
                  <a:pt x="333" y="260"/>
                </a:lnTo>
                <a:lnTo>
                  <a:pt x="332" y="256"/>
                </a:lnTo>
                <a:lnTo>
                  <a:pt x="332" y="253"/>
                </a:lnTo>
                <a:lnTo>
                  <a:pt x="334" y="248"/>
                </a:lnTo>
                <a:lnTo>
                  <a:pt x="336" y="245"/>
                </a:lnTo>
                <a:lnTo>
                  <a:pt x="339" y="241"/>
                </a:lnTo>
                <a:lnTo>
                  <a:pt x="342" y="237"/>
                </a:lnTo>
                <a:lnTo>
                  <a:pt x="346" y="236"/>
                </a:lnTo>
                <a:lnTo>
                  <a:pt x="347" y="235"/>
                </a:lnTo>
                <a:lnTo>
                  <a:pt x="349" y="232"/>
                </a:lnTo>
                <a:lnTo>
                  <a:pt x="349" y="230"/>
                </a:lnTo>
                <a:lnTo>
                  <a:pt x="349" y="229"/>
                </a:lnTo>
                <a:lnTo>
                  <a:pt x="345" y="230"/>
                </a:lnTo>
                <a:lnTo>
                  <a:pt x="337" y="219"/>
                </a:lnTo>
                <a:lnTo>
                  <a:pt x="337" y="217"/>
                </a:lnTo>
                <a:lnTo>
                  <a:pt x="338" y="215"/>
                </a:lnTo>
                <a:lnTo>
                  <a:pt x="339" y="211"/>
                </a:lnTo>
                <a:lnTo>
                  <a:pt x="339" y="209"/>
                </a:lnTo>
                <a:lnTo>
                  <a:pt x="341" y="207"/>
                </a:lnTo>
                <a:lnTo>
                  <a:pt x="344" y="204"/>
                </a:lnTo>
                <a:lnTo>
                  <a:pt x="347" y="201"/>
                </a:lnTo>
                <a:lnTo>
                  <a:pt x="348" y="198"/>
                </a:lnTo>
                <a:lnTo>
                  <a:pt x="348" y="195"/>
                </a:lnTo>
                <a:lnTo>
                  <a:pt x="347" y="193"/>
                </a:lnTo>
                <a:lnTo>
                  <a:pt x="343" y="192"/>
                </a:lnTo>
                <a:lnTo>
                  <a:pt x="338" y="184"/>
                </a:lnTo>
                <a:lnTo>
                  <a:pt x="337" y="179"/>
                </a:lnTo>
                <a:lnTo>
                  <a:pt x="337" y="178"/>
                </a:lnTo>
                <a:lnTo>
                  <a:pt x="334" y="176"/>
                </a:lnTo>
                <a:lnTo>
                  <a:pt x="332" y="172"/>
                </a:lnTo>
                <a:lnTo>
                  <a:pt x="331" y="171"/>
                </a:lnTo>
                <a:lnTo>
                  <a:pt x="334" y="170"/>
                </a:lnTo>
                <a:lnTo>
                  <a:pt x="344" y="170"/>
                </a:lnTo>
                <a:lnTo>
                  <a:pt x="346" y="169"/>
                </a:lnTo>
                <a:lnTo>
                  <a:pt x="347" y="169"/>
                </a:lnTo>
                <a:lnTo>
                  <a:pt x="349" y="165"/>
                </a:lnTo>
                <a:lnTo>
                  <a:pt x="351" y="160"/>
                </a:lnTo>
                <a:lnTo>
                  <a:pt x="351" y="156"/>
                </a:lnTo>
                <a:lnTo>
                  <a:pt x="351" y="155"/>
                </a:lnTo>
                <a:lnTo>
                  <a:pt x="347" y="151"/>
                </a:lnTo>
                <a:lnTo>
                  <a:pt x="347" y="150"/>
                </a:lnTo>
                <a:lnTo>
                  <a:pt x="347" y="149"/>
                </a:lnTo>
                <a:lnTo>
                  <a:pt x="350" y="147"/>
                </a:lnTo>
                <a:lnTo>
                  <a:pt x="352" y="145"/>
                </a:lnTo>
                <a:lnTo>
                  <a:pt x="354" y="143"/>
                </a:lnTo>
                <a:lnTo>
                  <a:pt x="353" y="142"/>
                </a:lnTo>
                <a:lnTo>
                  <a:pt x="353" y="140"/>
                </a:lnTo>
                <a:lnTo>
                  <a:pt x="353" y="139"/>
                </a:lnTo>
                <a:lnTo>
                  <a:pt x="353" y="138"/>
                </a:lnTo>
                <a:lnTo>
                  <a:pt x="353" y="132"/>
                </a:lnTo>
                <a:lnTo>
                  <a:pt x="354" y="131"/>
                </a:lnTo>
                <a:lnTo>
                  <a:pt x="353" y="126"/>
                </a:lnTo>
                <a:lnTo>
                  <a:pt x="352" y="121"/>
                </a:lnTo>
                <a:lnTo>
                  <a:pt x="350" y="116"/>
                </a:lnTo>
                <a:lnTo>
                  <a:pt x="351" y="115"/>
                </a:lnTo>
                <a:lnTo>
                  <a:pt x="352" y="114"/>
                </a:lnTo>
                <a:lnTo>
                  <a:pt x="355" y="112"/>
                </a:lnTo>
                <a:lnTo>
                  <a:pt x="358" y="108"/>
                </a:lnTo>
                <a:lnTo>
                  <a:pt x="361" y="104"/>
                </a:lnTo>
                <a:lnTo>
                  <a:pt x="367" y="101"/>
                </a:lnTo>
                <a:lnTo>
                  <a:pt x="370" y="98"/>
                </a:lnTo>
                <a:lnTo>
                  <a:pt x="371" y="95"/>
                </a:lnTo>
                <a:lnTo>
                  <a:pt x="373" y="94"/>
                </a:lnTo>
                <a:lnTo>
                  <a:pt x="372" y="93"/>
                </a:lnTo>
                <a:lnTo>
                  <a:pt x="372" y="92"/>
                </a:lnTo>
                <a:lnTo>
                  <a:pt x="370" y="90"/>
                </a:lnTo>
                <a:lnTo>
                  <a:pt x="367" y="89"/>
                </a:lnTo>
                <a:lnTo>
                  <a:pt x="364" y="89"/>
                </a:lnTo>
                <a:lnTo>
                  <a:pt x="362" y="89"/>
                </a:lnTo>
                <a:lnTo>
                  <a:pt x="362" y="87"/>
                </a:lnTo>
                <a:lnTo>
                  <a:pt x="362" y="84"/>
                </a:lnTo>
                <a:lnTo>
                  <a:pt x="362" y="80"/>
                </a:lnTo>
                <a:lnTo>
                  <a:pt x="361" y="79"/>
                </a:lnTo>
                <a:lnTo>
                  <a:pt x="360" y="77"/>
                </a:lnTo>
                <a:lnTo>
                  <a:pt x="357" y="78"/>
                </a:lnTo>
                <a:lnTo>
                  <a:pt x="355" y="77"/>
                </a:lnTo>
                <a:lnTo>
                  <a:pt x="353" y="76"/>
                </a:lnTo>
                <a:lnTo>
                  <a:pt x="352" y="77"/>
                </a:lnTo>
                <a:lnTo>
                  <a:pt x="347" y="77"/>
                </a:lnTo>
                <a:lnTo>
                  <a:pt x="345" y="76"/>
                </a:lnTo>
                <a:lnTo>
                  <a:pt x="343" y="76"/>
                </a:lnTo>
                <a:lnTo>
                  <a:pt x="342" y="76"/>
                </a:lnTo>
                <a:lnTo>
                  <a:pt x="342" y="77"/>
                </a:lnTo>
                <a:lnTo>
                  <a:pt x="342" y="78"/>
                </a:lnTo>
                <a:lnTo>
                  <a:pt x="341" y="79"/>
                </a:lnTo>
                <a:lnTo>
                  <a:pt x="340" y="81"/>
                </a:lnTo>
                <a:lnTo>
                  <a:pt x="335" y="82"/>
                </a:lnTo>
                <a:lnTo>
                  <a:pt x="332" y="82"/>
                </a:lnTo>
                <a:lnTo>
                  <a:pt x="329" y="81"/>
                </a:lnTo>
                <a:lnTo>
                  <a:pt x="328" y="80"/>
                </a:lnTo>
                <a:lnTo>
                  <a:pt x="326" y="80"/>
                </a:lnTo>
                <a:lnTo>
                  <a:pt x="320" y="80"/>
                </a:lnTo>
                <a:lnTo>
                  <a:pt x="319" y="80"/>
                </a:lnTo>
                <a:lnTo>
                  <a:pt x="317" y="81"/>
                </a:lnTo>
                <a:lnTo>
                  <a:pt x="314" y="83"/>
                </a:lnTo>
                <a:lnTo>
                  <a:pt x="312" y="83"/>
                </a:lnTo>
                <a:lnTo>
                  <a:pt x="311" y="82"/>
                </a:lnTo>
                <a:lnTo>
                  <a:pt x="311" y="82"/>
                </a:lnTo>
                <a:lnTo>
                  <a:pt x="310" y="79"/>
                </a:lnTo>
                <a:lnTo>
                  <a:pt x="310" y="78"/>
                </a:lnTo>
                <a:lnTo>
                  <a:pt x="313" y="74"/>
                </a:lnTo>
                <a:lnTo>
                  <a:pt x="312" y="73"/>
                </a:lnTo>
                <a:lnTo>
                  <a:pt x="311" y="72"/>
                </a:lnTo>
                <a:lnTo>
                  <a:pt x="310" y="70"/>
                </a:lnTo>
                <a:lnTo>
                  <a:pt x="310" y="69"/>
                </a:lnTo>
                <a:lnTo>
                  <a:pt x="308" y="69"/>
                </a:lnTo>
                <a:lnTo>
                  <a:pt x="307" y="70"/>
                </a:lnTo>
                <a:lnTo>
                  <a:pt x="300" y="72"/>
                </a:lnTo>
                <a:lnTo>
                  <a:pt x="298" y="73"/>
                </a:lnTo>
                <a:lnTo>
                  <a:pt x="295" y="75"/>
                </a:lnTo>
                <a:lnTo>
                  <a:pt x="292" y="77"/>
                </a:lnTo>
                <a:lnTo>
                  <a:pt x="290" y="78"/>
                </a:lnTo>
                <a:lnTo>
                  <a:pt x="289" y="77"/>
                </a:lnTo>
                <a:lnTo>
                  <a:pt x="289" y="71"/>
                </a:lnTo>
                <a:lnTo>
                  <a:pt x="293" y="66"/>
                </a:lnTo>
                <a:lnTo>
                  <a:pt x="295" y="63"/>
                </a:lnTo>
                <a:lnTo>
                  <a:pt x="294" y="63"/>
                </a:lnTo>
                <a:lnTo>
                  <a:pt x="291" y="63"/>
                </a:lnTo>
                <a:lnTo>
                  <a:pt x="291" y="61"/>
                </a:lnTo>
                <a:lnTo>
                  <a:pt x="293" y="60"/>
                </a:lnTo>
                <a:lnTo>
                  <a:pt x="294" y="58"/>
                </a:lnTo>
                <a:lnTo>
                  <a:pt x="293" y="57"/>
                </a:lnTo>
                <a:lnTo>
                  <a:pt x="291" y="55"/>
                </a:lnTo>
                <a:lnTo>
                  <a:pt x="291" y="51"/>
                </a:lnTo>
                <a:lnTo>
                  <a:pt x="292" y="50"/>
                </a:lnTo>
                <a:lnTo>
                  <a:pt x="291" y="48"/>
                </a:lnTo>
                <a:lnTo>
                  <a:pt x="286" y="50"/>
                </a:lnTo>
                <a:lnTo>
                  <a:pt x="285" y="50"/>
                </a:lnTo>
                <a:lnTo>
                  <a:pt x="284" y="47"/>
                </a:lnTo>
                <a:lnTo>
                  <a:pt x="287" y="43"/>
                </a:lnTo>
                <a:lnTo>
                  <a:pt x="288" y="41"/>
                </a:lnTo>
                <a:lnTo>
                  <a:pt x="284" y="41"/>
                </a:lnTo>
                <a:lnTo>
                  <a:pt x="282" y="39"/>
                </a:lnTo>
                <a:lnTo>
                  <a:pt x="280" y="37"/>
                </a:lnTo>
                <a:lnTo>
                  <a:pt x="278" y="34"/>
                </a:lnTo>
                <a:lnTo>
                  <a:pt x="278" y="31"/>
                </a:lnTo>
                <a:lnTo>
                  <a:pt x="280" y="25"/>
                </a:lnTo>
                <a:lnTo>
                  <a:pt x="283" y="24"/>
                </a:lnTo>
                <a:lnTo>
                  <a:pt x="285" y="23"/>
                </a:lnTo>
                <a:lnTo>
                  <a:pt x="290" y="19"/>
                </a:lnTo>
                <a:lnTo>
                  <a:pt x="296" y="19"/>
                </a:lnTo>
                <a:lnTo>
                  <a:pt x="300" y="18"/>
                </a:lnTo>
                <a:lnTo>
                  <a:pt x="304" y="16"/>
                </a:lnTo>
                <a:lnTo>
                  <a:pt x="306" y="16"/>
                </a:lnTo>
                <a:lnTo>
                  <a:pt x="309" y="14"/>
                </a:lnTo>
                <a:lnTo>
                  <a:pt x="309" y="12"/>
                </a:lnTo>
                <a:lnTo>
                  <a:pt x="308" y="10"/>
                </a:lnTo>
                <a:lnTo>
                  <a:pt x="309" y="8"/>
                </a:lnTo>
                <a:lnTo>
                  <a:pt x="312" y="6"/>
                </a:lnTo>
                <a:lnTo>
                  <a:pt x="317" y="3"/>
                </a:lnTo>
                <a:lnTo>
                  <a:pt x="321" y="3"/>
                </a:lnTo>
                <a:lnTo>
                  <a:pt x="326" y="0"/>
                </a:lnTo>
                <a:lnTo>
                  <a:pt x="329" y="2"/>
                </a:lnTo>
                <a:lnTo>
                  <a:pt x="332" y="1"/>
                </a:lnTo>
                <a:lnTo>
                  <a:pt x="335" y="3"/>
                </a:lnTo>
                <a:lnTo>
                  <a:pt x="340" y="7"/>
                </a:lnTo>
                <a:lnTo>
                  <a:pt x="346" y="9"/>
                </a:lnTo>
                <a:lnTo>
                  <a:pt x="351" y="8"/>
                </a:lnTo>
                <a:lnTo>
                  <a:pt x="360" y="7"/>
                </a:lnTo>
                <a:lnTo>
                  <a:pt x="364" y="8"/>
                </a:lnTo>
                <a:lnTo>
                  <a:pt x="372" y="7"/>
                </a:lnTo>
                <a:lnTo>
                  <a:pt x="377" y="7"/>
                </a:lnTo>
                <a:lnTo>
                  <a:pt x="384" y="5"/>
                </a:lnTo>
                <a:lnTo>
                  <a:pt x="389" y="8"/>
                </a:lnTo>
                <a:lnTo>
                  <a:pt x="400" y="9"/>
                </a:lnTo>
                <a:lnTo>
                  <a:pt x="407" y="11"/>
                </a:lnTo>
                <a:lnTo>
                  <a:pt x="425" y="15"/>
                </a:lnTo>
                <a:lnTo>
                  <a:pt x="432" y="15"/>
                </a:lnTo>
                <a:lnTo>
                  <a:pt x="441" y="13"/>
                </a:lnTo>
                <a:lnTo>
                  <a:pt x="445" y="11"/>
                </a:lnTo>
                <a:lnTo>
                  <a:pt x="448" y="12"/>
                </a:lnTo>
                <a:lnTo>
                  <a:pt x="454" y="11"/>
                </a:lnTo>
                <a:lnTo>
                  <a:pt x="456" y="11"/>
                </a:lnTo>
                <a:lnTo>
                  <a:pt x="460" y="13"/>
                </a:lnTo>
                <a:lnTo>
                  <a:pt x="471" y="17"/>
                </a:lnTo>
                <a:lnTo>
                  <a:pt x="474" y="14"/>
                </a:lnTo>
                <a:lnTo>
                  <a:pt x="477" y="13"/>
                </a:lnTo>
                <a:lnTo>
                  <a:pt x="485" y="15"/>
                </a:lnTo>
                <a:lnTo>
                  <a:pt x="493" y="19"/>
                </a:lnTo>
                <a:lnTo>
                  <a:pt x="498" y="19"/>
                </a:lnTo>
                <a:lnTo>
                  <a:pt x="504" y="18"/>
                </a:lnTo>
                <a:lnTo>
                  <a:pt x="509" y="16"/>
                </a:lnTo>
                <a:lnTo>
                  <a:pt x="510" y="15"/>
                </a:lnTo>
                <a:close/>
                <a:moveTo>
                  <a:pt x="700" y="164"/>
                </a:moveTo>
                <a:lnTo>
                  <a:pt x="700" y="164"/>
                </a:lnTo>
                <a:lnTo>
                  <a:pt x="699" y="164"/>
                </a:lnTo>
                <a:lnTo>
                  <a:pt x="690" y="159"/>
                </a:lnTo>
                <a:lnTo>
                  <a:pt x="687" y="159"/>
                </a:lnTo>
                <a:lnTo>
                  <a:pt x="686" y="158"/>
                </a:lnTo>
                <a:lnTo>
                  <a:pt x="686" y="156"/>
                </a:lnTo>
                <a:lnTo>
                  <a:pt x="686" y="155"/>
                </a:lnTo>
                <a:lnTo>
                  <a:pt x="693" y="154"/>
                </a:lnTo>
                <a:lnTo>
                  <a:pt x="698" y="156"/>
                </a:lnTo>
                <a:lnTo>
                  <a:pt x="701" y="160"/>
                </a:lnTo>
                <a:lnTo>
                  <a:pt x="701" y="161"/>
                </a:lnTo>
                <a:lnTo>
                  <a:pt x="700" y="164"/>
                </a:lnTo>
                <a:close/>
                <a:moveTo>
                  <a:pt x="664" y="166"/>
                </a:moveTo>
                <a:lnTo>
                  <a:pt x="664" y="166"/>
                </a:lnTo>
                <a:lnTo>
                  <a:pt x="667" y="167"/>
                </a:lnTo>
                <a:lnTo>
                  <a:pt x="670" y="166"/>
                </a:lnTo>
                <a:lnTo>
                  <a:pt x="672" y="166"/>
                </a:lnTo>
                <a:lnTo>
                  <a:pt x="674" y="167"/>
                </a:lnTo>
                <a:lnTo>
                  <a:pt x="674" y="169"/>
                </a:lnTo>
                <a:lnTo>
                  <a:pt x="673" y="172"/>
                </a:lnTo>
                <a:lnTo>
                  <a:pt x="671" y="175"/>
                </a:lnTo>
                <a:lnTo>
                  <a:pt x="669" y="178"/>
                </a:lnTo>
                <a:lnTo>
                  <a:pt x="667" y="182"/>
                </a:lnTo>
                <a:lnTo>
                  <a:pt x="665" y="184"/>
                </a:lnTo>
                <a:lnTo>
                  <a:pt x="662" y="185"/>
                </a:lnTo>
                <a:lnTo>
                  <a:pt x="657" y="183"/>
                </a:lnTo>
                <a:lnTo>
                  <a:pt x="653" y="182"/>
                </a:lnTo>
                <a:lnTo>
                  <a:pt x="653" y="181"/>
                </a:lnTo>
                <a:lnTo>
                  <a:pt x="652" y="177"/>
                </a:lnTo>
                <a:lnTo>
                  <a:pt x="650" y="176"/>
                </a:lnTo>
                <a:lnTo>
                  <a:pt x="648" y="175"/>
                </a:lnTo>
                <a:lnTo>
                  <a:pt x="646" y="176"/>
                </a:lnTo>
                <a:lnTo>
                  <a:pt x="644" y="178"/>
                </a:lnTo>
                <a:lnTo>
                  <a:pt x="643" y="176"/>
                </a:lnTo>
                <a:lnTo>
                  <a:pt x="641" y="176"/>
                </a:lnTo>
                <a:lnTo>
                  <a:pt x="640" y="174"/>
                </a:lnTo>
                <a:lnTo>
                  <a:pt x="640" y="173"/>
                </a:lnTo>
                <a:lnTo>
                  <a:pt x="653" y="163"/>
                </a:lnTo>
                <a:lnTo>
                  <a:pt x="657" y="161"/>
                </a:lnTo>
                <a:lnTo>
                  <a:pt x="665" y="158"/>
                </a:lnTo>
                <a:lnTo>
                  <a:pt x="666" y="159"/>
                </a:lnTo>
                <a:lnTo>
                  <a:pt x="665" y="160"/>
                </a:lnTo>
                <a:lnTo>
                  <a:pt x="665" y="161"/>
                </a:lnTo>
                <a:lnTo>
                  <a:pt x="666" y="162"/>
                </a:lnTo>
                <a:lnTo>
                  <a:pt x="666" y="163"/>
                </a:lnTo>
                <a:lnTo>
                  <a:pt x="665" y="164"/>
                </a:lnTo>
                <a:lnTo>
                  <a:pt x="664" y="166"/>
                </a:lnTo>
                <a:close/>
                <a:moveTo>
                  <a:pt x="611" y="201"/>
                </a:moveTo>
                <a:lnTo>
                  <a:pt x="611" y="201"/>
                </a:lnTo>
                <a:lnTo>
                  <a:pt x="610" y="203"/>
                </a:lnTo>
                <a:lnTo>
                  <a:pt x="605" y="202"/>
                </a:lnTo>
                <a:lnTo>
                  <a:pt x="604" y="201"/>
                </a:lnTo>
                <a:lnTo>
                  <a:pt x="605" y="198"/>
                </a:lnTo>
                <a:lnTo>
                  <a:pt x="607" y="198"/>
                </a:lnTo>
                <a:lnTo>
                  <a:pt x="607" y="196"/>
                </a:lnTo>
                <a:lnTo>
                  <a:pt x="608" y="194"/>
                </a:lnTo>
                <a:lnTo>
                  <a:pt x="615" y="193"/>
                </a:lnTo>
                <a:lnTo>
                  <a:pt x="616" y="194"/>
                </a:lnTo>
                <a:lnTo>
                  <a:pt x="617" y="196"/>
                </a:lnTo>
                <a:lnTo>
                  <a:pt x="613" y="200"/>
                </a:lnTo>
                <a:lnTo>
                  <a:pt x="611" y="201"/>
                </a:lnTo>
                <a:close/>
                <a:moveTo>
                  <a:pt x="616" y="210"/>
                </a:moveTo>
                <a:lnTo>
                  <a:pt x="616" y="210"/>
                </a:lnTo>
                <a:lnTo>
                  <a:pt x="615" y="211"/>
                </a:lnTo>
                <a:lnTo>
                  <a:pt x="613" y="210"/>
                </a:lnTo>
                <a:lnTo>
                  <a:pt x="610" y="210"/>
                </a:lnTo>
                <a:lnTo>
                  <a:pt x="610" y="209"/>
                </a:lnTo>
                <a:lnTo>
                  <a:pt x="610" y="208"/>
                </a:lnTo>
                <a:lnTo>
                  <a:pt x="611" y="207"/>
                </a:lnTo>
                <a:lnTo>
                  <a:pt x="613" y="209"/>
                </a:lnTo>
                <a:lnTo>
                  <a:pt x="616" y="209"/>
                </a:lnTo>
                <a:lnTo>
                  <a:pt x="616" y="210"/>
                </a:lnTo>
                <a:close/>
                <a:moveTo>
                  <a:pt x="138" y="576"/>
                </a:moveTo>
                <a:lnTo>
                  <a:pt x="138" y="576"/>
                </a:lnTo>
                <a:lnTo>
                  <a:pt x="136" y="578"/>
                </a:lnTo>
                <a:lnTo>
                  <a:pt x="134" y="577"/>
                </a:lnTo>
                <a:lnTo>
                  <a:pt x="135" y="572"/>
                </a:lnTo>
                <a:lnTo>
                  <a:pt x="136" y="571"/>
                </a:lnTo>
                <a:lnTo>
                  <a:pt x="140" y="568"/>
                </a:lnTo>
                <a:lnTo>
                  <a:pt x="144" y="568"/>
                </a:lnTo>
                <a:lnTo>
                  <a:pt x="145" y="565"/>
                </a:lnTo>
                <a:lnTo>
                  <a:pt x="146" y="564"/>
                </a:lnTo>
                <a:lnTo>
                  <a:pt x="148" y="566"/>
                </a:lnTo>
                <a:lnTo>
                  <a:pt x="147" y="567"/>
                </a:lnTo>
                <a:lnTo>
                  <a:pt x="146" y="572"/>
                </a:lnTo>
                <a:lnTo>
                  <a:pt x="143" y="574"/>
                </a:lnTo>
                <a:lnTo>
                  <a:pt x="138" y="576"/>
                </a:lnTo>
                <a:close/>
                <a:moveTo>
                  <a:pt x="10" y="591"/>
                </a:moveTo>
                <a:lnTo>
                  <a:pt x="10" y="591"/>
                </a:lnTo>
                <a:lnTo>
                  <a:pt x="9" y="591"/>
                </a:lnTo>
                <a:lnTo>
                  <a:pt x="9" y="588"/>
                </a:lnTo>
                <a:lnTo>
                  <a:pt x="5" y="581"/>
                </a:lnTo>
                <a:lnTo>
                  <a:pt x="7" y="578"/>
                </a:lnTo>
                <a:lnTo>
                  <a:pt x="11" y="578"/>
                </a:lnTo>
                <a:lnTo>
                  <a:pt x="13" y="580"/>
                </a:lnTo>
                <a:lnTo>
                  <a:pt x="13" y="582"/>
                </a:lnTo>
                <a:lnTo>
                  <a:pt x="13" y="584"/>
                </a:lnTo>
                <a:lnTo>
                  <a:pt x="13" y="586"/>
                </a:lnTo>
                <a:lnTo>
                  <a:pt x="12" y="588"/>
                </a:lnTo>
                <a:lnTo>
                  <a:pt x="10" y="591"/>
                </a:lnTo>
                <a:close/>
                <a:moveTo>
                  <a:pt x="123" y="602"/>
                </a:moveTo>
                <a:lnTo>
                  <a:pt x="123" y="602"/>
                </a:lnTo>
                <a:lnTo>
                  <a:pt x="119" y="606"/>
                </a:lnTo>
                <a:lnTo>
                  <a:pt x="115" y="605"/>
                </a:lnTo>
                <a:lnTo>
                  <a:pt x="114" y="604"/>
                </a:lnTo>
                <a:lnTo>
                  <a:pt x="118" y="603"/>
                </a:lnTo>
                <a:lnTo>
                  <a:pt x="122" y="600"/>
                </a:lnTo>
                <a:lnTo>
                  <a:pt x="125" y="594"/>
                </a:lnTo>
                <a:lnTo>
                  <a:pt x="129" y="586"/>
                </a:lnTo>
                <a:lnTo>
                  <a:pt x="129" y="583"/>
                </a:lnTo>
                <a:lnTo>
                  <a:pt x="131" y="582"/>
                </a:lnTo>
                <a:lnTo>
                  <a:pt x="133" y="582"/>
                </a:lnTo>
                <a:lnTo>
                  <a:pt x="134" y="582"/>
                </a:lnTo>
                <a:lnTo>
                  <a:pt x="135" y="584"/>
                </a:lnTo>
                <a:lnTo>
                  <a:pt x="135" y="587"/>
                </a:lnTo>
                <a:lnTo>
                  <a:pt x="134" y="594"/>
                </a:lnTo>
                <a:lnTo>
                  <a:pt x="132" y="599"/>
                </a:lnTo>
                <a:lnTo>
                  <a:pt x="123" y="602"/>
                </a:lnTo>
                <a:close/>
                <a:moveTo>
                  <a:pt x="57" y="595"/>
                </a:moveTo>
                <a:lnTo>
                  <a:pt x="57" y="595"/>
                </a:lnTo>
                <a:lnTo>
                  <a:pt x="54" y="603"/>
                </a:lnTo>
                <a:lnTo>
                  <a:pt x="52" y="606"/>
                </a:lnTo>
                <a:lnTo>
                  <a:pt x="50" y="607"/>
                </a:lnTo>
                <a:lnTo>
                  <a:pt x="47" y="608"/>
                </a:lnTo>
                <a:lnTo>
                  <a:pt x="42" y="603"/>
                </a:lnTo>
                <a:lnTo>
                  <a:pt x="40" y="598"/>
                </a:lnTo>
                <a:lnTo>
                  <a:pt x="39" y="596"/>
                </a:lnTo>
                <a:lnTo>
                  <a:pt x="41" y="595"/>
                </a:lnTo>
                <a:lnTo>
                  <a:pt x="44" y="595"/>
                </a:lnTo>
                <a:lnTo>
                  <a:pt x="50" y="594"/>
                </a:lnTo>
                <a:lnTo>
                  <a:pt x="51" y="593"/>
                </a:lnTo>
                <a:lnTo>
                  <a:pt x="57" y="588"/>
                </a:lnTo>
                <a:lnTo>
                  <a:pt x="63" y="588"/>
                </a:lnTo>
                <a:lnTo>
                  <a:pt x="63" y="589"/>
                </a:lnTo>
                <a:lnTo>
                  <a:pt x="57" y="595"/>
                </a:lnTo>
                <a:close/>
                <a:moveTo>
                  <a:pt x="30" y="607"/>
                </a:moveTo>
                <a:lnTo>
                  <a:pt x="30" y="607"/>
                </a:lnTo>
                <a:lnTo>
                  <a:pt x="29" y="608"/>
                </a:lnTo>
                <a:lnTo>
                  <a:pt x="27" y="607"/>
                </a:lnTo>
                <a:lnTo>
                  <a:pt x="26" y="604"/>
                </a:lnTo>
                <a:lnTo>
                  <a:pt x="27" y="602"/>
                </a:lnTo>
                <a:lnTo>
                  <a:pt x="28" y="601"/>
                </a:lnTo>
                <a:lnTo>
                  <a:pt x="29" y="601"/>
                </a:lnTo>
                <a:lnTo>
                  <a:pt x="32" y="603"/>
                </a:lnTo>
                <a:lnTo>
                  <a:pt x="33" y="604"/>
                </a:lnTo>
                <a:lnTo>
                  <a:pt x="33" y="605"/>
                </a:lnTo>
                <a:lnTo>
                  <a:pt x="30" y="607"/>
                </a:lnTo>
                <a:close/>
                <a:moveTo>
                  <a:pt x="86" y="603"/>
                </a:moveTo>
                <a:lnTo>
                  <a:pt x="86" y="603"/>
                </a:lnTo>
                <a:lnTo>
                  <a:pt x="86" y="605"/>
                </a:lnTo>
                <a:lnTo>
                  <a:pt x="86" y="608"/>
                </a:lnTo>
                <a:lnTo>
                  <a:pt x="86" y="612"/>
                </a:lnTo>
                <a:lnTo>
                  <a:pt x="85" y="615"/>
                </a:lnTo>
                <a:lnTo>
                  <a:pt x="81" y="617"/>
                </a:lnTo>
                <a:lnTo>
                  <a:pt x="78" y="616"/>
                </a:lnTo>
                <a:lnTo>
                  <a:pt x="76" y="616"/>
                </a:lnTo>
                <a:lnTo>
                  <a:pt x="73" y="612"/>
                </a:lnTo>
                <a:lnTo>
                  <a:pt x="73" y="608"/>
                </a:lnTo>
                <a:lnTo>
                  <a:pt x="76" y="606"/>
                </a:lnTo>
                <a:lnTo>
                  <a:pt x="77" y="603"/>
                </a:lnTo>
                <a:lnTo>
                  <a:pt x="84" y="603"/>
                </a:lnTo>
                <a:lnTo>
                  <a:pt x="85" y="603"/>
                </a:lnTo>
                <a:lnTo>
                  <a:pt x="85" y="602"/>
                </a:lnTo>
                <a:lnTo>
                  <a:pt x="86" y="603"/>
                </a:lnTo>
                <a:close/>
                <a:moveTo>
                  <a:pt x="8" y="615"/>
                </a:moveTo>
                <a:lnTo>
                  <a:pt x="8" y="615"/>
                </a:lnTo>
                <a:lnTo>
                  <a:pt x="5" y="620"/>
                </a:lnTo>
                <a:lnTo>
                  <a:pt x="2" y="618"/>
                </a:lnTo>
                <a:lnTo>
                  <a:pt x="1" y="618"/>
                </a:lnTo>
                <a:lnTo>
                  <a:pt x="0" y="616"/>
                </a:lnTo>
                <a:lnTo>
                  <a:pt x="3" y="616"/>
                </a:lnTo>
                <a:lnTo>
                  <a:pt x="7" y="613"/>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pic>
        <p:nvPicPr>
          <p:cNvPr id="533" name="Graphic 532" descr="Pin">
            <a:extLst>
              <a:ext uri="{FF2B5EF4-FFF2-40B4-BE49-F238E27FC236}">
                <a16:creationId xmlns:a16="http://schemas.microsoft.com/office/drawing/2014/main" id="{D4FF5E39-20AB-48DA-A342-8EF2592636D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7958689" y="3774419"/>
            <a:ext cx="350805" cy="350805"/>
          </a:xfrm>
          <a:prstGeom prst="rect">
            <a:avLst/>
          </a:prstGeom>
          <a:effectLst>
            <a:outerShdw blurRad="76200" dir="13500000" sy="23000" kx="1200000" algn="br" rotWithShape="0">
              <a:prstClr val="black">
                <a:alpha val="20000"/>
              </a:prstClr>
            </a:outerShdw>
          </a:effectLst>
        </p:spPr>
      </p:pic>
      <p:pic>
        <p:nvPicPr>
          <p:cNvPr id="534" name="Graphic 533" descr="Pin">
            <a:extLst>
              <a:ext uri="{FF2B5EF4-FFF2-40B4-BE49-F238E27FC236}">
                <a16:creationId xmlns:a16="http://schemas.microsoft.com/office/drawing/2014/main" id="{F7767607-E163-48C6-9487-33A074FD871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9121299" y="4428111"/>
            <a:ext cx="350805" cy="350805"/>
          </a:xfrm>
          <a:prstGeom prst="rect">
            <a:avLst/>
          </a:prstGeom>
          <a:effectLst>
            <a:outerShdw blurRad="76200" dir="13500000" sy="23000" kx="1200000" algn="br" rotWithShape="0">
              <a:prstClr val="black">
                <a:alpha val="20000"/>
              </a:prstClr>
            </a:outerShdw>
          </a:effectLst>
        </p:spPr>
      </p:pic>
      <p:pic>
        <p:nvPicPr>
          <p:cNvPr id="535" name="Graphic 534" descr="Pin">
            <a:extLst>
              <a:ext uri="{FF2B5EF4-FFF2-40B4-BE49-F238E27FC236}">
                <a16:creationId xmlns:a16="http://schemas.microsoft.com/office/drawing/2014/main" id="{652A79D8-1FC4-406A-B639-81A1ECCC8EB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8098042" y="4249965"/>
            <a:ext cx="350805" cy="350805"/>
          </a:xfrm>
          <a:prstGeom prst="rect">
            <a:avLst/>
          </a:prstGeom>
          <a:effectLst>
            <a:outerShdw blurRad="76200" dir="13500000" sy="23000" kx="1200000" algn="br" rotWithShape="0">
              <a:prstClr val="black">
                <a:alpha val="20000"/>
              </a:prstClr>
            </a:outerShdw>
          </a:effectLst>
        </p:spPr>
      </p:pic>
      <p:pic>
        <p:nvPicPr>
          <p:cNvPr id="536" name="Graphic 535" descr="Pin">
            <a:extLst>
              <a:ext uri="{FF2B5EF4-FFF2-40B4-BE49-F238E27FC236}">
                <a16:creationId xmlns:a16="http://schemas.microsoft.com/office/drawing/2014/main" id="{C5A67A0A-7A86-480D-A2C5-5CB455903A5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8701786" y="4002997"/>
            <a:ext cx="350805" cy="350805"/>
          </a:xfrm>
          <a:prstGeom prst="rect">
            <a:avLst/>
          </a:prstGeom>
          <a:effectLst>
            <a:outerShdw blurRad="76200" dir="13500000" sy="23000" kx="1200000" algn="br" rotWithShape="0">
              <a:prstClr val="black">
                <a:alpha val="20000"/>
              </a:prstClr>
            </a:outerShdw>
          </a:effectLst>
        </p:spPr>
      </p:pic>
      <p:pic>
        <p:nvPicPr>
          <p:cNvPr id="537" name="Graphic 536" descr="Pin">
            <a:extLst>
              <a:ext uri="{FF2B5EF4-FFF2-40B4-BE49-F238E27FC236}">
                <a16:creationId xmlns:a16="http://schemas.microsoft.com/office/drawing/2014/main" id="{F541DC7A-B578-4FCB-8C76-78256FE384D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8842265" y="3789570"/>
            <a:ext cx="350805" cy="350805"/>
          </a:xfrm>
          <a:prstGeom prst="rect">
            <a:avLst/>
          </a:prstGeom>
          <a:effectLst>
            <a:outerShdw blurRad="76200" dir="13500000" sy="23000" kx="1200000" algn="br" rotWithShape="0">
              <a:prstClr val="black">
                <a:alpha val="20000"/>
              </a:prstClr>
            </a:outerShdw>
          </a:effectLst>
        </p:spPr>
      </p:pic>
      <p:pic>
        <p:nvPicPr>
          <p:cNvPr id="538" name="Graphic 537" descr="Pin">
            <a:extLst>
              <a:ext uri="{FF2B5EF4-FFF2-40B4-BE49-F238E27FC236}">
                <a16:creationId xmlns:a16="http://schemas.microsoft.com/office/drawing/2014/main" id="{1ACB82C9-AF6D-426F-9D9E-6A1D800AE96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6300482" y="5156985"/>
            <a:ext cx="350805" cy="350805"/>
          </a:xfrm>
          <a:prstGeom prst="rect">
            <a:avLst/>
          </a:prstGeom>
          <a:effectLst>
            <a:outerShdw blurRad="76200" dir="13500000" sy="23000" kx="1200000" algn="br" rotWithShape="0">
              <a:prstClr val="black">
                <a:alpha val="20000"/>
              </a:prstClr>
            </a:outerShdw>
          </a:effectLst>
        </p:spPr>
      </p:pic>
      <p:sp>
        <p:nvSpPr>
          <p:cNvPr id="540" name="TextBox 539">
            <a:extLst>
              <a:ext uri="{FF2B5EF4-FFF2-40B4-BE49-F238E27FC236}">
                <a16:creationId xmlns:a16="http://schemas.microsoft.com/office/drawing/2014/main" id="{22EC95E8-D7DA-4598-8CAF-D92CDBFB9085}"/>
              </a:ext>
            </a:extLst>
          </p:cNvPr>
          <p:cNvSpPr txBox="1"/>
          <p:nvPr/>
        </p:nvSpPr>
        <p:spPr>
          <a:xfrm>
            <a:off x="4860267" y="4402047"/>
            <a:ext cx="1371492" cy="253916"/>
          </a:xfrm>
          <a:prstGeom prst="rect">
            <a:avLst/>
          </a:prstGeom>
          <a:noFill/>
        </p:spPr>
        <p:txBody>
          <a:bodyPr wrap="square" rtlCol="0">
            <a:spAutoFit/>
          </a:bodyPr>
          <a:lstStyle/>
          <a:p>
            <a:pPr algn="ctr"/>
            <a:r>
              <a:rPr lang="en-US" sz="1050" b="1" dirty="0">
                <a:latin typeface="Century Gothic" panose="020B0502020202020204" pitchFamily="34" charset="0"/>
              </a:rPr>
              <a:t>BOTSWANA</a:t>
            </a:r>
          </a:p>
        </p:txBody>
      </p:sp>
      <p:sp>
        <p:nvSpPr>
          <p:cNvPr id="542" name="TextBox 541">
            <a:extLst>
              <a:ext uri="{FF2B5EF4-FFF2-40B4-BE49-F238E27FC236}">
                <a16:creationId xmlns:a16="http://schemas.microsoft.com/office/drawing/2014/main" id="{E0B8F774-32E2-4CFC-883C-EA450D711ECD}"/>
              </a:ext>
            </a:extLst>
          </p:cNvPr>
          <p:cNvSpPr txBox="1"/>
          <p:nvPr/>
        </p:nvSpPr>
        <p:spPr>
          <a:xfrm>
            <a:off x="6828095" y="3121824"/>
            <a:ext cx="1138711" cy="253916"/>
          </a:xfrm>
          <a:prstGeom prst="rect">
            <a:avLst/>
          </a:prstGeom>
          <a:noFill/>
        </p:spPr>
        <p:txBody>
          <a:bodyPr wrap="square" rtlCol="0">
            <a:spAutoFit/>
          </a:bodyPr>
          <a:lstStyle/>
          <a:p>
            <a:pPr algn="ctr"/>
            <a:r>
              <a:rPr lang="en-US" sz="1050" b="1" dirty="0">
                <a:latin typeface="Century Gothic" panose="020B0502020202020204" pitchFamily="34" charset="0"/>
              </a:rPr>
              <a:t>INDIA</a:t>
            </a:r>
          </a:p>
        </p:txBody>
      </p:sp>
      <p:sp>
        <p:nvSpPr>
          <p:cNvPr id="543" name="TextBox 542">
            <a:extLst>
              <a:ext uri="{FF2B5EF4-FFF2-40B4-BE49-F238E27FC236}">
                <a16:creationId xmlns:a16="http://schemas.microsoft.com/office/drawing/2014/main" id="{6A392C7B-91B4-47D2-9376-ED859BAF1870}"/>
              </a:ext>
            </a:extLst>
          </p:cNvPr>
          <p:cNvSpPr txBox="1"/>
          <p:nvPr/>
        </p:nvSpPr>
        <p:spPr>
          <a:xfrm>
            <a:off x="6869251" y="3534389"/>
            <a:ext cx="1138711" cy="253916"/>
          </a:xfrm>
          <a:prstGeom prst="rect">
            <a:avLst/>
          </a:prstGeom>
          <a:noFill/>
        </p:spPr>
        <p:txBody>
          <a:bodyPr wrap="square" rtlCol="0">
            <a:spAutoFit/>
          </a:bodyPr>
          <a:lstStyle/>
          <a:p>
            <a:pPr algn="ctr"/>
            <a:r>
              <a:rPr lang="en-US" sz="1050" b="1" dirty="0">
                <a:latin typeface="Century Gothic" panose="020B0502020202020204" pitchFamily="34" charset="0"/>
              </a:rPr>
              <a:t>SRILANKA</a:t>
            </a:r>
          </a:p>
        </p:txBody>
      </p:sp>
      <p:sp>
        <p:nvSpPr>
          <p:cNvPr id="544" name="TextBox 543">
            <a:extLst>
              <a:ext uri="{FF2B5EF4-FFF2-40B4-BE49-F238E27FC236}">
                <a16:creationId xmlns:a16="http://schemas.microsoft.com/office/drawing/2014/main" id="{4F235FC3-E874-4177-8AB9-287098FC3129}"/>
              </a:ext>
            </a:extLst>
          </p:cNvPr>
          <p:cNvSpPr txBox="1"/>
          <p:nvPr/>
        </p:nvSpPr>
        <p:spPr>
          <a:xfrm>
            <a:off x="9440718" y="3219575"/>
            <a:ext cx="1138711" cy="253916"/>
          </a:xfrm>
          <a:prstGeom prst="rect">
            <a:avLst/>
          </a:prstGeom>
          <a:noFill/>
        </p:spPr>
        <p:txBody>
          <a:bodyPr wrap="square" rtlCol="0">
            <a:spAutoFit/>
          </a:bodyPr>
          <a:lstStyle/>
          <a:p>
            <a:pPr algn="ctr"/>
            <a:r>
              <a:rPr lang="en-US" sz="1050" b="1" dirty="0">
                <a:latin typeface="Century Gothic" panose="020B0502020202020204" pitchFamily="34" charset="0"/>
              </a:rPr>
              <a:t>MALAYSIA</a:t>
            </a:r>
          </a:p>
        </p:txBody>
      </p:sp>
      <p:sp>
        <p:nvSpPr>
          <p:cNvPr id="545" name="TextBox 544">
            <a:extLst>
              <a:ext uri="{FF2B5EF4-FFF2-40B4-BE49-F238E27FC236}">
                <a16:creationId xmlns:a16="http://schemas.microsoft.com/office/drawing/2014/main" id="{C2287CEC-09E7-4030-841D-BC799BA43520}"/>
              </a:ext>
            </a:extLst>
          </p:cNvPr>
          <p:cNvSpPr txBox="1"/>
          <p:nvPr/>
        </p:nvSpPr>
        <p:spPr>
          <a:xfrm>
            <a:off x="8900046" y="2807851"/>
            <a:ext cx="1138711" cy="253916"/>
          </a:xfrm>
          <a:prstGeom prst="rect">
            <a:avLst/>
          </a:prstGeom>
          <a:noFill/>
        </p:spPr>
        <p:txBody>
          <a:bodyPr wrap="square" rtlCol="0">
            <a:spAutoFit/>
          </a:bodyPr>
          <a:lstStyle/>
          <a:p>
            <a:pPr algn="ctr"/>
            <a:r>
              <a:rPr lang="en-US" sz="1050" b="1" dirty="0">
                <a:latin typeface="Century Gothic" panose="020B0502020202020204" pitchFamily="34" charset="0"/>
              </a:rPr>
              <a:t>THAILAND</a:t>
            </a:r>
          </a:p>
        </p:txBody>
      </p:sp>
      <p:sp>
        <p:nvSpPr>
          <p:cNvPr id="546" name="TextBox 545">
            <a:extLst>
              <a:ext uri="{FF2B5EF4-FFF2-40B4-BE49-F238E27FC236}">
                <a16:creationId xmlns:a16="http://schemas.microsoft.com/office/drawing/2014/main" id="{439769CC-7A56-45E8-80EA-21033B593EBF}"/>
              </a:ext>
            </a:extLst>
          </p:cNvPr>
          <p:cNvSpPr txBox="1"/>
          <p:nvPr/>
        </p:nvSpPr>
        <p:spPr>
          <a:xfrm>
            <a:off x="7496458" y="2873163"/>
            <a:ext cx="1138711" cy="253916"/>
          </a:xfrm>
          <a:prstGeom prst="rect">
            <a:avLst/>
          </a:prstGeom>
          <a:noFill/>
        </p:spPr>
        <p:txBody>
          <a:bodyPr wrap="square" rtlCol="0">
            <a:spAutoFit/>
          </a:bodyPr>
          <a:lstStyle/>
          <a:p>
            <a:pPr algn="ctr"/>
            <a:r>
              <a:rPr lang="en-US" sz="1050" b="1" dirty="0">
                <a:latin typeface="Century Gothic" panose="020B0502020202020204" pitchFamily="34" charset="0"/>
              </a:rPr>
              <a:t>VIETNAM</a:t>
            </a:r>
          </a:p>
        </p:txBody>
      </p:sp>
      <p:pic>
        <p:nvPicPr>
          <p:cNvPr id="547" name="Graphic 546" descr="Pin">
            <a:extLst>
              <a:ext uri="{FF2B5EF4-FFF2-40B4-BE49-F238E27FC236}">
                <a16:creationId xmlns:a16="http://schemas.microsoft.com/office/drawing/2014/main" id="{F36E85D5-34F0-48E5-BB36-793D0D3B0D9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6504401" y="3624080"/>
            <a:ext cx="350805" cy="350805"/>
          </a:xfrm>
          <a:prstGeom prst="rect">
            <a:avLst/>
          </a:prstGeom>
          <a:effectLst>
            <a:outerShdw blurRad="76200" dir="13500000" sy="23000" kx="1200000" algn="br" rotWithShape="0">
              <a:prstClr val="black">
                <a:alpha val="20000"/>
              </a:prstClr>
            </a:outerShdw>
          </a:effectLst>
        </p:spPr>
      </p:pic>
      <p:sp>
        <p:nvSpPr>
          <p:cNvPr id="548" name="TextBox 547">
            <a:extLst>
              <a:ext uri="{FF2B5EF4-FFF2-40B4-BE49-F238E27FC236}">
                <a16:creationId xmlns:a16="http://schemas.microsoft.com/office/drawing/2014/main" id="{7A725AAD-9BE4-4157-87AE-193EDC3C0C8E}"/>
              </a:ext>
            </a:extLst>
          </p:cNvPr>
          <p:cNvSpPr txBox="1"/>
          <p:nvPr/>
        </p:nvSpPr>
        <p:spPr>
          <a:xfrm>
            <a:off x="5366624" y="2962683"/>
            <a:ext cx="1138711" cy="253916"/>
          </a:xfrm>
          <a:prstGeom prst="rect">
            <a:avLst/>
          </a:prstGeom>
          <a:noFill/>
        </p:spPr>
        <p:txBody>
          <a:bodyPr wrap="square" rtlCol="0">
            <a:spAutoFit/>
          </a:bodyPr>
          <a:lstStyle/>
          <a:p>
            <a:pPr algn="ctr"/>
            <a:r>
              <a:rPr lang="en-US" sz="1050" b="1" dirty="0">
                <a:latin typeface="Century Gothic" panose="020B0502020202020204" pitchFamily="34" charset="0"/>
              </a:rPr>
              <a:t>EGYPT</a:t>
            </a:r>
          </a:p>
        </p:txBody>
      </p:sp>
      <p:pic>
        <p:nvPicPr>
          <p:cNvPr id="549" name="Graphic 548" descr="Pin">
            <a:extLst>
              <a:ext uri="{FF2B5EF4-FFF2-40B4-BE49-F238E27FC236}">
                <a16:creationId xmlns:a16="http://schemas.microsoft.com/office/drawing/2014/main" id="{92C95D37-4978-406A-A6B2-FE8D2A3B881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6307449" y="5445129"/>
            <a:ext cx="350805" cy="350805"/>
          </a:xfrm>
          <a:prstGeom prst="rect">
            <a:avLst/>
          </a:prstGeom>
          <a:effectLst>
            <a:outerShdw blurRad="76200" dir="13500000" sy="23000" kx="1200000" algn="br" rotWithShape="0">
              <a:prstClr val="black">
                <a:alpha val="20000"/>
              </a:prstClr>
            </a:outerShdw>
          </a:effectLst>
        </p:spPr>
      </p:pic>
      <p:pic>
        <p:nvPicPr>
          <p:cNvPr id="551" name="Graphic 550" descr="Pin">
            <a:extLst>
              <a:ext uri="{FF2B5EF4-FFF2-40B4-BE49-F238E27FC236}">
                <a16:creationId xmlns:a16="http://schemas.microsoft.com/office/drawing/2014/main" id="{15331D20-F041-4D26-B49A-D23C1912BB3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6369924" y="2897728"/>
            <a:ext cx="350805" cy="350805"/>
          </a:xfrm>
          <a:prstGeom prst="rect">
            <a:avLst/>
          </a:prstGeom>
          <a:effectLst>
            <a:outerShdw blurRad="76200" dir="13500000" sy="23000" kx="1200000" algn="br" rotWithShape="0">
              <a:prstClr val="black">
                <a:alpha val="20000"/>
              </a:prstClr>
            </a:outerShdw>
          </a:effectLst>
        </p:spPr>
      </p:pic>
      <p:sp>
        <p:nvSpPr>
          <p:cNvPr id="552" name="TextBox 551">
            <a:extLst>
              <a:ext uri="{FF2B5EF4-FFF2-40B4-BE49-F238E27FC236}">
                <a16:creationId xmlns:a16="http://schemas.microsoft.com/office/drawing/2014/main" id="{43AD6E95-81CD-44A4-BCF2-4CBC3E2A2682}"/>
              </a:ext>
            </a:extLst>
          </p:cNvPr>
          <p:cNvSpPr txBox="1"/>
          <p:nvPr/>
        </p:nvSpPr>
        <p:spPr>
          <a:xfrm>
            <a:off x="5204457" y="1998759"/>
            <a:ext cx="1184266" cy="253916"/>
          </a:xfrm>
          <a:prstGeom prst="rect">
            <a:avLst/>
          </a:prstGeom>
          <a:noFill/>
        </p:spPr>
        <p:txBody>
          <a:bodyPr wrap="square" rtlCol="0">
            <a:spAutoFit/>
          </a:bodyPr>
          <a:lstStyle/>
          <a:p>
            <a:pPr algn="ctr"/>
            <a:r>
              <a:rPr lang="en-US" sz="1050" b="1" dirty="0">
                <a:latin typeface="Century Gothic" panose="020B0502020202020204" pitchFamily="34" charset="0"/>
              </a:rPr>
              <a:t>ROMANIA</a:t>
            </a:r>
          </a:p>
        </p:txBody>
      </p:sp>
      <p:pic>
        <p:nvPicPr>
          <p:cNvPr id="553" name="Graphic 552" descr="Pin">
            <a:extLst>
              <a:ext uri="{FF2B5EF4-FFF2-40B4-BE49-F238E27FC236}">
                <a16:creationId xmlns:a16="http://schemas.microsoft.com/office/drawing/2014/main" id="{00B8C64A-B7EE-47ED-9865-0AC917103F4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6633252" y="3218395"/>
            <a:ext cx="350805" cy="350805"/>
          </a:xfrm>
          <a:prstGeom prst="rect">
            <a:avLst/>
          </a:prstGeom>
          <a:effectLst>
            <a:outerShdw blurRad="76200" dir="13500000" sy="23000" kx="1200000" algn="br" rotWithShape="0">
              <a:prstClr val="black">
                <a:alpha val="20000"/>
              </a:prstClr>
            </a:outerShdw>
          </a:effectLst>
        </p:spPr>
      </p:pic>
      <p:sp>
        <p:nvSpPr>
          <p:cNvPr id="554" name="TextBox 553">
            <a:extLst>
              <a:ext uri="{FF2B5EF4-FFF2-40B4-BE49-F238E27FC236}">
                <a16:creationId xmlns:a16="http://schemas.microsoft.com/office/drawing/2014/main" id="{E37EE825-557A-4168-88A5-28E214DB1709}"/>
              </a:ext>
            </a:extLst>
          </p:cNvPr>
          <p:cNvSpPr txBox="1"/>
          <p:nvPr/>
        </p:nvSpPr>
        <p:spPr>
          <a:xfrm>
            <a:off x="5493292" y="2555961"/>
            <a:ext cx="1138711" cy="253916"/>
          </a:xfrm>
          <a:prstGeom prst="rect">
            <a:avLst/>
          </a:prstGeom>
          <a:noFill/>
        </p:spPr>
        <p:txBody>
          <a:bodyPr wrap="square" rtlCol="0">
            <a:spAutoFit/>
          </a:bodyPr>
          <a:lstStyle/>
          <a:p>
            <a:pPr algn="ctr"/>
            <a:r>
              <a:rPr lang="en-US" sz="1050" b="1" dirty="0">
                <a:latin typeface="Century Gothic" panose="020B0502020202020204" pitchFamily="34" charset="0"/>
              </a:rPr>
              <a:t>TURKEY</a:t>
            </a:r>
          </a:p>
        </p:txBody>
      </p:sp>
      <p:pic>
        <p:nvPicPr>
          <p:cNvPr id="556" name="Graphic 555" descr="Pin">
            <a:extLst>
              <a:ext uri="{FF2B5EF4-FFF2-40B4-BE49-F238E27FC236}">
                <a16:creationId xmlns:a16="http://schemas.microsoft.com/office/drawing/2014/main" id="{39127255-61B1-4671-8D2E-EDD2BAD73D0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3988164" y="4775725"/>
            <a:ext cx="350805" cy="350805"/>
          </a:xfrm>
          <a:prstGeom prst="rect">
            <a:avLst/>
          </a:prstGeom>
          <a:effectLst>
            <a:outerShdw blurRad="76200" dir="13500000" sy="23000" kx="1200000" algn="br" rotWithShape="0">
              <a:prstClr val="black">
                <a:alpha val="20000"/>
              </a:prstClr>
            </a:outerShdw>
          </a:effectLst>
        </p:spPr>
      </p:pic>
      <p:sp>
        <p:nvSpPr>
          <p:cNvPr id="557" name="TextBox 556">
            <a:extLst>
              <a:ext uri="{FF2B5EF4-FFF2-40B4-BE49-F238E27FC236}">
                <a16:creationId xmlns:a16="http://schemas.microsoft.com/office/drawing/2014/main" id="{FB23D867-D48E-4104-83BE-EDA6565E7B77}"/>
              </a:ext>
            </a:extLst>
          </p:cNvPr>
          <p:cNvSpPr txBox="1"/>
          <p:nvPr/>
        </p:nvSpPr>
        <p:spPr>
          <a:xfrm>
            <a:off x="2836007" y="4080036"/>
            <a:ext cx="1138711" cy="253916"/>
          </a:xfrm>
          <a:prstGeom prst="rect">
            <a:avLst/>
          </a:prstGeom>
          <a:noFill/>
        </p:spPr>
        <p:txBody>
          <a:bodyPr wrap="square" rtlCol="0">
            <a:spAutoFit/>
          </a:bodyPr>
          <a:lstStyle/>
          <a:p>
            <a:pPr algn="ctr"/>
            <a:r>
              <a:rPr lang="en-US" sz="1050" b="1" dirty="0">
                <a:latin typeface="Century Gothic" panose="020B0502020202020204" pitchFamily="34" charset="0"/>
              </a:rPr>
              <a:t>BRAZIL</a:t>
            </a:r>
          </a:p>
        </p:txBody>
      </p:sp>
      <p:pic>
        <p:nvPicPr>
          <p:cNvPr id="558" name="Graphic 557" descr="Pin">
            <a:extLst>
              <a:ext uri="{FF2B5EF4-FFF2-40B4-BE49-F238E27FC236}">
                <a16:creationId xmlns:a16="http://schemas.microsoft.com/office/drawing/2014/main" id="{95B395CD-9E97-4D5C-BD90-084E6E1A445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8702327" y="3332354"/>
            <a:ext cx="350805" cy="350805"/>
          </a:xfrm>
          <a:prstGeom prst="rect">
            <a:avLst/>
          </a:prstGeom>
          <a:effectLst>
            <a:outerShdw blurRad="76200" dir="13500000" sy="23000" kx="1200000" algn="br" rotWithShape="0">
              <a:prstClr val="black">
                <a:alpha val="20000"/>
              </a:prstClr>
            </a:outerShdw>
          </a:effectLst>
        </p:spPr>
      </p:pic>
      <p:sp>
        <p:nvSpPr>
          <p:cNvPr id="559" name="TextBox 558">
            <a:extLst>
              <a:ext uri="{FF2B5EF4-FFF2-40B4-BE49-F238E27FC236}">
                <a16:creationId xmlns:a16="http://schemas.microsoft.com/office/drawing/2014/main" id="{84EF7C76-F0AE-4E5F-AAD1-C57C20C0021D}"/>
              </a:ext>
            </a:extLst>
          </p:cNvPr>
          <p:cNvSpPr txBox="1"/>
          <p:nvPr/>
        </p:nvSpPr>
        <p:spPr>
          <a:xfrm>
            <a:off x="7621829" y="2533357"/>
            <a:ext cx="1138711" cy="253916"/>
          </a:xfrm>
          <a:prstGeom prst="rect">
            <a:avLst/>
          </a:prstGeom>
          <a:noFill/>
        </p:spPr>
        <p:txBody>
          <a:bodyPr wrap="square" rtlCol="0">
            <a:spAutoFit/>
          </a:bodyPr>
          <a:lstStyle/>
          <a:p>
            <a:pPr algn="ctr"/>
            <a:r>
              <a:rPr lang="en-US" sz="1050" b="1" dirty="0">
                <a:latin typeface="Century Gothic" panose="020B0502020202020204" pitchFamily="34" charset="0"/>
              </a:rPr>
              <a:t>CHINA</a:t>
            </a:r>
          </a:p>
        </p:txBody>
      </p:sp>
      <p:sp>
        <p:nvSpPr>
          <p:cNvPr id="570" name="Freeform: Shape 569">
            <a:extLst>
              <a:ext uri="{FF2B5EF4-FFF2-40B4-BE49-F238E27FC236}">
                <a16:creationId xmlns:a16="http://schemas.microsoft.com/office/drawing/2014/main" id="{CA468EF7-5F96-4FC0-84AB-6FFC07546792}"/>
              </a:ext>
            </a:extLst>
          </p:cNvPr>
          <p:cNvSpPr/>
          <p:nvPr/>
        </p:nvSpPr>
        <p:spPr>
          <a:xfrm>
            <a:off x="6186579" y="2313359"/>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1" name="Title 1">
            <a:extLst>
              <a:ext uri="{FF2B5EF4-FFF2-40B4-BE49-F238E27FC236}">
                <a16:creationId xmlns:a16="http://schemas.microsoft.com/office/drawing/2014/main" id="{99C4743A-9F8A-43B0-9671-EA0616F0FBD4}"/>
              </a:ext>
            </a:extLst>
          </p:cNvPr>
          <p:cNvSpPr txBox="1">
            <a:spLocks/>
          </p:cNvSpPr>
          <p:nvPr/>
        </p:nvSpPr>
        <p:spPr>
          <a:xfrm>
            <a:off x="870661" y="295424"/>
            <a:ext cx="10744200" cy="866648"/>
          </a:xfrm>
          <a:prstGeom prst="rect">
            <a:avLst/>
          </a:prstGeom>
        </p:spPr>
        <p:txBody>
          <a:bodyPr vert="horz" lIns="0" tIns="0" rIns="0" bIns="0" rtlCol="0" anchorCtr="0">
            <a:noAutofit/>
          </a:bodyPr>
          <a:lstStyle>
            <a:lvl1pPr algn="l" defTabSz="914400" rtl="0" eaLnBrk="1" latinLnBrk="0" hangingPunct="1">
              <a:lnSpc>
                <a:spcPct val="88000"/>
              </a:lnSpc>
              <a:spcBef>
                <a:spcPct val="0"/>
              </a:spcBef>
              <a:buNone/>
              <a:defRPr sz="3200" kern="0">
                <a:solidFill>
                  <a:schemeClr val="tx2"/>
                </a:solidFill>
                <a:latin typeface="+mj-lt"/>
                <a:ea typeface="+mj-ea"/>
                <a:cs typeface="+mj-cs"/>
              </a:defRPr>
            </a:lvl1pPr>
          </a:lstStyle>
          <a:p>
            <a:endParaRPr lang="en-US" dirty="0"/>
          </a:p>
        </p:txBody>
      </p:sp>
      <p:sp>
        <p:nvSpPr>
          <p:cNvPr id="572" name="Freeform: Shape 571">
            <a:extLst>
              <a:ext uri="{FF2B5EF4-FFF2-40B4-BE49-F238E27FC236}">
                <a16:creationId xmlns:a16="http://schemas.microsoft.com/office/drawing/2014/main" id="{B2F3DB83-9663-497C-A80D-9CBEBC33BFAB}"/>
              </a:ext>
            </a:extLst>
          </p:cNvPr>
          <p:cNvSpPr/>
          <p:nvPr/>
        </p:nvSpPr>
        <p:spPr>
          <a:xfrm rot="21341711">
            <a:off x="6417477" y="2637553"/>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3" name="Freeform: Shape 572">
            <a:extLst>
              <a:ext uri="{FF2B5EF4-FFF2-40B4-BE49-F238E27FC236}">
                <a16:creationId xmlns:a16="http://schemas.microsoft.com/office/drawing/2014/main" id="{C222F9EE-5A42-4DEC-94CC-290617341263}"/>
              </a:ext>
            </a:extLst>
          </p:cNvPr>
          <p:cNvSpPr/>
          <p:nvPr/>
        </p:nvSpPr>
        <p:spPr>
          <a:xfrm rot="21007379">
            <a:off x="6257956" y="3055584"/>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4" name="Freeform: Shape 573">
            <a:extLst>
              <a:ext uri="{FF2B5EF4-FFF2-40B4-BE49-F238E27FC236}">
                <a16:creationId xmlns:a16="http://schemas.microsoft.com/office/drawing/2014/main" id="{A2D2DA67-9B81-4D6D-AAF7-F35A657168E9}"/>
              </a:ext>
            </a:extLst>
          </p:cNvPr>
          <p:cNvSpPr/>
          <p:nvPr/>
        </p:nvSpPr>
        <p:spPr>
          <a:xfrm rot="20962738">
            <a:off x="7676266" y="3212069"/>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5" name="Freeform: Shape 574">
            <a:extLst>
              <a:ext uri="{FF2B5EF4-FFF2-40B4-BE49-F238E27FC236}">
                <a16:creationId xmlns:a16="http://schemas.microsoft.com/office/drawing/2014/main" id="{05F1192B-FA5F-4A30-B57E-7F0ED227B6A2}"/>
              </a:ext>
            </a:extLst>
          </p:cNvPr>
          <p:cNvSpPr/>
          <p:nvPr/>
        </p:nvSpPr>
        <p:spPr>
          <a:xfrm>
            <a:off x="8483985" y="2694070"/>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7" name="Freeform: Shape 576">
            <a:extLst>
              <a:ext uri="{FF2B5EF4-FFF2-40B4-BE49-F238E27FC236}">
                <a16:creationId xmlns:a16="http://schemas.microsoft.com/office/drawing/2014/main" id="{8CD9166E-F830-427F-8B03-555A16FB1687}"/>
              </a:ext>
            </a:extLst>
          </p:cNvPr>
          <p:cNvSpPr/>
          <p:nvPr/>
        </p:nvSpPr>
        <p:spPr>
          <a:xfrm rot="21341711">
            <a:off x="8486135" y="2988278"/>
            <a:ext cx="467785" cy="879567"/>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8" name="Freeform: Shape 577">
            <a:extLst>
              <a:ext uri="{FF2B5EF4-FFF2-40B4-BE49-F238E27FC236}">
                <a16:creationId xmlns:a16="http://schemas.microsoft.com/office/drawing/2014/main" id="{84245DB0-82EB-4E3F-B4DE-CE7F0A65EF82}"/>
              </a:ext>
            </a:extLst>
          </p:cNvPr>
          <p:cNvSpPr/>
          <p:nvPr/>
        </p:nvSpPr>
        <p:spPr>
          <a:xfrm rot="21341711">
            <a:off x="7859285" y="3654863"/>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9" name="Freeform: Shape 578">
            <a:extLst>
              <a:ext uri="{FF2B5EF4-FFF2-40B4-BE49-F238E27FC236}">
                <a16:creationId xmlns:a16="http://schemas.microsoft.com/office/drawing/2014/main" id="{EA71A8B4-9632-4BF3-8DD8-A241E4CCF573}"/>
              </a:ext>
            </a:extLst>
          </p:cNvPr>
          <p:cNvSpPr/>
          <p:nvPr/>
        </p:nvSpPr>
        <p:spPr>
          <a:xfrm rot="20676811" flipH="1">
            <a:off x="8710388" y="3102952"/>
            <a:ext cx="508829" cy="911355"/>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0" name="Freeform: Shape 579">
            <a:extLst>
              <a:ext uri="{FF2B5EF4-FFF2-40B4-BE49-F238E27FC236}">
                <a16:creationId xmlns:a16="http://schemas.microsoft.com/office/drawing/2014/main" id="{F4A498DA-875A-46F2-AAB3-72BCFE2D629C}"/>
              </a:ext>
            </a:extLst>
          </p:cNvPr>
          <p:cNvSpPr/>
          <p:nvPr/>
        </p:nvSpPr>
        <p:spPr>
          <a:xfrm rot="21292199" flipH="1">
            <a:off x="9215080" y="3386653"/>
            <a:ext cx="415856" cy="1112352"/>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1" name="Freeform: Shape 580">
            <a:extLst>
              <a:ext uri="{FF2B5EF4-FFF2-40B4-BE49-F238E27FC236}">
                <a16:creationId xmlns:a16="http://schemas.microsoft.com/office/drawing/2014/main" id="{74C32BB9-B623-47BB-B9A4-1F50439F81BD}"/>
              </a:ext>
            </a:extLst>
          </p:cNvPr>
          <p:cNvSpPr/>
          <p:nvPr/>
        </p:nvSpPr>
        <p:spPr>
          <a:xfrm rot="21341711">
            <a:off x="3766462" y="4218042"/>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2" name="Freeform: Shape 581">
            <a:extLst>
              <a:ext uri="{FF2B5EF4-FFF2-40B4-BE49-F238E27FC236}">
                <a16:creationId xmlns:a16="http://schemas.microsoft.com/office/drawing/2014/main" id="{E39FBA85-B997-40D8-9071-270DACF3EBAB}"/>
              </a:ext>
            </a:extLst>
          </p:cNvPr>
          <p:cNvSpPr/>
          <p:nvPr/>
        </p:nvSpPr>
        <p:spPr>
          <a:xfrm rot="21341711">
            <a:off x="6063265" y="4550845"/>
            <a:ext cx="350265" cy="679314"/>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3" name="Freeform: Shape 582">
            <a:extLst>
              <a:ext uri="{FF2B5EF4-FFF2-40B4-BE49-F238E27FC236}">
                <a16:creationId xmlns:a16="http://schemas.microsoft.com/office/drawing/2014/main" id="{38BF7309-FE55-41E5-ADED-A19C0E7302FA}"/>
              </a:ext>
            </a:extLst>
          </p:cNvPr>
          <p:cNvSpPr/>
          <p:nvPr/>
        </p:nvSpPr>
        <p:spPr>
          <a:xfrm rot="20606122">
            <a:off x="6022219" y="4906163"/>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TextBox 322">
            <a:extLst>
              <a:ext uri="{FF2B5EF4-FFF2-40B4-BE49-F238E27FC236}">
                <a16:creationId xmlns:a16="http://schemas.microsoft.com/office/drawing/2014/main" id="{12F64369-7D68-4B35-9116-590AF974C6A0}"/>
              </a:ext>
            </a:extLst>
          </p:cNvPr>
          <p:cNvSpPr txBox="1"/>
          <p:nvPr/>
        </p:nvSpPr>
        <p:spPr>
          <a:xfrm>
            <a:off x="4770275" y="4806916"/>
            <a:ext cx="1371492" cy="253916"/>
          </a:xfrm>
          <a:prstGeom prst="rect">
            <a:avLst/>
          </a:prstGeom>
          <a:noFill/>
        </p:spPr>
        <p:txBody>
          <a:bodyPr wrap="square" rtlCol="0">
            <a:spAutoFit/>
          </a:bodyPr>
          <a:lstStyle/>
          <a:p>
            <a:pPr algn="ctr"/>
            <a:r>
              <a:rPr lang="en-US" sz="1050" b="1" dirty="0">
                <a:latin typeface="Century Gothic" panose="020B0502020202020204" pitchFamily="34" charset="0"/>
              </a:rPr>
              <a:t>SOUTHAFRICA</a:t>
            </a:r>
          </a:p>
        </p:txBody>
      </p:sp>
    </p:spTree>
    <p:extLst>
      <p:ext uri="{BB962C8B-B14F-4D97-AF65-F5344CB8AC3E}">
        <p14:creationId xmlns:p14="http://schemas.microsoft.com/office/powerpoint/2010/main" val="223603704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14:presetBounceEnd="62000">
                                      <p:stCondLst>
                                        <p:cond delay="0"/>
                                      </p:stCondLst>
                                      <p:childTnLst>
                                        <p:set>
                                          <p:cBhvr>
                                            <p:cTn id="6" dur="1" fill="hold">
                                              <p:stCondLst>
                                                <p:cond delay="0"/>
                                              </p:stCondLst>
                                            </p:cTn>
                                            <p:tgtEl>
                                              <p:spTgt spid="533"/>
                                            </p:tgtEl>
                                            <p:attrNameLst>
                                              <p:attrName>style.visibility</p:attrName>
                                            </p:attrNameLst>
                                          </p:cBhvr>
                                          <p:to>
                                            <p:strVal val="visible"/>
                                          </p:to>
                                        </p:set>
                                        <p:anim calcmode="lin" valueType="num" p14:bounceEnd="62000">
                                          <p:cBhvr additive="base">
                                            <p:cTn id="7" dur="500" fill="hold"/>
                                            <p:tgtEl>
                                              <p:spTgt spid="533"/>
                                            </p:tgtEl>
                                            <p:attrNameLst>
                                              <p:attrName>ppt_x</p:attrName>
                                            </p:attrNameLst>
                                          </p:cBhvr>
                                          <p:tavLst>
                                            <p:tav tm="0">
                                              <p:val>
                                                <p:strVal val="#ppt_x"/>
                                              </p:val>
                                            </p:tav>
                                            <p:tav tm="100000">
                                              <p:val>
                                                <p:strVal val="#ppt_x"/>
                                              </p:val>
                                            </p:tav>
                                          </p:tavLst>
                                        </p:anim>
                                        <p:anim calcmode="lin" valueType="num" p14:bounceEnd="62000">
                                          <p:cBhvr additive="base">
                                            <p:cTn id="8" dur="500" fill="hold"/>
                                            <p:tgtEl>
                                              <p:spTgt spid="53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4" fill="hold" grpId="0" nodeType="afterEffect">
                                      <p:stCondLst>
                                        <p:cond delay="0"/>
                                      </p:stCondLst>
                                      <p:childTnLst>
                                        <p:set>
                                          <p:cBhvr>
                                            <p:cTn id="11" dur="1" fill="hold">
                                              <p:stCondLst>
                                                <p:cond delay="0"/>
                                              </p:stCondLst>
                                            </p:cTn>
                                            <p:tgtEl>
                                              <p:spTgt spid="574"/>
                                            </p:tgtEl>
                                            <p:attrNameLst>
                                              <p:attrName>style.visibility</p:attrName>
                                            </p:attrNameLst>
                                          </p:cBhvr>
                                          <p:to>
                                            <p:strVal val="visible"/>
                                          </p:to>
                                        </p:set>
                                        <p:animEffect transition="in" filter="wipe(down)">
                                          <p:cBhvr>
                                            <p:cTn id="12" dur="500"/>
                                            <p:tgtEl>
                                              <p:spTgt spid="574"/>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542"/>
                                            </p:tgtEl>
                                            <p:attrNameLst>
                                              <p:attrName>style.visibility</p:attrName>
                                            </p:attrNameLst>
                                          </p:cBhvr>
                                          <p:to>
                                            <p:strVal val="visible"/>
                                          </p:to>
                                        </p:set>
                                        <p:animEffect transition="in" filter="fade">
                                          <p:cBhvr>
                                            <p:cTn id="16" dur="500"/>
                                            <p:tgtEl>
                                              <p:spTgt spid="542"/>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nodeType="clickEffect" p14:presetBounceEnd="62000">
                                      <p:stCondLst>
                                        <p:cond delay="0"/>
                                      </p:stCondLst>
                                      <p:childTnLst>
                                        <p:set>
                                          <p:cBhvr>
                                            <p:cTn id="20" dur="1" fill="hold">
                                              <p:stCondLst>
                                                <p:cond delay="0"/>
                                              </p:stCondLst>
                                            </p:cTn>
                                            <p:tgtEl>
                                              <p:spTgt spid="535"/>
                                            </p:tgtEl>
                                            <p:attrNameLst>
                                              <p:attrName>style.visibility</p:attrName>
                                            </p:attrNameLst>
                                          </p:cBhvr>
                                          <p:to>
                                            <p:strVal val="visible"/>
                                          </p:to>
                                        </p:set>
                                        <p:anim calcmode="lin" valueType="num" p14:bounceEnd="62000">
                                          <p:cBhvr additive="base">
                                            <p:cTn id="21" dur="500" fill="hold"/>
                                            <p:tgtEl>
                                              <p:spTgt spid="535"/>
                                            </p:tgtEl>
                                            <p:attrNameLst>
                                              <p:attrName>ppt_x</p:attrName>
                                            </p:attrNameLst>
                                          </p:cBhvr>
                                          <p:tavLst>
                                            <p:tav tm="0">
                                              <p:val>
                                                <p:strVal val="#ppt_x"/>
                                              </p:val>
                                            </p:tav>
                                            <p:tav tm="100000">
                                              <p:val>
                                                <p:strVal val="#ppt_x"/>
                                              </p:val>
                                            </p:tav>
                                          </p:tavLst>
                                        </p:anim>
                                        <p:anim calcmode="lin" valueType="num" p14:bounceEnd="62000">
                                          <p:cBhvr additive="base">
                                            <p:cTn id="22" dur="500" fill="hold"/>
                                            <p:tgtEl>
                                              <p:spTgt spid="535"/>
                                            </p:tgtEl>
                                            <p:attrNameLst>
                                              <p:attrName>ppt_y</p:attrName>
                                            </p:attrNameLst>
                                          </p:cBhvr>
                                          <p:tavLst>
                                            <p:tav tm="0">
                                              <p:val>
                                                <p:strVal val="0-#ppt_h/2"/>
                                              </p:val>
                                            </p:tav>
                                            <p:tav tm="100000">
                                              <p:val>
                                                <p:strVal val="#ppt_y"/>
                                              </p:val>
                                            </p:tav>
                                          </p:tavLst>
                                        </p:anim>
                                      </p:childTnLst>
                                    </p:cTn>
                                  </p:par>
                                </p:childTnLst>
                              </p:cTn>
                            </p:par>
                            <p:par>
                              <p:cTn id="23" fill="hold">
                                <p:stCondLst>
                                  <p:cond delay="500"/>
                                </p:stCondLst>
                                <p:childTnLst>
                                  <p:par>
                                    <p:cTn id="24" presetID="22" presetClass="entr" presetSubtype="4" fill="hold" grpId="0" nodeType="afterEffect">
                                      <p:stCondLst>
                                        <p:cond delay="0"/>
                                      </p:stCondLst>
                                      <p:childTnLst>
                                        <p:set>
                                          <p:cBhvr>
                                            <p:cTn id="25" dur="1" fill="hold">
                                              <p:stCondLst>
                                                <p:cond delay="0"/>
                                              </p:stCondLst>
                                            </p:cTn>
                                            <p:tgtEl>
                                              <p:spTgt spid="578"/>
                                            </p:tgtEl>
                                            <p:attrNameLst>
                                              <p:attrName>style.visibility</p:attrName>
                                            </p:attrNameLst>
                                          </p:cBhvr>
                                          <p:to>
                                            <p:strVal val="visible"/>
                                          </p:to>
                                        </p:set>
                                        <p:animEffect transition="in" filter="wipe(down)">
                                          <p:cBhvr>
                                            <p:cTn id="26" dur="500"/>
                                            <p:tgtEl>
                                              <p:spTgt spid="578"/>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543"/>
                                            </p:tgtEl>
                                            <p:attrNameLst>
                                              <p:attrName>style.visibility</p:attrName>
                                            </p:attrNameLst>
                                          </p:cBhvr>
                                          <p:to>
                                            <p:strVal val="visible"/>
                                          </p:to>
                                        </p:set>
                                        <p:animEffect transition="in" filter="fade">
                                          <p:cBhvr>
                                            <p:cTn id="30" dur="500"/>
                                            <p:tgtEl>
                                              <p:spTgt spid="543"/>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nodeType="clickEffect" p14:presetBounceEnd="62000">
                                      <p:stCondLst>
                                        <p:cond delay="0"/>
                                      </p:stCondLst>
                                      <p:childTnLst>
                                        <p:set>
                                          <p:cBhvr>
                                            <p:cTn id="34" dur="1" fill="hold">
                                              <p:stCondLst>
                                                <p:cond delay="0"/>
                                              </p:stCondLst>
                                            </p:cTn>
                                            <p:tgtEl>
                                              <p:spTgt spid="534"/>
                                            </p:tgtEl>
                                            <p:attrNameLst>
                                              <p:attrName>style.visibility</p:attrName>
                                            </p:attrNameLst>
                                          </p:cBhvr>
                                          <p:to>
                                            <p:strVal val="visible"/>
                                          </p:to>
                                        </p:set>
                                        <p:anim calcmode="lin" valueType="num" p14:bounceEnd="62000">
                                          <p:cBhvr additive="base">
                                            <p:cTn id="35" dur="500" fill="hold"/>
                                            <p:tgtEl>
                                              <p:spTgt spid="534"/>
                                            </p:tgtEl>
                                            <p:attrNameLst>
                                              <p:attrName>ppt_x</p:attrName>
                                            </p:attrNameLst>
                                          </p:cBhvr>
                                          <p:tavLst>
                                            <p:tav tm="0">
                                              <p:val>
                                                <p:strVal val="#ppt_x"/>
                                              </p:val>
                                            </p:tav>
                                            <p:tav tm="100000">
                                              <p:val>
                                                <p:strVal val="#ppt_x"/>
                                              </p:val>
                                            </p:tav>
                                          </p:tavLst>
                                        </p:anim>
                                        <p:anim calcmode="lin" valueType="num" p14:bounceEnd="62000">
                                          <p:cBhvr additive="base">
                                            <p:cTn id="36" dur="500" fill="hold"/>
                                            <p:tgtEl>
                                              <p:spTgt spid="534"/>
                                            </p:tgtEl>
                                            <p:attrNameLst>
                                              <p:attrName>ppt_y</p:attrName>
                                            </p:attrNameLst>
                                          </p:cBhvr>
                                          <p:tavLst>
                                            <p:tav tm="0">
                                              <p:val>
                                                <p:strVal val="0-#ppt_h/2"/>
                                              </p:val>
                                            </p:tav>
                                            <p:tav tm="100000">
                                              <p:val>
                                                <p:strVal val="#ppt_y"/>
                                              </p:val>
                                            </p:tav>
                                          </p:tavLst>
                                        </p:anim>
                                      </p:childTnLst>
                                    </p:cTn>
                                  </p:par>
                                </p:childTnLst>
                              </p:cTn>
                            </p:par>
                            <p:par>
                              <p:cTn id="37" fill="hold">
                                <p:stCondLst>
                                  <p:cond delay="500"/>
                                </p:stCondLst>
                                <p:childTnLst>
                                  <p:par>
                                    <p:cTn id="38" presetID="22" presetClass="entr" presetSubtype="4" fill="hold" grpId="0" nodeType="afterEffect">
                                      <p:stCondLst>
                                        <p:cond delay="0"/>
                                      </p:stCondLst>
                                      <p:childTnLst>
                                        <p:set>
                                          <p:cBhvr>
                                            <p:cTn id="39" dur="1" fill="hold">
                                              <p:stCondLst>
                                                <p:cond delay="0"/>
                                              </p:stCondLst>
                                            </p:cTn>
                                            <p:tgtEl>
                                              <p:spTgt spid="580"/>
                                            </p:tgtEl>
                                            <p:attrNameLst>
                                              <p:attrName>style.visibility</p:attrName>
                                            </p:attrNameLst>
                                          </p:cBhvr>
                                          <p:to>
                                            <p:strVal val="visible"/>
                                          </p:to>
                                        </p:set>
                                        <p:animEffect transition="in" filter="wipe(down)">
                                          <p:cBhvr>
                                            <p:cTn id="40" dur="500"/>
                                            <p:tgtEl>
                                              <p:spTgt spid="580"/>
                                            </p:tgtEl>
                                          </p:cBhvr>
                                        </p:animEffect>
                                      </p:childTnLst>
                                    </p:cTn>
                                  </p:par>
                                </p:childTnLst>
                              </p:cTn>
                            </p:par>
                            <p:par>
                              <p:cTn id="41" fill="hold">
                                <p:stCondLst>
                                  <p:cond delay="1000"/>
                                </p:stCondLst>
                                <p:childTnLst>
                                  <p:par>
                                    <p:cTn id="42" presetID="10" presetClass="entr" presetSubtype="0" fill="hold" grpId="0" nodeType="afterEffect">
                                      <p:stCondLst>
                                        <p:cond delay="0"/>
                                      </p:stCondLst>
                                      <p:childTnLst>
                                        <p:set>
                                          <p:cBhvr>
                                            <p:cTn id="43" dur="1" fill="hold">
                                              <p:stCondLst>
                                                <p:cond delay="0"/>
                                              </p:stCondLst>
                                            </p:cTn>
                                            <p:tgtEl>
                                              <p:spTgt spid="544"/>
                                            </p:tgtEl>
                                            <p:attrNameLst>
                                              <p:attrName>style.visibility</p:attrName>
                                            </p:attrNameLst>
                                          </p:cBhvr>
                                          <p:to>
                                            <p:strVal val="visible"/>
                                          </p:to>
                                        </p:set>
                                        <p:animEffect transition="in" filter="fade">
                                          <p:cBhvr>
                                            <p:cTn id="44" dur="500"/>
                                            <p:tgtEl>
                                              <p:spTgt spid="544"/>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1" fill="hold" nodeType="clickEffect" p14:presetBounceEnd="62000">
                                      <p:stCondLst>
                                        <p:cond delay="0"/>
                                      </p:stCondLst>
                                      <p:childTnLst>
                                        <p:set>
                                          <p:cBhvr>
                                            <p:cTn id="48" dur="1" fill="hold">
                                              <p:stCondLst>
                                                <p:cond delay="0"/>
                                              </p:stCondLst>
                                            </p:cTn>
                                            <p:tgtEl>
                                              <p:spTgt spid="536"/>
                                            </p:tgtEl>
                                            <p:attrNameLst>
                                              <p:attrName>style.visibility</p:attrName>
                                            </p:attrNameLst>
                                          </p:cBhvr>
                                          <p:to>
                                            <p:strVal val="visible"/>
                                          </p:to>
                                        </p:set>
                                        <p:anim calcmode="lin" valueType="num" p14:bounceEnd="62000">
                                          <p:cBhvr additive="base">
                                            <p:cTn id="49" dur="500" fill="hold"/>
                                            <p:tgtEl>
                                              <p:spTgt spid="536"/>
                                            </p:tgtEl>
                                            <p:attrNameLst>
                                              <p:attrName>ppt_x</p:attrName>
                                            </p:attrNameLst>
                                          </p:cBhvr>
                                          <p:tavLst>
                                            <p:tav tm="0">
                                              <p:val>
                                                <p:strVal val="#ppt_x"/>
                                              </p:val>
                                            </p:tav>
                                            <p:tav tm="100000">
                                              <p:val>
                                                <p:strVal val="#ppt_x"/>
                                              </p:val>
                                            </p:tav>
                                          </p:tavLst>
                                        </p:anim>
                                        <p:anim calcmode="lin" valueType="num" p14:bounceEnd="62000">
                                          <p:cBhvr additive="base">
                                            <p:cTn id="50" dur="500" fill="hold"/>
                                            <p:tgtEl>
                                              <p:spTgt spid="536"/>
                                            </p:tgtEl>
                                            <p:attrNameLst>
                                              <p:attrName>ppt_y</p:attrName>
                                            </p:attrNameLst>
                                          </p:cBhvr>
                                          <p:tavLst>
                                            <p:tav tm="0">
                                              <p:val>
                                                <p:strVal val="0-#ppt_h/2"/>
                                              </p:val>
                                            </p:tav>
                                            <p:tav tm="100000">
                                              <p:val>
                                                <p:strVal val="#ppt_y"/>
                                              </p:val>
                                            </p:tav>
                                          </p:tavLst>
                                        </p:anim>
                                      </p:childTnLst>
                                    </p:cTn>
                                  </p:par>
                                </p:childTnLst>
                              </p:cTn>
                            </p:par>
                            <p:par>
                              <p:cTn id="51" fill="hold">
                                <p:stCondLst>
                                  <p:cond delay="500"/>
                                </p:stCondLst>
                                <p:childTnLst>
                                  <p:par>
                                    <p:cTn id="52" presetID="22" presetClass="entr" presetSubtype="4" fill="hold" grpId="0" nodeType="afterEffect">
                                      <p:stCondLst>
                                        <p:cond delay="0"/>
                                      </p:stCondLst>
                                      <p:childTnLst>
                                        <p:set>
                                          <p:cBhvr>
                                            <p:cTn id="53" dur="1" fill="hold">
                                              <p:stCondLst>
                                                <p:cond delay="0"/>
                                              </p:stCondLst>
                                            </p:cTn>
                                            <p:tgtEl>
                                              <p:spTgt spid="579"/>
                                            </p:tgtEl>
                                            <p:attrNameLst>
                                              <p:attrName>style.visibility</p:attrName>
                                            </p:attrNameLst>
                                          </p:cBhvr>
                                          <p:to>
                                            <p:strVal val="visible"/>
                                          </p:to>
                                        </p:set>
                                        <p:animEffect transition="in" filter="wipe(down)">
                                          <p:cBhvr>
                                            <p:cTn id="54" dur="500"/>
                                            <p:tgtEl>
                                              <p:spTgt spid="579"/>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545"/>
                                            </p:tgtEl>
                                            <p:attrNameLst>
                                              <p:attrName>style.visibility</p:attrName>
                                            </p:attrNameLst>
                                          </p:cBhvr>
                                          <p:to>
                                            <p:strVal val="visible"/>
                                          </p:to>
                                        </p:set>
                                        <p:animEffect transition="in" filter="fade">
                                          <p:cBhvr>
                                            <p:cTn id="58" dur="500"/>
                                            <p:tgtEl>
                                              <p:spTgt spid="545"/>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1" fill="hold" nodeType="clickEffect" p14:presetBounceEnd="62000">
                                      <p:stCondLst>
                                        <p:cond delay="0"/>
                                      </p:stCondLst>
                                      <p:childTnLst>
                                        <p:set>
                                          <p:cBhvr>
                                            <p:cTn id="62" dur="1" fill="hold">
                                              <p:stCondLst>
                                                <p:cond delay="0"/>
                                              </p:stCondLst>
                                            </p:cTn>
                                            <p:tgtEl>
                                              <p:spTgt spid="537"/>
                                            </p:tgtEl>
                                            <p:attrNameLst>
                                              <p:attrName>style.visibility</p:attrName>
                                            </p:attrNameLst>
                                          </p:cBhvr>
                                          <p:to>
                                            <p:strVal val="visible"/>
                                          </p:to>
                                        </p:set>
                                        <p:anim calcmode="lin" valueType="num" p14:bounceEnd="62000">
                                          <p:cBhvr additive="base">
                                            <p:cTn id="63" dur="500" fill="hold"/>
                                            <p:tgtEl>
                                              <p:spTgt spid="537"/>
                                            </p:tgtEl>
                                            <p:attrNameLst>
                                              <p:attrName>ppt_x</p:attrName>
                                            </p:attrNameLst>
                                          </p:cBhvr>
                                          <p:tavLst>
                                            <p:tav tm="0">
                                              <p:val>
                                                <p:strVal val="#ppt_x"/>
                                              </p:val>
                                            </p:tav>
                                            <p:tav tm="100000">
                                              <p:val>
                                                <p:strVal val="#ppt_x"/>
                                              </p:val>
                                            </p:tav>
                                          </p:tavLst>
                                        </p:anim>
                                        <p:anim calcmode="lin" valueType="num" p14:bounceEnd="62000">
                                          <p:cBhvr additive="base">
                                            <p:cTn id="64" dur="500" fill="hold"/>
                                            <p:tgtEl>
                                              <p:spTgt spid="537"/>
                                            </p:tgtEl>
                                            <p:attrNameLst>
                                              <p:attrName>ppt_y</p:attrName>
                                            </p:attrNameLst>
                                          </p:cBhvr>
                                          <p:tavLst>
                                            <p:tav tm="0">
                                              <p:val>
                                                <p:strVal val="0-#ppt_h/2"/>
                                              </p:val>
                                            </p:tav>
                                            <p:tav tm="100000">
                                              <p:val>
                                                <p:strVal val="#ppt_y"/>
                                              </p:val>
                                            </p:tav>
                                          </p:tavLst>
                                        </p:anim>
                                      </p:childTnLst>
                                    </p:cTn>
                                  </p:par>
                                </p:childTnLst>
                              </p:cTn>
                            </p:par>
                            <p:par>
                              <p:cTn id="65" fill="hold">
                                <p:stCondLst>
                                  <p:cond delay="500"/>
                                </p:stCondLst>
                                <p:childTnLst>
                                  <p:par>
                                    <p:cTn id="66" presetID="22" presetClass="entr" presetSubtype="4" fill="hold" grpId="0" nodeType="afterEffect">
                                      <p:stCondLst>
                                        <p:cond delay="0"/>
                                      </p:stCondLst>
                                      <p:childTnLst>
                                        <p:set>
                                          <p:cBhvr>
                                            <p:cTn id="67" dur="1" fill="hold">
                                              <p:stCondLst>
                                                <p:cond delay="0"/>
                                              </p:stCondLst>
                                            </p:cTn>
                                            <p:tgtEl>
                                              <p:spTgt spid="577"/>
                                            </p:tgtEl>
                                            <p:attrNameLst>
                                              <p:attrName>style.visibility</p:attrName>
                                            </p:attrNameLst>
                                          </p:cBhvr>
                                          <p:to>
                                            <p:strVal val="visible"/>
                                          </p:to>
                                        </p:set>
                                        <p:animEffect transition="in" filter="wipe(down)">
                                          <p:cBhvr>
                                            <p:cTn id="68" dur="500"/>
                                            <p:tgtEl>
                                              <p:spTgt spid="577"/>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546"/>
                                            </p:tgtEl>
                                            <p:attrNameLst>
                                              <p:attrName>style.visibility</p:attrName>
                                            </p:attrNameLst>
                                          </p:cBhvr>
                                          <p:to>
                                            <p:strVal val="visible"/>
                                          </p:to>
                                        </p:set>
                                        <p:animEffect transition="in" filter="fade">
                                          <p:cBhvr>
                                            <p:cTn id="72" dur="500"/>
                                            <p:tgtEl>
                                              <p:spTgt spid="546"/>
                                            </p:tgtEl>
                                          </p:cBhvr>
                                        </p:animEffect>
                                      </p:childTnLst>
                                    </p:cTn>
                                  </p:par>
                                </p:childTnLst>
                              </p:cTn>
                            </p:par>
                          </p:childTnLst>
                        </p:cTn>
                      </p:par>
                      <p:par>
                        <p:cTn id="73" fill="hold">
                          <p:stCondLst>
                            <p:cond delay="indefinite"/>
                          </p:stCondLst>
                          <p:childTnLst>
                            <p:par>
                              <p:cTn id="74" fill="hold">
                                <p:stCondLst>
                                  <p:cond delay="0"/>
                                </p:stCondLst>
                                <p:childTnLst>
                                  <p:par>
                                    <p:cTn id="75" presetID="2" presetClass="entr" presetSubtype="1" fill="hold" nodeType="clickEffect" p14:presetBounceEnd="62000">
                                      <p:stCondLst>
                                        <p:cond delay="0"/>
                                      </p:stCondLst>
                                      <p:childTnLst>
                                        <p:set>
                                          <p:cBhvr>
                                            <p:cTn id="76" dur="1" fill="hold">
                                              <p:stCondLst>
                                                <p:cond delay="0"/>
                                              </p:stCondLst>
                                            </p:cTn>
                                            <p:tgtEl>
                                              <p:spTgt spid="558"/>
                                            </p:tgtEl>
                                            <p:attrNameLst>
                                              <p:attrName>style.visibility</p:attrName>
                                            </p:attrNameLst>
                                          </p:cBhvr>
                                          <p:to>
                                            <p:strVal val="visible"/>
                                          </p:to>
                                        </p:set>
                                        <p:anim calcmode="lin" valueType="num" p14:bounceEnd="62000">
                                          <p:cBhvr additive="base">
                                            <p:cTn id="77" dur="500" fill="hold"/>
                                            <p:tgtEl>
                                              <p:spTgt spid="558"/>
                                            </p:tgtEl>
                                            <p:attrNameLst>
                                              <p:attrName>ppt_x</p:attrName>
                                            </p:attrNameLst>
                                          </p:cBhvr>
                                          <p:tavLst>
                                            <p:tav tm="0">
                                              <p:val>
                                                <p:strVal val="#ppt_x"/>
                                              </p:val>
                                            </p:tav>
                                            <p:tav tm="100000">
                                              <p:val>
                                                <p:strVal val="#ppt_x"/>
                                              </p:val>
                                            </p:tav>
                                          </p:tavLst>
                                        </p:anim>
                                        <p:anim calcmode="lin" valueType="num" p14:bounceEnd="62000">
                                          <p:cBhvr additive="base">
                                            <p:cTn id="78" dur="500" fill="hold"/>
                                            <p:tgtEl>
                                              <p:spTgt spid="558"/>
                                            </p:tgtEl>
                                            <p:attrNameLst>
                                              <p:attrName>ppt_y</p:attrName>
                                            </p:attrNameLst>
                                          </p:cBhvr>
                                          <p:tavLst>
                                            <p:tav tm="0">
                                              <p:val>
                                                <p:strVal val="0-#ppt_h/2"/>
                                              </p:val>
                                            </p:tav>
                                            <p:tav tm="100000">
                                              <p:val>
                                                <p:strVal val="#ppt_y"/>
                                              </p:val>
                                            </p:tav>
                                          </p:tavLst>
                                        </p:anim>
                                      </p:childTnLst>
                                    </p:cTn>
                                  </p:par>
                                </p:childTnLst>
                              </p:cTn>
                            </p:par>
                            <p:par>
                              <p:cTn id="79" fill="hold">
                                <p:stCondLst>
                                  <p:cond delay="500"/>
                                </p:stCondLst>
                                <p:childTnLst>
                                  <p:par>
                                    <p:cTn id="80" presetID="22" presetClass="entr" presetSubtype="4" fill="hold" grpId="0" nodeType="afterEffect">
                                      <p:stCondLst>
                                        <p:cond delay="0"/>
                                      </p:stCondLst>
                                      <p:childTnLst>
                                        <p:set>
                                          <p:cBhvr>
                                            <p:cTn id="81" dur="1" fill="hold">
                                              <p:stCondLst>
                                                <p:cond delay="0"/>
                                              </p:stCondLst>
                                            </p:cTn>
                                            <p:tgtEl>
                                              <p:spTgt spid="575"/>
                                            </p:tgtEl>
                                            <p:attrNameLst>
                                              <p:attrName>style.visibility</p:attrName>
                                            </p:attrNameLst>
                                          </p:cBhvr>
                                          <p:to>
                                            <p:strVal val="visible"/>
                                          </p:to>
                                        </p:set>
                                        <p:animEffect transition="in" filter="wipe(down)">
                                          <p:cBhvr>
                                            <p:cTn id="82" dur="500"/>
                                            <p:tgtEl>
                                              <p:spTgt spid="57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559"/>
                                            </p:tgtEl>
                                            <p:attrNameLst>
                                              <p:attrName>style.visibility</p:attrName>
                                            </p:attrNameLst>
                                          </p:cBhvr>
                                          <p:to>
                                            <p:strVal val="visible"/>
                                          </p:to>
                                        </p:set>
                                        <p:animEffect transition="in" filter="fade">
                                          <p:cBhvr>
                                            <p:cTn id="86" dur="500"/>
                                            <p:tgtEl>
                                              <p:spTgt spid="559"/>
                                            </p:tgtEl>
                                          </p:cBhvr>
                                        </p:animEffect>
                                      </p:childTnLst>
                                    </p:cTn>
                                  </p:par>
                                </p:childTnLst>
                              </p:cTn>
                            </p:par>
                          </p:childTnLst>
                        </p:cTn>
                      </p:par>
                      <p:par>
                        <p:cTn id="87" fill="hold">
                          <p:stCondLst>
                            <p:cond delay="indefinite"/>
                          </p:stCondLst>
                          <p:childTnLst>
                            <p:par>
                              <p:cTn id="88" fill="hold">
                                <p:stCondLst>
                                  <p:cond delay="0"/>
                                </p:stCondLst>
                                <p:childTnLst>
                                  <p:par>
                                    <p:cTn id="89" presetID="2" presetClass="entr" presetSubtype="1" fill="hold" nodeType="clickEffect" p14:presetBounceEnd="62000">
                                      <p:stCondLst>
                                        <p:cond delay="0"/>
                                      </p:stCondLst>
                                      <p:childTnLst>
                                        <p:set>
                                          <p:cBhvr>
                                            <p:cTn id="90" dur="1" fill="hold">
                                              <p:stCondLst>
                                                <p:cond delay="0"/>
                                              </p:stCondLst>
                                            </p:cTn>
                                            <p:tgtEl>
                                              <p:spTgt spid="551"/>
                                            </p:tgtEl>
                                            <p:attrNameLst>
                                              <p:attrName>style.visibility</p:attrName>
                                            </p:attrNameLst>
                                          </p:cBhvr>
                                          <p:to>
                                            <p:strVal val="visible"/>
                                          </p:to>
                                        </p:set>
                                        <p:anim calcmode="lin" valueType="num" p14:bounceEnd="62000">
                                          <p:cBhvr additive="base">
                                            <p:cTn id="91" dur="500" fill="hold"/>
                                            <p:tgtEl>
                                              <p:spTgt spid="551"/>
                                            </p:tgtEl>
                                            <p:attrNameLst>
                                              <p:attrName>ppt_x</p:attrName>
                                            </p:attrNameLst>
                                          </p:cBhvr>
                                          <p:tavLst>
                                            <p:tav tm="0">
                                              <p:val>
                                                <p:strVal val="#ppt_x"/>
                                              </p:val>
                                            </p:tav>
                                            <p:tav tm="100000">
                                              <p:val>
                                                <p:strVal val="#ppt_x"/>
                                              </p:val>
                                            </p:tav>
                                          </p:tavLst>
                                        </p:anim>
                                        <p:anim calcmode="lin" valueType="num" p14:bounceEnd="62000">
                                          <p:cBhvr additive="base">
                                            <p:cTn id="92" dur="500" fill="hold"/>
                                            <p:tgtEl>
                                              <p:spTgt spid="551"/>
                                            </p:tgtEl>
                                            <p:attrNameLst>
                                              <p:attrName>ppt_y</p:attrName>
                                            </p:attrNameLst>
                                          </p:cBhvr>
                                          <p:tavLst>
                                            <p:tav tm="0">
                                              <p:val>
                                                <p:strVal val="0-#ppt_h/2"/>
                                              </p:val>
                                            </p:tav>
                                            <p:tav tm="100000">
                                              <p:val>
                                                <p:strVal val="#ppt_y"/>
                                              </p:val>
                                            </p:tav>
                                          </p:tavLst>
                                        </p:anim>
                                      </p:childTnLst>
                                    </p:cTn>
                                  </p:par>
                                </p:childTnLst>
                              </p:cTn>
                            </p:par>
                            <p:par>
                              <p:cTn id="93" fill="hold">
                                <p:stCondLst>
                                  <p:cond delay="500"/>
                                </p:stCondLst>
                                <p:childTnLst>
                                  <p:par>
                                    <p:cTn id="94" presetID="22" presetClass="entr" presetSubtype="4" fill="hold" grpId="0" nodeType="afterEffect">
                                      <p:stCondLst>
                                        <p:cond delay="0"/>
                                      </p:stCondLst>
                                      <p:childTnLst>
                                        <p:set>
                                          <p:cBhvr>
                                            <p:cTn id="95" dur="1" fill="hold">
                                              <p:stCondLst>
                                                <p:cond delay="0"/>
                                              </p:stCondLst>
                                            </p:cTn>
                                            <p:tgtEl>
                                              <p:spTgt spid="570"/>
                                            </p:tgtEl>
                                            <p:attrNameLst>
                                              <p:attrName>style.visibility</p:attrName>
                                            </p:attrNameLst>
                                          </p:cBhvr>
                                          <p:to>
                                            <p:strVal val="visible"/>
                                          </p:to>
                                        </p:set>
                                        <p:animEffect transition="in" filter="wipe(down)">
                                          <p:cBhvr>
                                            <p:cTn id="96" dur="500"/>
                                            <p:tgtEl>
                                              <p:spTgt spid="570"/>
                                            </p:tgtEl>
                                          </p:cBhvr>
                                        </p:animEffect>
                                      </p:childTnLst>
                                    </p:cTn>
                                  </p:par>
                                </p:childTnLst>
                              </p:cTn>
                            </p:par>
                            <p:par>
                              <p:cTn id="97" fill="hold">
                                <p:stCondLst>
                                  <p:cond delay="1000"/>
                                </p:stCondLst>
                                <p:childTnLst>
                                  <p:par>
                                    <p:cTn id="98" presetID="10" presetClass="entr" presetSubtype="0" fill="hold" grpId="0" nodeType="afterEffect">
                                      <p:stCondLst>
                                        <p:cond delay="0"/>
                                      </p:stCondLst>
                                      <p:childTnLst>
                                        <p:set>
                                          <p:cBhvr>
                                            <p:cTn id="99" dur="1" fill="hold">
                                              <p:stCondLst>
                                                <p:cond delay="0"/>
                                              </p:stCondLst>
                                            </p:cTn>
                                            <p:tgtEl>
                                              <p:spTgt spid="552"/>
                                            </p:tgtEl>
                                            <p:attrNameLst>
                                              <p:attrName>style.visibility</p:attrName>
                                            </p:attrNameLst>
                                          </p:cBhvr>
                                          <p:to>
                                            <p:strVal val="visible"/>
                                          </p:to>
                                        </p:set>
                                        <p:animEffect transition="in" filter="fade">
                                          <p:cBhvr>
                                            <p:cTn id="100" dur="500"/>
                                            <p:tgtEl>
                                              <p:spTgt spid="552"/>
                                            </p:tgtEl>
                                          </p:cBhvr>
                                        </p:animEffect>
                                      </p:childTnLst>
                                    </p:cTn>
                                  </p:par>
                                </p:childTnLst>
                              </p:cTn>
                            </p:par>
                          </p:childTnLst>
                        </p:cTn>
                      </p:par>
                      <p:par>
                        <p:cTn id="101" fill="hold">
                          <p:stCondLst>
                            <p:cond delay="indefinite"/>
                          </p:stCondLst>
                          <p:childTnLst>
                            <p:par>
                              <p:cTn id="102" fill="hold">
                                <p:stCondLst>
                                  <p:cond delay="0"/>
                                </p:stCondLst>
                                <p:childTnLst>
                                  <p:par>
                                    <p:cTn id="103" presetID="2" presetClass="entr" presetSubtype="1" fill="hold" nodeType="clickEffect" p14:presetBounceEnd="62000">
                                      <p:stCondLst>
                                        <p:cond delay="0"/>
                                      </p:stCondLst>
                                      <p:childTnLst>
                                        <p:set>
                                          <p:cBhvr>
                                            <p:cTn id="104" dur="1" fill="hold">
                                              <p:stCondLst>
                                                <p:cond delay="0"/>
                                              </p:stCondLst>
                                            </p:cTn>
                                            <p:tgtEl>
                                              <p:spTgt spid="553"/>
                                            </p:tgtEl>
                                            <p:attrNameLst>
                                              <p:attrName>style.visibility</p:attrName>
                                            </p:attrNameLst>
                                          </p:cBhvr>
                                          <p:to>
                                            <p:strVal val="visible"/>
                                          </p:to>
                                        </p:set>
                                        <p:anim calcmode="lin" valueType="num" p14:bounceEnd="62000">
                                          <p:cBhvr additive="base">
                                            <p:cTn id="105" dur="500" fill="hold"/>
                                            <p:tgtEl>
                                              <p:spTgt spid="553"/>
                                            </p:tgtEl>
                                            <p:attrNameLst>
                                              <p:attrName>ppt_x</p:attrName>
                                            </p:attrNameLst>
                                          </p:cBhvr>
                                          <p:tavLst>
                                            <p:tav tm="0">
                                              <p:val>
                                                <p:strVal val="#ppt_x"/>
                                              </p:val>
                                            </p:tav>
                                            <p:tav tm="100000">
                                              <p:val>
                                                <p:strVal val="#ppt_x"/>
                                              </p:val>
                                            </p:tav>
                                          </p:tavLst>
                                        </p:anim>
                                        <p:anim calcmode="lin" valueType="num" p14:bounceEnd="62000">
                                          <p:cBhvr additive="base">
                                            <p:cTn id="106" dur="500" fill="hold"/>
                                            <p:tgtEl>
                                              <p:spTgt spid="553"/>
                                            </p:tgtEl>
                                            <p:attrNameLst>
                                              <p:attrName>ppt_y</p:attrName>
                                            </p:attrNameLst>
                                          </p:cBhvr>
                                          <p:tavLst>
                                            <p:tav tm="0">
                                              <p:val>
                                                <p:strVal val="0-#ppt_h/2"/>
                                              </p:val>
                                            </p:tav>
                                            <p:tav tm="100000">
                                              <p:val>
                                                <p:strVal val="#ppt_y"/>
                                              </p:val>
                                            </p:tav>
                                          </p:tavLst>
                                        </p:anim>
                                      </p:childTnLst>
                                    </p:cTn>
                                  </p:par>
                                </p:childTnLst>
                              </p:cTn>
                            </p:par>
                            <p:par>
                              <p:cTn id="107" fill="hold">
                                <p:stCondLst>
                                  <p:cond delay="500"/>
                                </p:stCondLst>
                                <p:childTnLst>
                                  <p:par>
                                    <p:cTn id="108" presetID="22" presetClass="entr" presetSubtype="4" fill="hold" grpId="0" nodeType="afterEffect">
                                      <p:stCondLst>
                                        <p:cond delay="0"/>
                                      </p:stCondLst>
                                      <p:childTnLst>
                                        <p:set>
                                          <p:cBhvr>
                                            <p:cTn id="109" dur="1" fill="hold">
                                              <p:stCondLst>
                                                <p:cond delay="0"/>
                                              </p:stCondLst>
                                            </p:cTn>
                                            <p:tgtEl>
                                              <p:spTgt spid="572"/>
                                            </p:tgtEl>
                                            <p:attrNameLst>
                                              <p:attrName>style.visibility</p:attrName>
                                            </p:attrNameLst>
                                          </p:cBhvr>
                                          <p:to>
                                            <p:strVal val="visible"/>
                                          </p:to>
                                        </p:set>
                                        <p:animEffect transition="in" filter="wipe(down)">
                                          <p:cBhvr>
                                            <p:cTn id="110" dur="500"/>
                                            <p:tgtEl>
                                              <p:spTgt spid="572"/>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54"/>
                                            </p:tgtEl>
                                            <p:attrNameLst>
                                              <p:attrName>style.visibility</p:attrName>
                                            </p:attrNameLst>
                                          </p:cBhvr>
                                          <p:to>
                                            <p:strVal val="visible"/>
                                          </p:to>
                                        </p:set>
                                        <p:animEffect transition="in" filter="fade">
                                          <p:cBhvr>
                                            <p:cTn id="114" dur="500"/>
                                            <p:tgtEl>
                                              <p:spTgt spid="554"/>
                                            </p:tgtEl>
                                          </p:cBhvr>
                                        </p:animEffect>
                                      </p:childTnLst>
                                    </p:cTn>
                                  </p:par>
                                </p:childTnLst>
                              </p:cTn>
                            </p:par>
                          </p:childTnLst>
                        </p:cTn>
                      </p:par>
                      <p:par>
                        <p:cTn id="115" fill="hold">
                          <p:stCondLst>
                            <p:cond delay="indefinite"/>
                          </p:stCondLst>
                          <p:childTnLst>
                            <p:par>
                              <p:cTn id="116" fill="hold">
                                <p:stCondLst>
                                  <p:cond delay="0"/>
                                </p:stCondLst>
                                <p:childTnLst>
                                  <p:par>
                                    <p:cTn id="117" presetID="2" presetClass="entr" presetSubtype="1" fill="hold" nodeType="clickEffect" p14:presetBounceEnd="62000">
                                      <p:stCondLst>
                                        <p:cond delay="0"/>
                                      </p:stCondLst>
                                      <p:childTnLst>
                                        <p:set>
                                          <p:cBhvr>
                                            <p:cTn id="118" dur="1" fill="hold">
                                              <p:stCondLst>
                                                <p:cond delay="0"/>
                                              </p:stCondLst>
                                            </p:cTn>
                                            <p:tgtEl>
                                              <p:spTgt spid="547"/>
                                            </p:tgtEl>
                                            <p:attrNameLst>
                                              <p:attrName>style.visibility</p:attrName>
                                            </p:attrNameLst>
                                          </p:cBhvr>
                                          <p:to>
                                            <p:strVal val="visible"/>
                                          </p:to>
                                        </p:set>
                                        <p:anim calcmode="lin" valueType="num" p14:bounceEnd="62000">
                                          <p:cBhvr additive="base">
                                            <p:cTn id="119" dur="500" fill="hold"/>
                                            <p:tgtEl>
                                              <p:spTgt spid="547"/>
                                            </p:tgtEl>
                                            <p:attrNameLst>
                                              <p:attrName>ppt_x</p:attrName>
                                            </p:attrNameLst>
                                          </p:cBhvr>
                                          <p:tavLst>
                                            <p:tav tm="0">
                                              <p:val>
                                                <p:strVal val="#ppt_x"/>
                                              </p:val>
                                            </p:tav>
                                            <p:tav tm="100000">
                                              <p:val>
                                                <p:strVal val="#ppt_x"/>
                                              </p:val>
                                            </p:tav>
                                          </p:tavLst>
                                        </p:anim>
                                        <p:anim calcmode="lin" valueType="num" p14:bounceEnd="62000">
                                          <p:cBhvr additive="base">
                                            <p:cTn id="120" dur="500" fill="hold"/>
                                            <p:tgtEl>
                                              <p:spTgt spid="547"/>
                                            </p:tgtEl>
                                            <p:attrNameLst>
                                              <p:attrName>ppt_y</p:attrName>
                                            </p:attrNameLst>
                                          </p:cBhvr>
                                          <p:tavLst>
                                            <p:tav tm="0">
                                              <p:val>
                                                <p:strVal val="0-#ppt_h/2"/>
                                              </p:val>
                                            </p:tav>
                                            <p:tav tm="100000">
                                              <p:val>
                                                <p:strVal val="#ppt_y"/>
                                              </p:val>
                                            </p:tav>
                                          </p:tavLst>
                                        </p:anim>
                                      </p:childTnLst>
                                    </p:cTn>
                                  </p:par>
                                </p:childTnLst>
                              </p:cTn>
                            </p:par>
                            <p:par>
                              <p:cTn id="121" fill="hold">
                                <p:stCondLst>
                                  <p:cond delay="500"/>
                                </p:stCondLst>
                                <p:childTnLst>
                                  <p:par>
                                    <p:cTn id="122" presetID="22" presetClass="entr" presetSubtype="4" fill="hold" grpId="0" nodeType="afterEffect">
                                      <p:stCondLst>
                                        <p:cond delay="0"/>
                                      </p:stCondLst>
                                      <p:childTnLst>
                                        <p:set>
                                          <p:cBhvr>
                                            <p:cTn id="123" dur="1" fill="hold">
                                              <p:stCondLst>
                                                <p:cond delay="0"/>
                                              </p:stCondLst>
                                            </p:cTn>
                                            <p:tgtEl>
                                              <p:spTgt spid="573"/>
                                            </p:tgtEl>
                                            <p:attrNameLst>
                                              <p:attrName>style.visibility</p:attrName>
                                            </p:attrNameLst>
                                          </p:cBhvr>
                                          <p:to>
                                            <p:strVal val="visible"/>
                                          </p:to>
                                        </p:set>
                                        <p:animEffect transition="in" filter="wipe(down)">
                                          <p:cBhvr>
                                            <p:cTn id="124" dur="500"/>
                                            <p:tgtEl>
                                              <p:spTgt spid="573"/>
                                            </p:tgtEl>
                                          </p:cBhvr>
                                        </p:animEffect>
                                      </p:childTnLst>
                                    </p:cTn>
                                  </p:par>
                                </p:childTnLst>
                              </p:cTn>
                            </p:par>
                            <p:par>
                              <p:cTn id="125" fill="hold">
                                <p:stCondLst>
                                  <p:cond delay="1000"/>
                                </p:stCondLst>
                                <p:childTnLst>
                                  <p:par>
                                    <p:cTn id="126" presetID="10" presetClass="entr" presetSubtype="0" fill="hold" grpId="0" nodeType="afterEffect">
                                      <p:stCondLst>
                                        <p:cond delay="0"/>
                                      </p:stCondLst>
                                      <p:childTnLst>
                                        <p:set>
                                          <p:cBhvr>
                                            <p:cTn id="127" dur="1" fill="hold">
                                              <p:stCondLst>
                                                <p:cond delay="0"/>
                                              </p:stCondLst>
                                            </p:cTn>
                                            <p:tgtEl>
                                              <p:spTgt spid="548"/>
                                            </p:tgtEl>
                                            <p:attrNameLst>
                                              <p:attrName>style.visibility</p:attrName>
                                            </p:attrNameLst>
                                          </p:cBhvr>
                                          <p:to>
                                            <p:strVal val="visible"/>
                                          </p:to>
                                        </p:set>
                                        <p:animEffect transition="in" filter="fade">
                                          <p:cBhvr>
                                            <p:cTn id="128" dur="500"/>
                                            <p:tgtEl>
                                              <p:spTgt spid="548"/>
                                            </p:tgtEl>
                                          </p:cBhvr>
                                        </p:animEffect>
                                      </p:childTnLst>
                                    </p:cTn>
                                  </p:par>
                                </p:childTnLst>
                              </p:cTn>
                            </p:par>
                          </p:childTnLst>
                        </p:cTn>
                      </p:par>
                      <p:par>
                        <p:cTn id="129" fill="hold">
                          <p:stCondLst>
                            <p:cond delay="indefinite"/>
                          </p:stCondLst>
                          <p:childTnLst>
                            <p:par>
                              <p:cTn id="130" fill="hold">
                                <p:stCondLst>
                                  <p:cond delay="0"/>
                                </p:stCondLst>
                                <p:childTnLst>
                                  <p:par>
                                    <p:cTn id="131" presetID="2" presetClass="entr" presetSubtype="1" fill="hold" nodeType="clickEffect" p14:presetBounceEnd="62000">
                                      <p:stCondLst>
                                        <p:cond delay="0"/>
                                      </p:stCondLst>
                                      <p:childTnLst>
                                        <p:set>
                                          <p:cBhvr>
                                            <p:cTn id="132" dur="1" fill="hold">
                                              <p:stCondLst>
                                                <p:cond delay="0"/>
                                              </p:stCondLst>
                                            </p:cTn>
                                            <p:tgtEl>
                                              <p:spTgt spid="538"/>
                                            </p:tgtEl>
                                            <p:attrNameLst>
                                              <p:attrName>style.visibility</p:attrName>
                                            </p:attrNameLst>
                                          </p:cBhvr>
                                          <p:to>
                                            <p:strVal val="visible"/>
                                          </p:to>
                                        </p:set>
                                        <p:anim calcmode="lin" valueType="num" p14:bounceEnd="62000">
                                          <p:cBhvr additive="base">
                                            <p:cTn id="133" dur="500" fill="hold"/>
                                            <p:tgtEl>
                                              <p:spTgt spid="538"/>
                                            </p:tgtEl>
                                            <p:attrNameLst>
                                              <p:attrName>ppt_x</p:attrName>
                                            </p:attrNameLst>
                                          </p:cBhvr>
                                          <p:tavLst>
                                            <p:tav tm="0">
                                              <p:val>
                                                <p:strVal val="#ppt_x"/>
                                              </p:val>
                                            </p:tav>
                                            <p:tav tm="100000">
                                              <p:val>
                                                <p:strVal val="#ppt_x"/>
                                              </p:val>
                                            </p:tav>
                                          </p:tavLst>
                                        </p:anim>
                                        <p:anim calcmode="lin" valueType="num" p14:bounceEnd="62000">
                                          <p:cBhvr additive="base">
                                            <p:cTn id="134" dur="500" fill="hold"/>
                                            <p:tgtEl>
                                              <p:spTgt spid="538"/>
                                            </p:tgtEl>
                                            <p:attrNameLst>
                                              <p:attrName>ppt_y</p:attrName>
                                            </p:attrNameLst>
                                          </p:cBhvr>
                                          <p:tavLst>
                                            <p:tav tm="0">
                                              <p:val>
                                                <p:strVal val="0-#ppt_h/2"/>
                                              </p:val>
                                            </p:tav>
                                            <p:tav tm="100000">
                                              <p:val>
                                                <p:strVal val="#ppt_y"/>
                                              </p:val>
                                            </p:tav>
                                          </p:tavLst>
                                        </p:anim>
                                      </p:childTnLst>
                                    </p:cTn>
                                  </p:par>
                                </p:childTnLst>
                              </p:cTn>
                            </p:par>
                            <p:par>
                              <p:cTn id="135" fill="hold">
                                <p:stCondLst>
                                  <p:cond delay="500"/>
                                </p:stCondLst>
                                <p:childTnLst>
                                  <p:par>
                                    <p:cTn id="136" presetID="22" presetClass="entr" presetSubtype="4" fill="hold" grpId="0" nodeType="afterEffect">
                                      <p:stCondLst>
                                        <p:cond delay="0"/>
                                      </p:stCondLst>
                                      <p:childTnLst>
                                        <p:set>
                                          <p:cBhvr>
                                            <p:cTn id="137" dur="1" fill="hold">
                                              <p:stCondLst>
                                                <p:cond delay="0"/>
                                              </p:stCondLst>
                                            </p:cTn>
                                            <p:tgtEl>
                                              <p:spTgt spid="582"/>
                                            </p:tgtEl>
                                            <p:attrNameLst>
                                              <p:attrName>style.visibility</p:attrName>
                                            </p:attrNameLst>
                                          </p:cBhvr>
                                          <p:to>
                                            <p:strVal val="visible"/>
                                          </p:to>
                                        </p:set>
                                        <p:animEffect transition="in" filter="wipe(down)">
                                          <p:cBhvr>
                                            <p:cTn id="138" dur="500"/>
                                            <p:tgtEl>
                                              <p:spTgt spid="582"/>
                                            </p:tgtEl>
                                          </p:cBhvr>
                                        </p:animEffect>
                                      </p:childTnLst>
                                    </p:cTn>
                                  </p:par>
                                </p:childTnLst>
                              </p:cTn>
                            </p:par>
                            <p:par>
                              <p:cTn id="139" fill="hold">
                                <p:stCondLst>
                                  <p:cond delay="1000"/>
                                </p:stCondLst>
                                <p:childTnLst>
                                  <p:par>
                                    <p:cTn id="140" presetID="10" presetClass="entr" presetSubtype="0" fill="hold" grpId="0" nodeType="afterEffect">
                                      <p:stCondLst>
                                        <p:cond delay="0"/>
                                      </p:stCondLst>
                                      <p:childTnLst>
                                        <p:set>
                                          <p:cBhvr>
                                            <p:cTn id="141" dur="1" fill="hold">
                                              <p:stCondLst>
                                                <p:cond delay="0"/>
                                              </p:stCondLst>
                                            </p:cTn>
                                            <p:tgtEl>
                                              <p:spTgt spid="540"/>
                                            </p:tgtEl>
                                            <p:attrNameLst>
                                              <p:attrName>style.visibility</p:attrName>
                                            </p:attrNameLst>
                                          </p:cBhvr>
                                          <p:to>
                                            <p:strVal val="visible"/>
                                          </p:to>
                                        </p:set>
                                        <p:animEffect transition="in" filter="fade">
                                          <p:cBhvr>
                                            <p:cTn id="142" dur="500"/>
                                            <p:tgtEl>
                                              <p:spTgt spid="540"/>
                                            </p:tgtEl>
                                          </p:cBhvr>
                                        </p:animEffect>
                                      </p:childTnLst>
                                    </p:cTn>
                                  </p:par>
                                </p:childTnLst>
                              </p:cTn>
                            </p:par>
                          </p:childTnLst>
                        </p:cTn>
                      </p:par>
                      <p:par>
                        <p:cTn id="143" fill="hold">
                          <p:stCondLst>
                            <p:cond delay="indefinite"/>
                          </p:stCondLst>
                          <p:childTnLst>
                            <p:par>
                              <p:cTn id="144" fill="hold">
                                <p:stCondLst>
                                  <p:cond delay="0"/>
                                </p:stCondLst>
                                <p:childTnLst>
                                  <p:par>
                                    <p:cTn id="145" presetID="2" presetClass="entr" presetSubtype="1" fill="hold" nodeType="clickEffect" p14:presetBounceEnd="62000">
                                      <p:stCondLst>
                                        <p:cond delay="0"/>
                                      </p:stCondLst>
                                      <p:childTnLst>
                                        <p:set>
                                          <p:cBhvr>
                                            <p:cTn id="146" dur="1" fill="hold">
                                              <p:stCondLst>
                                                <p:cond delay="0"/>
                                              </p:stCondLst>
                                            </p:cTn>
                                            <p:tgtEl>
                                              <p:spTgt spid="549"/>
                                            </p:tgtEl>
                                            <p:attrNameLst>
                                              <p:attrName>style.visibility</p:attrName>
                                            </p:attrNameLst>
                                          </p:cBhvr>
                                          <p:to>
                                            <p:strVal val="visible"/>
                                          </p:to>
                                        </p:set>
                                        <p:anim calcmode="lin" valueType="num" p14:bounceEnd="62000">
                                          <p:cBhvr additive="base">
                                            <p:cTn id="147" dur="500" fill="hold"/>
                                            <p:tgtEl>
                                              <p:spTgt spid="549"/>
                                            </p:tgtEl>
                                            <p:attrNameLst>
                                              <p:attrName>ppt_x</p:attrName>
                                            </p:attrNameLst>
                                          </p:cBhvr>
                                          <p:tavLst>
                                            <p:tav tm="0">
                                              <p:val>
                                                <p:strVal val="#ppt_x"/>
                                              </p:val>
                                            </p:tav>
                                            <p:tav tm="100000">
                                              <p:val>
                                                <p:strVal val="#ppt_x"/>
                                              </p:val>
                                            </p:tav>
                                          </p:tavLst>
                                        </p:anim>
                                        <p:anim calcmode="lin" valueType="num" p14:bounceEnd="62000">
                                          <p:cBhvr additive="base">
                                            <p:cTn id="148" dur="500" fill="hold"/>
                                            <p:tgtEl>
                                              <p:spTgt spid="549"/>
                                            </p:tgtEl>
                                            <p:attrNameLst>
                                              <p:attrName>ppt_y</p:attrName>
                                            </p:attrNameLst>
                                          </p:cBhvr>
                                          <p:tavLst>
                                            <p:tav tm="0">
                                              <p:val>
                                                <p:strVal val="0-#ppt_h/2"/>
                                              </p:val>
                                            </p:tav>
                                            <p:tav tm="100000">
                                              <p:val>
                                                <p:strVal val="#ppt_y"/>
                                              </p:val>
                                            </p:tav>
                                          </p:tavLst>
                                        </p:anim>
                                      </p:childTnLst>
                                    </p:cTn>
                                  </p:par>
                                </p:childTnLst>
                              </p:cTn>
                            </p:par>
                            <p:par>
                              <p:cTn id="149" fill="hold">
                                <p:stCondLst>
                                  <p:cond delay="500"/>
                                </p:stCondLst>
                                <p:childTnLst>
                                  <p:par>
                                    <p:cTn id="150" presetID="22" presetClass="entr" presetSubtype="4" fill="hold" grpId="0" nodeType="afterEffect">
                                      <p:stCondLst>
                                        <p:cond delay="0"/>
                                      </p:stCondLst>
                                      <p:childTnLst>
                                        <p:set>
                                          <p:cBhvr>
                                            <p:cTn id="151" dur="1" fill="hold">
                                              <p:stCondLst>
                                                <p:cond delay="0"/>
                                              </p:stCondLst>
                                            </p:cTn>
                                            <p:tgtEl>
                                              <p:spTgt spid="583"/>
                                            </p:tgtEl>
                                            <p:attrNameLst>
                                              <p:attrName>style.visibility</p:attrName>
                                            </p:attrNameLst>
                                          </p:cBhvr>
                                          <p:to>
                                            <p:strVal val="visible"/>
                                          </p:to>
                                        </p:set>
                                        <p:animEffect transition="in" filter="wipe(down)">
                                          <p:cBhvr>
                                            <p:cTn id="152" dur="500"/>
                                            <p:tgtEl>
                                              <p:spTgt spid="583"/>
                                            </p:tgtEl>
                                          </p:cBhvr>
                                        </p:animEffect>
                                      </p:childTnLst>
                                    </p:cTn>
                                  </p:par>
                                </p:childTnLst>
                              </p:cTn>
                            </p:par>
                            <p:par>
                              <p:cTn id="153" fill="hold">
                                <p:stCondLst>
                                  <p:cond delay="1000"/>
                                </p:stCondLst>
                                <p:childTnLst>
                                  <p:par>
                                    <p:cTn id="154" presetID="10" presetClass="entr" presetSubtype="0" fill="hold" grpId="0" nodeType="afterEffect">
                                      <p:stCondLst>
                                        <p:cond delay="0"/>
                                      </p:stCondLst>
                                      <p:childTnLst>
                                        <p:set>
                                          <p:cBhvr>
                                            <p:cTn id="155" dur="1" fill="hold">
                                              <p:stCondLst>
                                                <p:cond delay="0"/>
                                              </p:stCondLst>
                                            </p:cTn>
                                            <p:tgtEl>
                                              <p:spTgt spid="323"/>
                                            </p:tgtEl>
                                            <p:attrNameLst>
                                              <p:attrName>style.visibility</p:attrName>
                                            </p:attrNameLst>
                                          </p:cBhvr>
                                          <p:to>
                                            <p:strVal val="visible"/>
                                          </p:to>
                                        </p:set>
                                        <p:animEffect transition="in" filter="fade">
                                          <p:cBhvr>
                                            <p:cTn id="156" dur="500"/>
                                            <p:tgtEl>
                                              <p:spTgt spid="323"/>
                                            </p:tgtEl>
                                          </p:cBhvr>
                                        </p:animEffect>
                                      </p:childTnLst>
                                    </p:cTn>
                                  </p:par>
                                </p:childTnLst>
                              </p:cTn>
                            </p:par>
                          </p:childTnLst>
                        </p:cTn>
                      </p:par>
                      <p:par>
                        <p:cTn id="157" fill="hold">
                          <p:stCondLst>
                            <p:cond delay="indefinite"/>
                          </p:stCondLst>
                          <p:childTnLst>
                            <p:par>
                              <p:cTn id="158" fill="hold">
                                <p:stCondLst>
                                  <p:cond delay="0"/>
                                </p:stCondLst>
                                <p:childTnLst>
                                  <p:par>
                                    <p:cTn id="159" presetID="2" presetClass="entr" presetSubtype="1" fill="hold" nodeType="clickEffect" p14:presetBounceEnd="62000">
                                      <p:stCondLst>
                                        <p:cond delay="0"/>
                                      </p:stCondLst>
                                      <p:childTnLst>
                                        <p:set>
                                          <p:cBhvr>
                                            <p:cTn id="160" dur="1" fill="hold">
                                              <p:stCondLst>
                                                <p:cond delay="0"/>
                                              </p:stCondLst>
                                            </p:cTn>
                                            <p:tgtEl>
                                              <p:spTgt spid="556"/>
                                            </p:tgtEl>
                                            <p:attrNameLst>
                                              <p:attrName>style.visibility</p:attrName>
                                            </p:attrNameLst>
                                          </p:cBhvr>
                                          <p:to>
                                            <p:strVal val="visible"/>
                                          </p:to>
                                        </p:set>
                                        <p:anim calcmode="lin" valueType="num" p14:bounceEnd="62000">
                                          <p:cBhvr additive="base">
                                            <p:cTn id="161" dur="500" fill="hold"/>
                                            <p:tgtEl>
                                              <p:spTgt spid="556"/>
                                            </p:tgtEl>
                                            <p:attrNameLst>
                                              <p:attrName>ppt_x</p:attrName>
                                            </p:attrNameLst>
                                          </p:cBhvr>
                                          <p:tavLst>
                                            <p:tav tm="0">
                                              <p:val>
                                                <p:strVal val="#ppt_x"/>
                                              </p:val>
                                            </p:tav>
                                            <p:tav tm="100000">
                                              <p:val>
                                                <p:strVal val="#ppt_x"/>
                                              </p:val>
                                            </p:tav>
                                          </p:tavLst>
                                        </p:anim>
                                        <p:anim calcmode="lin" valueType="num" p14:bounceEnd="62000">
                                          <p:cBhvr additive="base">
                                            <p:cTn id="162" dur="500" fill="hold"/>
                                            <p:tgtEl>
                                              <p:spTgt spid="556"/>
                                            </p:tgtEl>
                                            <p:attrNameLst>
                                              <p:attrName>ppt_y</p:attrName>
                                            </p:attrNameLst>
                                          </p:cBhvr>
                                          <p:tavLst>
                                            <p:tav tm="0">
                                              <p:val>
                                                <p:strVal val="0-#ppt_h/2"/>
                                              </p:val>
                                            </p:tav>
                                            <p:tav tm="100000">
                                              <p:val>
                                                <p:strVal val="#ppt_y"/>
                                              </p:val>
                                            </p:tav>
                                          </p:tavLst>
                                        </p:anim>
                                      </p:childTnLst>
                                    </p:cTn>
                                  </p:par>
                                </p:childTnLst>
                              </p:cTn>
                            </p:par>
                            <p:par>
                              <p:cTn id="163" fill="hold">
                                <p:stCondLst>
                                  <p:cond delay="500"/>
                                </p:stCondLst>
                                <p:childTnLst>
                                  <p:par>
                                    <p:cTn id="164" presetID="22" presetClass="entr" presetSubtype="4" fill="hold" grpId="0" nodeType="afterEffect">
                                      <p:stCondLst>
                                        <p:cond delay="0"/>
                                      </p:stCondLst>
                                      <p:childTnLst>
                                        <p:set>
                                          <p:cBhvr>
                                            <p:cTn id="165" dur="1" fill="hold">
                                              <p:stCondLst>
                                                <p:cond delay="0"/>
                                              </p:stCondLst>
                                            </p:cTn>
                                            <p:tgtEl>
                                              <p:spTgt spid="581"/>
                                            </p:tgtEl>
                                            <p:attrNameLst>
                                              <p:attrName>style.visibility</p:attrName>
                                            </p:attrNameLst>
                                          </p:cBhvr>
                                          <p:to>
                                            <p:strVal val="visible"/>
                                          </p:to>
                                        </p:set>
                                        <p:animEffect transition="in" filter="wipe(down)">
                                          <p:cBhvr>
                                            <p:cTn id="166" dur="500"/>
                                            <p:tgtEl>
                                              <p:spTgt spid="581"/>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557"/>
                                            </p:tgtEl>
                                            <p:attrNameLst>
                                              <p:attrName>style.visibility</p:attrName>
                                            </p:attrNameLst>
                                          </p:cBhvr>
                                          <p:to>
                                            <p:strVal val="visible"/>
                                          </p:to>
                                        </p:set>
                                        <p:animEffect transition="in" filter="fade">
                                          <p:cBhvr>
                                            <p:cTn id="169" dur="500"/>
                                            <p:tgtEl>
                                              <p:spTgt spid="5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0" grpId="0"/>
          <p:bldP spid="542" grpId="0"/>
          <p:bldP spid="543" grpId="0"/>
          <p:bldP spid="544" grpId="0"/>
          <p:bldP spid="545" grpId="0"/>
          <p:bldP spid="546" grpId="0"/>
          <p:bldP spid="548" grpId="0"/>
          <p:bldP spid="552" grpId="0"/>
          <p:bldP spid="554" grpId="0"/>
          <p:bldP spid="557" grpId="0"/>
          <p:bldP spid="559" grpId="0"/>
          <p:bldP spid="570" grpId="0" animBg="1"/>
          <p:bldP spid="572" grpId="0" animBg="1"/>
          <p:bldP spid="573" grpId="0" animBg="1"/>
          <p:bldP spid="574" grpId="0" animBg="1"/>
          <p:bldP spid="575" grpId="0" animBg="1"/>
          <p:bldP spid="577" grpId="0" animBg="1"/>
          <p:bldP spid="578" grpId="0" animBg="1"/>
          <p:bldP spid="579" grpId="0" animBg="1"/>
          <p:bldP spid="580" grpId="0" animBg="1"/>
          <p:bldP spid="581" grpId="0" animBg="1"/>
          <p:bldP spid="582" grpId="0" animBg="1"/>
          <p:bldP spid="583" grpId="0" animBg="1"/>
          <p:bldP spid="323" grpId="0"/>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33"/>
                                            </p:tgtEl>
                                            <p:attrNameLst>
                                              <p:attrName>style.visibility</p:attrName>
                                            </p:attrNameLst>
                                          </p:cBhvr>
                                          <p:to>
                                            <p:strVal val="visible"/>
                                          </p:to>
                                        </p:set>
                                        <p:anim calcmode="lin" valueType="num">
                                          <p:cBhvr additive="base">
                                            <p:cTn id="7" dur="500" fill="hold"/>
                                            <p:tgtEl>
                                              <p:spTgt spid="533"/>
                                            </p:tgtEl>
                                            <p:attrNameLst>
                                              <p:attrName>ppt_x</p:attrName>
                                            </p:attrNameLst>
                                          </p:cBhvr>
                                          <p:tavLst>
                                            <p:tav tm="0">
                                              <p:val>
                                                <p:strVal val="#ppt_x"/>
                                              </p:val>
                                            </p:tav>
                                            <p:tav tm="100000">
                                              <p:val>
                                                <p:strVal val="#ppt_x"/>
                                              </p:val>
                                            </p:tav>
                                          </p:tavLst>
                                        </p:anim>
                                        <p:anim calcmode="lin" valueType="num">
                                          <p:cBhvr additive="base">
                                            <p:cTn id="8" dur="500" fill="hold"/>
                                            <p:tgtEl>
                                              <p:spTgt spid="53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4" fill="hold" grpId="0" nodeType="afterEffect">
                                      <p:stCondLst>
                                        <p:cond delay="0"/>
                                      </p:stCondLst>
                                      <p:childTnLst>
                                        <p:set>
                                          <p:cBhvr>
                                            <p:cTn id="11" dur="1" fill="hold">
                                              <p:stCondLst>
                                                <p:cond delay="0"/>
                                              </p:stCondLst>
                                            </p:cTn>
                                            <p:tgtEl>
                                              <p:spTgt spid="574"/>
                                            </p:tgtEl>
                                            <p:attrNameLst>
                                              <p:attrName>style.visibility</p:attrName>
                                            </p:attrNameLst>
                                          </p:cBhvr>
                                          <p:to>
                                            <p:strVal val="visible"/>
                                          </p:to>
                                        </p:set>
                                        <p:animEffect transition="in" filter="wipe(down)">
                                          <p:cBhvr>
                                            <p:cTn id="12" dur="500"/>
                                            <p:tgtEl>
                                              <p:spTgt spid="574"/>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542"/>
                                            </p:tgtEl>
                                            <p:attrNameLst>
                                              <p:attrName>style.visibility</p:attrName>
                                            </p:attrNameLst>
                                          </p:cBhvr>
                                          <p:to>
                                            <p:strVal val="visible"/>
                                          </p:to>
                                        </p:set>
                                        <p:animEffect transition="in" filter="fade">
                                          <p:cBhvr>
                                            <p:cTn id="16" dur="500"/>
                                            <p:tgtEl>
                                              <p:spTgt spid="542"/>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nodeType="clickEffect">
                                      <p:stCondLst>
                                        <p:cond delay="0"/>
                                      </p:stCondLst>
                                      <p:childTnLst>
                                        <p:set>
                                          <p:cBhvr>
                                            <p:cTn id="20" dur="1" fill="hold">
                                              <p:stCondLst>
                                                <p:cond delay="0"/>
                                              </p:stCondLst>
                                            </p:cTn>
                                            <p:tgtEl>
                                              <p:spTgt spid="535"/>
                                            </p:tgtEl>
                                            <p:attrNameLst>
                                              <p:attrName>style.visibility</p:attrName>
                                            </p:attrNameLst>
                                          </p:cBhvr>
                                          <p:to>
                                            <p:strVal val="visible"/>
                                          </p:to>
                                        </p:set>
                                        <p:anim calcmode="lin" valueType="num">
                                          <p:cBhvr additive="base">
                                            <p:cTn id="21" dur="500" fill="hold"/>
                                            <p:tgtEl>
                                              <p:spTgt spid="535"/>
                                            </p:tgtEl>
                                            <p:attrNameLst>
                                              <p:attrName>ppt_x</p:attrName>
                                            </p:attrNameLst>
                                          </p:cBhvr>
                                          <p:tavLst>
                                            <p:tav tm="0">
                                              <p:val>
                                                <p:strVal val="#ppt_x"/>
                                              </p:val>
                                            </p:tav>
                                            <p:tav tm="100000">
                                              <p:val>
                                                <p:strVal val="#ppt_x"/>
                                              </p:val>
                                            </p:tav>
                                          </p:tavLst>
                                        </p:anim>
                                        <p:anim calcmode="lin" valueType="num">
                                          <p:cBhvr additive="base">
                                            <p:cTn id="22" dur="500" fill="hold"/>
                                            <p:tgtEl>
                                              <p:spTgt spid="535"/>
                                            </p:tgtEl>
                                            <p:attrNameLst>
                                              <p:attrName>ppt_y</p:attrName>
                                            </p:attrNameLst>
                                          </p:cBhvr>
                                          <p:tavLst>
                                            <p:tav tm="0">
                                              <p:val>
                                                <p:strVal val="0-#ppt_h/2"/>
                                              </p:val>
                                            </p:tav>
                                            <p:tav tm="100000">
                                              <p:val>
                                                <p:strVal val="#ppt_y"/>
                                              </p:val>
                                            </p:tav>
                                          </p:tavLst>
                                        </p:anim>
                                      </p:childTnLst>
                                    </p:cTn>
                                  </p:par>
                                </p:childTnLst>
                              </p:cTn>
                            </p:par>
                            <p:par>
                              <p:cTn id="23" fill="hold">
                                <p:stCondLst>
                                  <p:cond delay="500"/>
                                </p:stCondLst>
                                <p:childTnLst>
                                  <p:par>
                                    <p:cTn id="24" presetID="22" presetClass="entr" presetSubtype="4" fill="hold" grpId="0" nodeType="afterEffect">
                                      <p:stCondLst>
                                        <p:cond delay="0"/>
                                      </p:stCondLst>
                                      <p:childTnLst>
                                        <p:set>
                                          <p:cBhvr>
                                            <p:cTn id="25" dur="1" fill="hold">
                                              <p:stCondLst>
                                                <p:cond delay="0"/>
                                              </p:stCondLst>
                                            </p:cTn>
                                            <p:tgtEl>
                                              <p:spTgt spid="578"/>
                                            </p:tgtEl>
                                            <p:attrNameLst>
                                              <p:attrName>style.visibility</p:attrName>
                                            </p:attrNameLst>
                                          </p:cBhvr>
                                          <p:to>
                                            <p:strVal val="visible"/>
                                          </p:to>
                                        </p:set>
                                        <p:animEffect transition="in" filter="wipe(down)">
                                          <p:cBhvr>
                                            <p:cTn id="26" dur="500"/>
                                            <p:tgtEl>
                                              <p:spTgt spid="578"/>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543"/>
                                            </p:tgtEl>
                                            <p:attrNameLst>
                                              <p:attrName>style.visibility</p:attrName>
                                            </p:attrNameLst>
                                          </p:cBhvr>
                                          <p:to>
                                            <p:strVal val="visible"/>
                                          </p:to>
                                        </p:set>
                                        <p:animEffect transition="in" filter="fade">
                                          <p:cBhvr>
                                            <p:cTn id="30" dur="500"/>
                                            <p:tgtEl>
                                              <p:spTgt spid="543"/>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nodeType="clickEffect">
                                      <p:stCondLst>
                                        <p:cond delay="0"/>
                                      </p:stCondLst>
                                      <p:childTnLst>
                                        <p:set>
                                          <p:cBhvr>
                                            <p:cTn id="34" dur="1" fill="hold">
                                              <p:stCondLst>
                                                <p:cond delay="0"/>
                                              </p:stCondLst>
                                            </p:cTn>
                                            <p:tgtEl>
                                              <p:spTgt spid="534"/>
                                            </p:tgtEl>
                                            <p:attrNameLst>
                                              <p:attrName>style.visibility</p:attrName>
                                            </p:attrNameLst>
                                          </p:cBhvr>
                                          <p:to>
                                            <p:strVal val="visible"/>
                                          </p:to>
                                        </p:set>
                                        <p:anim calcmode="lin" valueType="num">
                                          <p:cBhvr additive="base">
                                            <p:cTn id="35" dur="500" fill="hold"/>
                                            <p:tgtEl>
                                              <p:spTgt spid="534"/>
                                            </p:tgtEl>
                                            <p:attrNameLst>
                                              <p:attrName>ppt_x</p:attrName>
                                            </p:attrNameLst>
                                          </p:cBhvr>
                                          <p:tavLst>
                                            <p:tav tm="0">
                                              <p:val>
                                                <p:strVal val="#ppt_x"/>
                                              </p:val>
                                            </p:tav>
                                            <p:tav tm="100000">
                                              <p:val>
                                                <p:strVal val="#ppt_x"/>
                                              </p:val>
                                            </p:tav>
                                          </p:tavLst>
                                        </p:anim>
                                        <p:anim calcmode="lin" valueType="num">
                                          <p:cBhvr additive="base">
                                            <p:cTn id="36" dur="500" fill="hold"/>
                                            <p:tgtEl>
                                              <p:spTgt spid="534"/>
                                            </p:tgtEl>
                                            <p:attrNameLst>
                                              <p:attrName>ppt_y</p:attrName>
                                            </p:attrNameLst>
                                          </p:cBhvr>
                                          <p:tavLst>
                                            <p:tav tm="0">
                                              <p:val>
                                                <p:strVal val="0-#ppt_h/2"/>
                                              </p:val>
                                            </p:tav>
                                            <p:tav tm="100000">
                                              <p:val>
                                                <p:strVal val="#ppt_y"/>
                                              </p:val>
                                            </p:tav>
                                          </p:tavLst>
                                        </p:anim>
                                      </p:childTnLst>
                                    </p:cTn>
                                  </p:par>
                                </p:childTnLst>
                              </p:cTn>
                            </p:par>
                            <p:par>
                              <p:cTn id="37" fill="hold">
                                <p:stCondLst>
                                  <p:cond delay="500"/>
                                </p:stCondLst>
                                <p:childTnLst>
                                  <p:par>
                                    <p:cTn id="38" presetID="22" presetClass="entr" presetSubtype="4" fill="hold" grpId="0" nodeType="afterEffect">
                                      <p:stCondLst>
                                        <p:cond delay="0"/>
                                      </p:stCondLst>
                                      <p:childTnLst>
                                        <p:set>
                                          <p:cBhvr>
                                            <p:cTn id="39" dur="1" fill="hold">
                                              <p:stCondLst>
                                                <p:cond delay="0"/>
                                              </p:stCondLst>
                                            </p:cTn>
                                            <p:tgtEl>
                                              <p:spTgt spid="580"/>
                                            </p:tgtEl>
                                            <p:attrNameLst>
                                              <p:attrName>style.visibility</p:attrName>
                                            </p:attrNameLst>
                                          </p:cBhvr>
                                          <p:to>
                                            <p:strVal val="visible"/>
                                          </p:to>
                                        </p:set>
                                        <p:animEffect transition="in" filter="wipe(down)">
                                          <p:cBhvr>
                                            <p:cTn id="40" dur="500"/>
                                            <p:tgtEl>
                                              <p:spTgt spid="580"/>
                                            </p:tgtEl>
                                          </p:cBhvr>
                                        </p:animEffect>
                                      </p:childTnLst>
                                    </p:cTn>
                                  </p:par>
                                </p:childTnLst>
                              </p:cTn>
                            </p:par>
                            <p:par>
                              <p:cTn id="41" fill="hold">
                                <p:stCondLst>
                                  <p:cond delay="1000"/>
                                </p:stCondLst>
                                <p:childTnLst>
                                  <p:par>
                                    <p:cTn id="42" presetID="10" presetClass="entr" presetSubtype="0" fill="hold" grpId="0" nodeType="afterEffect">
                                      <p:stCondLst>
                                        <p:cond delay="0"/>
                                      </p:stCondLst>
                                      <p:childTnLst>
                                        <p:set>
                                          <p:cBhvr>
                                            <p:cTn id="43" dur="1" fill="hold">
                                              <p:stCondLst>
                                                <p:cond delay="0"/>
                                              </p:stCondLst>
                                            </p:cTn>
                                            <p:tgtEl>
                                              <p:spTgt spid="544"/>
                                            </p:tgtEl>
                                            <p:attrNameLst>
                                              <p:attrName>style.visibility</p:attrName>
                                            </p:attrNameLst>
                                          </p:cBhvr>
                                          <p:to>
                                            <p:strVal val="visible"/>
                                          </p:to>
                                        </p:set>
                                        <p:animEffect transition="in" filter="fade">
                                          <p:cBhvr>
                                            <p:cTn id="44" dur="500"/>
                                            <p:tgtEl>
                                              <p:spTgt spid="544"/>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1" fill="hold" nodeType="clickEffect">
                                      <p:stCondLst>
                                        <p:cond delay="0"/>
                                      </p:stCondLst>
                                      <p:childTnLst>
                                        <p:set>
                                          <p:cBhvr>
                                            <p:cTn id="48" dur="1" fill="hold">
                                              <p:stCondLst>
                                                <p:cond delay="0"/>
                                              </p:stCondLst>
                                            </p:cTn>
                                            <p:tgtEl>
                                              <p:spTgt spid="536"/>
                                            </p:tgtEl>
                                            <p:attrNameLst>
                                              <p:attrName>style.visibility</p:attrName>
                                            </p:attrNameLst>
                                          </p:cBhvr>
                                          <p:to>
                                            <p:strVal val="visible"/>
                                          </p:to>
                                        </p:set>
                                        <p:anim calcmode="lin" valueType="num">
                                          <p:cBhvr additive="base">
                                            <p:cTn id="49" dur="500" fill="hold"/>
                                            <p:tgtEl>
                                              <p:spTgt spid="536"/>
                                            </p:tgtEl>
                                            <p:attrNameLst>
                                              <p:attrName>ppt_x</p:attrName>
                                            </p:attrNameLst>
                                          </p:cBhvr>
                                          <p:tavLst>
                                            <p:tav tm="0">
                                              <p:val>
                                                <p:strVal val="#ppt_x"/>
                                              </p:val>
                                            </p:tav>
                                            <p:tav tm="100000">
                                              <p:val>
                                                <p:strVal val="#ppt_x"/>
                                              </p:val>
                                            </p:tav>
                                          </p:tavLst>
                                        </p:anim>
                                        <p:anim calcmode="lin" valueType="num">
                                          <p:cBhvr additive="base">
                                            <p:cTn id="50" dur="500" fill="hold"/>
                                            <p:tgtEl>
                                              <p:spTgt spid="536"/>
                                            </p:tgtEl>
                                            <p:attrNameLst>
                                              <p:attrName>ppt_y</p:attrName>
                                            </p:attrNameLst>
                                          </p:cBhvr>
                                          <p:tavLst>
                                            <p:tav tm="0">
                                              <p:val>
                                                <p:strVal val="0-#ppt_h/2"/>
                                              </p:val>
                                            </p:tav>
                                            <p:tav tm="100000">
                                              <p:val>
                                                <p:strVal val="#ppt_y"/>
                                              </p:val>
                                            </p:tav>
                                          </p:tavLst>
                                        </p:anim>
                                      </p:childTnLst>
                                    </p:cTn>
                                  </p:par>
                                </p:childTnLst>
                              </p:cTn>
                            </p:par>
                            <p:par>
                              <p:cTn id="51" fill="hold">
                                <p:stCondLst>
                                  <p:cond delay="500"/>
                                </p:stCondLst>
                                <p:childTnLst>
                                  <p:par>
                                    <p:cTn id="52" presetID="22" presetClass="entr" presetSubtype="4" fill="hold" grpId="0" nodeType="afterEffect">
                                      <p:stCondLst>
                                        <p:cond delay="0"/>
                                      </p:stCondLst>
                                      <p:childTnLst>
                                        <p:set>
                                          <p:cBhvr>
                                            <p:cTn id="53" dur="1" fill="hold">
                                              <p:stCondLst>
                                                <p:cond delay="0"/>
                                              </p:stCondLst>
                                            </p:cTn>
                                            <p:tgtEl>
                                              <p:spTgt spid="579"/>
                                            </p:tgtEl>
                                            <p:attrNameLst>
                                              <p:attrName>style.visibility</p:attrName>
                                            </p:attrNameLst>
                                          </p:cBhvr>
                                          <p:to>
                                            <p:strVal val="visible"/>
                                          </p:to>
                                        </p:set>
                                        <p:animEffect transition="in" filter="wipe(down)">
                                          <p:cBhvr>
                                            <p:cTn id="54" dur="500"/>
                                            <p:tgtEl>
                                              <p:spTgt spid="579"/>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545"/>
                                            </p:tgtEl>
                                            <p:attrNameLst>
                                              <p:attrName>style.visibility</p:attrName>
                                            </p:attrNameLst>
                                          </p:cBhvr>
                                          <p:to>
                                            <p:strVal val="visible"/>
                                          </p:to>
                                        </p:set>
                                        <p:animEffect transition="in" filter="fade">
                                          <p:cBhvr>
                                            <p:cTn id="58" dur="500"/>
                                            <p:tgtEl>
                                              <p:spTgt spid="545"/>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1" fill="hold" nodeType="clickEffect">
                                      <p:stCondLst>
                                        <p:cond delay="0"/>
                                      </p:stCondLst>
                                      <p:childTnLst>
                                        <p:set>
                                          <p:cBhvr>
                                            <p:cTn id="62" dur="1" fill="hold">
                                              <p:stCondLst>
                                                <p:cond delay="0"/>
                                              </p:stCondLst>
                                            </p:cTn>
                                            <p:tgtEl>
                                              <p:spTgt spid="537"/>
                                            </p:tgtEl>
                                            <p:attrNameLst>
                                              <p:attrName>style.visibility</p:attrName>
                                            </p:attrNameLst>
                                          </p:cBhvr>
                                          <p:to>
                                            <p:strVal val="visible"/>
                                          </p:to>
                                        </p:set>
                                        <p:anim calcmode="lin" valueType="num">
                                          <p:cBhvr additive="base">
                                            <p:cTn id="63" dur="500" fill="hold"/>
                                            <p:tgtEl>
                                              <p:spTgt spid="537"/>
                                            </p:tgtEl>
                                            <p:attrNameLst>
                                              <p:attrName>ppt_x</p:attrName>
                                            </p:attrNameLst>
                                          </p:cBhvr>
                                          <p:tavLst>
                                            <p:tav tm="0">
                                              <p:val>
                                                <p:strVal val="#ppt_x"/>
                                              </p:val>
                                            </p:tav>
                                            <p:tav tm="100000">
                                              <p:val>
                                                <p:strVal val="#ppt_x"/>
                                              </p:val>
                                            </p:tav>
                                          </p:tavLst>
                                        </p:anim>
                                        <p:anim calcmode="lin" valueType="num">
                                          <p:cBhvr additive="base">
                                            <p:cTn id="64" dur="500" fill="hold"/>
                                            <p:tgtEl>
                                              <p:spTgt spid="537"/>
                                            </p:tgtEl>
                                            <p:attrNameLst>
                                              <p:attrName>ppt_y</p:attrName>
                                            </p:attrNameLst>
                                          </p:cBhvr>
                                          <p:tavLst>
                                            <p:tav tm="0">
                                              <p:val>
                                                <p:strVal val="0-#ppt_h/2"/>
                                              </p:val>
                                            </p:tav>
                                            <p:tav tm="100000">
                                              <p:val>
                                                <p:strVal val="#ppt_y"/>
                                              </p:val>
                                            </p:tav>
                                          </p:tavLst>
                                        </p:anim>
                                      </p:childTnLst>
                                    </p:cTn>
                                  </p:par>
                                </p:childTnLst>
                              </p:cTn>
                            </p:par>
                            <p:par>
                              <p:cTn id="65" fill="hold">
                                <p:stCondLst>
                                  <p:cond delay="500"/>
                                </p:stCondLst>
                                <p:childTnLst>
                                  <p:par>
                                    <p:cTn id="66" presetID="22" presetClass="entr" presetSubtype="4" fill="hold" grpId="0" nodeType="afterEffect">
                                      <p:stCondLst>
                                        <p:cond delay="0"/>
                                      </p:stCondLst>
                                      <p:childTnLst>
                                        <p:set>
                                          <p:cBhvr>
                                            <p:cTn id="67" dur="1" fill="hold">
                                              <p:stCondLst>
                                                <p:cond delay="0"/>
                                              </p:stCondLst>
                                            </p:cTn>
                                            <p:tgtEl>
                                              <p:spTgt spid="577"/>
                                            </p:tgtEl>
                                            <p:attrNameLst>
                                              <p:attrName>style.visibility</p:attrName>
                                            </p:attrNameLst>
                                          </p:cBhvr>
                                          <p:to>
                                            <p:strVal val="visible"/>
                                          </p:to>
                                        </p:set>
                                        <p:animEffect transition="in" filter="wipe(down)">
                                          <p:cBhvr>
                                            <p:cTn id="68" dur="500"/>
                                            <p:tgtEl>
                                              <p:spTgt spid="577"/>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546"/>
                                            </p:tgtEl>
                                            <p:attrNameLst>
                                              <p:attrName>style.visibility</p:attrName>
                                            </p:attrNameLst>
                                          </p:cBhvr>
                                          <p:to>
                                            <p:strVal val="visible"/>
                                          </p:to>
                                        </p:set>
                                        <p:animEffect transition="in" filter="fade">
                                          <p:cBhvr>
                                            <p:cTn id="72" dur="500"/>
                                            <p:tgtEl>
                                              <p:spTgt spid="546"/>
                                            </p:tgtEl>
                                          </p:cBhvr>
                                        </p:animEffect>
                                      </p:childTnLst>
                                    </p:cTn>
                                  </p:par>
                                </p:childTnLst>
                              </p:cTn>
                            </p:par>
                          </p:childTnLst>
                        </p:cTn>
                      </p:par>
                      <p:par>
                        <p:cTn id="73" fill="hold">
                          <p:stCondLst>
                            <p:cond delay="indefinite"/>
                          </p:stCondLst>
                          <p:childTnLst>
                            <p:par>
                              <p:cTn id="74" fill="hold">
                                <p:stCondLst>
                                  <p:cond delay="0"/>
                                </p:stCondLst>
                                <p:childTnLst>
                                  <p:par>
                                    <p:cTn id="75" presetID="2" presetClass="entr" presetSubtype="1" fill="hold" nodeType="clickEffect">
                                      <p:stCondLst>
                                        <p:cond delay="0"/>
                                      </p:stCondLst>
                                      <p:childTnLst>
                                        <p:set>
                                          <p:cBhvr>
                                            <p:cTn id="76" dur="1" fill="hold">
                                              <p:stCondLst>
                                                <p:cond delay="0"/>
                                              </p:stCondLst>
                                            </p:cTn>
                                            <p:tgtEl>
                                              <p:spTgt spid="558"/>
                                            </p:tgtEl>
                                            <p:attrNameLst>
                                              <p:attrName>style.visibility</p:attrName>
                                            </p:attrNameLst>
                                          </p:cBhvr>
                                          <p:to>
                                            <p:strVal val="visible"/>
                                          </p:to>
                                        </p:set>
                                        <p:anim calcmode="lin" valueType="num">
                                          <p:cBhvr additive="base">
                                            <p:cTn id="77" dur="500" fill="hold"/>
                                            <p:tgtEl>
                                              <p:spTgt spid="558"/>
                                            </p:tgtEl>
                                            <p:attrNameLst>
                                              <p:attrName>ppt_x</p:attrName>
                                            </p:attrNameLst>
                                          </p:cBhvr>
                                          <p:tavLst>
                                            <p:tav tm="0">
                                              <p:val>
                                                <p:strVal val="#ppt_x"/>
                                              </p:val>
                                            </p:tav>
                                            <p:tav tm="100000">
                                              <p:val>
                                                <p:strVal val="#ppt_x"/>
                                              </p:val>
                                            </p:tav>
                                          </p:tavLst>
                                        </p:anim>
                                        <p:anim calcmode="lin" valueType="num">
                                          <p:cBhvr additive="base">
                                            <p:cTn id="78" dur="500" fill="hold"/>
                                            <p:tgtEl>
                                              <p:spTgt spid="558"/>
                                            </p:tgtEl>
                                            <p:attrNameLst>
                                              <p:attrName>ppt_y</p:attrName>
                                            </p:attrNameLst>
                                          </p:cBhvr>
                                          <p:tavLst>
                                            <p:tav tm="0">
                                              <p:val>
                                                <p:strVal val="0-#ppt_h/2"/>
                                              </p:val>
                                            </p:tav>
                                            <p:tav tm="100000">
                                              <p:val>
                                                <p:strVal val="#ppt_y"/>
                                              </p:val>
                                            </p:tav>
                                          </p:tavLst>
                                        </p:anim>
                                      </p:childTnLst>
                                    </p:cTn>
                                  </p:par>
                                </p:childTnLst>
                              </p:cTn>
                            </p:par>
                            <p:par>
                              <p:cTn id="79" fill="hold">
                                <p:stCondLst>
                                  <p:cond delay="500"/>
                                </p:stCondLst>
                                <p:childTnLst>
                                  <p:par>
                                    <p:cTn id="80" presetID="22" presetClass="entr" presetSubtype="4" fill="hold" grpId="0" nodeType="afterEffect">
                                      <p:stCondLst>
                                        <p:cond delay="0"/>
                                      </p:stCondLst>
                                      <p:childTnLst>
                                        <p:set>
                                          <p:cBhvr>
                                            <p:cTn id="81" dur="1" fill="hold">
                                              <p:stCondLst>
                                                <p:cond delay="0"/>
                                              </p:stCondLst>
                                            </p:cTn>
                                            <p:tgtEl>
                                              <p:spTgt spid="575"/>
                                            </p:tgtEl>
                                            <p:attrNameLst>
                                              <p:attrName>style.visibility</p:attrName>
                                            </p:attrNameLst>
                                          </p:cBhvr>
                                          <p:to>
                                            <p:strVal val="visible"/>
                                          </p:to>
                                        </p:set>
                                        <p:animEffect transition="in" filter="wipe(down)">
                                          <p:cBhvr>
                                            <p:cTn id="82" dur="500"/>
                                            <p:tgtEl>
                                              <p:spTgt spid="57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559"/>
                                            </p:tgtEl>
                                            <p:attrNameLst>
                                              <p:attrName>style.visibility</p:attrName>
                                            </p:attrNameLst>
                                          </p:cBhvr>
                                          <p:to>
                                            <p:strVal val="visible"/>
                                          </p:to>
                                        </p:set>
                                        <p:animEffect transition="in" filter="fade">
                                          <p:cBhvr>
                                            <p:cTn id="86" dur="500"/>
                                            <p:tgtEl>
                                              <p:spTgt spid="559"/>
                                            </p:tgtEl>
                                          </p:cBhvr>
                                        </p:animEffect>
                                      </p:childTnLst>
                                    </p:cTn>
                                  </p:par>
                                </p:childTnLst>
                              </p:cTn>
                            </p:par>
                          </p:childTnLst>
                        </p:cTn>
                      </p:par>
                      <p:par>
                        <p:cTn id="87" fill="hold">
                          <p:stCondLst>
                            <p:cond delay="indefinite"/>
                          </p:stCondLst>
                          <p:childTnLst>
                            <p:par>
                              <p:cTn id="88" fill="hold">
                                <p:stCondLst>
                                  <p:cond delay="0"/>
                                </p:stCondLst>
                                <p:childTnLst>
                                  <p:par>
                                    <p:cTn id="89" presetID="2" presetClass="entr" presetSubtype="1" fill="hold" nodeType="clickEffect">
                                      <p:stCondLst>
                                        <p:cond delay="0"/>
                                      </p:stCondLst>
                                      <p:childTnLst>
                                        <p:set>
                                          <p:cBhvr>
                                            <p:cTn id="90" dur="1" fill="hold">
                                              <p:stCondLst>
                                                <p:cond delay="0"/>
                                              </p:stCondLst>
                                            </p:cTn>
                                            <p:tgtEl>
                                              <p:spTgt spid="551"/>
                                            </p:tgtEl>
                                            <p:attrNameLst>
                                              <p:attrName>style.visibility</p:attrName>
                                            </p:attrNameLst>
                                          </p:cBhvr>
                                          <p:to>
                                            <p:strVal val="visible"/>
                                          </p:to>
                                        </p:set>
                                        <p:anim calcmode="lin" valueType="num">
                                          <p:cBhvr additive="base">
                                            <p:cTn id="91" dur="500" fill="hold"/>
                                            <p:tgtEl>
                                              <p:spTgt spid="551"/>
                                            </p:tgtEl>
                                            <p:attrNameLst>
                                              <p:attrName>ppt_x</p:attrName>
                                            </p:attrNameLst>
                                          </p:cBhvr>
                                          <p:tavLst>
                                            <p:tav tm="0">
                                              <p:val>
                                                <p:strVal val="#ppt_x"/>
                                              </p:val>
                                            </p:tav>
                                            <p:tav tm="100000">
                                              <p:val>
                                                <p:strVal val="#ppt_x"/>
                                              </p:val>
                                            </p:tav>
                                          </p:tavLst>
                                        </p:anim>
                                        <p:anim calcmode="lin" valueType="num">
                                          <p:cBhvr additive="base">
                                            <p:cTn id="92" dur="500" fill="hold"/>
                                            <p:tgtEl>
                                              <p:spTgt spid="551"/>
                                            </p:tgtEl>
                                            <p:attrNameLst>
                                              <p:attrName>ppt_y</p:attrName>
                                            </p:attrNameLst>
                                          </p:cBhvr>
                                          <p:tavLst>
                                            <p:tav tm="0">
                                              <p:val>
                                                <p:strVal val="0-#ppt_h/2"/>
                                              </p:val>
                                            </p:tav>
                                            <p:tav tm="100000">
                                              <p:val>
                                                <p:strVal val="#ppt_y"/>
                                              </p:val>
                                            </p:tav>
                                          </p:tavLst>
                                        </p:anim>
                                      </p:childTnLst>
                                    </p:cTn>
                                  </p:par>
                                </p:childTnLst>
                              </p:cTn>
                            </p:par>
                            <p:par>
                              <p:cTn id="93" fill="hold">
                                <p:stCondLst>
                                  <p:cond delay="500"/>
                                </p:stCondLst>
                                <p:childTnLst>
                                  <p:par>
                                    <p:cTn id="94" presetID="22" presetClass="entr" presetSubtype="4" fill="hold" grpId="0" nodeType="afterEffect">
                                      <p:stCondLst>
                                        <p:cond delay="0"/>
                                      </p:stCondLst>
                                      <p:childTnLst>
                                        <p:set>
                                          <p:cBhvr>
                                            <p:cTn id="95" dur="1" fill="hold">
                                              <p:stCondLst>
                                                <p:cond delay="0"/>
                                              </p:stCondLst>
                                            </p:cTn>
                                            <p:tgtEl>
                                              <p:spTgt spid="570"/>
                                            </p:tgtEl>
                                            <p:attrNameLst>
                                              <p:attrName>style.visibility</p:attrName>
                                            </p:attrNameLst>
                                          </p:cBhvr>
                                          <p:to>
                                            <p:strVal val="visible"/>
                                          </p:to>
                                        </p:set>
                                        <p:animEffect transition="in" filter="wipe(down)">
                                          <p:cBhvr>
                                            <p:cTn id="96" dur="500"/>
                                            <p:tgtEl>
                                              <p:spTgt spid="570"/>
                                            </p:tgtEl>
                                          </p:cBhvr>
                                        </p:animEffect>
                                      </p:childTnLst>
                                    </p:cTn>
                                  </p:par>
                                </p:childTnLst>
                              </p:cTn>
                            </p:par>
                            <p:par>
                              <p:cTn id="97" fill="hold">
                                <p:stCondLst>
                                  <p:cond delay="1000"/>
                                </p:stCondLst>
                                <p:childTnLst>
                                  <p:par>
                                    <p:cTn id="98" presetID="10" presetClass="entr" presetSubtype="0" fill="hold" grpId="0" nodeType="afterEffect">
                                      <p:stCondLst>
                                        <p:cond delay="0"/>
                                      </p:stCondLst>
                                      <p:childTnLst>
                                        <p:set>
                                          <p:cBhvr>
                                            <p:cTn id="99" dur="1" fill="hold">
                                              <p:stCondLst>
                                                <p:cond delay="0"/>
                                              </p:stCondLst>
                                            </p:cTn>
                                            <p:tgtEl>
                                              <p:spTgt spid="552"/>
                                            </p:tgtEl>
                                            <p:attrNameLst>
                                              <p:attrName>style.visibility</p:attrName>
                                            </p:attrNameLst>
                                          </p:cBhvr>
                                          <p:to>
                                            <p:strVal val="visible"/>
                                          </p:to>
                                        </p:set>
                                        <p:animEffect transition="in" filter="fade">
                                          <p:cBhvr>
                                            <p:cTn id="100" dur="500"/>
                                            <p:tgtEl>
                                              <p:spTgt spid="552"/>
                                            </p:tgtEl>
                                          </p:cBhvr>
                                        </p:animEffect>
                                      </p:childTnLst>
                                    </p:cTn>
                                  </p:par>
                                </p:childTnLst>
                              </p:cTn>
                            </p:par>
                          </p:childTnLst>
                        </p:cTn>
                      </p:par>
                      <p:par>
                        <p:cTn id="101" fill="hold">
                          <p:stCondLst>
                            <p:cond delay="indefinite"/>
                          </p:stCondLst>
                          <p:childTnLst>
                            <p:par>
                              <p:cTn id="102" fill="hold">
                                <p:stCondLst>
                                  <p:cond delay="0"/>
                                </p:stCondLst>
                                <p:childTnLst>
                                  <p:par>
                                    <p:cTn id="103" presetID="2" presetClass="entr" presetSubtype="1" fill="hold" nodeType="clickEffect">
                                      <p:stCondLst>
                                        <p:cond delay="0"/>
                                      </p:stCondLst>
                                      <p:childTnLst>
                                        <p:set>
                                          <p:cBhvr>
                                            <p:cTn id="104" dur="1" fill="hold">
                                              <p:stCondLst>
                                                <p:cond delay="0"/>
                                              </p:stCondLst>
                                            </p:cTn>
                                            <p:tgtEl>
                                              <p:spTgt spid="553"/>
                                            </p:tgtEl>
                                            <p:attrNameLst>
                                              <p:attrName>style.visibility</p:attrName>
                                            </p:attrNameLst>
                                          </p:cBhvr>
                                          <p:to>
                                            <p:strVal val="visible"/>
                                          </p:to>
                                        </p:set>
                                        <p:anim calcmode="lin" valueType="num">
                                          <p:cBhvr additive="base">
                                            <p:cTn id="105" dur="500" fill="hold"/>
                                            <p:tgtEl>
                                              <p:spTgt spid="553"/>
                                            </p:tgtEl>
                                            <p:attrNameLst>
                                              <p:attrName>ppt_x</p:attrName>
                                            </p:attrNameLst>
                                          </p:cBhvr>
                                          <p:tavLst>
                                            <p:tav tm="0">
                                              <p:val>
                                                <p:strVal val="#ppt_x"/>
                                              </p:val>
                                            </p:tav>
                                            <p:tav tm="100000">
                                              <p:val>
                                                <p:strVal val="#ppt_x"/>
                                              </p:val>
                                            </p:tav>
                                          </p:tavLst>
                                        </p:anim>
                                        <p:anim calcmode="lin" valueType="num">
                                          <p:cBhvr additive="base">
                                            <p:cTn id="106" dur="500" fill="hold"/>
                                            <p:tgtEl>
                                              <p:spTgt spid="553"/>
                                            </p:tgtEl>
                                            <p:attrNameLst>
                                              <p:attrName>ppt_y</p:attrName>
                                            </p:attrNameLst>
                                          </p:cBhvr>
                                          <p:tavLst>
                                            <p:tav tm="0">
                                              <p:val>
                                                <p:strVal val="0-#ppt_h/2"/>
                                              </p:val>
                                            </p:tav>
                                            <p:tav tm="100000">
                                              <p:val>
                                                <p:strVal val="#ppt_y"/>
                                              </p:val>
                                            </p:tav>
                                          </p:tavLst>
                                        </p:anim>
                                      </p:childTnLst>
                                    </p:cTn>
                                  </p:par>
                                </p:childTnLst>
                              </p:cTn>
                            </p:par>
                            <p:par>
                              <p:cTn id="107" fill="hold">
                                <p:stCondLst>
                                  <p:cond delay="500"/>
                                </p:stCondLst>
                                <p:childTnLst>
                                  <p:par>
                                    <p:cTn id="108" presetID="22" presetClass="entr" presetSubtype="4" fill="hold" grpId="0" nodeType="afterEffect">
                                      <p:stCondLst>
                                        <p:cond delay="0"/>
                                      </p:stCondLst>
                                      <p:childTnLst>
                                        <p:set>
                                          <p:cBhvr>
                                            <p:cTn id="109" dur="1" fill="hold">
                                              <p:stCondLst>
                                                <p:cond delay="0"/>
                                              </p:stCondLst>
                                            </p:cTn>
                                            <p:tgtEl>
                                              <p:spTgt spid="572"/>
                                            </p:tgtEl>
                                            <p:attrNameLst>
                                              <p:attrName>style.visibility</p:attrName>
                                            </p:attrNameLst>
                                          </p:cBhvr>
                                          <p:to>
                                            <p:strVal val="visible"/>
                                          </p:to>
                                        </p:set>
                                        <p:animEffect transition="in" filter="wipe(down)">
                                          <p:cBhvr>
                                            <p:cTn id="110" dur="500"/>
                                            <p:tgtEl>
                                              <p:spTgt spid="572"/>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54"/>
                                            </p:tgtEl>
                                            <p:attrNameLst>
                                              <p:attrName>style.visibility</p:attrName>
                                            </p:attrNameLst>
                                          </p:cBhvr>
                                          <p:to>
                                            <p:strVal val="visible"/>
                                          </p:to>
                                        </p:set>
                                        <p:animEffect transition="in" filter="fade">
                                          <p:cBhvr>
                                            <p:cTn id="114" dur="500"/>
                                            <p:tgtEl>
                                              <p:spTgt spid="554"/>
                                            </p:tgtEl>
                                          </p:cBhvr>
                                        </p:animEffect>
                                      </p:childTnLst>
                                    </p:cTn>
                                  </p:par>
                                </p:childTnLst>
                              </p:cTn>
                            </p:par>
                          </p:childTnLst>
                        </p:cTn>
                      </p:par>
                      <p:par>
                        <p:cTn id="115" fill="hold">
                          <p:stCondLst>
                            <p:cond delay="indefinite"/>
                          </p:stCondLst>
                          <p:childTnLst>
                            <p:par>
                              <p:cTn id="116" fill="hold">
                                <p:stCondLst>
                                  <p:cond delay="0"/>
                                </p:stCondLst>
                                <p:childTnLst>
                                  <p:par>
                                    <p:cTn id="117" presetID="2" presetClass="entr" presetSubtype="1" fill="hold" nodeType="clickEffect">
                                      <p:stCondLst>
                                        <p:cond delay="0"/>
                                      </p:stCondLst>
                                      <p:childTnLst>
                                        <p:set>
                                          <p:cBhvr>
                                            <p:cTn id="118" dur="1" fill="hold">
                                              <p:stCondLst>
                                                <p:cond delay="0"/>
                                              </p:stCondLst>
                                            </p:cTn>
                                            <p:tgtEl>
                                              <p:spTgt spid="547"/>
                                            </p:tgtEl>
                                            <p:attrNameLst>
                                              <p:attrName>style.visibility</p:attrName>
                                            </p:attrNameLst>
                                          </p:cBhvr>
                                          <p:to>
                                            <p:strVal val="visible"/>
                                          </p:to>
                                        </p:set>
                                        <p:anim calcmode="lin" valueType="num">
                                          <p:cBhvr additive="base">
                                            <p:cTn id="119" dur="500" fill="hold"/>
                                            <p:tgtEl>
                                              <p:spTgt spid="547"/>
                                            </p:tgtEl>
                                            <p:attrNameLst>
                                              <p:attrName>ppt_x</p:attrName>
                                            </p:attrNameLst>
                                          </p:cBhvr>
                                          <p:tavLst>
                                            <p:tav tm="0">
                                              <p:val>
                                                <p:strVal val="#ppt_x"/>
                                              </p:val>
                                            </p:tav>
                                            <p:tav tm="100000">
                                              <p:val>
                                                <p:strVal val="#ppt_x"/>
                                              </p:val>
                                            </p:tav>
                                          </p:tavLst>
                                        </p:anim>
                                        <p:anim calcmode="lin" valueType="num">
                                          <p:cBhvr additive="base">
                                            <p:cTn id="120" dur="500" fill="hold"/>
                                            <p:tgtEl>
                                              <p:spTgt spid="547"/>
                                            </p:tgtEl>
                                            <p:attrNameLst>
                                              <p:attrName>ppt_y</p:attrName>
                                            </p:attrNameLst>
                                          </p:cBhvr>
                                          <p:tavLst>
                                            <p:tav tm="0">
                                              <p:val>
                                                <p:strVal val="0-#ppt_h/2"/>
                                              </p:val>
                                            </p:tav>
                                            <p:tav tm="100000">
                                              <p:val>
                                                <p:strVal val="#ppt_y"/>
                                              </p:val>
                                            </p:tav>
                                          </p:tavLst>
                                        </p:anim>
                                      </p:childTnLst>
                                    </p:cTn>
                                  </p:par>
                                </p:childTnLst>
                              </p:cTn>
                            </p:par>
                            <p:par>
                              <p:cTn id="121" fill="hold">
                                <p:stCondLst>
                                  <p:cond delay="500"/>
                                </p:stCondLst>
                                <p:childTnLst>
                                  <p:par>
                                    <p:cTn id="122" presetID="22" presetClass="entr" presetSubtype="4" fill="hold" grpId="0" nodeType="afterEffect">
                                      <p:stCondLst>
                                        <p:cond delay="0"/>
                                      </p:stCondLst>
                                      <p:childTnLst>
                                        <p:set>
                                          <p:cBhvr>
                                            <p:cTn id="123" dur="1" fill="hold">
                                              <p:stCondLst>
                                                <p:cond delay="0"/>
                                              </p:stCondLst>
                                            </p:cTn>
                                            <p:tgtEl>
                                              <p:spTgt spid="573"/>
                                            </p:tgtEl>
                                            <p:attrNameLst>
                                              <p:attrName>style.visibility</p:attrName>
                                            </p:attrNameLst>
                                          </p:cBhvr>
                                          <p:to>
                                            <p:strVal val="visible"/>
                                          </p:to>
                                        </p:set>
                                        <p:animEffect transition="in" filter="wipe(down)">
                                          <p:cBhvr>
                                            <p:cTn id="124" dur="500"/>
                                            <p:tgtEl>
                                              <p:spTgt spid="573"/>
                                            </p:tgtEl>
                                          </p:cBhvr>
                                        </p:animEffect>
                                      </p:childTnLst>
                                    </p:cTn>
                                  </p:par>
                                </p:childTnLst>
                              </p:cTn>
                            </p:par>
                            <p:par>
                              <p:cTn id="125" fill="hold">
                                <p:stCondLst>
                                  <p:cond delay="1000"/>
                                </p:stCondLst>
                                <p:childTnLst>
                                  <p:par>
                                    <p:cTn id="126" presetID="10" presetClass="entr" presetSubtype="0" fill="hold" grpId="0" nodeType="afterEffect">
                                      <p:stCondLst>
                                        <p:cond delay="0"/>
                                      </p:stCondLst>
                                      <p:childTnLst>
                                        <p:set>
                                          <p:cBhvr>
                                            <p:cTn id="127" dur="1" fill="hold">
                                              <p:stCondLst>
                                                <p:cond delay="0"/>
                                              </p:stCondLst>
                                            </p:cTn>
                                            <p:tgtEl>
                                              <p:spTgt spid="548"/>
                                            </p:tgtEl>
                                            <p:attrNameLst>
                                              <p:attrName>style.visibility</p:attrName>
                                            </p:attrNameLst>
                                          </p:cBhvr>
                                          <p:to>
                                            <p:strVal val="visible"/>
                                          </p:to>
                                        </p:set>
                                        <p:animEffect transition="in" filter="fade">
                                          <p:cBhvr>
                                            <p:cTn id="128" dur="500"/>
                                            <p:tgtEl>
                                              <p:spTgt spid="548"/>
                                            </p:tgtEl>
                                          </p:cBhvr>
                                        </p:animEffect>
                                      </p:childTnLst>
                                    </p:cTn>
                                  </p:par>
                                </p:childTnLst>
                              </p:cTn>
                            </p:par>
                          </p:childTnLst>
                        </p:cTn>
                      </p:par>
                      <p:par>
                        <p:cTn id="129" fill="hold">
                          <p:stCondLst>
                            <p:cond delay="indefinite"/>
                          </p:stCondLst>
                          <p:childTnLst>
                            <p:par>
                              <p:cTn id="130" fill="hold">
                                <p:stCondLst>
                                  <p:cond delay="0"/>
                                </p:stCondLst>
                                <p:childTnLst>
                                  <p:par>
                                    <p:cTn id="131" presetID="2" presetClass="entr" presetSubtype="1" fill="hold" nodeType="clickEffect">
                                      <p:stCondLst>
                                        <p:cond delay="0"/>
                                      </p:stCondLst>
                                      <p:childTnLst>
                                        <p:set>
                                          <p:cBhvr>
                                            <p:cTn id="132" dur="1" fill="hold">
                                              <p:stCondLst>
                                                <p:cond delay="0"/>
                                              </p:stCondLst>
                                            </p:cTn>
                                            <p:tgtEl>
                                              <p:spTgt spid="538"/>
                                            </p:tgtEl>
                                            <p:attrNameLst>
                                              <p:attrName>style.visibility</p:attrName>
                                            </p:attrNameLst>
                                          </p:cBhvr>
                                          <p:to>
                                            <p:strVal val="visible"/>
                                          </p:to>
                                        </p:set>
                                        <p:anim calcmode="lin" valueType="num">
                                          <p:cBhvr additive="base">
                                            <p:cTn id="133" dur="500" fill="hold"/>
                                            <p:tgtEl>
                                              <p:spTgt spid="538"/>
                                            </p:tgtEl>
                                            <p:attrNameLst>
                                              <p:attrName>ppt_x</p:attrName>
                                            </p:attrNameLst>
                                          </p:cBhvr>
                                          <p:tavLst>
                                            <p:tav tm="0">
                                              <p:val>
                                                <p:strVal val="#ppt_x"/>
                                              </p:val>
                                            </p:tav>
                                            <p:tav tm="100000">
                                              <p:val>
                                                <p:strVal val="#ppt_x"/>
                                              </p:val>
                                            </p:tav>
                                          </p:tavLst>
                                        </p:anim>
                                        <p:anim calcmode="lin" valueType="num">
                                          <p:cBhvr additive="base">
                                            <p:cTn id="134" dur="500" fill="hold"/>
                                            <p:tgtEl>
                                              <p:spTgt spid="538"/>
                                            </p:tgtEl>
                                            <p:attrNameLst>
                                              <p:attrName>ppt_y</p:attrName>
                                            </p:attrNameLst>
                                          </p:cBhvr>
                                          <p:tavLst>
                                            <p:tav tm="0">
                                              <p:val>
                                                <p:strVal val="0-#ppt_h/2"/>
                                              </p:val>
                                            </p:tav>
                                            <p:tav tm="100000">
                                              <p:val>
                                                <p:strVal val="#ppt_y"/>
                                              </p:val>
                                            </p:tav>
                                          </p:tavLst>
                                        </p:anim>
                                      </p:childTnLst>
                                    </p:cTn>
                                  </p:par>
                                </p:childTnLst>
                              </p:cTn>
                            </p:par>
                            <p:par>
                              <p:cTn id="135" fill="hold">
                                <p:stCondLst>
                                  <p:cond delay="500"/>
                                </p:stCondLst>
                                <p:childTnLst>
                                  <p:par>
                                    <p:cTn id="136" presetID="22" presetClass="entr" presetSubtype="4" fill="hold" grpId="0" nodeType="afterEffect">
                                      <p:stCondLst>
                                        <p:cond delay="0"/>
                                      </p:stCondLst>
                                      <p:childTnLst>
                                        <p:set>
                                          <p:cBhvr>
                                            <p:cTn id="137" dur="1" fill="hold">
                                              <p:stCondLst>
                                                <p:cond delay="0"/>
                                              </p:stCondLst>
                                            </p:cTn>
                                            <p:tgtEl>
                                              <p:spTgt spid="582"/>
                                            </p:tgtEl>
                                            <p:attrNameLst>
                                              <p:attrName>style.visibility</p:attrName>
                                            </p:attrNameLst>
                                          </p:cBhvr>
                                          <p:to>
                                            <p:strVal val="visible"/>
                                          </p:to>
                                        </p:set>
                                        <p:animEffect transition="in" filter="wipe(down)">
                                          <p:cBhvr>
                                            <p:cTn id="138" dur="500"/>
                                            <p:tgtEl>
                                              <p:spTgt spid="582"/>
                                            </p:tgtEl>
                                          </p:cBhvr>
                                        </p:animEffect>
                                      </p:childTnLst>
                                    </p:cTn>
                                  </p:par>
                                </p:childTnLst>
                              </p:cTn>
                            </p:par>
                            <p:par>
                              <p:cTn id="139" fill="hold">
                                <p:stCondLst>
                                  <p:cond delay="1000"/>
                                </p:stCondLst>
                                <p:childTnLst>
                                  <p:par>
                                    <p:cTn id="140" presetID="10" presetClass="entr" presetSubtype="0" fill="hold" grpId="0" nodeType="afterEffect">
                                      <p:stCondLst>
                                        <p:cond delay="0"/>
                                      </p:stCondLst>
                                      <p:childTnLst>
                                        <p:set>
                                          <p:cBhvr>
                                            <p:cTn id="141" dur="1" fill="hold">
                                              <p:stCondLst>
                                                <p:cond delay="0"/>
                                              </p:stCondLst>
                                            </p:cTn>
                                            <p:tgtEl>
                                              <p:spTgt spid="540"/>
                                            </p:tgtEl>
                                            <p:attrNameLst>
                                              <p:attrName>style.visibility</p:attrName>
                                            </p:attrNameLst>
                                          </p:cBhvr>
                                          <p:to>
                                            <p:strVal val="visible"/>
                                          </p:to>
                                        </p:set>
                                        <p:animEffect transition="in" filter="fade">
                                          <p:cBhvr>
                                            <p:cTn id="142" dur="500"/>
                                            <p:tgtEl>
                                              <p:spTgt spid="540"/>
                                            </p:tgtEl>
                                          </p:cBhvr>
                                        </p:animEffect>
                                      </p:childTnLst>
                                    </p:cTn>
                                  </p:par>
                                </p:childTnLst>
                              </p:cTn>
                            </p:par>
                          </p:childTnLst>
                        </p:cTn>
                      </p:par>
                      <p:par>
                        <p:cTn id="143" fill="hold">
                          <p:stCondLst>
                            <p:cond delay="indefinite"/>
                          </p:stCondLst>
                          <p:childTnLst>
                            <p:par>
                              <p:cTn id="144" fill="hold">
                                <p:stCondLst>
                                  <p:cond delay="0"/>
                                </p:stCondLst>
                                <p:childTnLst>
                                  <p:par>
                                    <p:cTn id="145" presetID="2" presetClass="entr" presetSubtype="1" fill="hold" nodeType="clickEffect">
                                      <p:stCondLst>
                                        <p:cond delay="0"/>
                                      </p:stCondLst>
                                      <p:childTnLst>
                                        <p:set>
                                          <p:cBhvr>
                                            <p:cTn id="146" dur="1" fill="hold">
                                              <p:stCondLst>
                                                <p:cond delay="0"/>
                                              </p:stCondLst>
                                            </p:cTn>
                                            <p:tgtEl>
                                              <p:spTgt spid="549"/>
                                            </p:tgtEl>
                                            <p:attrNameLst>
                                              <p:attrName>style.visibility</p:attrName>
                                            </p:attrNameLst>
                                          </p:cBhvr>
                                          <p:to>
                                            <p:strVal val="visible"/>
                                          </p:to>
                                        </p:set>
                                        <p:anim calcmode="lin" valueType="num">
                                          <p:cBhvr additive="base">
                                            <p:cTn id="147" dur="500" fill="hold"/>
                                            <p:tgtEl>
                                              <p:spTgt spid="549"/>
                                            </p:tgtEl>
                                            <p:attrNameLst>
                                              <p:attrName>ppt_x</p:attrName>
                                            </p:attrNameLst>
                                          </p:cBhvr>
                                          <p:tavLst>
                                            <p:tav tm="0">
                                              <p:val>
                                                <p:strVal val="#ppt_x"/>
                                              </p:val>
                                            </p:tav>
                                            <p:tav tm="100000">
                                              <p:val>
                                                <p:strVal val="#ppt_x"/>
                                              </p:val>
                                            </p:tav>
                                          </p:tavLst>
                                        </p:anim>
                                        <p:anim calcmode="lin" valueType="num">
                                          <p:cBhvr additive="base">
                                            <p:cTn id="148" dur="500" fill="hold"/>
                                            <p:tgtEl>
                                              <p:spTgt spid="549"/>
                                            </p:tgtEl>
                                            <p:attrNameLst>
                                              <p:attrName>ppt_y</p:attrName>
                                            </p:attrNameLst>
                                          </p:cBhvr>
                                          <p:tavLst>
                                            <p:tav tm="0">
                                              <p:val>
                                                <p:strVal val="0-#ppt_h/2"/>
                                              </p:val>
                                            </p:tav>
                                            <p:tav tm="100000">
                                              <p:val>
                                                <p:strVal val="#ppt_y"/>
                                              </p:val>
                                            </p:tav>
                                          </p:tavLst>
                                        </p:anim>
                                      </p:childTnLst>
                                    </p:cTn>
                                  </p:par>
                                </p:childTnLst>
                              </p:cTn>
                            </p:par>
                            <p:par>
                              <p:cTn id="149" fill="hold">
                                <p:stCondLst>
                                  <p:cond delay="500"/>
                                </p:stCondLst>
                                <p:childTnLst>
                                  <p:par>
                                    <p:cTn id="150" presetID="22" presetClass="entr" presetSubtype="4" fill="hold" grpId="0" nodeType="afterEffect">
                                      <p:stCondLst>
                                        <p:cond delay="0"/>
                                      </p:stCondLst>
                                      <p:childTnLst>
                                        <p:set>
                                          <p:cBhvr>
                                            <p:cTn id="151" dur="1" fill="hold">
                                              <p:stCondLst>
                                                <p:cond delay="0"/>
                                              </p:stCondLst>
                                            </p:cTn>
                                            <p:tgtEl>
                                              <p:spTgt spid="583"/>
                                            </p:tgtEl>
                                            <p:attrNameLst>
                                              <p:attrName>style.visibility</p:attrName>
                                            </p:attrNameLst>
                                          </p:cBhvr>
                                          <p:to>
                                            <p:strVal val="visible"/>
                                          </p:to>
                                        </p:set>
                                        <p:animEffect transition="in" filter="wipe(down)">
                                          <p:cBhvr>
                                            <p:cTn id="152" dur="500"/>
                                            <p:tgtEl>
                                              <p:spTgt spid="583"/>
                                            </p:tgtEl>
                                          </p:cBhvr>
                                        </p:animEffect>
                                      </p:childTnLst>
                                    </p:cTn>
                                  </p:par>
                                </p:childTnLst>
                              </p:cTn>
                            </p:par>
                            <p:par>
                              <p:cTn id="153" fill="hold">
                                <p:stCondLst>
                                  <p:cond delay="1000"/>
                                </p:stCondLst>
                                <p:childTnLst>
                                  <p:par>
                                    <p:cTn id="154" presetID="10" presetClass="entr" presetSubtype="0" fill="hold" grpId="0" nodeType="afterEffect">
                                      <p:stCondLst>
                                        <p:cond delay="0"/>
                                      </p:stCondLst>
                                      <p:childTnLst>
                                        <p:set>
                                          <p:cBhvr>
                                            <p:cTn id="155" dur="1" fill="hold">
                                              <p:stCondLst>
                                                <p:cond delay="0"/>
                                              </p:stCondLst>
                                            </p:cTn>
                                            <p:tgtEl>
                                              <p:spTgt spid="323"/>
                                            </p:tgtEl>
                                            <p:attrNameLst>
                                              <p:attrName>style.visibility</p:attrName>
                                            </p:attrNameLst>
                                          </p:cBhvr>
                                          <p:to>
                                            <p:strVal val="visible"/>
                                          </p:to>
                                        </p:set>
                                        <p:animEffect transition="in" filter="fade">
                                          <p:cBhvr>
                                            <p:cTn id="156" dur="500"/>
                                            <p:tgtEl>
                                              <p:spTgt spid="323"/>
                                            </p:tgtEl>
                                          </p:cBhvr>
                                        </p:animEffect>
                                      </p:childTnLst>
                                    </p:cTn>
                                  </p:par>
                                </p:childTnLst>
                              </p:cTn>
                            </p:par>
                          </p:childTnLst>
                        </p:cTn>
                      </p:par>
                      <p:par>
                        <p:cTn id="157" fill="hold">
                          <p:stCondLst>
                            <p:cond delay="indefinite"/>
                          </p:stCondLst>
                          <p:childTnLst>
                            <p:par>
                              <p:cTn id="158" fill="hold">
                                <p:stCondLst>
                                  <p:cond delay="0"/>
                                </p:stCondLst>
                                <p:childTnLst>
                                  <p:par>
                                    <p:cTn id="159" presetID="2" presetClass="entr" presetSubtype="1" fill="hold" nodeType="clickEffect">
                                      <p:stCondLst>
                                        <p:cond delay="0"/>
                                      </p:stCondLst>
                                      <p:childTnLst>
                                        <p:set>
                                          <p:cBhvr>
                                            <p:cTn id="160" dur="1" fill="hold">
                                              <p:stCondLst>
                                                <p:cond delay="0"/>
                                              </p:stCondLst>
                                            </p:cTn>
                                            <p:tgtEl>
                                              <p:spTgt spid="556"/>
                                            </p:tgtEl>
                                            <p:attrNameLst>
                                              <p:attrName>style.visibility</p:attrName>
                                            </p:attrNameLst>
                                          </p:cBhvr>
                                          <p:to>
                                            <p:strVal val="visible"/>
                                          </p:to>
                                        </p:set>
                                        <p:anim calcmode="lin" valueType="num">
                                          <p:cBhvr additive="base">
                                            <p:cTn id="161" dur="500" fill="hold"/>
                                            <p:tgtEl>
                                              <p:spTgt spid="556"/>
                                            </p:tgtEl>
                                            <p:attrNameLst>
                                              <p:attrName>ppt_x</p:attrName>
                                            </p:attrNameLst>
                                          </p:cBhvr>
                                          <p:tavLst>
                                            <p:tav tm="0">
                                              <p:val>
                                                <p:strVal val="#ppt_x"/>
                                              </p:val>
                                            </p:tav>
                                            <p:tav tm="100000">
                                              <p:val>
                                                <p:strVal val="#ppt_x"/>
                                              </p:val>
                                            </p:tav>
                                          </p:tavLst>
                                        </p:anim>
                                        <p:anim calcmode="lin" valueType="num">
                                          <p:cBhvr additive="base">
                                            <p:cTn id="162" dur="500" fill="hold"/>
                                            <p:tgtEl>
                                              <p:spTgt spid="556"/>
                                            </p:tgtEl>
                                            <p:attrNameLst>
                                              <p:attrName>ppt_y</p:attrName>
                                            </p:attrNameLst>
                                          </p:cBhvr>
                                          <p:tavLst>
                                            <p:tav tm="0">
                                              <p:val>
                                                <p:strVal val="0-#ppt_h/2"/>
                                              </p:val>
                                            </p:tav>
                                            <p:tav tm="100000">
                                              <p:val>
                                                <p:strVal val="#ppt_y"/>
                                              </p:val>
                                            </p:tav>
                                          </p:tavLst>
                                        </p:anim>
                                      </p:childTnLst>
                                    </p:cTn>
                                  </p:par>
                                </p:childTnLst>
                              </p:cTn>
                            </p:par>
                            <p:par>
                              <p:cTn id="163" fill="hold">
                                <p:stCondLst>
                                  <p:cond delay="500"/>
                                </p:stCondLst>
                                <p:childTnLst>
                                  <p:par>
                                    <p:cTn id="164" presetID="22" presetClass="entr" presetSubtype="4" fill="hold" grpId="0" nodeType="afterEffect">
                                      <p:stCondLst>
                                        <p:cond delay="0"/>
                                      </p:stCondLst>
                                      <p:childTnLst>
                                        <p:set>
                                          <p:cBhvr>
                                            <p:cTn id="165" dur="1" fill="hold">
                                              <p:stCondLst>
                                                <p:cond delay="0"/>
                                              </p:stCondLst>
                                            </p:cTn>
                                            <p:tgtEl>
                                              <p:spTgt spid="581"/>
                                            </p:tgtEl>
                                            <p:attrNameLst>
                                              <p:attrName>style.visibility</p:attrName>
                                            </p:attrNameLst>
                                          </p:cBhvr>
                                          <p:to>
                                            <p:strVal val="visible"/>
                                          </p:to>
                                        </p:set>
                                        <p:animEffect transition="in" filter="wipe(down)">
                                          <p:cBhvr>
                                            <p:cTn id="166" dur="500"/>
                                            <p:tgtEl>
                                              <p:spTgt spid="581"/>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557"/>
                                            </p:tgtEl>
                                            <p:attrNameLst>
                                              <p:attrName>style.visibility</p:attrName>
                                            </p:attrNameLst>
                                          </p:cBhvr>
                                          <p:to>
                                            <p:strVal val="visible"/>
                                          </p:to>
                                        </p:set>
                                        <p:animEffect transition="in" filter="fade">
                                          <p:cBhvr>
                                            <p:cTn id="169" dur="500"/>
                                            <p:tgtEl>
                                              <p:spTgt spid="5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0" grpId="0"/>
          <p:bldP spid="542" grpId="0"/>
          <p:bldP spid="543" grpId="0"/>
          <p:bldP spid="544" grpId="0"/>
          <p:bldP spid="545" grpId="0"/>
          <p:bldP spid="546" grpId="0"/>
          <p:bldP spid="548" grpId="0"/>
          <p:bldP spid="552" grpId="0"/>
          <p:bldP spid="554" grpId="0"/>
          <p:bldP spid="557" grpId="0"/>
          <p:bldP spid="559" grpId="0"/>
          <p:bldP spid="570" grpId="0" animBg="1"/>
          <p:bldP spid="572" grpId="0" animBg="1"/>
          <p:bldP spid="573" grpId="0" animBg="1"/>
          <p:bldP spid="574" grpId="0" animBg="1"/>
          <p:bldP spid="575" grpId="0" animBg="1"/>
          <p:bldP spid="577" grpId="0" animBg="1"/>
          <p:bldP spid="578" grpId="0" animBg="1"/>
          <p:bldP spid="579" grpId="0" animBg="1"/>
          <p:bldP spid="580" grpId="0" animBg="1"/>
          <p:bldP spid="581" grpId="0" animBg="1"/>
          <p:bldP spid="582" grpId="0" animBg="1"/>
          <p:bldP spid="583" grpId="0" animBg="1"/>
          <p:bldP spid="323" grpId="0"/>
        </p:bldLst>
      </p:timing>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2" name="Freeform 16">
            <a:extLst>
              <a:ext uri="{FF2B5EF4-FFF2-40B4-BE49-F238E27FC236}">
                <a16:creationId xmlns:a16="http://schemas.microsoft.com/office/drawing/2014/main" id="{590231D7-7B00-44B9-BB4F-327E7946C202}"/>
              </a:ext>
            </a:extLst>
          </p:cNvPr>
          <p:cNvSpPr>
            <a:spLocks noEditPoints="1"/>
          </p:cNvSpPr>
          <p:nvPr/>
        </p:nvSpPr>
        <p:spPr bwMode="auto">
          <a:xfrm rot="21409012">
            <a:off x="3649974" y="1112916"/>
            <a:ext cx="4587232" cy="4814222"/>
          </a:xfrm>
          <a:custGeom>
            <a:avLst/>
            <a:gdLst>
              <a:gd name="T0" fmla="*/ 219 w 227"/>
              <a:gd name="T1" fmla="*/ 70 h 234"/>
              <a:gd name="T2" fmla="*/ 215 w 227"/>
              <a:gd name="T3" fmla="*/ 64 h 234"/>
              <a:gd name="T4" fmla="*/ 196 w 227"/>
              <a:gd name="T5" fmla="*/ 74 h 234"/>
              <a:gd name="T6" fmla="*/ 187 w 227"/>
              <a:gd name="T7" fmla="*/ 80 h 234"/>
              <a:gd name="T8" fmla="*/ 177 w 227"/>
              <a:gd name="T9" fmla="*/ 86 h 234"/>
              <a:gd name="T10" fmla="*/ 162 w 227"/>
              <a:gd name="T11" fmla="*/ 82 h 234"/>
              <a:gd name="T12" fmla="*/ 156 w 227"/>
              <a:gd name="T13" fmla="*/ 82 h 234"/>
              <a:gd name="T14" fmla="*/ 156 w 227"/>
              <a:gd name="T15" fmla="*/ 87 h 234"/>
              <a:gd name="T16" fmla="*/ 136 w 227"/>
              <a:gd name="T17" fmla="*/ 85 h 234"/>
              <a:gd name="T18" fmla="*/ 97 w 227"/>
              <a:gd name="T19" fmla="*/ 61 h 234"/>
              <a:gd name="T20" fmla="*/ 89 w 227"/>
              <a:gd name="T21" fmla="*/ 46 h 234"/>
              <a:gd name="T22" fmla="*/ 87 w 227"/>
              <a:gd name="T23" fmla="*/ 37 h 234"/>
              <a:gd name="T24" fmla="*/ 94 w 227"/>
              <a:gd name="T25" fmla="*/ 26 h 234"/>
              <a:gd name="T26" fmla="*/ 87 w 227"/>
              <a:gd name="T27" fmla="*/ 13 h 234"/>
              <a:gd name="T28" fmla="*/ 67 w 227"/>
              <a:gd name="T29" fmla="*/ 1 h 234"/>
              <a:gd name="T30" fmla="*/ 46 w 227"/>
              <a:gd name="T31" fmla="*/ 5 h 234"/>
              <a:gd name="T32" fmla="*/ 55 w 227"/>
              <a:gd name="T33" fmla="*/ 32 h 234"/>
              <a:gd name="T34" fmla="*/ 62 w 227"/>
              <a:gd name="T35" fmla="*/ 38 h 234"/>
              <a:gd name="T36" fmla="*/ 46 w 227"/>
              <a:gd name="T37" fmla="*/ 53 h 234"/>
              <a:gd name="T38" fmla="*/ 22 w 227"/>
              <a:gd name="T39" fmla="*/ 69 h 234"/>
              <a:gd name="T40" fmla="*/ 18 w 227"/>
              <a:gd name="T41" fmla="*/ 87 h 234"/>
              <a:gd name="T42" fmla="*/ 21 w 227"/>
              <a:gd name="T43" fmla="*/ 99 h 234"/>
              <a:gd name="T44" fmla="*/ 5 w 227"/>
              <a:gd name="T45" fmla="*/ 97 h 234"/>
              <a:gd name="T46" fmla="*/ 1 w 227"/>
              <a:gd name="T47" fmla="*/ 103 h 234"/>
              <a:gd name="T48" fmla="*/ 13 w 227"/>
              <a:gd name="T49" fmla="*/ 113 h 234"/>
              <a:gd name="T50" fmla="*/ 18 w 227"/>
              <a:gd name="T51" fmla="*/ 128 h 234"/>
              <a:gd name="T52" fmla="*/ 30 w 227"/>
              <a:gd name="T53" fmla="*/ 119 h 234"/>
              <a:gd name="T54" fmla="*/ 33 w 227"/>
              <a:gd name="T55" fmla="*/ 121 h 234"/>
              <a:gd name="T56" fmla="*/ 33 w 227"/>
              <a:gd name="T57" fmla="*/ 134 h 234"/>
              <a:gd name="T58" fmla="*/ 33 w 227"/>
              <a:gd name="T59" fmla="*/ 142 h 234"/>
              <a:gd name="T60" fmla="*/ 34 w 227"/>
              <a:gd name="T61" fmla="*/ 157 h 234"/>
              <a:gd name="T62" fmla="*/ 39 w 227"/>
              <a:gd name="T63" fmla="*/ 177 h 234"/>
              <a:gd name="T64" fmla="*/ 44 w 227"/>
              <a:gd name="T65" fmla="*/ 195 h 234"/>
              <a:gd name="T66" fmla="*/ 56 w 227"/>
              <a:gd name="T67" fmla="*/ 222 h 234"/>
              <a:gd name="T68" fmla="*/ 64 w 227"/>
              <a:gd name="T69" fmla="*/ 234 h 234"/>
              <a:gd name="T70" fmla="*/ 78 w 227"/>
              <a:gd name="T71" fmla="*/ 224 h 234"/>
              <a:gd name="T72" fmla="*/ 85 w 227"/>
              <a:gd name="T73" fmla="*/ 205 h 234"/>
              <a:gd name="T74" fmla="*/ 88 w 227"/>
              <a:gd name="T75" fmla="*/ 190 h 234"/>
              <a:gd name="T76" fmla="*/ 97 w 227"/>
              <a:gd name="T77" fmla="*/ 171 h 234"/>
              <a:gd name="T78" fmla="*/ 109 w 227"/>
              <a:gd name="T79" fmla="*/ 162 h 234"/>
              <a:gd name="T80" fmla="*/ 133 w 227"/>
              <a:gd name="T81" fmla="*/ 143 h 234"/>
              <a:gd name="T82" fmla="*/ 147 w 227"/>
              <a:gd name="T83" fmla="*/ 134 h 234"/>
              <a:gd name="T84" fmla="*/ 153 w 227"/>
              <a:gd name="T85" fmla="*/ 127 h 234"/>
              <a:gd name="T86" fmla="*/ 159 w 227"/>
              <a:gd name="T87" fmla="*/ 125 h 234"/>
              <a:gd name="T88" fmla="*/ 163 w 227"/>
              <a:gd name="T89" fmla="*/ 124 h 234"/>
              <a:gd name="T90" fmla="*/ 161 w 227"/>
              <a:gd name="T91" fmla="*/ 107 h 234"/>
              <a:gd name="T92" fmla="*/ 159 w 227"/>
              <a:gd name="T93" fmla="*/ 99 h 234"/>
              <a:gd name="T94" fmla="*/ 160 w 227"/>
              <a:gd name="T95" fmla="*/ 89 h 234"/>
              <a:gd name="T96" fmla="*/ 169 w 227"/>
              <a:gd name="T97" fmla="*/ 90 h 234"/>
              <a:gd name="T98" fmla="*/ 184 w 227"/>
              <a:gd name="T99" fmla="*/ 99 h 234"/>
              <a:gd name="T100" fmla="*/ 189 w 227"/>
              <a:gd name="T101" fmla="*/ 104 h 234"/>
              <a:gd name="T102" fmla="*/ 186 w 227"/>
              <a:gd name="T103" fmla="*/ 114 h 234"/>
              <a:gd name="T104" fmla="*/ 194 w 227"/>
              <a:gd name="T105" fmla="*/ 123 h 234"/>
              <a:gd name="T106" fmla="*/ 198 w 227"/>
              <a:gd name="T107" fmla="*/ 108 h 234"/>
              <a:gd name="T108" fmla="*/ 208 w 227"/>
              <a:gd name="T109" fmla="*/ 98 h 234"/>
              <a:gd name="T110" fmla="*/ 218 w 227"/>
              <a:gd name="T111" fmla="*/ 81 h 234"/>
              <a:gd name="T112" fmla="*/ 85 w 227"/>
              <a:gd name="T113" fmla="*/ 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34">
                <a:moveTo>
                  <a:pt x="224" y="77"/>
                </a:moveTo>
                <a:cubicBezTo>
                  <a:pt x="227" y="75"/>
                  <a:pt x="227" y="75"/>
                  <a:pt x="227" y="75"/>
                </a:cubicBezTo>
                <a:cubicBezTo>
                  <a:pt x="227" y="72"/>
                  <a:pt x="227" y="72"/>
                  <a:pt x="227" y="72"/>
                </a:cubicBezTo>
                <a:cubicBezTo>
                  <a:pt x="226" y="72"/>
                  <a:pt x="226" y="72"/>
                  <a:pt x="226" y="72"/>
                </a:cubicBezTo>
                <a:cubicBezTo>
                  <a:pt x="224" y="72"/>
                  <a:pt x="224" y="72"/>
                  <a:pt x="224" y="72"/>
                </a:cubicBezTo>
                <a:cubicBezTo>
                  <a:pt x="221" y="71"/>
                  <a:pt x="221" y="71"/>
                  <a:pt x="221" y="71"/>
                </a:cubicBezTo>
                <a:cubicBezTo>
                  <a:pt x="220" y="71"/>
                  <a:pt x="220" y="71"/>
                  <a:pt x="220" y="71"/>
                </a:cubicBezTo>
                <a:cubicBezTo>
                  <a:pt x="219" y="71"/>
                  <a:pt x="219" y="71"/>
                  <a:pt x="219" y="71"/>
                </a:cubicBezTo>
                <a:cubicBezTo>
                  <a:pt x="219" y="70"/>
                  <a:pt x="219" y="70"/>
                  <a:pt x="219" y="70"/>
                </a:cubicBezTo>
                <a:cubicBezTo>
                  <a:pt x="221" y="68"/>
                  <a:pt x="221" y="68"/>
                  <a:pt x="221" y="68"/>
                </a:cubicBezTo>
                <a:cubicBezTo>
                  <a:pt x="220" y="66"/>
                  <a:pt x="220" y="66"/>
                  <a:pt x="220" y="66"/>
                </a:cubicBezTo>
                <a:cubicBezTo>
                  <a:pt x="219" y="66"/>
                  <a:pt x="219" y="66"/>
                  <a:pt x="219" y="66"/>
                </a:cubicBezTo>
                <a:cubicBezTo>
                  <a:pt x="219" y="67"/>
                  <a:pt x="219" y="67"/>
                  <a:pt x="219" y="67"/>
                </a:cubicBezTo>
                <a:cubicBezTo>
                  <a:pt x="218" y="67"/>
                  <a:pt x="218" y="67"/>
                  <a:pt x="218" y="67"/>
                </a:cubicBezTo>
                <a:cubicBezTo>
                  <a:pt x="218" y="66"/>
                  <a:pt x="218" y="66"/>
                  <a:pt x="218" y="66"/>
                </a:cubicBezTo>
                <a:cubicBezTo>
                  <a:pt x="219" y="65"/>
                  <a:pt x="219" y="65"/>
                  <a:pt x="219" y="65"/>
                </a:cubicBezTo>
                <a:cubicBezTo>
                  <a:pt x="217" y="64"/>
                  <a:pt x="217" y="64"/>
                  <a:pt x="217" y="64"/>
                </a:cubicBezTo>
                <a:cubicBezTo>
                  <a:pt x="215" y="64"/>
                  <a:pt x="215" y="64"/>
                  <a:pt x="215" y="64"/>
                </a:cubicBezTo>
                <a:cubicBezTo>
                  <a:pt x="212" y="66"/>
                  <a:pt x="212" y="66"/>
                  <a:pt x="212" y="66"/>
                </a:cubicBezTo>
                <a:cubicBezTo>
                  <a:pt x="208" y="66"/>
                  <a:pt x="208" y="66"/>
                  <a:pt x="208" y="66"/>
                </a:cubicBezTo>
                <a:cubicBezTo>
                  <a:pt x="207" y="65"/>
                  <a:pt x="207" y="65"/>
                  <a:pt x="207" y="65"/>
                </a:cubicBezTo>
                <a:cubicBezTo>
                  <a:pt x="203" y="67"/>
                  <a:pt x="203" y="67"/>
                  <a:pt x="203" y="67"/>
                </a:cubicBezTo>
                <a:cubicBezTo>
                  <a:pt x="201" y="67"/>
                  <a:pt x="201" y="67"/>
                  <a:pt x="201" y="67"/>
                </a:cubicBezTo>
                <a:cubicBezTo>
                  <a:pt x="200" y="70"/>
                  <a:pt x="200" y="70"/>
                  <a:pt x="200" y="70"/>
                </a:cubicBezTo>
                <a:cubicBezTo>
                  <a:pt x="198" y="70"/>
                  <a:pt x="198" y="70"/>
                  <a:pt x="198" y="70"/>
                </a:cubicBezTo>
                <a:cubicBezTo>
                  <a:pt x="196" y="71"/>
                  <a:pt x="196" y="71"/>
                  <a:pt x="196" y="71"/>
                </a:cubicBezTo>
                <a:cubicBezTo>
                  <a:pt x="196" y="74"/>
                  <a:pt x="196" y="74"/>
                  <a:pt x="196" y="74"/>
                </a:cubicBezTo>
                <a:cubicBezTo>
                  <a:pt x="192" y="75"/>
                  <a:pt x="192" y="75"/>
                  <a:pt x="192" y="75"/>
                </a:cubicBezTo>
                <a:cubicBezTo>
                  <a:pt x="191" y="76"/>
                  <a:pt x="191" y="76"/>
                  <a:pt x="191" y="76"/>
                </a:cubicBezTo>
                <a:cubicBezTo>
                  <a:pt x="188" y="77"/>
                  <a:pt x="188" y="77"/>
                  <a:pt x="188" y="77"/>
                </a:cubicBezTo>
                <a:cubicBezTo>
                  <a:pt x="186" y="77"/>
                  <a:pt x="186" y="77"/>
                  <a:pt x="186" y="77"/>
                </a:cubicBezTo>
                <a:cubicBezTo>
                  <a:pt x="183" y="77"/>
                  <a:pt x="183" y="77"/>
                  <a:pt x="183" y="77"/>
                </a:cubicBezTo>
                <a:cubicBezTo>
                  <a:pt x="184" y="79"/>
                  <a:pt x="184" y="79"/>
                  <a:pt x="184" y="79"/>
                </a:cubicBezTo>
                <a:cubicBezTo>
                  <a:pt x="184" y="79"/>
                  <a:pt x="184" y="79"/>
                  <a:pt x="184" y="79"/>
                </a:cubicBezTo>
                <a:cubicBezTo>
                  <a:pt x="186" y="80"/>
                  <a:pt x="186" y="80"/>
                  <a:pt x="186" y="80"/>
                </a:cubicBezTo>
                <a:cubicBezTo>
                  <a:pt x="187" y="80"/>
                  <a:pt x="187" y="80"/>
                  <a:pt x="187" y="80"/>
                </a:cubicBezTo>
                <a:cubicBezTo>
                  <a:pt x="187" y="82"/>
                  <a:pt x="187" y="82"/>
                  <a:pt x="187" y="82"/>
                </a:cubicBezTo>
                <a:cubicBezTo>
                  <a:pt x="187" y="84"/>
                  <a:pt x="187" y="84"/>
                  <a:pt x="187" y="84"/>
                </a:cubicBezTo>
                <a:cubicBezTo>
                  <a:pt x="187" y="84"/>
                  <a:pt x="187" y="84"/>
                  <a:pt x="187" y="84"/>
                </a:cubicBezTo>
                <a:cubicBezTo>
                  <a:pt x="186" y="84"/>
                  <a:pt x="186" y="84"/>
                  <a:pt x="186" y="84"/>
                </a:cubicBezTo>
                <a:cubicBezTo>
                  <a:pt x="187" y="84"/>
                  <a:pt x="187" y="84"/>
                  <a:pt x="187" y="84"/>
                </a:cubicBezTo>
                <a:cubicBezTo>
                  <a:pt x="187" y="84"/>
                  <a:pt x="187" y="84"/>
                  <a:pt x="187" y="84"/>
                </a:cubicBezTo>
                <a:cubicBezTo>
                  <a:pt x="187" y="84"/>
                  <a:pt x="187" y="84"/>
                  <a:pt x="187" y="84"/>
                </a:cubicBezTo>
                <a:cubicBezTo>
                  <a:pt x="184" y="85"/>
                  <a:pt x="184" y="85"/>
                  <a:pt x="184" y="85"/>
                </a:cubicBezTo>
                <a:cubicBezTo>
                  <a:pt x="177" y="86"/>
                  <a:pt x="177" y="86"/>
                  <a:pt x="177" y="86"/>
                </a:cubicBezTo>
                <a:cubicBezTo>
                  <a:pt x="174" y="85"/>
                  <a:pt x="174" y="85"/>
                  <a:pt x="174" y="85"/>
                </a:cubicBezTo>
                <a:cubicBezTo>
                  <a:pt x="172" y="85"/>
                  <a:pt x="172" y="85"/>
                  <a:pt x="172" y="85"/>
                </a:cubicBezTo>
                <a:cubicBezTo>
                  <a:pt x="171" y="85"/>
                  <a:pt x="171" y="85"/>
                  <a:pt x="171" y="85"/>
                </a:cubicBezTo>
                <a:cubicBezTo>
                  <a:pt x="171" y="85"/>
                  <a:pt x="171" y="85"/>
                  <a:pt x="171" y="85"/>
                </a:cubicBezTo>
                <a:cubicBezTo>
                  <a:pt x="171" y="86"/>
                  <a:pt x="171" y="86"/>
                  <a:pt x="171" y="86"/>
                </a:cubicBezTo>
                <a:cubicBezTo>
                  <a:pt x="167" y="85"/>
                  <a:pt x="167" y="85"/>
                  <a:pt x="167" y="85"/>
                </a:cubicBezTo>
                <a:cubicBezTo>
                  <a:pt x="163" y="84"/>
                  <a:pt x="163" y="84"/>
                  <a:pt x="163" y="84"/>
                </a:cubicBezTo>
                <a:cubicBezTo>
                  <a:pt x="162" y="82"/>
                  <a:pt x="162" y="82"/>
                  <a:pt x="162" y="82"/>
                </a:cubicBezTo>
                <a:cubicBezTo>
                  <a:pt x="162" y="82"/>
                  <a:pt x="162" y="82"/>
                  <a:pt x="162" y="82"/>
                </a:cubicBezTo>
                <a:cubicBezTo>
                  <a:pt x="162" y="82"/>
                  <a:pt x="162" y="82"/>
                  <a:pt x="162" y="82"/>
                </a:cubicBezTo>
                <a:cubicBezTo>
                  <a:pt x="163" y="82"/>
                  <a:pt x="163" y="82"/>
                  <a:pt x="163" y="82"/>
                </a:cubicBezTo>
                <a:cubicBezTo>
                  <a:pt x="163" y="81"/>
                  <a:pt x="163" y="81"/>
                  <a:pt x="163" y="81"/>
                </a:cubicBezTo>
                <a:cubicBezTo>
                  <a:pt x="162" y="76"/>
                  <a:pt x="162" y="76"/>
                  <a:pt x="162" y="76"/>
                </a:cubicBezTo>
                <a:cubicBezTo>
                  <a:pt x="161" y="75"/>
                  <a:pt x="161" y="75"/>
                  <a:pt x="161" y="75"/>
                </a:cubicBezTo>
                <a:cubicBezTo>
                  <a:pt x="161" y="75"/>
                  <a:pt x="161" y="75"/>
                  <a:pt x="161" y="75"/>
                </a:cubicBezTo>
                <a:cubicBezTo>
                  <a:pt x="157" y="76"/>
                  <a:pt x="157" y="76"/>
                  <a:pt x="157" y="76"/>
                </a:cubicBezTo>
                <a:cubicBezTo>
                  <a:pt x="157" y="77"/>
                  <a:pt x="157" y="77"/>
                  <a:pt x="157" y="77"/>
                </a:cubicBezTo>
                <a:cubicBezTo>
                  <a:pt x="156" y="82"/>
                  <a:pt x="156" y="82"/>
                  <a:pt x="156" y="82"/>
                </a:cubicBezTo>
                <a:cubicBezTo>
                  <a:pt x="156" y="82"/>
                  <a:pt x="156" y="82"/>
                  <a:pt x="156" y="82"/>
                </a:cubicBezTo>
                <a:cubicBezTo>
                  <a:pt x="156" y="82"/>
                  <a:pt x="156" y="82"/>
                  <a:pt x="156" y="82"/>
                </a:cubicBezTo>
                <a:cubicBezTo>
                  <a:pt x="155" y="82"/>
                  <a:pt x="155" y="82"/>
                  <a:pt x="155" y="82"/>
                </a:cubicBezTo>
                <a:cubicBezTo>
                  <a:pt x="156" y="83"/>
                  <a:pt x="156" y="83"/>
                  <a:pt x="156" y="83"/>
                </a:cubicBezTo>
                <a:cubicBezTo>
                  <a:pt x="157" y="86"/>
                  <a:pt x="157" y="86"/>
                  <a:pt x="157" y="86"/>
                </a:cubicBezTo>
                <a:cubicBezTo>
                  <a:pt x="156" y="86"/>
                  <a:pt x="156" y="86"/>
                  <a:pt x="156" y="86"/>
                </a:cubicBezTo>
                <a:cubicBezTo>
                  <a:pt x="156" y="86"/>
                  <a:pt x="156" y="86"/>
                  <a:pt x="156" y="86"/>
                </a:cubicBezTo>
                <a:cubicBezTo>
                  <a:pt x="156" y="87"/>
                  <a:pt x="156" y="87"/>
                  <a:pt x="156" y="87"/>
                </a:cubicBezTo>
                <a:cubicBezTo>
                  <a:pt x="156" y="87"/>
                  <a:pt x="156" y="87"/>
                  <a:pt x="156" y="87"/>
                </a:cubicBezTo>
                <a:cubicBezTo>
                  <a:pt x="156" y="87"/>
                  <a:pt x="156" y="87"/>
                  <a:pt x="156" y="87"/>
                </a:cubicBezTo>
                <a:cubicBezTo>
                  <a:pt x="155" y="88"/>
                  <a:pt x="155" y="88"/>
                  <a:pt x="155" y="88"/>
                </a:cubicBezTo>
                <a:cubicBezTo>
                  <a:pt x="154" y="88"/>
                  <a:pt x="154" y="88"/>
                  <a:pt x="154" y="88"/>
                </a:cubicBezTo>
                <a:cubicBezTo>
                  <a:pt x="152" y="88"/>
                  <a:pt x="152" y="88"/>
                  <a:pt x="152" y="88"/>
                </a:cubicBezTo>
                <a:cubicBezTo>
                  <a:pt x="151" y="89"/>
                  <a:pt x="151" y="89"/>
                  <a:pt x="151" y="89"/>
                </a:cubicBezTo>
                <a:cubicBezTo>
                  <a:pt x="149" y="88"/>
                  <a:pt x="149" y="88"/>
                  <a:pt x="149" y="88"/>
                </a:cubicBezTo>
                <a:cubicBezTo>
                  <a:pt x="149" y="88"/>
                  <a:pt x="149" y="88"/>
                  <a:pt x="149" y="88"/>
                </a:cubicBezTo>
                <a:cubicBezTo>
                  <a:pt x="143" y="88"/>
                  <a:pt x="143" y="88"/>
                  <a:pt x="143" y="88"/>
                </a:cubicBezTo>
                <a:cubicBezTo>
                  <a:pt x="136" y="85"/>
                  <a:pt x="136" y="85"/>
                  <a:pt x="136" y="85"/>
                </a:cubicBezTo>
                <a:cubicBezTo>
                  <a:pt x="129" y="80"/>
                  <a:pt x="129" y="80"/>
                  <a:pt x="129" y="80"/>
                </a:cubicBezTo>
                <a:cubicBezTo>
                  <a:pt x="117" y="79"/>
                  <a:pt x="117" y="79"/>
                  <a:pt x="117" y="79"/>
                </a:cubicBezTo>
                <a:cubicBezTo>
                  <a:pt x="111" y="76"/>
                  <a:pt x="111" y="76"/>
                  <a:pt x="111" y="76"/>
                </a:cubicBezTo>
                <a:cubicBezTo>
                  <a:pt x="104" y="71"/>
                  <a:pt x="104" y="71"/>
                  <a:pt x="104" y="71"/>
                </a:cubicBezTo>
                <a:cubicBezTo>
                  <a:pt x="95" y="69"/>
                  <a:pt x="95" y="69"/>
                  <a:pt x="95" y="69"/>
                </a:cubicBezTo>
                <a:cubicBezTo>
                  <a:pt x="97" y="62"/>
                  <a:pt x="97" y="62"/>
                  <a:pt x="97" y="62"/>
                </a:cubicBezTo>
                <a:cubicBezTo>
                  <a:pt x="97" y="62"/>
                  <a:pt x="97" y="62"/>
                  <a:pt x="97" y="62"/>
                </a:cubicBezTo>
                <a:cubicBezTo>
                  <a:pt x="97" y="62"/>
                  <a:pt x="97" y="62"/>
                  <a:pt x="97" y="62"/>
                </a:cubicBezTo>
                <a:cubicBezTo>
                  <a:pt x="97" y="61"/>
                  <a:pt x="97" y="61"/>
                  <a:pt x="97" y="61"/>
                </a:cubicBezTo>
                <a:cubicBezTo>
                  <a:pt x="103" y="57"/>
                  <a:pt x="103" y="57"/>
                  <a:pt x="103" y="57"/>
                </a:cubicBezTo>
                <a:cubicBezTo>
                  <a:pt x="103" y="57"/>
                  <a:pt x="103" y="57"/>
                  <a:pt x="103" y="57"/>
                </a:cubicBezTo>
                <a:cubicBezTo>
                  <a:pt x="101" y="55"/>
                  <a:pt x="101" y="55"/>
                  <a:pt x="101" y="55"/>
                </a:cubicBezTo>
                <a:cubicBezTo>
                  <a:pt x="96" y="53"/>
                  <a:pt x="96" y="53"/>
                  <a:pt x="96" y="53"/>
                </a:cubicBezTo>
                <a:cubicBezTo>
                  <a:pt x="96" y="52"/>
                  <a:pt x="96" y="52"/>
                  <a:pt x="96" y="52"/>
                </a:cubicBezTo>
                <a:cubicBezTo>
                  <a:pt x="95" y="50"/>
                  <a:pt x="95" y="50"/>
                  <a:pt x="95" y="50"/>
                </a:cubicBezTo>
                <a:cubicBezTo>
                  <a:pt x="92" y="50"/>
                  <a:pt x="92" y="50"/>
                  <a:pt x="92" y="50"/>
                </a:cubicBezTo>
                <a:cubicBezTo>
                  <a:pt x="90" y="46"/>
                  <a:pt x="90" y="46"/>
                  <a:pt x="90" y="46"/>
                </a:cubicBezTo>
                <a:cubicBezTo>
                  <a:pt x="89" y="46"/>
                  <a:pt x="89" y="46"/>
                  <a:pt x="89" y="46"/>
                </a:cubicBezTo>
                <a:cubicBezTo>
                  <a:pt x="88" y="47"/>
                  <a:pt x="88" y="47"/>
                  <a:pt x="88" y="47"/>
                </a:cubicBezTo>
                <a:cubicBezTo>
                  <a:pt x="88" y="47"/>
                  <a:pt x="88" y="47"/>
                  <a:pt x="88" y="47"/>
                </a:cubicBezTo>
                <a:cubicBezTo>
                  <a:pt x="87" y="47"/>
                  <a:pt x="87" y="47"/>
                  <a:pt x="87" y="47"/>
                </a:cubicBezTo>
                <a:cubicBezTo>
                  <a:pt x="88" y="44"/>
                  <a:pt x="88" y="44"/>
                  <a:pt x="88" y="44"/>
                </a:cubicBezTo>
                <a:cubicBezTo>
                  <a:pt x="88" y="42"/>
                  <a:pt x="88" y="42"/>
                  <a:pt x="88" y="42"/>
                </a:cubicBezTo>
                <a:cubicBezTo>
                  <a:pt x="85" y="39"/>
                  <a:pt x="85" y="39"/>
                  <a:pt x="85" y="39"/>
                </a:cubicBezTo>
                <a:cubicBezTo>
                  <a:pt x="86" y="37"/>
                  <a:pt x="86" y="37"/>
                  <a:pt x="86" y="37"/>
                </a:cubicBezTo>
                <a:cubicBezTo>
                  <a:pt x="86" y="37"/>
                  <a:pt x="86" y="37"/>
                  <a:pt x="86" y="37"/>
                </a:cubicBezTo>
                <a:cubicBezTo>
                  <a:pt x="87" y="37"/>
                  <a:pt x="87" y="37"/>
                  <a:pt x="87" y="37"/>
                </a:cubicBezTo>
                <a:cubicBezTo>
                  <a:pt x="88" y="38"/>
                  <a:pt x="88" y="38"/>
                  <a:pt x="88" y="38"/>
                </a:cubicBezTo>
                <a:cubicBezTo>
                  <a:pt x="90" y="38"/>
                  <a:pt x="90" y="38"/>
                  <a:pt x="90" y="38"/>
                </a:cubicBezTo>
                <a:cubicBezTo>
                  <a:pt x="91" y="38"/>
                  <a:pt x="91" y="38"/>
                  <a:pt x="91" y="38"/>
                </a:cubicBezTo>
                <a:cubicBezTo>
                  <a:pt x="93" y="34"/>
                  <a:pt x="93" y="34"/>
                  <a:pt x="93" y="34"/>
                </a:cubicBezTo>
                <a:cubicBezTo>
                  <a:pt x="93" y="32"/>
                  <a:pt x="93" y="32"/>
                  <a:pt x="93" y="32"/>
                </a:cubicBezTo>
                <a:cubicBezTo>
                  <a:pt x="91" y="32"/>
                  <a:pt x="91" y="32"/>
                  <a:pt x="91" y="32"/>
                </a:cubicBezTo>
                <a:cubicBezTo>
                  <a:pt x="90" y="30"/>
                  <a:pt x="90" y="30"/>
                  <a:pt x="90" y="30"/>
                </a:cubicBezTo>
                <a:cubicBezTo>
                  <a:pt x="90" y="27"/>
                  <a:pt x="90" y="27"/>
                  <a:pt x="90" y="27"/>
                </a:cubicBezTo>
                <a:cubicBezTo>
                  <a:pt x="94" y="26"/>
                  <a:pt x="94" y="26"/>
                  <a:pt x="94" y="26"/>
                </a:cubicBezTo>
                <a:cubicBezTo>
                  <a:pt x="95" y="23"/>
                  <a:pt x="95" y="23"/>
                  <a:pt x="95" y="23"/>
                </a:cubicBezTo>
                <a:cubicBezTo>
                  <a:pt x="98" y="21"/>
                  <a:pt x="98" y="21"/>
                  <a:pt x="98" y="21"/>
                </a:cubicBezTo>
                <a:cubicBezTo>
                  <a:pt x="99" y="16"/>
                  <a:pt x="99" y="16"/>
                  <a:pt x="99" y="16"/>
                </a:cubicBezTo>
                <a:cubicBezTo>
                  <a:pt x="101" y="14"/>
                  <a:pt x="101" y="14"/>
                  <a:pt x="101" y="14"/>
                </a:cubicBezTo>
                <a:cubicBezTo>
                  <a:pt x="99" y="12"/>
                  <a:pt x="99" y="12"/>
                  <a:pt x="99" y="12"/>
                </a:cubicBezTo>
                <a:cubicBezTo>
                  <a:pt x="96" y="12"/>
                  <a:pt x="96" y="12"/>
                  <a:pt x="96" y="12"/>
                </a:cubicBezTo>
                <a:cubicBezTo>
                  <a:pt x="92" y="10"/>
                  <a:pt x="92" y="10"/>
                  <a:pt x="92" y="10"/>
                </a:cubicBezTo>
                <a:cubicBezTo>
                  <a:pt x="90" y="13"/>
                  <a:pt x="90" y="13"/>
                  <a:pt x="90" y="13"/>
                </a:cubicBezTo>
                <a:cubicBezTo>
                  <a:pt x="87" y="13"/>
                  <a:pt x="87" y="13"/>
                  <a:pt x="87" y="13"/>
                </a:cubicBezTo>
                <a:cubicBezTo>
                  <a:pt x="85" y="14"/>
                  <a:pt x="85" y="14"/>
                  <a:pt x="85" y="14"/>
                </a:cubicBezTo>
                <a:cubicBezTo>
                  <a:pt x="81" y="14"/>
                  <a:pt x="81" y="14"/>
                  <a:pt x="81" y="14"/>
                </a:cubicBezTo>
                <a:cubicBezTo>
                  <a:pt x="76" y="12"/>
                  <a:pt x="76" y="12"/>
                  <a:pt x="76" y="12"/>
                </a:cubicBezTo>
                <a:cubicBezTo>
                  <a:pt x="75" y="8"/>
                  <a:pt x="75" y="8"/>
                  <a:pt x="75" y="8"/>
                </a:cubicBezTo>
                <a:cubicBezTo>
                  <a:pt x="74" y="8"/>
                  <a:pt x="74" y="8"/>
                  <a:pt x="74" y="8"/>
                </a:cubicBezTo>
                <a:cubicBezTo>
                  <a:pt x="73" y="6"/>
                  <a:pt x="73" y="6"/>
                  <a:pt x="73" y="6"/>
                </a:cubicBezTo>
                <a:cubicBezTo>
                  <a:pt x="70" y="6"/>
                  <a:pt x="70" y="6"/>
                  <a:pt x="70" y="6"/>
                </a:cubicBezTo>
                <a:cubicBezTo>
                  <a:pt x="69" y="3"/>
                  <a:pt x="69" y="3"/>
                  <a:pt x="69" y="3"/>
                </a:cubicBezTo>
                <a:cubicBezTo>
                  <a:pt x="67" y="1"/>
                  <a:pt x="67" y="1"/>
                  <a:pt x="67" y="1"/>
                </a:cubicBezTo>
                <a:cubicBezTo>
                  <a:pt x="65" y="0"/>
                  <a:pt x="65" y="0"/>
                  <a:pt x="65" y="0"/>
                </a:cubicBezTo>
                <a:cubicBezTo>
                  <a:pt x="60" y="2"/>
                  <a:pt x="60" y="2"/>
                  <a:pt x="60" y="2"/>
                </a:cubicBezTo>
                <a:cubicBezTo>
                  <a:pt x="55" y="3"/>
                  <a:pt x="55" y="3"/>
                  <a:pt x="55" y="3"/>
                </a:cubicBezTo>
                <a:cubicBezTo>
                  <a:pt x="53" y="2"/>
                  <a:pt x="53" y="2"/>
                  <a:pt x="53" y="2"/>
                </a:cubicBezTo>
                <a:cubicBezTo>
                  <a:pt x="51" y="1"/>
                  <a:pt x="51" y="1"/>
                  <a:pt x="51" y="1"/>
                </a:cubicBezTo>
                <a:cubicBezTo>
                  <a:pt x="50" y="3"/>
                  <a:pt x="50" y="3"/>
                  <a:pt x="50" y="3"/>
                </a:cubicBezTo>
                <a:cubicBezTo>
                  <a:pt x="50" y="5"/>
                  <a:pt x="50" y="5"/>
                  <a:pt x="50" y="5"/>
                </a:cubicBezTo>
                <a:cubicBezTo>
                  <a:pt x="48" y="5"/>
                  <a:pt x="48" y="5"/>
                  <a:pt x="48" y="5"/>
                </a:cubicBezTo>
                <a:cubicBezTo>
                  <a:pt x="46" y="5"/>
                  <a:pt x="46" y="5"/>
                  <a:pt x="46" y="5"/>
                </a:cubicBezTo>
                <a:cubicBezTo>
                  <a:pt x="46" y="8"/>
                  <a:pt x="46" y="8"/>
                  <a:pt x="46" y="8"/>
                </a:cubicBezTo>
                <a:cubicBezTo>
                  <a:pt x="47" y="10"/>
                  <a:pt x="47" y="10"/>
                  <a:pt x="47" y="10"/>
                </a:cubicBezTo>
                <a:cubicBezTo>
                  <a:pt x="51" y="11"/>
                  <a:pt x="51" y="11"/>
                  <a:pt x="51" y="11"/>
                </a:cubicBezTo>
                <a:cubicBezTo>
                  <a:pt x="55" y="14"/>
                  <a:pt x="55" y="14"/>
                  <a:pt x="55" y="14"/>
                </a:cubicBezTo>
                <a:cubicBezTo>
                  <a:pt x="56" y="16"/>
                  <a:pt x="56" y="16"/>
                  <a:pt x="56" y="16"/>
                </a:cubicBezTo>
                <a:cubicBezTo>
                  <a:pt x="52" y="21"/>
                  <a:pt x="52" y="21"/>
                  <a:pt x="52" y="21"/>
                </a:cubicBezTo>
                <a:cubicBezTo>
                  <a:pt x="53" y="29"/>
                  <a:pt x="53" y="29"/>
                  <a:pt x="53" y="29"/>
                </a:cubicBezTo>
                <a:cubicBezTo>
                  <a:pt x="54" y="31"/>
                  <a:pt x="54" y="31"/>
                  <a:pt x="54" y="31"/>
                </a:cubicBezTo>
                <a:cubicBezTo>
                  <a:pt x="55" y="32"/>
                  <a:pt x="55" y="32"/>
                  <a:pt x="55" y="32"/>
                </a:cubicBezTo>
                <a:cubicBezTo>
                  <a:pt x="55" y="33"/>
                  <a:pt x="55" y="33"/>
                  <a:pt x="55" y="33"/>
                </a:cubicBezTo>
                <a:cubicBezTo>
                  <a:pt x="57" y="33"/>
                  <a:pt x="57" y="33"/>
                  <a:pt x="57" y="33"/>
                </a:cubicBezTo>
                <a:cubicBezTo>
                  <a:pt x="58" y="33"/>
                  <a:pt x="58" y="33"/>
                  <a:pt x="58" y="33"/>
                </a:cubicBezTo>
                <a:cubicBezTo>
                  <a:pt x="58" y="34"/>
                  <a:pt x="58" y="34"/>
                  <a:pt x="58" y="34"/>
                </a:cubicBezTo>
                <a:cubicBezTo>
                  <a:pt x="58" y="36"/>
                  <a:pt x="58" y="36"/>
                  <a:pt x="58" y="36"/>
                </a:cubicBezTo>
                <a:cubicBezTo>
                  <a:pt x="61" y="36"/>
                  <a:pt x="61" y="36"/>
                  <a:pt x="61" y="36"/>
                </a:cubicBezTo>
                <a:cubicBezTo>
                  <a:pt x="62" y="38"/>
                  <a:pt x="62" y="38"/>
                  <a:pt x="62" y="38"/>
                </a:cubicBezTo>
                <a:cubicBezTo>
                  <a:pt x="62" y="38"/>
                  <a:pt x="62" y="38"/>
                  <a:pt x="62" y="38"/>
                </a:cubicBezTo>
                <a:cubicBezTo>
                  <a:pt x="62" y="38"/>
                  <a:pt x="62" y="38"/>
                  <a:pt x="62" y="38"/>
                </a:cubicBezTo>
                <a:cubicBezTo>
                  <a:pt x="60" y="39"/>
                  <a:pt x="60" y="39"/>
                  <a:pt x="60" y="39"/>
                </a:cubicBezTo>
                <a:cubicBezTo>
                  <a:pt x="57" y="41"/>
                  <a:pt x="57" y="41"/>
                  <a:pt x="57" y="41"/>
                </a:cubicBezTo>
                <a:cubicBezTo>
                  <a:pt x="55" y="42"/>
                  <a:pt x="55" y="42"/>
                  <a:pt x="55" y="42"/>
                </a:cubicBezTo>
                <a:cubicBezTo>
                  <a:pt x="56" y="43"/>
                  <a:pt x="56" y="43"/>
                  <a:pt x="56" y="43"/>
                </a:cubicBezTo>
                <a:cubicBezTo>
                  <a:pt x="55" y="46"/>
                  <a:pt x="55" y="46"/>
                  <a:pt x="55" y="46"/>
                </a:cubicBezTo>
                <a:cubicBezTo>
                  <a:pt x="55" y="48"/>
                  <a:pt x="55" y="48"/>
                  <a:pt x="55" y="48"/>
                </a:cubicBezTo>
                <a:cubicBezTo>
                  <a:pt x="51" y="51"/>
                  <a:pt x="51" y="51"/>
                  <a:pt x="51" y="51"/>
                </a:cubicBezTo>
                <a:cubicBezTo>
                  <a:pt x="50" y="53"/>
                  <a:pt x="50" y="53"/>
                  <a:pt x="50" y="53"/>
                </a:cubicBezTo>
                <a:cubicBezTo>
                  <a:pt x="46" y="53"/>
                  <a:pt x="46" y="53"/>
                  <a:pt x="46" y="53"/>
                </a:cubicBezTo>
                <a:cubicBezTo>
                  <a:pt x="46" y="55"/>
                  <a:pt x="46" y="55"/>
                  <a:pt x="46" y="55"/>
                </a:cubicBezTo>
                <a:cubicBezTo>
                  <a:pt x="40" y="63"/>
                  <a:pt x="40" y="63"/>
                  <a:pt x="40" y="63"/>
                </a:cubicBezTo>
                <a:cubicBezTo>
                  <a:pt x="37" y="64"/>
                  <a:pt x="37" y="64"/>
                  <a:pt x="37" y="64"/>
                </a:cubicBezTo>
                <a:cubicBezTo>
                  <a:pt x="33" y="67"/>
                  <a:pt x="33" y="67"/>
                  <a:pt x="33" y="67"/>
                </a:cubicBezTo>
                <a:cubicBezTo>
                  <a:pt x="32" y="71"/>
                  <a:pt x="32" y="71"/>
                  <a:pt x="32" y="71"/>
                </a:cubicBezTo>
                <a:cubicBezTo>
                  <a:pt x="24" y="72"/>
                  <a:pt x="24" y="72"/>
                  <a:pt x="24" y="72"/>
                </a:cubicBezTo>
                <a:cubicBezTo>
                  <a:pt x="23" y="71"/>
                  <a:pt x="23" y="71"/>
                  <a:pt x="23" y="71"/>
                </a:cubicBezTo>
                <a:cubicBezTo>
                  <a:pt x="23" y="70"/>
                  <a:pt x="23" y="70"/>
                  <a:pt x="23" y="70"/>
                </a:cubicBezTo>
                <a:cubicBezTo>
                  <a:pt x="22" y="69"/>
                  <a:pt x="22" y="69"/>
                  <a:pt x="22" y="69"/>
                </a:cubicBezTo>
                <a:cubicBezTo>
                  <a:pt x="21" y="69"/>
                  <a:pt x="21" y="69"/>
                  <a:pt x="21" y="69"/>
                </a:cubicBezTo>
                <a:cubicBezTo>
                  <a:pt x="20" y="69"/>
                  <a:pt x="20" y="69"/>
                  <a:pt x="20" y="69"/>
                </a:cubicBezTo>
                <a:cubicBezTo>
                  <a:pt x="18" y="71"/>
                  <a:pt x="18" y="71"/>
                  <a:pt x="18" y="71"/>
                </a:cubicBezTo>
                <a:cubicBezTo>
                  <a:pt x="13" y="76"/>
                  <a:pt x="13" y="76"/>
                  <a:pt x="13" y="76"/>
                </a:cubicBezTo>
                <a:cubicBezTo>
                  <a:pt x="12" y="78"/>
                  <a:pt x="12" y="78"/>
                  <a:pt x="12" y="78"/>
                </a:cubicBezTo>
                <a:cubicBezTo>
                  <a:pt x="15" y="80"/>
                  <a:pt x="15" y="80"/>
                  <a:pt x="15" y="80"/>
                </a:cubicBezTo>
                <a:cubicBezTo>
                  <a:pt x="18" y="81"/>
                  <a:pt x="18" y="81"/>
                  <a:pt x="18" y="81"/>
                </a:cubicBezTo>
                <a:cubicBezTo>
                  <a:pt x="17" y="84"/>
                  <a:pt x="17" y="84"/>
                  <a:pt x="17" y="84"/>
                </a:cubicBezTo>
                <a:cubicBezTo>
                  <a:pt x="18" y="87"/>
                  <a:pt x="18" y="87"/>
                  <a:pt x="18" y="87"/>
                </a:cubicBezTo>
                <a:cubicBezTo>
                  <a:pt x="20" y="88"/>
                  <a:pt x="20" y="88"/>
                  <a:pt x="20" y="88"/>
                </a:cubicBezTo>
                <a:cubicBezTo>
                  <a:pt x="21" y="90"/>
                  <a:pt x="21" y="90"/>
                  <a:pt x="21" y="90"/>
                </a:cubicBezTo>
                <a:cubicBezTo>
                  <a:pt x="22" y="92"/>
                  <a:pt x="22" y="92"/>
                  <a:pt x="22" y="92"/>
                </a:cubicBezTo>
                <a:cubicBezTo>
                  <a:pt x="22" y="95"/>
                  <a:pt x="22" y="95"/>
                  <a:pt x="22" y="95"/>
                </a:cubicBezTo>
                <a:cubicBezTo>
                  <a:pt x="23" y="96"/>
                  <a:pt x="23" y="96"/>
                  <a:pt x="23" y="96"/>
                </a:cubicBezTo>
                <a:cubicBezTo>
                  <a:pt x="23" y="96"/>
                  <a:pt x="23" y="96"/>
                  <a:pt x="23" y="96"/>
                </a:cubicBezTo>
                <a:cubicBezTo>
                  <a:pt x="22" y="97"/>
                  <a:pt x="22" y="97"/>
                  <a:pt x="22" y="97"/>
                </a:cubicBezTo>
                <a:cubicBezTo>
                  <a:pt x="23" y="98"/>
                  <a:pt x="23" y="98"/>
                  <a:pt x="23" y="98"/>
                </a:cubicBezTo>
                <a:cubicBezTo>
                  <a:pt x="21" y="99"/>
                  <a:pt x="21" y="99"/>
                  <a:pt x="21" y="99"/>
                </a:cubicBezTo>
                <a:cubicBezTo>
                  <a:pt x="20" y="99"/>
                  <a:pt x="20" y="99"/>
                  <a:pt x="20" y="99"/>
                </a:cubicBezTo>
                <a:cubicBezTo>
                  <a:pt x="20" y="98"/>
                  <a:pt x="20" y="98"/>
                  <a:pt x="20" y="98"/>
                </a:cubicBezTo>
                <a:cubicBezTo>
                  <a:pt x="19" y="97"/>
                  <a:pt x="19" y="97"/>
                  <a:pt x="19" y="97"/>
                </a:cubicBezTo>
                <a:cubicBezTo>
                  <a:pt x="14" y="99"/>
                  <a:pt x="14" y="99"/>
                  <a:pt x="14" y="99"/>
                </a:cubicBezTo>
                <a:cubicBezTo>
                  <a:pt x="11" y="98"/>
                  <a:pt x="11" y="98"/>
                  <a:pt x="11" y="98"/>
                </a:cubicBezTo>
                <a:cubicBezTo>
                  <a:pt x="7" y="98"/>
                  <a:pt x="7" y="98"/>
                  <a:pt x="7" y="98"/>
                </a:cubicBezTo>
                <a:cubicBezTo>
                  <a:pt x="7" y="97"/>
                  <a:pt x="7" y="97"/>
                  <a:pt x="7" y="97"/>
                </a:cubicBezTo>
                <a:cubicBezTo>
                  <a:pt x="6" y="97"/>
                  <a:pt x="6" y="97"/>
                  <a:pt x="6" y="97"/>
                </a:cubicBezTo>
                <a:cubicBezTo>
                  <a:pt x="5" y="97"/>
                  <a:pt x="5" y="97"/>
                  <a:pt x="5" y="97"/>
                </a:cubicBezTo>
                <a:cubicBezTo>
                  <a:pt x="4" y="97"/>
                  <a:pt x="4" y="97"/>
                  <a:pt x="4" y="97"/>
                </a:cubicBezTo>
                <a:cubicBezTo>
                  <a:pt x="3" y="99"/>
                  <a:pt x="3" y="99"/>
                  <a:pt x="3" y="99"/>
                </a:cubicBezTo>
                <a:cubicBezTo>
                  <a:pt x="2" y="99"/>
                  <a:pt x="2" y="99"/>
                  <a:pt x="2" y="99"/>
                </a:cubicBezTo>
                <a:cubicBezTo>
                  <a:pt x="0" y="101"/>
                  <a:pt x="0" y="101"/>
                  <a:pt x="0" y="101"/>
                </a:cubicBezTo>
                <a:cubicBezTo>
                  <a:pt x="1" y="101"/>
                  <a:pt x="1" y="101"/>
                  <a:pt x="1" y="101"/>
                </a:cubicBezTo>
                <a:cubicBezTo>
                  <a:pt x="3" y="100"/>
                  <a:pt x="3" y="100"/>
                  <a:pt x="3" y="100"/>
                </a:cubicBezTo>
                <a:cubicBezTo>
                  <a:pt x="4" y="100"/>
                  <a:pt x="4" y="100"/>
                  <a:pt x="4" y="100"/>
                </a:cubicBezTo>
                <a:cubicBezTo>
                  <a:pt x="2" y="102"/>
                  <a:pt x="2" y="102"/>
                  <a:pt x="2" y="102"/>
                </a:cubicBezTo>
                <a:cubicBezTo>
                  <a:pt x="1" y="103"/>
                  <a:pt x="1" y="103"/>
                  <a:pt x="1" y="103"/>
                </a:cubicBezTo>
                <a:cubicBezTo>
                  <a:pt x="3" y="106"/>
                  <a:pt x="3" y="106"/>
                  <a:pt x="3" y="106"/>
                </a:cubicBezTo>
                <a:cubicBezTo>
                  <a:pt x="8" y="109"/>
                  <a:pt x="8" y="109"/>
                  <a:pt x="8" y="109"/>
                </a:cubicBezTo>
                <a:cubicBezTo>
                  <a:pt x="11" y="110"/>
                  <a:pt x="11" y="110"/>
                  <a:pt x="11" y="110"/>
                </a:cubicBezTo>
                <a:cubicBezTo>
                  <a:pt x="12" y="109"/>
                  <a:pt x="12" y="109"/>
                  <a:pt x="12" y="109"/>
                </a:cubicBezTo>
                <a:cubicBezTo>
                  <a:pt x="15" y="109"/>
                  <a:pt x="15" y="109"/>
                  <a:pt x="15" y="109"/>
                </a:cubicBezTo>
                <a:cubicBezTo>
                  <a:pt x="16" y="108"/>
                  <a:pt x="16" y="108"/>
                  <a:pt x="16" y="108"/>
                </a:cubicBezTo>
                <a:cubicBezTo>
                  <a:pt x="17" y="108"/>
                  <a:pt x="17" y="108"/>
                  <a:pt x="17" y="108"/>
                </a:cubicBezTo>
                <a:cubicBezTo>
                  <a:pt x="14" y="112"/>
                  <a:pt x="14" y="112"/>
                  <a:pt x="14" y="112"/>
                </a:cubicBezTo>
                <a:cubicBezTo>
                  <a:pt x="13" y="113"/>
                  <a:pt x="13" y="113"/>
                  <a:pt x="13" y="113"/>
                </a:cubicBezTo>
                <a:cubicBezTo>
                  <a:pt x="10" y="113"/>
                  <a:pt x="10" y="113"/>
                  <a:pt x="10" y="113"/>
                </a:cubicBezTo>
                <a:cubicBezTo>
                  <a:pt x="7" y="113"/>
                  <a:pt x="7" y="113"/>
                  <a:pt x="7" y="113"/>
                </a:cubicBezTo>
                <a:cubicBezTo>
                  <a:pt x="5" y="113"/>
                  <a:pt x="5" y="113"/>
                  <a:pt x="5" y="113"/>
                </a:cubicBezTo>
                <a:cubicBezTo>
                  <a:pt x="5" y="113"/>
                  <a:pt x="5" y="113"/>
                  <a:pt x="5" y="113"/>
                </a:cubicBezTo>
                <a:cubicBezTo>
                  <a:pt x="5" y="115"/>
                  <a:pt x="5" y="115"/>
                  <a:pt x="5" y="115"/>
                </a:cubicBezTo>
                <a:cubicBezTo>
                  <a:pt x="14" y="127"/>
                  <a:pt x="14" y="127"/>
                  <a:pt x="14" y="127"/>
                </a:cubicBezTo>
                <a:cubicBezTo>
                  <a:pt x="17" y="127"/>
                  <a:pt x="17" y="127"/>
                  <a:pt x="17" y="127"/>
                </a:cubicBezTo>
                <a:cubicBezTo>
                  <a:pt x="17" y="128"/>
                  <a:pt x="17" y="128"/>
                  <a:pt x="17" y="128"/>
                </a:cubicBezTo>
                <a:cubicBezTo>
                  <a:pt x="18" y="128"/>
                  <a:pt x="18" y="128"/>
                  <a:pt x="18" y="128"/>
                </a:cubicBezTo>
                <a:cubicBezTo>
                  <a:pt x="19" y="128"/>
                  <a:pt x="19" y="128"/>
                  <a:pt x="19" y="128"/>
                </a:cubicBezTo>
                <a:cubicBezTo>
                  <a:pt x="19" y="128"/>
                  <a:pt x="19" y="128"/>
                  <a:pt x="19" y="128"/>
                </a:cubicBezTo>
                <a:cubicBezTo>
                  <a:pt x="23" y="127"/>
                  <a:pt x="23" y="127"/>
                  <a:pt x="23" y="127"/>
                </a:cubicBezTo>
                <a:cubicBezTo>
                  <a:pt x="25" y="126"/>
                  <a:pt x="25" y="126"/>
                  <a:pt x="25" y="126"/>
                </a:cubicBezTo>
                <a:cubicBezTo>
                  <a:pt x="28" y="125"/>
                  <a:pt x="28" y="125"/>
                  <a:pt x="28" y="125"/>
                </a:cubicBezTo>
                <a:cubicBezTo>
                  <a:pt x="28" y="124"/>
                  <a:pt x="28" y="124"/>
                  <a:pt x="28" y="124"/>
                </a:cubicBezTo>
                <a:cubicBezTo>
                  <a:pt x="29" y="123"/>
                  <a:pt x="29" y="123"/>
                  <a:pt x="29" y="123"/>
                </a:cubicBezTo>
                <a:cubicBezTo>
                  <a:pt x="29" y="121"/>
                  <a:pt x="29" y="121"/>
                  <a:pt x="29" y="121"/>
                </a:cubicBezTo>
                <a:cubicBezTo>
                  <a:pt x="30" y="119"/>
                  <a:pt x="30" y="119"/>
                  <a:pt x="30" y="119"/>
                </a:cubicBezTo>
                <a:cubicBezTo>
                  <a:pt x="31" y="116"/>
                  <a:pt x="31" y="116"/>
                  <a:pt x="31" y="116"/>
                </a:cubicBezTo>
                <a:cubicBezTo>
                  <a:pt x="32" y="117"/>
                  <a:pt x="32" y="117"/>
                  <a:pt x="32" y="117"/>
                </a:cubicBezTo>
                <a:cubicBezTo>
                  <a:pt x="34" y="116"/>
                  <a:pt x="34" y="116"/>
                  <a:pt x="34" y="116"/>
                </a:cubicBezTo>
                <a:cubicBezTo>
                  <a:pt x="34" y="116"/>
                  <a:pt x="34" y="116"/>
                  <a:pt x="34" y="116"/>
                </a:cubicBezTo>
                <a:cubicBezTo>
                  <a:pt x="34" y="117"/>
                  <a:pt x="34" y="117"/>
                  <a:pt x="34" y="117"/>
                </a:cubicBezTo>
                <a:cubicBezTo>
                  <a:pt x="33" y="118"/>
                  <a:pt x="33" y="118"/>
                  <a:pt x="33" y="118"/>
                </a:cubicBezTo>
                <a:cubicBezTo>
                  <a:pt x="33" y="119"/>
                  <a:pt x="33" y="119"/>
                  <a:pt x="33" y="119"/>
                </a:cubicBezTo>
                <a:cubicBezTo>
                  <a:pt x="33" y="120"/>
                  <a:pt x="33" y="120"/>
                  <a:pt x="33" y="120"/>
                </a:cubicBezTo>
                <a:cubicBezTo>
                  <a:pt x="33" y="121"/>
                  <a:pt x="33" y="121"/>
                  <a:pt x="33" y="121"/>
                </a:cubicBezTo>
                <a:cubicBezTo>
                  <a:pt x="36" y="121"/>
                  <a:pt x="36" y="121"/>
                  <a:pt x="36" y="121"/>
                </a:cubicBezTo>
                <a:cubicBezTo>
                  <a:pt x="33" y="123"/>
                  <a:pt x="33" y="123"/>
                  <a:pt x="33" y="123"/>
                </a:cubicBezTo>
                <a:cubicBezTo>
                  <a:pt x="32" y="125"/>
                  <a:pt x="32" y="125"/>
                  <a:pt x="32" y="125"/>
                </a:cubicBezTo>
                <a:cubicBezTo>
                  <a:pt x="33" y="126"/>
                  <a:pt x="33" y="126"/>
                  <a:pt x="33" y="126"/>
                </a:cubicBezTo>
                <a:cubicBezTo>
                  <a:pt x="34" y="131"/>
                  <a:pt x="34" y="131"/>
                  <a:pt x="34" y="131"/>
                </a:cubicBezTo>
                <a:cubicBezTo>
                  <a:pt x="34" y="131"/>
                  <a:pt x="34" y="131"/>
                  <a:pt x="34" y="131"/>
                </a:cubicBezTo>
                <a:cubicBezTo>
                  <a:pt x="34" y="132"/>
                  <a:pt x="34" y="132"/>
                  <a:pt x="34" y="132"/>
                </a:cubicBezTo>
                <a:cubicBezTo>
                  <a:pt x="34" y="132"/>
                  <a:pt x="34" y="132"/>
                  <a:pt x="34" y="132"/>
                </a:cubicBezTo>
                <a:cubicBezTo>
                  <a:pt x="33" y="134"/>
                  <a:pt x="33" y="134"/>
                  <a:pt x="33" y="134"/>
                </a:cubicBezTo>
                <a:cubicBezTo>
                  <a:pt x="33" y="134"/>
                  <a:pt x="33" y="134"/>
                  <a:pt x="33" y="134"/>
                </a:cubicBezTo>
                <a:cubicBezTo>
                  <a:pt x="32" y="135"/>
                  <a:pt x="32" y="135"/>
                  <a:pt x="32" y="135"/>
                </a:cubicBezTo>
                <a:cubicBezTo>
                  <a:pt x="32" y="138"/>
                  <a:pt x="32" y="138"/>
                  <a:pt x="32" y="138"/>
                </a:cubicBezTo>
                <a:cubicBezTo>
                  <a:pt x="32" y="139"/>
                  <a:pt x="32" y="139"/>
                  <a:pt x="32" y="139"/>
                </a:cubicBezTo>
                <a:cubicBezTo>
                  <a:pt x="32" y="140"/>
                  <a:pt x="32" y="140"/>
                  <a:pt x="32" y="140"/>
                </a:cubicBezTo>
                <a:cubicBezTo>
                  <a:pt x="33" y="141"/>
                  <a:pt x="33" y="141"/>
                  <a:pt x="33" y="141"/>
                </a:cubicBezTo>
                <a:cubicBezTo>
                  <a:pt x="32" y="142"/>
                  <a:pt x="32" y="142"/>
                  <a:pt x="32" y="142"/>
                </a:cubicBezTo>
                <a:cubicBezTo>
                  <a:pt x="32" y="143"/>
                  <a:pt x="32" y="143"/>
                  <a:pt x="32" y="143"/>
                </a:cubicBezTo>
                <a:cubicBezTo>
                  <a:pt x="33" y="142"/>
                  <a:pt x="33" y="142"/>
                  <a:pt x="33" y="142"/>
                </a:cubicBezTo>
                <a:cubicBezTo>
                  <a:pt x="34" y="143"/>
                  <a:pt x="34" y="143"/>
                  <a:pt x="34" y="143"/>
                </a:cubicBezTo>
                <a:cubicBezTo>
                  <a:pt x="34" y="145"/>
                  <a:pt x="34" y="145"/>
                  <a:pt x="34" y="145"/>
                </a:cubicBezTo>
                <a:cubicBezTo>
                  <a:pt x="33" y="146"/>
                  <a:pt x="33" y="146"/>
                  <a:pt x="33" y="146"/>
                </a:cubicBezTo>
                <a:cubicBezTo>
                  <a:pt x="33" y="148"/>
                  <a:pt x="33" y="148"/>
                  <a:pt x="33" y="148"/>
                </a:cubicBezTo>
                <a:cubicBezTo>
                  <a:pt x="33" y="149"/>
                  <a:pt x="33" y="149"/>
                  <a:pt x="33" y="149"/>
                </a:cubicBezTo>
                <a:cubicBezTo>
                  <a:pt x="33" y="150"/>
                  <a:pt x="33" y="150"/>
                  <a:pt x="33" y="150"/>
                </a:cubicBezTo>
                <a:cubicBezTo>
                  <a:pt x="33" y="154"/>
                  <a:pt x="33" y="154"/>
                  <a:pt x="33" y="154"/>
                </a:cubicBezTo>
                <a:cubicBezTo>
                  <a:pt x="35" y="157"/>
                  <a:pt x="35" y="157"/>
                  <a:pt x="35" y="157"/>
                </a:cubicBezTo>
                <a:cubicBezTo>
                  <a:pt x="34" y="157"/>
                  <a:pt x="34" y="157"/>
                  <a:pt x="34" y="157"/>
                </a:cubicBezTo>
                <a:cubicBezTo>
                  <a:pt x="34" y="163"/>
                  <a:pt x="34" y="163"/>
                  <a:pt x="34" y="163"/>
                </a:cubicBezTo>
                <a:cubicBezTo>
                  <a:pt x="36" y="170"/>
                  <a:pt x="36" y="170"/>
                  <a:pt x="36" y="170"/>
                </a:cubicBezTo>
                <a:cubicBezTo>
                  <a:pt x="36" y="170"/>
                  <a:pt x="36" y="170"/>
                  <a:pt x="36" y="170"/>
                </a:cubicBezTo>
                <a:cubicBezTo>
                  <a:pt x="36" y="170"/>
                  <a:pt x="36" y="170"/>
                  <a:pt x="36" y="170"/>
                </a:cubicBezTo>
                <a:cubicBezTo>
                  <a:pt x="36" y="170"/>
                  <a:pt x="36" y="170"/>
                  <a:pt x="36" y="170"/>
                </a:cubicBezTo>
                <a:cubicBezTo>
                  <a:pt x="37" y="173"/>
                  <a:pt x="37" y="173"/>
                  <a:pt x="37" y="173"/>
                </a:cubicBezTo>
                <a:cubicBezTo>
                  <a:pt x="37" y="174"/>
                  <a:pt x="37" y="174"/>
                  <a:pt x="37" y="174"/>
                </a:cubicBezTo>
                <a:cubicBezTo>
                  <a:pt x="39" y="177"/>
                  <a:pt x="39" y="177"/>
                  <a:pt x="39" y="177"/>
                </a:cubicBezTo>
                <a:cubicBezTo>
                  <a:pt x="39" y="177"/>
                  <a:pt x="39" y="177"/>
                  <a:pt x="39" y="177"/>
                </a:cubicBezTo>
                <a:cubicBezTo>
                  <a:pt x="40" y="179"/>
                  <a:pt x="40" y="179"/>
                  <a:pt x="40" y="179"/>
                </a:cubicBezTo>
                <a:cubicBezTo>
                  <a:pt x="42" y="182"/>
                  <a:pt x="42" y="182"/>
                  <a:pt x="42" y="182"/>
                </a:cubicBezTo>
                <a:cubicBezTo>
                  <a:pt x="42" y="183"/>
                  <a:pt x="42" y="183"/>
                  <a:pt x="42" y="183"/>
                </a:cubicBezTo>
                <a:cubicBezTo>
                  <a:pt x="42" y="185"/>
                  <a:pt x="42" y="185"/>
                  <a:pt x="42" y="185"/>
                </a:cubicBezTo>
                <a:cubicBezTo>
                  <a:pt x="43" y="187"/>
                  <a:pt x="43" y="187"/>
                  <a:pt x="43" y="187"/>
                </a:cubicBezTo>
                <a:cubicBezTo>
                  <a:pt x="43" y="188"/>
                  <a:pt x="43" y="188"/>
                  <a:pt x="43" y="188"/>
                </a:cubicBezTo>
                <a:cubicBezTo>
                  <a:pt x="43" y="190"/>
                  <a:pt x="43" y="190"/>
                  <a:pt x="43" y="190"/>
                </a:cubicBezTo>
                <a:cubicBezTo>
                  <a:pt x="44" y="195"/>
                  <a:pt x="44" y="195"/>
                  <a:pt x="44" y="195"/>
                </a:cubicBezTo>
                <a:cubicBezTo>
                  <a:pt x="44" y="195"/>
                  <a:pt x="44" y="195"/>
                  <a:pt x="44" y="195"/>
                </a:cubicBezTo>
                <a:cubicBezTo>
                  <a:pt x="44" y="195"/>
                  <a:pt x="44" y="195"/>
                  <a:pt x="44" y="195"/>
                </a:cubicBezTo>
                <a:cubicBezTo>
                  <a:pt x="46" y="201"/>
                  <a:pt x="46" y="201"/>
                  <a:pt x="46" y="201"/>
                </a:cubicBezTo>
                <a:cubicBezTo>
                  <a:pt x="47" y="203"/>
                  <a:pt x="47" y="203"/>
                  <a:pt x="47" y="203"/>
                </a:cubicBezTo>
                <a:cubicBezTo>
                  <a:pt x="48" y="204"/>
                  <a:pt x="48" y="204"/>
                  <a:pt x="48" y="204"/>
                </a:cubicBezTo>
                <a:cubicBezTo>
                  <a:pt x="50" y="208"/>
                  <a:pt x="50" y="208"/>
                  <a:pt x="50" y="208"/>
                </a:cubicBezTo>
                <a:cubicBezTo>
                  <a:pt x="51" y="210"/>
                  <a:pt x="51" y="210"/>
                  <a:pt x="51" y="210"/>
                </a:cubicBezTo>
                <a:cubicBezTo>
                  <a:pt x="53" y="217"/>
                  <a:pt x="53" y="217"/>
                  <a:pt x="53" y="217"/>
                </a:cubicBezTo>
                <a:cubicBezTo>
                  <a:pt x="55" y="219"/>
                  <a:pt x="55" y="219"/>
                  <a:pt x="55" y="219"/>
                </a:cubicBezTo>
                <a:cubicBezTo>
                  <a:pt x="56" y="222"/>
                  <a:pt x="56" y="222"/>
                  <a:pt x="56" y="222"/>
                </a:cubicBezTo>
                <a:cubicBezTo>
                  <a:pt x="55" y="223"/>
                  <a:pt x="55" y="223"/>
                  <a:pt x="55" y="223"/>
                </a:cubicBezTo>
                <a:cubicBezTo>
                  <a:pt x="55" y="222"/>
                  <a:pt x="55" y="222"/>
                  <a:pt x="55" y="222"/>
                </a:cubicBezTo>
                <a:cubicBezTo>
                  <a:pt x="55" y="221"/>
                  <a:pt x="55" y="221"/>
                  <a:pt x="55" y="221"/>
                </a:cubicBezTo>
                <a:cubicBezTo>
                  <a:pt x="54" y="220"/>
                  <a:pt x="54" y="220"/>
                  <a:pt x="54" y="220"/>
                </a:cubicBezTo>
                <a:cubicBezTo>
                  <a:pt x="54" y="223"/>
                  <a:pt x="54" y="223"/>
                  <a:pt x="54" y="223"/>
                </a:cubicBezTo>
                <a:cubicBezTo>
                  <a:pt x="58" y="230"/>
                  <a:pt x="58" y="230"/>
                  <a:pt x="58" y="230"/>
                </a:cubicBezTo>
                <a:cubicBezTo>
                  <a:pt x="60" y="232"/>
                  <a:pt x="60" y="232"/>
                  <a:pt x="60" y="232"/>
                </a:cubicBezTo>
                <a:cubicBezTo>
                  <a:pt x="60" y="232"/>
                  <a:pt x="60" y="232"/>
                  <a:pt x="60" y="232"/>
                </a:cubicBezTo>
                <a:cubicBezTo>
                  <a:pt x="64" y="234"/>
                  <a:pt x="64" y="234"/>
                  <a:pt x="64" y="234"/>
                </a:cubicBezTo>
                <a:cubicBezTo>
                  <a:pt x="64" y="234"/>
                  <a:pt x="64" y="234"/>
                  <a:pt x="64" y="234"/>
                </a:cubicBezTo>
                <a:cubicBezTo>
                  <a:pt x="66" y="233"/>
                  <a:pt x="66" y="233"/>
                  <a:pt x="66" y="233"/>
                </a:cubicBezTo>
                <a:cubicBezTo>
                  <a:pt x="68" y="231"/>
                  <a:pt x="68" y="231"/>
                  <a:pt x="68" y="231"/>
                </a:cubicBezTo>
                <a:cubicBezTo>
                  <a:pt x="69" y="229"/>
                  <a:pt x="69" y="229"/>
                  <a:pt x="69" y="229"/>
                </a:cubicBezTo>
                <a:cubicBezTo>
                  <a:pt x="72" y="226"/>
                  <a:pt x="72" y="226"/>
                  <a:pt x="72" y="226"/>
                </a:cubicBezTo>
                <a:cubicBezTo>
                  <a:pt x="77" y="225"/>
                  <a:pt x="77" y="225"/>
                  <a:pt x="77" y="225"/>
                </a:cubicBezTo>
                <a:cubicBezTo>
                  <a:pt x="80" y="226"/>
                  <a:pt x="80" y="226"/>
                  <a:pt x="80" y="226"/>
                </a:cubicBezTo>
                <a:cubicBezTo>
                  <a:pt x="80" y="225"/>
                  <a:pt x="80" y="225"/>
                  <a:pt x="80" y="225"/>
                </a:cubicBezTo>
                <a:cubicBezTo>
                  <a:pt x="78" y="224"/>
                  <a:pt x="78" y="224"/>
                  <a:pt x="78" y="224"/>
                </a:cubicBezTo>
                <a:cubicBezTo>
                  <a:pt x="77" y="223"/>
                  <a:pt x="77" y="223"/>
                  <a:pt x="77" y="223"/>
                </a:cubicBezTo>
                <a:cubicBezTo>
                  <a:pt x="78" y="221"/>
                  <a:pt x="78" y="221"/>
                  <a:pt x="78" y="221"/>
                </a:cubicBezTo>
                <a:cubicBezTo>
                  <a:pt x="79" y="218"/>
                  <a:pt x="79" y="218"/>
                  <a:pt x="79" y="218"/>
                </a:cubicBezTo>
                <a:cubicBezTo>
                  <a:pt x="81" y="217"/>
                  <a:pt x="81" y="217"/>
                  <a:pt x="81" y="217"/>
                </a:cubicBezTo>
                <a:cubicBezTo>
                  <a:pt x="82" y="217"/>
                  <a:pt x="82" y="217"/>
                  <a:pt x="82" y="217"/>
                </a:cubicBezTo>
                <a:cubicBezTo>
                  <a:pt x="85" y="217"/>
                  <a:pt x="85" y="217"/>
                  <a:pt x="85" y="217"/>
                </a:cubicBezTo>
                <a:cubicBezTo>
                  <a:pt x="85" y="212"/>
                  <a:pt x="85" y="212"/>
                  <a:pt x="85" y="212"/>
                </a:cubicBezTo>
                <a:cubicBezTo>
                  <a:pt x="85" y="211"/>
                  <a:pt x="85" y="211"/>
                  <a:pt x="85" y="211"/>
                </a:cubicBezTo>
                <a:cubicBezTo>
                  <a:pt x="85" y="205"/>
                  <a:pt x="85" y="205"/>
                  <a:pt x="85" y="205"/>
                </a:cubicBezTo>
                <a:cubicBezTo>
                  <a:pt x="85" y="204"/>
                  <a:pt x="85" y="204"/>
                  <a:pt x="85" y="204"/>
                </a:cubicBezTo>
                <a:cubicBezTo>
                  <a:pt x="85" y="204"/>
                  <a:pt x="85" y="204"/>
                  <a:pt x="85" y="204"/>
                </a:cubicBezTo>
                <a:cubicBezTo>
                  <a:pt x="86" y="202"/>
                  <a:pt x="86" y="202"/>
                  <a:pt x="86" y="202"/>
                </a:cubicBezTo>
                <a:cubicBezTo>
                  <a:pt x="86" y="201"/>
                  <a:pt x="86" y="201"/>
                  <a:pt x="86" y="201"/>
                </a:cubicBezTo>
                <a:cubicBezTo>
                  <a:pt x="87" y="200"/>
                  <a:pt x="87" y="200"/>
                  <a:pt x="87" y="200"/>
                </a:cubicBezTo>
                <a:cubicBezTo>
                  <a:pt x="89" y="198"/>
                  <a:pt x="89" y="198"/>
                  <a:pt x="89" y="198"/>
                </a:cubicBezTo>
                <a:cubicBezTo>
                  <a:pt x="90" y="193"/>
                  <a:pt x="90" y="193"/>
                  <a:pt x="90" y="193"/>
                </a:cubicBezTo>
                <a:cubicBezTo>
                  <a:pt x="88" y="190"/>
                  <a:pt x="88" y="190"/>
                  <a:pt x="88" y="190"/>
                </a:cubicBezTo>
                <a:cubicBezTo>
                  <a:pt x="88" y="190"/>
                  <a:pt x="88" y="190"/>
                  <a:pt x="88" y="190"/>
                </a:cubicBezTo>
                <a:cubicBezTo>
                  <a:pt x="88" y="188"/>
                  <a:pt x="89" y="186"/>
                  <a:pt x="89" y="184"/>
                </a:cubicBezTo>
                <a:cubicBezTo>
                  <a:pt x="89" y="179"/>
                  <a:pt x="89" y="179"/>
                  <a:pt x="89" y="179"/>
                </a:cubicBezTo>
                <a:cubicBezTo>
                  <a:pt x="90" y="175"/>
                  <a:pt x="90" y="175"/>
                  <a:pt x="90" y="175"/>
                </a:cubicBezTo>
                <a:cubicBezTo>
                  <a:pt x="93" y="172"/>
                  <a:pt x="93" y="172"/>
                  <a:pt x="93" y="172"/>
                </a:cubicBezTo>
                <a:cubicBezTo>
                  <a:pt x="96" y="172"/>
                  <a:pt x="96" y="172"/>
                  <a:pt x="96" y="172"/>
                </a:cubicBezTo>
                <a:cubicBezTo>
                  <a:pt x="95" y="169"/>
                  <a:pt x="95" y="169"/>
                  <a:pt x="95" y="169"/>
                </a:cubicBezTo>
                <a:cubicBezTo>
                  <a:pt x="95" y="169"/>
                  <a:pt x="95" y="168"/>
                  <a:pt x="95" y="168"/>
                </a:cubicBezTo>
                <a:cubicBezTo>
                  <a:pt x="95" y="168"/>
                  <a:pt x="95" y="168"/>
                  <a:pt x="95" y="168"/>
                </a:cubicBezTo>
                <a:cubicBezTo>
                  <a:pt x="97" y="171"/>
                  <a:pt x="97" y="171"/>
                  <a:pt x="97" y="171"/>
                </a:cubicBezTo>
                <a:cubicBezTo>
                  <a:pt x="97" y="171"/>
                  <a:pt x="97" y="172"/>
                  <a:pt x="97" y="172"/>
                </a:cubicBezTo>
                <a:cubicBezTo>
                  <a:pt x="98" y="171"/>
                  <a:pt x="98" y="171"/>
                  <a:pt x="98" y="171"/>
                </a:cubicBezTo>
                <a:cubicBezTo>
                  <a:pt x="99" y="170"/>
                  <a:pt x="99" y="170"/>
                  <a:pt x="99" y="170"/>
                </a:cubicBezTo>
                <a:cubicBezTo>
                  <a:pt x="99" y="169"/>
                  <a:pt x="100" y="169"/>
                  <a:pt x="100" y="169"/>
                </a:cubicBezTo>
                <a:cubicBezTo>
                  <a:pt x="105" y="169"/>
                  <a:pt x="105" y="169"/>
                  <a:pt x="105" y="169"/>
                </a:cubicBezTo>
                <a:cubicBezTo>
                  <a:pt x="109" y="167"/>
                  <a:pt x="109" y="167"/>
                  <a:pt x="109" y="167"/>
                </a:cubicBezTo>
                <a:cubicBezTo>
                  <a:pt x="109" y="166"/>
                  <a:pt x="109" y="166"/>
                  <a:pt x="109" y="166"/>
                </a:cubicBezTo>
                <a:cubicBezTo>
                  <a:pt x="108" y="166"/>
                  <a:pt x="108" y="165"/>
                  <a:pt x="108" y="165"/>
                </a:cubicBezTo>
                <a:cubicBezTo>
                  <a:pt x="108" y="164"/>
                  <a:pt x="109" y="163"/>
                  <a:pt x="109" y="162"/>
                </a:cubicBezTo>
                <a:cubicBezTo>
                  <a:pt x="117" y="159"/>
                  <a:pt x="117" y="159"/>
                  <a:pt x="117" y="159"/>
                </a:cubicBezTo>
                <a:cubicBezTo>
                  <a:pt x="118" y="157"/>
                  <a:pt x="118" y="157"/>
                  <a:pt x="118" y="157"/>
                </a:cubicBezTo>
                <a:cubicBezTo>
                  <a:pt x="126" y="151"/>
                  <a:pt x="126" y="151"/>
                  <a:pt x="126" y="151"/>
                </a:cubicBezTo>
                <a:cubicBezTo>
                  <a:pt x="129" y="147"/>
                  <a:pt x="129" y="147"/>
                  <a:pt x="129" y="147"/>
                </a:cubicBezTo>
                <a:cubicBezTo>
                  <a:pt x="129" y="147"/>
                  <a:pt x="129" y="147"/>
                  <a:pt x="129" y="147"/>
                </a:cubicBezTo>
                <a:cubicBezTo>
                  <a:pt x="129" y="147"/>
                  <a:pt x="129" y="147"/>
                  <a:pt x="129" y="147"/>
                </a:cubicBezTo>
                <a:cubicBezTo>
                  <a:pt x="129" y="147"/>
                  <a:pt x="129" y="147"/>
                  <a:pt x="129" y="147"/>
                </a:cubicBezTo>
                <a:cubicBezTo>
                  <a:pt x="133" y="143"/>
                  <a:pt x="133" y="143"/>
                  <a:pt x="133" y="143"/>
                </a:cubicBezTo>
                <a:cubicBezTo>
                  <a:pt x="133" y="143"/>
                  <a:pt x="133" y="143"/>
                  <a:pt x="133" y="143"/>
                </a:cubicBezTo>
                <a:cubicBezTo>
                  <a:pt x="133" y="142"/>
                  <a:pt x="133" y="142"/>
                  <a:pt x="133" y="142"/>
                </a:cubicBezTo>
                <a:cubicBezTo>
                  <a:pt x="136" y="141"/>
                  <a:pt x="136" y="141"/>
                  <a:pt x="136" y="141"/>
                </a:cubicBezTo>
                <a:cubicBezTo>
                  <a:pt x="136" y="141"/>
                  <a:pt x="136" y="141"/>
                  <a:pt x="136" y="141"/>
                </a:cubicBezTo>
                <a:cubicBezTo>
                  <a:pt x="137" y="142"/>
                  <a:pt x="137" y="142"/>
                  <a:pt x="137" y="142"/>
                </a:cubicBezTo>
                <a:cubicBezTo>
                  <a:pt x="138" y="142"/>
                  <a:pt x="138" y="142"/>
                  <a:pt x="138" y="142"/>
                </a:cubicBezTo>
                <a:cubicBezTo>
                  <a:pt x="140" y="142"/>
                  <a:pt x="140" y="142"/>
                  <a:pt x="140" y="142"/>
                </a:cubicBezTo>
                <a:cubicBezTo>
                  <a:pt x="145" y="138"/>
                  <a:pt x="145" y="138"/>
                  <a:pt x="145" y="138"/>
                </a:cubicBezTo>
                <a:cubicBezTo>
                  <a:pt x="145" y="136"/>
                  <a:pt x="145" y="136"/>
                  <a:pt x="145" y="136"/>
                </a:cubicBezTo>
                <a:cubicBezTo>
                  <a:pt x="147" y="134"/>
                  <a:pt x="147" y="134"/>
                  <a:pt x="147" y="134"/>
                </a:cubicBezTo>
                <a:cubicBezTo>
                  <a:pt x="146" y="133"/>
                  <a:pt x="146" y="133"/>
                  <a:pt x="146" y="133"/>
                </a:cubicBezTo>
                <a:cubicBezTo>
                  <a:pt x="146" y="133"/>
                  <a:pt x="146" y="133"/>
                  <a:pt x="146" y="133"/>
                </a:cubicBezTo>
                <a:cubicBezTo>
                  <a:pt x="146" y="129"/>
                  <a:pt x="146" y="129"/>
                  <a:pt x="146" y="129"/>
                </a:cubicBezTo>
                <a:cubicBezTo>
                  <a:pt x="149" y="128"/>
                  <a:pt x="149" y="128"/>
                  <a:pt x="149" y="128"/>
                </a:cubicBezTo>
                <a:cubicBezTo>
                  <a:pt x="152" y="127"/>
                  <a:pt x="152" y="127"/>
                  <a:pt x="152" y="127"/>
                </a:cubicBezTo>
                <a:cubicBezTo>
                  <a:pt x="152" y="127"/>
                  <a:pt x="152" y="127"/>
                  <a:pt x="152" y="127"/>
                </a:cubicBezTo>
                <a:cubicBezTo>
                  <a:pt x="152" y="127"/>
                  <a:pt x="152" y="127"/>
                  <a:pt x="152" y="127"/>
                </a:cubicBezTo>
                <a:cubicBezTo>
                  <a:pt x="152" y="127"/>
                  <a:pt x="152" y="127"/>
                  <a:pt x="152" y="127"/>
                </a:cubicBezTo>
                <a:cubicBezTo>
                  <a:pt x="153" y="127"/>
                  <a:pt x="153" y="127"/>
                  <a:pt x="153" y="127"/>
                </a:cubicBezTo>
                <a:cubicBezTo>
                  <a:pt x="153" y="127"/>
                  <a:pt x="154" y="126"/>
                  <a:pt x="154" y="126"/>
                </a:cubicBezTo>
                <a:cubicBezTo>
                  <a:pt x="155" y="125"/>
                  <a:pt x="155" y="125"/>
                  <a:pt x="155" y="125"/>
                </a:cubicBezTo>
                <a:cubicBezTo>
                  <a:pt x="156" y="124"/>
                  <a:pt x="156" y="124"/>
                  <a:pt x="156" y="124"/>
                </a:cubicBezTo>
                <a:cubicBezTo>
                  <a:pt x="156" y="123"/>
                  <a:pt x="156" y="123"/>
                  <a:pt x="156" y="123"/>
                </a:cubicBezTo>
                <a:cubicBezTo>
                  <a:pt x="157" y="124"/>
                  <a:pt x="157" y="124"/>
                  <a:pt x="157" y="124"/>
                </a:cubicBezTo>
                <a:cubicBezTo>
                  <a:pt x="157" y="127"/>
                  <a:pt x="157" y="127"/>
                  <a:pt x="157" y="127"/>
                </a:cubicBezTo>
                <a:cubicBezTo>
                  <a:pt x="158" y="126"/>
                  <a:pt x="158" y="126"/>
                  <a:pt x="158" y="126"/>
                </a:cubicBezTo>
                <a:cubicBezTo>
                  <a:pt x="158" y="127"/>
                  <a:pt x="158" y="127"/>
                  <a:pt x="158" y="127"/>
                </a:cubicBezTo>
                <a:cubicBezTo>
                  <a:pt x="159" y="125"/>
                  <a:pt x="159" y="125"/>
                  <a:pt x="159" y="125"/>
                </a:cubicBezTo>
                <a:cubicBezTo>
                  <a:pt x="161" y="124"/>
                  <a:pt x="161" y="124"/>
                  <a:pt x="161" y="124"/>
                </a:cubicBezTo>
                <a:cubicBezTo>
                  <a:pt x="161" y="125"/>
                  <a:pt x="161" y="125"/>
                  <a:pt x="161" y="125"/>
                </a:cubicBezTo>
                <a:cubicBezTo>
                  <a:pt x="161" y="126"/>
                  <a:pt x="161" y="126"/>
                  <a:pt x="161" y="126"/>
                </a:cubicBezTo>
                <a:cubicBezTo>
                  <a:pt x="162" y="127"/>
                  <a:pt x="162" y="127"/>
                  <a:pt x="162" y="127"/>
                </a:cubicBezTo>
                <a:cubicBezTo>
                  <a:pt x="162" y="126"/>
                  <a:pt x="162" y="126"/>
                  <a:pt x="162" y="126"/>
                </a:cubicBezTo>
                <a:cubicBezTo>
                  <a:pt x="163" y="127"/>
                  <a:pt x="163" y="127"/>
                  <a:pt x="163" y="127"/>
                </a:cubicBezTo>
                <a:cubicBezTo>
                  <a:pt x="163" y="126"/>
                  <a:pt x="163" y="126"/>
                  <a:pt x="163" y="126"/>
                </a:cubicBezTo>
                <a:cubicBezTo>
                  <a:pt x="162" y="125"/>
                  <a:pt x="162" y="125"/>
                  <a:pt x="162" y="125"/>
                </a:cubicBezTo>
                <a:cubicBezTo>
                  <a:pt x="163" y="124"/>
                  <a:pt x="163" y="124"/>
                  <a:pt x="163" y="124"/>
                </a:cubicBezTo>
                <a:cubicBezTo>
                  <a:pt x="164" y="123"/>
                  <a:pt x="164" y="123"/>
                  <a:pt x="164" y="123"/>
                </a:cubicBezTo>
                <a:cubicBezTo>
                  <a:pt x="163" y="123"/>
                  <a:pt x="163" y="123"/>
                  <a:pt x="163" y="123"/>
                </a:cubicBezTo>
                <a:cubicBezTo>
                  <a:pt x="163" y="118"/>
                  <a:pt x="163" y="118"/>
                  <a:pt x="163" y="118"/>
                </a:cubicBezTo>
                <a:cubicBezTo>
                  <a:pt x="162" y="117"/>
                  <a:pt x="162" y="117"/>
                  <a:pt x="162" y="117"/>
                </a:cubicBezTo>
                <a:cubicBezTo>
                  <a:pt x="162" y="115"/>
                  <a:pt x="162" y="115"/>
                  <a:pt x="162" y="115"/>
                </a:cubicBezTo>
                <a:cubicBezTo>
                  <a:pt x="161" y="114"/>
                  <a:pt x="161" y="114"/>
                  <a:pt x="161" y="114"/>
                </a:cubicBezTo>
                <a:cubicBezTo>
                  <a:pt x="161" y="113"/>
                  <a:pt x="161" y="113"/>
                  <a:pt x="161" y="113"/>
                </a:cubicBezTo>
                <a:cubicBezTo>
                  <a:pt x="159" y="111"/>
                  <a:pt x="159" y="111"/>
                  <a:pt x="159" y="111"/>
                </a:cubicBezTo>
                <a:cubicBezTo>
                  <a:pt x="161" y="107"/>
                  <a:pt x="161" y="107"/>
                  <a:pt x="161" y="107"/>
                </a:cubicBezTo>
                <a:cubicBezTo>
                  <a:pt x="160" y="105"/>
                  <a:pt x="160" y="105"/>
                  <a:pt x="160" y="105"/>
                </a:cubicBezTo>
                <a:cubicBezTo>
                  <a:pt x="158" y="104"/>
                  <a:pt x="158" y="104"/>
                  <a:pt x="158" y="104"/>
                </a:cubicBezTo>
                <a:cubicBezTo>
                  <a:pt x="156" y="103"/>
                  <a:pt x="156" y="103"/>
                  <a:pt x="156" y="103"/>
                </a:cubicBezTo>
                <a:cubicBezTo>
                  <a:pt x="156" y="102"/>
                  <a:pt x="156" y="102"/>
                  <a:pt x="156" y="102"/>
                </a:cubicBezTo>
                <a:cubicBezTo>
                  <a:pt x="158" y="100"/>
                  <a:pt x="158" y="100"/>
                  <a:pt x="158" y="100"/>
                </a:cubicBezTo>
                <a:cubicBezTo>
                  <a:pt x="158" y="101"/>
                  <a:pt x="158" y="101"/>
                  <a:pt x="158" y="101"/>
                </a:cubicBezTo>
                <a:cubicBezTo>
                  <a:pt x="159" y="100"/>
                  <a:pt x="159" y="100"/>
                  <a:pt x="159" y="100"/>
                </a:cubicBezTo>
                <a:cubicBezTo>
                  <a:pt x="159" y="99"/>
                  <a:pt x="159" y="99"/>
                  <a:pt x="159" y="99"/>
                </a:cubicBezTo>
                <a:cubicBezTo>
                  <a:pt x="159" y="99"/>
                  <a:pt x="159" y="99"/>
                  <a:pt x="159" y="99"/>
                </a:cubicBezTo>
                <a:cubicBezTo>
                  <a:pt x="163" y="98"/>
                  <a:pt x="163" y="98"/>
                  <a:pt x="163" y="98"/>
                </a:cubicBezTo>
                <a:cubicBezTo>
                  <a:pt x="163" y="97"/>
                  <a:pt x="163" y="97"/>
                  <a:pt x="163" y="97"/>
                </a:cubicBezTo>
                <a:cubicBezTo>
                  <a:pt x="162" y="97"/>
                  <a:pt x="162" y="97"/>
                  <a:pt x="162" y="97"/>
                </a:cubicBezTo>
                <a:cubicBezTo>
                  <a:pt x="162" y="96"/>
                  <a:pt x="162" y="96"/>
                  <a:pt x="162" y="96"/>
                </a:cubicBezTo>
                <a:cubicBezTo>
                  <a:pt x="159" y="96"/>
                  <a:pt x="159" y="96"/>
                  <a:pt x="159" y="96"/>
                </a:cubicBezTo>
                <a:cubicBezTo>
                  <a:pt x="159" y="94"/>
                  <a:pt x="159" y="94"/>
                  <a:pt x="159" y="94"/>
                </a:cubicBezTo>
                <a:cubicBezTo>
                  <a:pt x="157" y="93"/>
                  <a:pt x="157" y="93"/>
                  <a:pt x="157" y="93"/>
                </a:cubicBezTo>
                <a:cubicBezTo>
                  <a:pt x="156" y="93"/>
                  <a:pt x="156" y="93"/>
                  <a:pt x="156" y="93"/>
                </a:cubicBezTo>
                <a:cubicBezTo>
                  <a:pt x="160" y="89"/>
                  <a:pt x="160" y="89"/>
                  <a:pt x="160" y="89"/>
                </a:cubicBezTo>
                <a:cubicBezTo>
                  <a:pt x="159" y="88"/>
                  <a:pt x="159" y="88"/>
                  <a:pt x="159" y="88"/>
                </a:cubicBezTo>
                <a:cubicBezTo>
                  <a:pt x="159" y="87"/>
                  <a:pt x="159" y="87"/>
                  <a:pt x="159" y="87"/>
                </a:cubicBezTo>
                <a:cubicBezTo>
                  <a:pt x="161" y="88"/>
                  <a:pt x="161" y="88"/>
                  <a:pt x="161" y="88"/>
                </a:cubicBezTo>
                <a:cubicBezTo>
                  <a:pt x="163" y="89"/>
                  <a:pt x="163" y="89"/>
                  <a:pt x="163" y="89"/>
                </a:cubicBezTo>
                <a:cubicBezTo>
                  <a:pt x="164" y="89"/>
                  <a:pt x="164" y="89"/>
                  <a:pt x="164" y="89"/>
                </a:cubicBezTo>
                <a:cubicBezTo>
                  <a:pt x="167" y="91"/>
                  <a:pt x="167" y="91"/>
                  <a:pt x="167" y="91"/>
                </a:cubicBezTo>
                <a:cubicBezTo>
                  <a:pt x="168" y="91"/>
                  <a:pt x="168" y="91"/>
                  <a:pt x="168" y="91"/>
                </a:cubicBezTo>
                <a:cubicBezTo>
                  <a:pt x="169" y="90"/>
                  <a:pt x="169" y="90"/>
                  <a:pt x="169" y="90"/>
                </a:cubicBezTo>
                <a:cubicBezTo>
                  <a:pt x="169" y="90"/>
                  <a:pt x="169" y="90"/>
                  <a:pt x="169" y="90"/>
                </a:cubicBezTo>
                <a:cubicBezTo>
                  <a:pt x="170" y="95"/>
                  <a:pt x="170" y="95"/>
                  <a:pt x="170" y="95"/>
                </a:cubicBezTo>
                <a:cubicBezTo>
                  <a:pt x="170" y="97"/>
                  <a:pt x="170" y="97"/>
                  <a:pt x="170" y="97"/>
                </a:cubicBezTo>
                <a:cubicBezTo>
                  <a:pt x="171" y="96"/>
                  <a:pt x="171" y="96"/>
                  <a:pt x="171" y="96"/>
                </a:cubicBezTo>
                <a:cubicBezTo>
                  <a:pt x="171" y="96"/>
                  <a:pt x="171" y="96"/>
                  <a:pt x="171" y="96"/>
                </a:cubicBezTo>
                <a:cubicBezTo>
                  <a:pt x="170" y="97"/>
                  <a:pt x="170" y="97"/>
                  <a:pt x="170" y="97"/>
                </a:cubicBezTo>
                <a:cubicBezTo>
                  <a:pt x="171" y="97"/>
                  <a:pt x="171" y="97"/>
                  <a:pt x="171" y="97"/>
                </a:cubicBezTo>
                <a:cubicBezTo>
                  <a:pt x="173" y="99"/>
                  <a:pt x="173" y="99"/>
                  <a:pt x="173" y="99"/>
                </a:cubicBezTo>
                <a:cubicBezTo>
                  <a:pt x="183" y="99"/>
                  <a:pt x="183" y="99"/>
                  <a:pt x="183" y="99"/>
                </a:cubicBezTo>
                <a:cubicBezTo>
                  <a:pt x="184" y="99"/>
                  <a:pt x="184" y="99"/>
                  <a:pt x="184" y="99"/>
                </a:cubicBezTo>
                <a:cubicBezTo>
                  <a:pt x="185" y="98"/>
                  <a:pt x="185" y="98"/>
                  <a:pt x="185" y="98"/>
                </a:cubicBezTo>
                <a:cubicBezTo>
                  <a:pt x="187" y="99"/>
                  <a:pt x="187" y="99"/>
                  <a:pt x="187" y="99"/>
                </a:cubicBezTo>
                <a:cubicBezTo>
                  <a:pt x="190" y="100"/>
                  <a:pt x="190" y="100"/>
                  <a:pt x="190" y="100"/>
                </a:cubicBezTo>
                <a:cubicBezTo>
                  <a:pt x="190" y="100"/>
                  <a:pt x="190" y="100"/>
                  <a:pt x="190" y="100"/>
                </a:cubicBezTo>
                <a:cubicBezTo>
                  <a:pt x="190" y="101"/>
                  <a:pt x="190" y="101"/>
                  <a:pt x="190" y="101"/>
                </a:cubicBezTo>
                <a:cubicBezTo>
                  <a:pt x="189" y="102"/>
                  <a:pt x="189" y="102"/>
                  <a:pt x="189" y="102"/>
                </a:cubicBezTo>
                <a:cubicBezTo>
                  <a:pt x="189" y="103"/>
                  <a:pt x="189" y="103"/>
                  <a:pt x="189" y="103"/>
                </a:cubicBezTo>
                <a:cubicBezTo>
                  <a:pt x="189" y="104"/>
                  <a:pt x="189" y="104"/>
                  <a:pt x="189" y="104"/>
                </a:cubicBezTo>
                <a:cubicBezTo>
                  <a:pt x="189" y="104"/>
                  <a:pt x="189" y="104"/>
                  <a:pt x="189" y="104"/>
                </a:cubicBezTo>
                <a:cubicBezTo>
                  <a:pt x="188" y="104"/>
                  <a:pt x="188" y="104"/>
                  <a:pt x="188" y="104"/>
                </a:cubicBezTo>
                <a:cubicBezTo>
                  <a:pt x="186" y="106"/>
                  <a:pt x="186" y="106"/>
                  <a:pt x="186" y="106"/>
                </a:cubicBezTo>
                <a:cubicBezTo>
                  <a:pt x="182" y="109"/>
                  <a:pt x="182" y="109"/>
                  <a:pt x="182" y="109"/>
                </a:cubicBezTo>
                <a:cubicBezTo>
                  <a:pt x="181" y="110"/>
                  <a:pt x="181" y="110"/>
                  <a:pt x="181" y="110"/>
                </a:cubicBezTo>
                <a:cubicBezTo>
                  <a:pt x="182" y="115"/>
                  <a:pt x="182" y="115"/>
                  <a:pt x="182" y="115"/>
                </a:cubicBezTo>
                <a:cubicBezTo>
                  <a:pt x="183" y="116"/>
                  <a:pt x="183" y="116"/>
                  <a:pt x="183" y="116"/>
                </a:cubicBezTo>
                <a:cubicBezTo>
                  <a:pt x="185" y="116"/>
                  <a:pt x="185" y="116"/>
                  <a:pt x="185" y="116"/>
                </a:cubicBezTo>
                <a:cubicBezTo>
                  <a:pt x="186" y="116"/>
                  <a:pt x="186" y="116"/>
                  <a:pt x="186" y="116"/>
                </a:cubicBezTo>
                <a:cubicBezTo>
                  <a:pt x="186" y="114"/>
                  <a:pt x="186" y="114"/>
                  <a:pt x="186" y="114"/>
                </a:cubicBezTo>
                <a:cubicBezTo>
                  <a:pt x="186" y="113"/>
                  <a:pt x="186" y="113"/>
                  <a:pt x="186" y="113"/>
                </a:cubicBezTo>
                <a:cubicBezTo>
                  <a:pt x="187" y="111"/>
                  <a:pt x="187" y="111"/>
                  <a:pt x="187" y="111"/>
                </a:cubicBezTo>
                <a:cubicBezTo>
                  <a:pt x="187" y="110"/>
                  <a:pt x="187" y="110"/>
                  <a:pt x="187" y="110"/>
                </a:cubicBezTo>
                <a:cubicBezTo>
                  <a:pt x="190" y="110"/>
                  <a:pt x="190" y="110"/>
                  <a:pt x="190" y="110"/>
                </a:cubicBezTo>
                <a:cubicBezTo>
                  <a:pt x="190" y="110"/>
                  <a:pt x="190" y="110"/>
                  <a:pt x="190" y="110"/>
                </a:cubicBezTo>
                <a:cubicBezTo>
                  <a:pt x="191" y="117"/>
                  <a:pt x="191" y="117"/>
                  <a:pt x="191" y="117"/>
                </a:cubicBezTo>
                <a:cubicBezTo>
                  <a:pt x="192" y="119"/>
                  <a:pt x="192" y="119"/>
                  <a:pt x="192" y="119"/>
                </a:cubicBezTo>
                <a:cubicBezTo>
                  <a:pt x="193" y="123"/>
                  <a:pt x="193" y="123"/>
                  <a:pt x="193" y="123"/>
                </a:cubicBezTo>
                <a:cubicBezTo>
                  <a:pt x="194" y="123"/>
                  <a:pt x="194" y="123"/>
                  <a:pt x="194" y="123"/>
                </a:cubicBezTo>
                <a:cubicBezTo>
                  <a:pt x="195" y="124"/>
                  <a:pt x="195" y="124"/>
                  <a:pt x="195" y="124"/>
                </a:cubicBezTo>
                <a:cubicBezTo>
                  <a:pt x="196" y="124"/>
                  <a:pt x="196" y="124"/>
                  <a:pt x="196" y="124"/>
                </a:cubicBezTo>
                <a:cubicBezTo>
                  <a:pt x="197" y="121"/>
                  <a:pt x="197" y="121"/>
                  <a:pt x="197" y="121"/>
                </a:cubicBezTo>
                <a:cubicBezTo>
                  <a:pt x="196" y="117"/>
                  <a:pt x="196" y="117"/>
                  <a:pt x="196" y="117"/>
                </a:cubicBezTo>
                <a:cubicBezTo>
                  <a:pt x="197" y="115"/>
                  <a:pt x="197" y="115"/>
                  <a:pt x="197" y="115"/>
                </a:cubicBezTo>
                <a:cubicBezTo>
                  <a:pt x="198" y="113"/>
                  <a:pt x="198" y="113"/>
                  <a:pt x="198" y="113"/>
                </a:cubicBezTo>
                <a:cubicBezTo>
                  <a:pt x="198" y="109"/>
                  <a:pt x="198" y="109"/>
                  <a:pt x="198" y="109"/>
                </a:cubicBezTo>
                <a:cubicBezTo>
                  <a:pt x="198" y="108"/>
                  <a:pt x="198" y="108"/>
                  <a:pt x="198" y="108"/>
                </a:cubicBezTo>
                <a:cubicBezTo>
                  <a:pt x="198" y="108"/>
                  <a:pt x="198" y="108"/>
                  <a:pt x="198" y="108"/>
                </a:cubicBezTo>
                <a:cubicBezTo>
                  <a:pt x="198" y="108"/>
                  <a:pt x="198" y="108"/>
                  <a:pt x="198" y="108"/>
                </a:cubicBezTo>
                <a:cubicBezTo>
                  <a:pt x="198" y="108"/>
                  <a:pt x="198" y="108"/>
                  <a:pt x="198" y="108"/>
                </a:cubicBezTo>
                <a:cubicBezTo>
                  <a:pt x="201" y="107"/>
                  <a:pt x="201" y="107"/>
                  <a:pt x="201" y="107"/>
                </a:cubicBezTo>
                <a:cubicBezTo>
                  <a:pt x="202" y="108"/>
                  <a:pt x="202" y="108"/>
                  <a:pt x="202" y="108"/>
                </a:cubicBezTo>
                <a:cubicBezTo>
                  <a:pt x="204" y="108"/>
                  <a:pt x="204" y="108"/>
                  <a:pt x="204" y="108"/>
                </a:cubicBezTo>
                <a:cubicBezTo>
                  <a:pt x="205" y="107"/>
                  <a:pt x="205" y="107"/>
                  <a:pt x="205" y="107"/>
                </a:cubicBezTo>
                <a:cubicBezTo>
                  <a:pt x="207" y="102"/>
                  <a:pt x="207" y="102"/>
                  <a:pt x="207" y="102"/>
                </a:cubicBezTo>
                <a:cubicBezTo>
                  <a:pt x="208" y="99"/>
                  <a:pt x="208" y="99"/>
                  <a:pt x="208" y="99"/>
                </a:cubicBezTo>
                <a:cubicBezTo>
                  <a:pt x="208" y="98"/>
                  <a:pt x="208" y="98"/>
                  <a:pt x="208" y="98"/>
                </a:cubicBezTo>
                <a:cubicBezTo>
                  <a:pt x="208" y="96"/>
                  <a:pt x="208" y="96"/>
                  <a:pt x="208" y="96"/>
                </a:cubicBezTo>
                <a:cubicBezTo>
                  <a:pt x="208" y="96"/>
                  <a:pt x="208" y="96"/>
                  <a:pt x="208" y="96"/>
                </a:cubicBezTo>
                <a:cubicBezTo>
                  <a:pt x="209" y="95"/>
                  <a:pt x="209" y="95"/>
                  <a:pt x="209" y="95"/>
                </a:cubicBezTo>
                <a:cubicBezTo>
                  <a:pt x="210" y="92"/>
                  <a:pt x="210" y="92"/>
                  <a:pt x="210" y="92"/>
                </a:cubicBezTo>
                <a:cubicBezTo>
                  <a:pt x="210" y="88"/>
                  <a:pt x="210" y="88"/>
                  <a:pt x="210" y="88"/>
                </a:cubicBezTo>
                <a:cubicBezTo>
                  <a:pt x="211" y="86"/>
                  <a:pt x="211" y="86"/>
                  <a:pt x="211" y="86"/>
                </a:cubicBezTo>
                <a:cubicBezTo>
                  <a:pt x="211" y="86"/>
                  <a:pt x="211" y="86"/>
                  <a:pt x="211" y="86"/>
                </a:cubicBezTo>
                <a:cubicBezTo>
                  <a:pt x="217" y="83"/>
                  <a:pt x="217" y="83"/>
                  <a:pt x="217" y="83"/>
                </a:cubicBezTo>
                <a:cubicBezTo>
                  <a:pt x="218" y="81"/>
                  <a:pt x="218" y="81"/>
                  <a:pt x="218" y="81"/>
                </a:cubicBezTo>
                <a:cubicBezTo>
                  <a:pt x="221" y="80"/>
                  <a:pt x="221" y="80"/>
                  <a:pt x="221" y="80"/>
                </a:cubicBezTo>
                <a:cubicBezTo>
                  <a:pt x="223" y="80"/>
                  <a:pt x="223" y="80"/>
                  <a:pt x="223" y="80"/>
                </a:cubicBezTo>
                <a:cubicBezTo>
                  <a:pt x="226" y="82"/>
                  <a:pt x="226" y="82"/>
                  <a:pt x="226" y="82"/>
                </a:cubicBezTo>
                <a:cubicBezTo>
                  <a:pt x="226" y="81"/>
                  <a:pt x="226" y="81"/>
                  <a:pt x="226" y="81"/>
                </a:cubicBezTo>
                <a:cubicBezTo>
                  <a:pt x="225" y="79"/>
                  <a:pt x="225" y="79"/>
                  <a:pt x="225" y="79"/>
                </a:cubicBezTo>
                <a:lnTo>
                  <a:pt x="224" y="77"/>
                </a:lnTo>
                <a:close/>
                <a:moveTo>
                  <a:pt x="85" y="36"/>
                </a:moveTo>
                <a:cubicBezTo>
                  <a:pt x="85" y="36"/>
                  <a:pt x="85" y="36"/>
                  <a:pt x="85" y="36"/>
                </a:cubicBezTo>
                <a:cubicBezTo>
                  <a:pt x="85" y="36"/>
                  <a:pt x="85" y="36"/>
                  <a:pt x="85" y="36"/>
                </a:cubicBez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GB" sz="1000"/>
          </a:p>
        </p:txBody>
      </p:sp>
      <p:sp>
        <p:nvSpPr>
          <p:cNvPr id="38" name="Freeform 37">
            <a:extLst>
              <a:ext uri="{FF2B5EF4-FFF2-40B4-BE49-F238E27FC236}">
                <a16:creationId xmlns:a16="http://schemas.microsoft.com/office/drawing/2014/main" id="{A260D5B7-726A-42FC-A1DB-FD45BFD37042}"/>
              </a:ext>
            </a:extLst>
          </p:cNvPr>
          <p:cNvSpPr/>
          <p:nvPr/>
        </p:nvSpPr>
        <p:spPr bwMode="auto">
          <a:xfrm rot="255905">
            <a:off x="4288249" y="3664709"/>
            <a:ext cx="1364907" cy="1061762"/>
          </a:xfrm>
          <a:custGeom>
            <a:avLst/>
            <a:gdLst>
              <a:gd name="T0" fmla="*/ 724 w 763"/>
              <a:gd name="T1" fmla="*/ 223 h 624"/>
              <a:gd name="T2" fmla="*/ 726 w 763"/>
              <a:gd name="T3" fmla="*/ 208 h 624"/>
              <a:gd name="T4" fmla="*/ 736 w 763"/>
              <a:gd name="T5" fmla="*/ 166 h 624"/>
              <a:gd name="T6" fmla="*/ 730 w 763"/>
              <a:gd name="T7" fmla="*/ 136 h 624"/>
              <a:gd name="T8" fmla="*/ 742 w 763"/>
              <a:gd name="T9" fmla="*/ 67 h 624"/>
              <a:gd name="T10" fmla="*/ 696 w 763"/>
              <a:gd name="T11" fmla="*/ 39 h 624"/>
              <a:gd name="T12" fmla="*/ 642 w 763"/>
              <a:gd name="T13" fmla="*/ 48 h 624"/>
              <a:gd name="T14" fmla="*/ 580 w 763"/>
              <a:gd name="T15" fmla="*/ 46 h 624"/>
              <a:gd name="T16" fmla="*/ 532 w 763"/>
              <a:gd name="T17" fmla="*/ 40 h 624"/>
              <a:gd name="T18" fmla="*/ 458 w 763"/>
              <a:gd name="T19" fmla="*/ 63 h 624"/>
              <a:gd name="T20" fmla="*/ 452 w 763"/>
              <a:gd name="T21" fmla="*/ 33 h 624"/>
              <a:gd name="T22" fmla="*/ 387 w 763"/>
              <a:gd name="T23" fmla="*/ 42 h 624"/>
              <a:gd name="T24" fmla="*/ 347 w 763"/>
              <a:gd name="T25" fmla="*/ 92 h 624"/>
              <a:gd name="T26" fmla="*/ 273 w 763"/>
              <a:gd name="T27" fmla="*/ 63 h 624"/>
              <a:gd name="T28" fmla="*/ 185 w 763"/>
              <a:gd name="T29" fmla="*/ 39 h 624"/>
              <a:gd name="T30" fmla="*/ 122 w 763"/>
              <a:gd name="T31" fmla="*/ 14 h 624"/>
              <a:gd name="T32" fmla="*/ 124 w 763"/>
              <a:gd name="T33" fmla="*/ 48 h 624"/>
              <a:gd name="T34" fmla="*/ 130 w 763"/>
              <a:gd name="T35" fmla="*/ 56 h 624"/>
              <a:gd name="T36" fmla="*/ 86 w 763"/>
              <a:gd name="T37" fmla="*/ 82 h 624"/>
              <a:gd name="T38" fmla="*/ 111 w 763"/>
              <a:gd name="T39" fmla="*/ 132 h 624"/>
              <a:gd name="T40" fmla="*/ 67 w 763"/>
              <a:gd name="T41" fmla="*/ 137 h 624"/>
              <a:gd name="T42" fmla="*/ 67 w 763"/>
              <a:gd name="T43" fmla="*/ 179 h 624"/>
              <a:gd name="T44" fmla="*/ 38 w 763"/>
              <a:gd name="T45" fmla="*/ 196 h 624"/>
              <a:gd name="T46" fmla="*/ 2 w 763"/>
              <a:gd name="T47" fmla="*/ 206 h 624"/>
              <a:gd name="T48" fmla="*/ 8 w 763"/>
              <a:gd name="T49" fmla="*/ 244 h 624"/>
              <a:gd name="T50" fmla="*/ 35 w 763"/>
              <a:gd name="T51" fmla="*/ 276 h 624"/>
              <a:gd name="T52" fmla="*/ 16 w 763"/>
              <a:gd name="T53" fmla="*/ 288 h 624"/>
              <a:gd name="T54" fmla="*/ 29 w 763"/>
              <a:gd name="T55" fmla="*/ 286 h 624"/>
              <a:gd name="T56" fmla="*/ 31 w 763"/>
              <a:gd name="T57" fmla="*/ 312 h 624"/>
              <a:gd name="T58" fmla="*/ 35 w 763"/>
              <a:gd name="T59" fmla="*/ 350 h 624"/>
              <a:gd name="T60" fmla="*/ 37 w 763"/>
              <a:gd name="T61" fmla="*/ 377 h 624"/>
              <a:gd name="T62" fmla="*/ 37 w 763"/>
              <a:gd name="T63" fmla="*/ 390 h 624"/>
              <a:gd name="T64" fmla="*/ 44 w 763"/>
              <a:gd name="T65" fmla="*/ 438 h 624"/>
              <a:gd name="T66" fmla="*/ 57 w 763"/>
              <a:gd name="T67" fmla="*/ 493 h 624"/>
              <a:gd name="T68" fmla="*/ 61 w 763"/>
              <a:gd name="T69" fmla="*/ 531 h 624"/>
              <a:gd name="T70" fmla="*/ 71 w 763"/>
              <a:gd name="T71" fmla="*/ 565 h 624"/>
              <a:gd name="T72" fmla="*/ 92 w 763"/>
              <a:gd name="T73" fmla="*/ 607 h 624"/>
              <a:gd name="T74" fmla="*/ 134 w 763"/>
              <a:gd name="T75" fmla="*/ 620 h 624"/>
              <a:gd name="T76" fmla="*/ 162 w 763"/>
              <a:gd name="T77" fmla="*/ 592 h 624"/>
              <a:gd name="T78" fmla="*/ 155 w 763"/>
              <a:gd name="T79" fmla="*/ 562 h 624"/>
              <a:gd name="T80" fmla="*/ 151 w 763"/>
              <a:gd name="T81" fmla="*/ 543 h 624"/>
              <a:gd name="T82" fmla="*/ 158 w 763"/>
              <a:gd name="T83" fmla="*/ 535 h 624"/>
              <a:gd name="T84" fmla="*/ 183 w 763"/>
              <a:gd name="T85" fmla="*/ 531 h 624"/>
              <a:gd name="T86" fmla="*/ 202 w 763"/>
              <a:gd name="T87" fmla="*/ 506 h 624"/>
              <a:gd name="T88" fmla="*/ 240 w 763"/>
              <a:gd name="T89" fmla="*/ 497 h 624"/>
              <a:gd name="T90" fmla="*/ 277 w 763"/>
              <a:gd name="T91" fmla="*/ 484 h 624"/>
              <a:gd name="T92" fmla="*/ 280 w 763"/>
              <a:gd name="T93" fmla="*/ 451 h 624"/>
              <a:gd name="T94" fmla="*/ 326 w 763"/>
              <a:gd name="T95" fmla="*/ 455 h 624"/>
              <a:gd name="T96" fmla="*/ 340 w 763"/>
              <a:gd name="T97" fmla="*/ 432 h 624"/>
              <a:gd name="T98" fmla="*/ 378 w 763"/>
              <a:gd name="T99" fmla="*/ 413 h 624"/>
              <a:gd name="T100" fmla="*/ 410 w 763"/>
              <a:gd name="T101" fmla="*/ 375 h 624"/>
              <a:gd name="T102" fmla="*/ 446 w 763"/>
              <a:gd name="T103" fmla="*/ 368 h 624"/>
              <a:gd name="T104" fmla="*/ 467 w 763"/>
              <a:gd name="T105" fmla="*/ 335 h 624"/>
              <a:gd name="T106" fmla="*/ 477 w 763"/>
              <a:gd name="T107" fmla="*/ 303 h 624"/>
              <a:gd name="T108" fmla="*/ 484 w 763"/>
              <a:gd name="T109" fmla="*/ 272 h 624"/>
              <a:gd name="T110" fmla="*/ 511 w 763"/>
              <a:gd name="T111" fmla="*/ 263 h 624"/>
              <a:gd name="T112" fmla="*/ 528 w 763"/>
              <a:gd name="T113" fmla="*/ 213 h 624"/>
              <a:gd name="T114" fmla="*/ 572 w 763"/>
              <a:gd name="T115" fmla="*/ 227 h 624"/>
              <a:gd name="T116" fmla="*/ 610 w 763"/>
              <a:gd name="T117" fmla="*/ 240 h 624"/>
              <a:gd name="T118" fmla="*/ 663 w 763"/>
              <a:gd name="T119" fmla="*/ 244 h 624"/>
              <a:gd name="T120" fmla="*/ 669 w 763"/>
              <a:gd name="T121" fmla="*/ 286 h 624"/>
              <a:gd name="T122" fmla="*/ 711 w 763"/>
              <a:gd name="T123" fmla="*/ 290 h 624"/>
              <a:gd name="T124" fmla="*/ 755 w 763"/>
              <a:gd name="T125" fmla="*/ 26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3" h="624">
                <a:moveTo>
                  <a:pt x="761" y="252"/>
                </a:moveTo>
                <a:lnTo>
                  <a:pt x="761" y="250"/>
                </a:lnTo>
                <a:lnTo>
                  <a:pt x="757" y="248"/>
                </a:lnTo>
                <a:lnTo>
                  <a:pt x="757" y="246"/>
                </a:lnTo>
                <a:lnTo>
                  <a:pt x="755" y="244"/>
                </a:lnTo>
                <a:lnTo>
                  <a:pt x="755" y="244"/>
                </a:lnTo>
                <a:lnTo>
                  <a:pt x="755" y="244"/>
                </a:lnTo>
                <a:lnTo>
                  <a:pt x="753" y="244"/>
                </a:lnTo>
                <a:lnTo>
                  <a:pt x="751" y="242"/>
                </a:lnTo>
                <a:lnTo>
                  <a:pt x="749" y="242"/>
                </a:lnTo>
                <a:lnTo>
                  <a:pt x="745" y="240"/>
                </a:lnTo>
                <a:lnTo>
                  <a:pt x="743" y="240"/>
                </a:lnTo>
                <a:lnTo>
                  <a:pt x="743" y="238"/>
                </a:lnTo>
                <a:lnTo>
                  <a:pt x="742" y="238"/>
                </a:lnTo>
                <a:lnTo>
                  <a:pt x="742" y="233"/>
                </a:lnTo>
                <a:lnTo>
                  <a:pt x="740" y="231"/>
                </a:lnTo>
                <a:lnTo>
                  <a:pt x="740" y="231"/>
                </a:lnTo>
                <a:lnTo>
                  <a:pt x="740" y="231"/>
                </a:lnTo>
                <a:lnTo>
                  <a:pt x="738" y="229"/>
                </a:lnTo>
                <a:lnTo>
                  <a:pt x="734" y="229"/>
                </a:lnTo>
                <a:lnTo>
                  <a:pt x="734" y="229"/>
                </a:lnTo>
                <a:lnTo>
                  <a:pt x="732" y="227"/>
                </a:lnTo>
                <a:lnTo>
                  <a:pt x="730" y="227"/>
                </a:lnTo>
                <a:lnTo>
                  <a:pt x="730" y="225"/>
                </a:lnTo>
                <a:lnTo>
                  <a:pt x="730" y="221"/>
                </a:lnTo>
                <a:lnTo>
                  <a:pt x="728" y="219"/>
                </a:lnTo>
                <a:lnTo>
                  <a:pt x="728" y="219"/>
                </a:lnTo>
                <a:lnTo>
                  <a:pt x="728" y="219"/>
                </a:lnTo>
                <a:lnTo>
                  <a:pt x="726" y="219"/>
                </a:lnTo>
                <a:lnTo>
                  <a:pt x="726" y="219"/>
                </a:lnTo>
                <a:lnTo>
                  <a:pt x="724" y="219"/>
                </a:lnTo>
                <a:lnTo>
                  <a:pt x="724" y="219"/>
                </a:lnTo>
                <a:lnTo>
                  <a:pt x="724" y="221"/>
                </a:lnTo>
                <a:lnTo>
                  <a:pt x="724" y="221"/>
                </a:lnTo>
                <a:lnTo>
                  <a:pt x="724" y="221"/>
                </a:lnTo>
                <a:lnTo>
                  <a:pt x="724" y="221"/>
                </a:lnTo>
                <a:lnTo>
                  <a:pt x="724" y="223"/>
                </a:lnTo>
                <a:lnTo>
                  <a:pt x="724" y="223"/>
                </a:lnTo>
                <a:lnTo>
                  <a:pt x="724" y="223"/>
                </a:lnTo>
                <a:lnTo>
                  <a:pt x="724" y="223"/>
                </a:lnTo>
                <a:lnTo>
                  <a:pt x="723" y="223"/>
                </a:lnTo>
                <a:lnTo>
                  <a:pt x="723" y="223"/>
                </a:lnTo>
                <a:lnTo>
                  <a:pt x="721" y="223"/>
                </a:lnTo>
                <a:lnTo>
                  <a:pt x="719" y="223"/>
                </a:lnTo>
                <a:lnTo>
                  <a:pt x="717" y="223"/>
                </a:lnTo>
                <a:lnTo>
                  <a:pt x="717" y="221"/>
                </a:lnTo>
                <a:lnTo>
                  <a:pt x="717" y="221"/>
                </a:lnTo>
                <a:lnTo>
                  <a:pt x="717" y="221"/>
                </a:lnTo>
                <a:lnTo>
                  <a:pt x="717" y="219"/>
                </a:lnTo>
                <a:lnTo>
                  <a:pt x="719" y="219"/>
                </a:lnTo>
                <a:lnTo>
                  <a:pt x="721" y="219"/>
                </a:lnTo>
                <a:lnTo>
                  <a:pt x="723" y="217"/>
                </a:lnTo>
                <a:lnTo>
                  <a:pt x="723" y="217"/>
                </a:lnTo>
                <a:lnTo>
                  <a:pt x="723" y="217"/>
                </a:lnTo>
                <a:lnTo>
                  <a:pt x="723" y="215"/>
                </a:lnTo>
                <a:lnTo>
                  <a:pt x="723" y="215"/>
                </a:lnTo>
                <a:lnTo>
                  <a:pt x="724" y="215"/>
                </a:lnTo>
                <a:lnTo>
                  <a:pt x="724" y="213"/>
                </a:lnTo>
                <a:lnTo>
                  <a:pt x="723" y="213"/>
                </a:lnTo>
                <a:lnTo>
                  <a:pt x="723" y="213"/>
                </a:lnTo>
                <a:lnTo>
                  <a:pt x="721" y="212"/>
                </a:lnTo>
                <a:lnTo>
                  <a:pt x="719" y="212"/>
                </a:lnTo>
                <a:lnTo>
                  <a:pt x="719" y="212"/>
                </a:lnTo>
                <a:lnTo>
                  <a:pt x="719" y="212"/>
                </a:lnTo>
                <a:lnTo>
                  <a:pt x="719" y="212"/>
                </a:lnTo>
                <a:lnTo>
                  <a:pt x="719" y="210"/>
                </a:lnTo>
                <a:lnTo>
                  <a:pt x="719" y="210"/>
                </a:lnTo>
                <a:lnTo>
                  <a:pt x="721" y="208"/>
                </a:lnTo>
                <a:lnTo>
                  <a:pt x="721" y="206"/>
                </a:lnTo>
                <a:lnTo>
                  <a:pt x="721" y="206"/>
                </a:lnTo>
                <a:lnTo>
                  <a:pt x="723" y="206"/>
                </a:lnTo>
                <a:lnTo>
                  <a:pt x="724" y="208"/>
                </a:lnTo>
                <a:lnTo>
                  <a:pt x="726" y="208"/>
                </a:lnTo>
                <a:lnTo>
                  <a:pt x="726" y="208"/>
                </a:lnTo>
                <a:lnTo>
                  <a:pt x="728" y="208"/>
                </a:lnTo>
                <a:lnTo>
                  <a:pt x="728" y="208"/>
                </a:lnTo>
                <a:lnTo>
                  <a:pt x="728" y="208"/>
                </a:lnTo>
                <a:lnTo>
                  <a:pt x="728" y="206"/>
                </a:lnTo>
                <a:lnTo>
                  <a:pt x="728" y="200"/>
                </a:lnTo>
                <a:lnTo>
                  <a:pt x="730" y="198"/>
                </a:lnTo>
                <a:lnTo>
                  <a:pt x="730" y="198"/>
                </a:lnTo>
                <a:lnTo>
                  <a:pt x="730" y="196"/>
                </a:lnTo>
                <a:lnTo>
                  <a:pt x="730" y="196"/>
                </a:lnTo>
                <a:lnTo>
                  <a:pt x="730" y="193"/>
                </a:lnTo>
                <a:lnTo>
                  <a:pt x="728" y="187"/>
                </a:lnTo>
                <a:lnTo>
                  <a:pt x="726" y="187"/>
                </a:lnTo>
                <a:lnTo>
                  <a:pt x="726" y="187"/>
                </a:lnTo>
                <a:lnTo>
                  <a:pt x="726" y="187"/>
                </a:lnTo>
                <a:lnTo>
                  <a:pt x="719" y="187"/>
                </a:lnTo>
                <a:lnTo>
                  <a:pt x="717" y="185"/>
                </a:lnTo>
                <a:lnTo>
                  <a:pt x="717" y="185"/>
                </a:lnTo>
                <a:lnTo>
                  <a:pt x="717" y="185"/>
                </a:lnTo>
                <a:lnTo>
                  <a:pt x="719" y="181"/>
                </a:lnTo>
                <a:lnTo>
                  <a:pt x="719" y="179"/>
                </a:lnTo>
                <a:lnTo>
                  <a:pt x="719" y="179"/>
                </a:lnTo>
                <a:lnTo>
                  <a:pt x="719" y="177"/>
                </a:lnTo>
                <a:lnTo>
                  <a:pt x="719" y="175"/>
                </a:lnTo>
                <a:lnTo>
                  <a:pt x="719" y="175"/>
                </a:lnTo>
                <a:lnTo>
                  <a:pt x="721" y="175"/>
                </a:lnTo>
                <a:lnTo>
                  <a:pt x="726" y="175"/>
                </a:lnTo>
                <a:lnTo>
                  <a:pt x="726" y="174"/>
                </a:lnTo>
                <a:lnTo>
                  <a:pt x="728" y="174"/>
                </a:lnTo>
                <a:lnTo>
                  <a:pt x="730" y="174"/>
                </a:lnTo>
                <a:lnTo>
                  <a:pt x="732" y="172"/>
                </a:lnTo>
                <a:lnTo>
                  <a:pt x="732" y="170"/>
                </a:lnTo>
                <a:lnTo>
                  <a:pt x="734" y="170"/>
                </a:lnTo>
                <a:lnTo>
                  <a:pt x="736" y="170"/>
                </a:lnTo>
                <a:lnTo>
                  <a:pt x="736" y="168"/>
                </a:lnTo>
                <a:lnTo>
                  <a:pt x="736" y="168"/>
                </a:lnTo>
                <a:lnTo>
                  <a:pt x="736" y="166"/>
                </a:lnTo>
                <a:lnTo>
                  <a:pt x="736" y="166"/>
                </a:lnTo>
                <a:lnTo>
                  <a:pt x="736" y="164"/>
                </a:lnTo>
                <a:lnTo>
                  <a:pt x="736" y="162"/>
                </a:lnTo>
                <a:lnTo>
                  <a:pt x="736" y="160"/>
                </a:lnTo>
                <a:lnTo>
                  <a:pt x="736" y="155"/>
                </a:lnTo>
                <a:lnTo>
                  <a:pt x="736" y="155"/>
                </a:lnTo>
                <a:lnTo>
                  <a:pt x="736" y="153"/>
                </a:lnTo>
                <a:lnTo>
                  <a:pt x="738" y="151"/>
                </a:lnTo>
                <a:lnTo>
                  <a:pt x="738" y="151"/>
                </a:lnTo>
                <a:lnTo>
                  <a:pt x="738" y="149"/>
                </a:lnTo>
                <a:lnTo>
                  <a:pt x="736" y="149"/>
                </a:lnTo>
                <a:lnTo>
                  <a:pt x="736" y="149"/>
                </a:lnTo>
                <a:lnTo>
                  <a:pt x="736" y="147"/>
                </a:lnTo>
                <a:lnTo>
                  <a:pt x="736" y="143"/>
                </a:lnTo>
                <a:lnTo>
                  <a:pt x="736" y="143"/>
                </a:lnTo>
                <a:lnTo>
                  <a:pt x="736" y="141"/>
                </a:lnTo>
                <a:lnTo>
                  <a:pt x="736" y="141"/>
                </a:lnTo>
                <a:lnTo>
                  <a:pt x="736" y="141"/>
                </a:lnTo>
                <a:lnTo>
                  <a:pt x="736" y="141"/>
                </a:lnTo>
                <a:lnTo>
                  <a:pt x="734" y="141"/>
                </a:lnTo>
                <a:lnTo>
                  <a:pt x="732" y="139"/>
                </a:lnTo>
                <a:lnTo>
                  <a:pt x="732" y="139"/>
                </a:lnTo>
                <a:lnTo>
                  <a:pt x="732" y="139"/>
                </a:lnTo>
                <a:lnTo>
                  <a:pt x="730" y="139"/>
                </a:lnTo>
                <a:lnTo>
                  <a:pt x="730" y="141"/>
                </a:lnTo>
                <a:lnTo>
                  <a:pt x="728" y="143"/>
                </a:lnTo>
                <a:lnTo>
                  <a:pt x="726" y="143"/>
                </a:lnTo>
                <a:lnTo>
                  <a:pt x="726" y="143"/>
                </a:lnTo>
                <a:lnTo>
                  <a:pt x="726" y="143"/>
                </a:lnTo>
                <a:lnTo>
                  <a:pt x="724" y="143"/>
                </a:lnTo>
                <a:lnTo>
                  <a:pt x="724" y="141"/>
                </a:lnTo>
                <a:lnTo>
                  <a:pt x="724" y="141"/>
                </a:lnTo>
                <a:lnTo>
                  <a:pt x="724" y="141"/>
                </a:lnTo>
                <a:lnTo>
                  <a:pt x="724" y="139"/>
                </a:lnTo>
                <a:lnTo>
                  <a:pt x="724" y="137"/>
                </a:lnTo>
                <a:lnTo>
                  <a:pt x="726" y="137"/>
                </a:lnTo>
                <a:lnTo>
                  <a:pt x="726" y="137"/>
                </a:lnTo>
                <a:lnTo>
                  <a:pt x="730" y="136"/>
                </a:lnTo>
                <a:lnTo>
                  <a:pt x="730" y="134"/>
                </a:lnTo>
                <a:lnTo>
                  <a:pt x="732" y="134"/>
                </a:lnTo>
                <a:lnTo>
                  <a:pt x="732" y="132"/>
                </a:lnTo>
                <a:lnTo>
                  <a:pt x="730" y="124"/>
                </a:lnTo>
                <a:lnTo>
                  <a:pt x="730" y="115"/>
                </a:lnTo>
                <a:lnTo>
                  <a:pt x="730" y="113"/>
                </a:lnTo>
                <a:lnTo>
                  <a:pt x="730" y="111"/>
                </a:lnTo>
                <a:lnTo>
                  <a:pt x="730" y="111"/>
                </a:lnTo>
                <a:lnTo>
                  <a:pt x="730" y="109"/>
                </a:lnTo>
                <a:lnTo>
                  <a:pt x="728" y="109"/>
                </a:lnTo>
                <a:lnTo>
                  <a:pt x="728" y="109"/>
                </a:lnTo>
                <a:lnTo>
                  <a:pt x="728" y="109"/>
                </a:lnTo>
                <a:lnTo>
                  <a:pt x="726" y="109"/>
                </a:lnTo>
                <a:lnTo>
                  <a:pt x="724" y="109"/>
                </a:lnTo>
                <a:lnTo>
                  <a:pt x="724" y="109"/>
                </a:lnTo>
                <a:lnTo>
                  <a:pt x="724" y="109"/>
                </a:lnTo>
                <a:lnTo>
                  <a:pt x="723" y="109"/>
                </a:lnTo>
                <a:lnTo>
                  <a:pt x="723" y="109"/>
                </a:lnTo>
                <a:lnTo>
                  <a:pt x="723" y="107"/>
                </a:lnTo>
                <a:lnTo>
                  <a:pt x="721" y="107"/>
                </a:lnTo>
                <a:lnTo>
                  <a:pt x="721" y="107"/>
                </a:lnTo>
                <a:lnTo>
                  <a:pt x="719" y="105"/>
                </a:lnTo>
                <a:lnTo>
                  <a:pt x="719" y="101"/>
                </a:lnTo>
                <a:lnTo>
                  <a:pt x="719" y="101"/>
                </a:lnTo>
                <a:lnTo>
                  <a:pt x="719" y="99"/>
                </a:lnTo>
                <a:lnTo>
                  <a:pt x="721" y="96"/>
                </a:lnTo>
                <a:lnTo>
                  <a:pt x="721" y="90"/>
                </a:lnTo>
                <a:lnTo>
                  <a:pt x="721" y="88"/>
                </a:lnTo>
                <a:lnTo>
                  <a:pt x="723" y="88"/>
                </a:lnTo>
                <a:lnTo>
                  <a:pt x="723" y="86"/>
                </a:lnTo>
                <a:lnTo>
                  <a:pt x="724" y="86"/>
                </a:lnTo>
                <a:lnTo>
                  <a:pt x="730" y="82"/>
                </a:lnTo>
                <a:lnTo>
                  <a:pt x="736" y="78"/>
                </a:lnTo>
                <a:lnTo>
                  <a:pt x="738" y="77"/>
                </a:lnTo>
                <a:lnTo>
                  <a:pt x="740" y="75"/>
                </a:lnTo>
                <a:lnTo>
                  <a:pt x="742" y="73"/>
                </a:lnTo>
                <a:lnTo>
                  <a:pt x="742" y="67"/>
                </a:lnTo>
                <a:lnTo>
                  <a:pt x="740" y="67"/>
                </a:lnTo>
                <a:lnTo>
                  <a:pt x="738" y="69"/>
                </a:lnTo>
                <a:lnTo>
                  <a:pt x="738" y="69"/>
                </a:lnTo>
                <a:lnTo>
                  <a:pt x="738" y="69"/>
                </a:lnTo>
                <a:lnTo>
                  <a:pt x="736" y="69"/>
                </a:lnTo>
                <a:lnTo>
                  <a:pt x="736" y="69"/>
                </a:lnTo>
                <a:lnTo>
                  <a:pt x="724" y="63"/>
                </a:lnTo>
                <a:lnTo>
                  <a:pt x="724" y="63"/>
                </a:lnTo>
                <a:lnTo>
                  <a:pt x="723" y="61"/>
                </a:lnTo>
                <a:lnTo>
                  <a:pt x="723" y="61"/>
                </a:lnTo>
                <a:lnTo>
                  <a:pt x="721" y="63"/>
                </a:lnTo>
                <a:lnTo>
                  <a:pt x="719" y="63"/>
                </a:lnTo>
                <a:lnTo>
                  <a:pt x="717" y="63"/>
                </a:lnTo>
                <a:lnTo>
                  <a:pt x="717" y="63"/>
                </a:lnTo>
                <a:lnTo>
                  <a:pt x="717" y="63"/>
                </a:lnTo>
                <a:lnTo>
                  <a:pt x="715" y="63"/>
                </a:lnTo>
                <a:lnTo>
                  <a:pt x="715" y="61"/>
                </a:lnTo>
                <a:lnTo>
                  <a:pt x="715" y="61"/>
                </a:lnTo>
                <a:lnTo>
                  <a:pt x="717" y="59"/>
                </a:lnTo>
                <a:lnTo>
                  <a:pt x="717" y="59"/>
                </a:lnTo>
                <a:lnTo>
                  <a:pt x="717" y="59"/>
                </a:lnTo>
                <a:lnTo>
                  <a:pt x="717" y="58"/>
                </a:lnTo>
                <a:lnTo>
                  <a:pt x="717" y="58"/>
                </a:lnTo>
                <a:lnTo>
                  <a:pt x="717" y="56"/>
                </a:lnTo>
                <a:lnTo>
                  <a:pt x="717" y="54"/>
                </a:lnTo>
                <a:lnTo>
                  <a:pt x="715" y="54"/>
                </a:lnTo>
                <a:lnTo>
                  <a:pt x="709" y="50"/>
                </a:lnTo>
                <a:lnTo>
                  <a:pt x="709" y="48"/>
                </a:lnTo>
                <a:lnTo>
                  <a:pt x="709" y="48"/>
                </a:lnTo>
                <a:lnTo>
                  <a:pt x="709" y="46"/>
                </a:lnTo>
                <a:lnTo>
                  <a:pt x="709" y="46"/>
                </a:lnTo>
                <a:lnTo>
                  <a:pt x="707" y="46"/>
                </a:lnTo>
                <a:lnTo>
                  <a:pt x="707" y="44"/>
                </a:lnTo>
                <a:lnTo>
                  <a:pt x="703" y="44"/>
                </a:lnTo>
                <a:lnTo>
                  <a:pt x="702" y="42"/>
                </a:lnTo>
                <a:lnTo>
                  <a:pt x="698" y="40"/>
                </a:lnTo>
                <a:lnTo>
                  <a:pt x="696" y="39"/>
                </a:lnTo>
                <a:lnTo>
                  <a:pt x="696" y="40"/>
                </a:lnTo>
                <a:lnTo>
                  <a:pt x="696" y="40"/>
                </a:lnTo>
                <a:lnTo>
                  <a:pt x="694" y="40"/>
                </a:lnTo>
                <a:lnTo>
                  <a:pt x="688" y="42"/>
                </a:lnTo>
                <a:lnTo>
                  <a:pt x="686" y="44"/>
                </a:lnTo>
                <a:lnTo>
                  <a:pt x="686" y="46"/>
                </a:lnTo>
                <a:lnTo>
                  <a:pt x="679" y="48"/>
                </a:lnTo>
                <a:lnTo>
                  <a:pt x="679" y="48"/>
                </a:lnTo>
                <a:lnTo>
                  <a:pt x="677" y="48"/>
                </a:lnTo>
                <a:lnTo>
                  <a:pt x="677" y="48"/>
                </a:lnTo>
                <a:lnTo>
                  <a:pt x="677" y="48"/>
                </a:lnTo>
                <a:lnTo>
                  <a:pt x="677" y="46"/>
                </a:lnTo>
                <a:lnTo>
                  <a:pt x="677" y="46"/>
                </a:lnTo>
                <a:lnTo>
                  <a:pt x="675" y="46"/>
                </a:lnTo>
                <a:lnTo>
                  <a:pt x="673" y="48"/>
                </a:lnTo>
                <a:lnTo>
                  <a:pt x="673" y="48"/>
                </a:lnTo>
                <a:lnTo>
                  <a:pt x="671" y="48"/>
                </a:lnTo>
                <a:lnTo>
                  <a:pt x="671" y="48"/>
                </a:lnTo>
                <a:lnTo>
                  <a:pt x="669" y="50"/>
                </a:lnTo>
                <a:lnTo>
                  <a:pt x="667" y="50"/>
                </a:lnTo>
                <a:lnTo>
                  <a:pt x="665" y="50"/>
                </a:lnTo>
                <a:lnTo>
                  <a:pt x="665" y="50"/>
                </a:lnTo>
                <a:lnTo>
                  <a:pt x="663" y="50"/>
                </a:lnTo>
                <a:lnTo>
                  <a:pt x="663" y="48"/>
                </a:lnTo>
                <a:lnTo>
                  <a:pt x="663" y="46"/>
                </a:lnTo>
                <a:lnTo>
                  <a:pt x="662" y="46"/>
                </a:lnTo>
                <a:lnTo>
                  <a:pt x="662" y="44"/>
                </a:lnTo>
                <a:lnTo>
                  <a:pt x="660" y="44"/>
                </a:lnTo>
                <a:lnTo>
                  <a:pt x="658" y="44"/>
                </a:lnTo>
                <a:lnTo>
                  <a:pt x="656" y="44"/>
                </a:lnTo>
                <a:lnTo>
                  <a:pt x="652" y="44"/>
                </a:lnTo>
                <a:lnTo>
                  <a:pt x="648" y="44"/>
                </a:lnTo>
                <a:lnTo>
                  <a:pt x="648" y="44"/>
                </a:lnTo>
                <a:lnTo>
                  <a:pt x="646" y="44"/>
                </a:lnTo>
                <a:lnTo>
                  <a:pt x="644" y="46"/>
                </a:lnTo>
                <a:lnTo>
                  <a:pt x="642" y="48"/>
                </a:lnTo>
                <a:lnTo>
                  <a:pt x="642" y="48"/>
                </a:lnTo>
                <a:lnTo>
                  <a:pt x="641" y="48"/>
                </a:lnTo>
                <a:lnTo>
                  <a:pt x="639" y="48"/>
                </a:lnTo>
                <a:lnTo>
                  <a:pt x="639" y="48"/>
                </a:lnTo>
                <a:lnTo>
                  <a:pt x="637" y="48"/>
                </a:lnTo>
                <a:lnTo>
                  <a:pt x="637" y="46"/>
                </a:lnTo>
                <a:lnTo>
                  <a:pt x="637" y="44"/>
                </a:lnTo>
                <a:lnTo>
                  <a:pt x="637" y="44"/>
                </a:lnTo>
                <a:lnTo>
                  <a:pt x="637" y="44"/>
                </a:lnTo>
                <a:lnTo>
                  <a:pt x="637" y="42"/>
                </a:lnTo>
                <a:lnTo>
                  <a:pt x="635" y="40"/>
                </a:lnTo>
                <a:lnTo>
                  <a:pt x="633" y="39"/>
                </a:lnTo>
                <a:lnTo>
                  <a:pt x="631" y="37"/>
                </a:lnTo>
                <a:lnTo>
                  <a:pt x="629" y="35"/>
                </a:lnTo>
                <a:lnTo>
                  <a:pt x="625" y="35"/>
                </a:lnTo>
                <a:lnTo>
                  <a:pt x="625" y="35"/>
                </a:lnTo>
                <a:lnTo>
                  <a:pt x="623" y="35"/>
                </a:lnTo>
                <a:lnTo>
                  <a:pt x="622" y="35"/>
                </a:lnTo>
                <a:lnTo>
                  <a:pt x="622" y="33"/>
                </a:lnTo>
                <a:lnTo>
                  <a:pt x="618" y="35"/>
                </a:lnTo>
                <a:lnTo>
                  <a:pt x="616" y="33"/>
                </a:lnTo>
                <a:lnTo>
                  <a:pt x="614" y="33"/>
                </a:lnTo>
                <a:lnTo>
                  <a:pt x="610" y="31"/>
                </a:lnTo>
                <a:lnTo>
                  <a:pt x="608" y="31"/>
                </a:lnTo>
                <a:lnTo>
                  <a:pt x="608" y="33"/>
                </a:lnTo>
                <a:lnTo>
                  <a:pt x="608" y="33"/>
                </a:lnTo>
                <a:lnTo>
                  <a:pt x="608" y="33"/>
                </a:lnTo>
                <a:lnTo>
                  <a:pt x="608" y="35"/>
                </a:lnTo>
                <a:lnTo>
                  <a:pt x="608" y="37"/>
                </a:lnTo>
                <a:lnTo>
                  <a:pt x="606" y="37"/>
                </a:lnTo>
                <a:lnTo>
                  <a:pt x="604" y="39"/>
                </a:lnTo>
                <a:lnTo>
                  <a:pt x="602" y="39"/>
                </a:lnTo>
                <a:lnTo>
                  <a:pt x="597" y="40"/>
                </a:lnTo>
                <a:lnTo>
                  <a:pt x="595" y="42"/>
                </a:lnTo>
                <a:lnTo>
                  <a:pt x="585" y="42"/>
                </a:lnTo>
                <a:lnTo>
                  <a:pt x="582" y="44"/>
                </a:lnTo>
                <a:lnTo>
                  <a:pt x="580" y="44"/>
                </a:lnTo>
                <a:lnTo>
                  <a:pt x="580" y="46"/>
                </a:lnTo>
                <a:lnTo>
                  <a:pt x="580" y="46"/>
                </a:lnTo>
                <a:lnTo>
                  <a:pt x="580" y="48"/>
                </a:lnTo>
                <a:lnTo>
                  <a:pt x="580" y="48"/>
                </a:lnTo>
                <a:lnTo>
                  <a:pt x="580" y="50"/>
                </a:lnTo>
                <a:lnTo>
                  <a:pt x="580" y="50"/>
                </a:lnTo>
                <a:lnTo>
                  <a:pt x="580" y="52"/>
                </a:lnTo>
                <a:lnTo>
                  <a:pt x="578" y="52"/>
                </a:lnTo>
                <a:lnTo>
                  <a:pt x="574" y="52"/>
                </a:lnTo>
                <a:lnTo>
                  <a:pt x="572" y="52"/>
                </a:lnTo>
                <a:lnTo>
                  <a:pt x="568" y="54"/>
                </a:lnTo>
                <a:lnTo>
                  <a:pt x="562" y="54"/>
                </a:lnTo>
                <a:lnTo>
                  <a:pt x="561" y="56"/>
                </a:lnTo>
                <a:lnTo>
                  <a:pt x="559" y="56"/>
                </a:lnTo>
                <a:lnTo>
                  <a:pt x="553" y="56"/>
                </a:lnTo>
                <a:lnTo>
                  <a:pt x="545" y="54"/>
                </a:lnTo>
                <a:lnTo>
                  <a:pt x="545" y="52"/>
                </a:lnTo>
                <a:lnTo>
                  <a:pt x="543" y="52"/>
                </a:lnTo>
                <a:lnTo>
                  <a:pt x="543" y="50"/>
                </a:lnTo>
                <a:lnTo>
                  <a:pt x="541" y="50"/>
                </a:lnTo>
                <a:lnTo>
                  <a:pt x="540" y="50"/>
                </a:lnTo>
                <a:lnTo>
                  <a:pt x="540" y="50"/>
                </a:lnTo>
                <a:lnTo>
                  <a:pt x="538" y="50"/>
                </a:lnTo>
                <a:lnTo>
                  <a:pt x="538" y="52"/>
                </a:lnTo>
                <a:lnTo>
                  <a:pt x="536" y="52"/>
                </a:lnTo>
                <a:lnTo>
                  <a:pt x="536" y="52"/>
                </a:lnTo>
                <a:lnTo>
                  <a:pt x="534" y="52"/>
                </a:lnTo>
                <a:lnTo>
                  <a:pt x="534" y="52"/>
                </a:lnTo>
                <a:lnTo>
                  <a:pt x="534" y="52"/>
                </a:lnTo>
                <a:lnTo>
                  <a:pt x="534" y="52"/>
                </a:lnTo>
                <a:lnTo>
                  <a:pt x="534" y="52"/>
                </a:lnTo>
                <a:lnTo>
                  <a:pt x="534" y="52"/>
                </a:lnTo>
                <a:lnTo>
                  <a:pt x="534" y="50"/>
                </a:lnTo>
                <a:lnTo>
                  <a:pt x="534" y="48"/>
                </a:lnTo>
                <a:lnTo>
                  <a:pt x="534" y="46"/>
                </a:lnTo>
                <a:lnTo>
                  <a:pt x="532" y="44"/>
                </a:lnTo>
                <a:lnTo>
                  <a:pt x="532" y="42"/>
                </a:lnTo>
                <a:lnTo>
                  <a:pt x="532" y="40"/>
                </a:lnTo>
                <a:lnTo>
                  <a:pt x="530" y="40"/>
                </a:lnTo>
                <a:lnTo>
                  <a:pt x="530" y="40"/>
                </a:lnTo>
                <a:lnTo>
                  <a:pt x="528" y="40"/>
                </a:lnTo>
                <a:lnTo>
                  <a:pt x="528" y="40"/>
                </a:lnTo>
                <a:lnTo>
                  <a:pt x="526" y="40"/>
                </a:lnTo>
                <a:lnTo>
                  <a:pt x="526" y="40"/>
                </a:lnTo>
                <a:lnTo>
                  <a:pt x="524" y="40"/>
                </a:lnTo>
                <a:lnTo>
                  <a:pt x="522" y="44"/>
                </a:lnTo>
                <a:lnTo>
                  <a:pt x="519" y="46"/>
                </a:lnTo>
                <a:lnTo>
                  <a:pt x="513" y="46"/>
                </a:lnTo>
                <a:lnTo>
                  <a:pt x="513" y="48"/>
                </a:lnTo>
                <a:lnTo>
                  <a:pt x="511" y="48"/>
                </a:lnTo>
                <a:lnTo>
                  <a:pt x="509" y="50"/>
                </a:lnTo>
                <a:lnTo>
                  <a:pt x="507" y="54"/>
                </a:lnTo>
                <a:lnTo>
                  <a:pt x="505" y="54"/>
                </a:lnTo>
                <a:lnTo>
                  <a:pt x="501" y="56"/>
                </a:lnTo>
                <a:lnTo>
                  <a:pt x="498" y="59"/>
                </a:lnTo>
                <a:lnTo>
                  <a:pt x="486" y="63"/>
                </a:lnTo>
                <a:lnTo>
                  <a:pt x="484" y="63"/>
                </a:lnTo>
                <a:lnTo>
                  <a:pt x="482" y="63"/>
                </a:lnTo>
                <a:lnTo>
                  <a:pt x="481" y="61"/>
                </a:lnTo>
                <a:lnTo>
                  <a:pt x="477" y="59"/>
                </a:lnTo>
                <a:lnTo>
                  <a:pt x="475" y="59"/>
                </a:lnTo>
                <a:lnTo>
                  <a:pt x="475" y="59"/>
                </a:lnTo>
                <a:lnTo>
                  <a:pt x="473" y="61"/>
                </a:lnTo>
                <a:lnTo>
                  <a:pt x="471" y="63"/>
                </a:lnTo>
                <a:lnTo>
                  <a:pt x="467" y="65"/>
                </a:lnTo>
                <a:lnTo>
                  <a:pt x="467" y="65"/>
                </a:lnTo>
                <a:lnTo>
                  <a:pt x="465" y="65"/>
                </a:lnTo>
                <a:lnTo>
                  <a:pt x="465" y="63"/>
                </a:lnTo>
                <a:lnTo>
                  <a:pt x="465" y="63"/>
                </a:lnTo>
                <a:lnTo>
                  <a:pt x="463" y="63"/>
                </a:lnTo>
                <a:lnTo>
                  <a:pt x="461" y="63"/>
                </a:lnTo>
                <a:lnTo>
                  <a:pt x="461" y="63"/>
                </a:lnTo>
                <a:lnTo>
                  <a:pt x="460" y="63"/>
                </a:lnTo>
                <a:lnTo>
                  <a:pt x="460" y="63"/>
                </a:lnTo>
                <a:lnTo>
                  <a:pt x="458" y="63"/>
                </a:lnTo>
                <a:lnTo>
                  <a:pt x="456" y="63"/>
                </a:lnTo>
                <a:lnTo>
                  <a:pt x="456" y="63"/>
                </a:lnTo>
                <a:lnTo>
                  <a:pt x="454" y="63"/>
                </a:lnTo>
                <a:lnTo>
                  <a:pt x="454" y="63"/>
                </a:lnTo>
                <a:lnTo>
                  <a:pt x="454" y="63"/>
                </a:lnTo>
                <a:lnTo>
                  <a:pt x="452" y="61"/>
                </a:lnTo>
                <a:lnTo>
                  <a:pt x="452" y="61"/>
                </a:lnTo>
                <a:lnTo>
                  <a:pt x="450" y="61"/>
                </a:lnTo>
                <a:lnTo>
                  <a:pt x="450" y="61"/>
                </a:lnTo>
                <a:lnTo>
                  <a:pt x="450" y="61"/>
                </a:lnTo>
                <a:lnTo>
                  <a:pt x="448" y="61"/>
                </a:lnTo>
                <a:lnTo>
                  <a:pt x="448" y="63"/>
                </a:lnTo>
                <a:lnTo>
                  <a:pt x="448" y="63"/>
                </a:lnTo>
                <a:lnTo>
                  <a:pt x="446" y="63"/>
                </a:lnTo>
                <a:lnTo>
                  <a:pt x="446" y="63"/>
                </a:lnTo>
                <a:lnTo>
                  <a:pt x="446" y="61"/>
                </a:lnTo>
                <a:lnTo>
                  <a:pt x="446" y="59"/>
                </a:lnTo>
                <a:lnTo>
                  <a:pt x="444" y="56"/>
                </a:lnTo>
                <a:lnTo>
                  <a:pt x="442" y="54"/>
                </a:lnTo>
                <a:lnTo>
                  <a:pt x="442" y="52"/>
                </a:lnTo>
                <a:lnTo>
                  <a:pt x="442" y="52"/>
                </a:lnTo>
                <a:lnTo>
                  <a:pt x="442" y="50"/>
                </a:lnTo>
                <a:lnTo>
                  <a:pt x="442" y="50"/>
                </a:lnTo>
                <a:lnTo>
                  <a:pt x="442" y="48"/>
                </a:lnTo>
                <a:lnTo>
                  <a:pt x="442" y="48"/>
                </a:lnTo>
                <a:lnTo>
                  <a:pt x="444" y="48"/>
                </a:lnTo>
                <a:lnTo>
                  <a:pt x="454" y="48"/>
                </a:lnTo>
                <a:lnTo>
                  <a:pt x="454" y="48"/>
                </a:lnTo>
                <a:lnTo>
                  <a:pt x="456" y="48"/>
                </a:lnTo>
                <a:lnTo>
                  <a:pt x="456" y="48"/>
                </a:lnTo>
                <a:lnTo>
                  <a:pt x="456" y="46"/>
                </a:lnTo>
                <a:lnTo>
                  <a:pt x="454" y="46"/>
                </a:lnTo>
                <a:lnTo>
                  <a:pt x="454" y="44"/>
                </a:lnTo>
                <a:lnTo>
                  <a:pt x="454" y="42"/>
                </a:lnTo>
                <a:lnTo>
                  <a:pt x="454" y="42"/>
                </a:lnTo>
                <a:lnTo>
                  <a:pt x="454" y="40"/>
                </a:lnTo>
                <a:lnTo>
                  <a:pt x="452" y="33"/>
                </a:lnTo>
                <a:lnTo>
                  <a:pt x="452" y="33"/>
                </a:lnTo>
                <a:lnTo>
                  <a:pt x="452" y="31"/>
                </a:lnTo>
                <a:lnTo>
                  <a:pt x="450" y="31"/>
                </a:lnTo>
                <a:lnTo>
                  <a:pt x="448" y="29"/>
                </a:lnTo>
                <a:lnTo>
                  <a:pt x="448" y="29"/>
                </a:lnTo>
                <a:lnTo>
                  <a:pt x="448" y="29"/>
                </a:lnTo>
                <a:lnTo>
                  <a:pt x="448" y="29"/>
                </a:lnTo>
                <a:lnTo>
                  <a:pt x="448" y="29"/>
                </a:lnTo>
                <a:lnTo>
                  <a:pt x="448" y="27"/>
                </a:lnTo>
                <a:lnTo>
                  <a:pt x="446" y="27"/>
                </a:lnTo>
                <a:lnTo>
                  <a:pt x="446" y="27"/>
                </a:lnTo>
                <a:lnTo>
                  <a:pt x="444" y="25"/>
                </a:lnTo>
                <a:lnTo>
                  <a:pt x="433" y="25"/>
                </a:lnTo>
                <a:lnTo>
                  <a:pt x="431" y="25"/>
                </a:lnTo>
                <a:lnTo>
                  <a:pt x="431" y="27"/>
                </a:lnTo>
                <a:lnTo>
                  <a:pt x="429" y="29"/>
                </a:lnTo>
                <a:lnTo>
                  <a:pt x="429" y="29"/>
                </a:lnTo>
                <a:lnTo>
                  <a:pt x="425" y="29"/>
                </a:lnTo>
                <a:lnTo>
                  <a:pt x="425" y="29"/>
                </a:lnTo>
                <a:lnTo>
                  <a:pt x="423" y="31"/>
                </a:lnTo>
                <a:lnTo>
                  <a:pt x="423" y="33"/>
                </a:lnTo>
                <a:lnTo>
                  <a:pt x="423" y="33"/>
                </a:lnTo>
                <a:lnTo>
                  <a:pt x="421" y="33"/>
                </a:lnTo>
                <a:lnTo>
                  <a:pt x="421" y="33"/>
                </a:lnTo>
                <a:lnTo>
                  <a:pt x="421" y="33"/>
                </a:lnTo>
                <a:lnTo>
                  <a:pt x="420" y="33"/>
                </a:lnTo>
                <a:lnTo>
                  <a:pt x="420" y="31"/>
                </a:lnTo>
                <a:lnTo>
                  <a:pt x="420" y="31"/>
                </a:lnTo>
                <a:lnTo>
                  <a:pt x="420" y="31"/>
                </a:lnTo>
                <a:lnTo>
                  <a:pt x="418" y="31"/>
                </a:lnTo>
                <a:lnTo>
                  <a:pt x="418" y="31"/>
                </a:lnTo>
                <a:lnTo>
                  <a:pt x="412" y="31"/>
                </a:lnTo>
                <a:lnTo>
                  <a:pt x="408" y="31"/>
                </a:lnTo>
                <a:lnTo>
                  <a:pt x="404" y="33"/>
                </a:lnTo>
                <a:lnTo>
                  <a:pt x="395" y="40"/>
                </a:lnTo>
                <a:lnTo>
                  <a:pt x="393" y="42"/>
                </a:lnTo>
                <a:lnTo>
                  <a:pt x="387" y="42"/>
                </a:lnTo>
                <a:lnTo>
                  <a:pt x="385" y="42"/>
                </a:lnTo>
                <a:lnTo>
                  <a:pt x="383" y="44"/>
                </a:lnTo>
                <a:lnTo>
                  <a:pt x="381" y="48"/>
                </a:lnTo>
                <a:lnTo>
                  <a:pt x="381" y="50"/>
                </a:lnTo>
                <a:lnTo>
                  <a:pt x="381" y="50"/>
                </a:lnTo>
                <a:lnTo>
                  <a:pt x="381" y="52"/>
                </a:lnTo>
                <a:lnTo>
                  <a:pt x="381" y="52"/>
                </a:lnTo>
                <a:lnTo>
                  <a:pt x="381" y="52"/>
                </a:lnTo>
                <a:lnTo>
                  <a:pt x="381" y="54"/>
                </a:lnTo>
                <a:lnTo>
                  <a:pt x="381" y="54"/>
                </a:lnTo>
                <a:lnTo>
                  <a:pt x="381" y="54"/>
                </a:lnTo>
                <a:lnTo>
                  <a:pt x="381" y="56"/>
                </a:lnTo>
                <a:lnTo>
                  <a:pt x="380" y="56"/>
                </a:lnTo>
                <a:lnTo>
                  <a:pt x="380" y="58"/>
                </a:lnTo>
                <a:lnTo>
                  <a:pt x="378" y="61"/>
                </a:lnTo>
                <a:lnTo>
                  <a:pt x="376" y="61"/>
                </a:lnTo>
                <a:lnTo>
                  <a:pt x="376" y="63"/>
                </a:lnTo>
                <a:lnTo>
                  <a:pt x="372" y="65"/>
                </a:lnTo>
                <a:lnTo>
                  <a:pt x="370" y="67"/>
                </a:lnTo>
                <a:lnTo>
                  <a:pt x="368" y="67"/>
                </a:lnTo>
                <a:lnTo>
                  <a:pt x="368" y="69"/>
                </a:lnTo>
                <a:lnTo>
                  <a:pt x="368" y="69"/>
                </a:lnTo>
                <a:lnTo>
                  <a:pt x="368" y="71"/>
                </a:lnTo>
                <a:lnTo>
                  <a:pt x="370" y="73"/>
                </a:lnTo>
                <a:lnTo>
                  <a:pt x="370" y="77"/>
                </a:lnTo>
                <a:lnTo>
                  <a:pt x="370" y="78"/>
                </a:lnTo>
                <a:lnTo>
                  <a:pt x="368" y="80"/>
                </a:lnTo>
                <a:lnTo>
                  <a:pt x="368" y="82"/>
                </a:lnTo>
                <a:lnTo>
                  <a:pt x="366" y="82"/>
                </a:lnTo>
                <a:lnTo>
                  <a:pt x="360" y="82"/>
                </a:lnTo>
                <a:lnTo>
                  <a:pt x="359" y="82"/>
                </a:lnTo>
                <a:lnTo>
                  <a:pt x="355" y="84"/>
                </a:lnTo>
                <a:lnTo>
                  <a:pt x="355" y="86"/>
                </a:lnTo>
                <a:lnTo>
                  <a:pt x="353" y="88"/>
                </a:lnTo>
                <a:lnTo>
                  <a:pt x="351" y="90"/>
                </a:lnTo>
                <a:lnTo>
                  <a:pt x="349" y="92"/>
                </a:lnTo>
                <a:lnTo>
                  <a:pt x="347" y="92"/>
                </a:lnTo>
                <a:lnTo>
                  <a:pt x="345" y="94"/>
                </a:lnTo>
                <a:lnTo>
                  <a:pt x="340" y="94"/>
                </a:lnTo>
                <a:lnTo>
                  <a:pt x="336" y="96"/>
                </a:lnTo>
                <a:lnTo>
                  <a:pt x="326" y="94"/>
                </a:lnTo>
                <a:lnTo>
                  <a:pt x="324" y="94"/>
                </a:lnTo>
                <a:lnTo>
                  <a:pt x="322" y="92"/>
                </a:lnTo>
                <a:lnTo>
                  <a:pt x="320" y="86"/>
                </a:lnTo>
                <a:lnTo>
                  <a:pt x="319" y="86"/>
                </a:lnTo>
                <a:lnTo>
                  <a:pt x="319" y="86"/>
                </a:lnTo>
                <a:lnTo>
                  <a:pt x="319" y="86"/>
                </a:lnTo>
                <a:lnTo>
                  <a:pt x="319" y="86"/>
                </a:lnTo>
                <a:lnTo>
                  <a:pt x="319" y="86"/>
                </a:lnTo>
                <a:lnTo>
                  <a:pt x="320" y="84"/>
                </a:lnTo>
                <a:lnTo>
                  <a:pt x="320" y="84"/>
                </a:lnTo>
                <a:lnTo>
                  <a:pt x="320" y="84"/>
                </a:lnTo>
                <a:lnTo>
                  <a:pt x="322" y="84"/>
                </a:lnTo>
                <a:lnTo>
                  <a:pt x="322" y="84"/>
                </a:lnTo>
                <a:lnTo>
                  <a:pt x="322" y="82"/>
                </a:lnTo>
                <a:lnTo>
                  <a:pt x="322" y="78"/>
                </a:lnTo>
                <a:lnTo>
                  <a:pt x="322" y="75"/>
                </a:lnTo>
                <a:lnTo>
                  <a:pt x="320" y="69"/>
                </a:lnTo>
                <a:lnTo>
                  <a:pt x="319" y="67"/>
                </a:lnTo>
                <a:lnTo>
                  <a:pt x="317" y="65"/>
                </a:lnTo>
                <a:lnTo>
                  <a:pt x="317" y="65"/>
                </a:lnTo>
                <a:lnTo>
                  <a:pt x="315" y="65"/>
                </a:lnTo>
                <a:lnTo>
                  <a:pt x="315" y="65"/>
                </a:lnTo>
                <a:lnTo>
                  <a:pt x="313" y="65"/>
                </a:lnTo>
                <a:lnTo>
                  <a:pt x="309" y="65"/>
                </a:lnTo>
                <a:lnTo>
                  <a:pt x="305" y="63"/>
                </a:lnTo>
                <a:lnTo>
                  <a:pt x="303" y="63"/>
                </a:lnTo>
                <a:lnTo>
                  <a:pt x="301" y="63"/>
                </a:lnTo>
                <a:lnTo>
                  <a:pt x="298" y="63"/>
                </a:lnTo>
                <a:lnTo>
                  <a:pt x="292" y="65"/>
                </a:lnTo>
                <a:lnTo>
                  <a:pt x="282" y="65"/>
                </a:lnTo>
                <a:lnTo>
                  <a:pt x="279" y="65"/>
                </a:lnTo>
                <a:lnTo>
                  <a:pt x="275" y="63"/>
                </a:lnTo>
                <a:lnTo>
                  <a:pt x="273" y="63"/>
                </a:lnTo>
                <a:lnTo>
                  <a:pt x="273" y="65"/>
                </a:lnTo>
                <a:lnTo>
                  <a:pt x="269" y="65"/>
                </a:lnTo>
                <a:lnTo>
                  <a:pt x="267" y="65"/>
                </a:lnTo>
                <a:lnTo>
                  <a:pt x="265" y="65"/>
                </a:lnTo>
                <a:lnTo>
                  <a:pt x="261" y="65"/>
                </a:lnTo>
                <a:lnTo>
                  <a:pt x="252" y="65"/>
                </a:lnTo>
                <a:lnTo>
                  <a:pt x="252" y="65"/>
                </a:lnTo>
                <a:lnTo>
                  <a:pt x="250" y="65"/>
                </a:lnTo>
                <a:lnTo>
                  <a:pt x="250" y="63"/>
                </a:lnTo>
                <a:lnTo>
                  <a:pt x="246" y="65"/>
                </a:lnTo>
                <a:lnTo>
                  <a:pt x="237" y="63"/>
                </a:lnTo>
                <a:lnTo>
                  <a:pt x="231" y="59"/>
                </a:lnTo>
                <a:lnTo>
                  <a:pt x="231" y="59"/>
                </a:lnTo>
                <a:lnTo>
                  <a:pt x="229" y="59"/>
                </a:lnTo>
                <a:lnTo>
                  <a:pt x="229" y="58"/>
                </a:lnTo>
                <a:lnTo>
                  <a:pt x="227" y="58"/>
                </a:lnTo>
                <a:lnTo>
                  <a:pt x="227" y="54"/>
                </a:lnTo>
                <a:lnTo>
                  <a:pt x="223" y="50"/>
                </a:lnTo>
                <a:lnTo>
                  <a:pt x="221" y="48"/>
                </a:lnTo>
                <a:lnTo>
                  <a:pt x="221" y="46"/>
                </a:lnTo>
                <a:lnTo>
                  <a:pt x="218" y="46"/>
                </a:lnTo>
                <a:lnTo>
                  <a:pt x="218" y="46"/>
                </a:lnTo>
                <a:lnTo>
                  <a:pt x="214" y="44"/>
                </a:lnTo>
                <a:lnTo>
                  <a:pt x="212" y="44"/>
                </a:lnTo>
                <a:lnTo>
                  <a:pt x="210" y="44"/>
                </a:lnTo>
                <a:lnTo>
                  <a:pt x="210" y="42"/>
                </a:lnTo>
                <a:lnTo>
                  <a:pt x="208" y="42"/>
                </a:lnTo>
                <a:lnTo>
                  <a:pt x="208" y="42"/>
                </a:lnTo>
                <a:lnTo>
                  <a:pt x="204" y="40"/>
                </a:lnTo>
                <a:lnTo>
                  <a:pt x="204" y="40"/>
                </a:lnTo>
                <a:lnTo>
                  <a:pt x="195" y="42"/>
                </a:lnTo>
                <a:lnTo>
                  <a:pt x="193" y="42"/>
                </a:lnTo>
                <a:lnTo>
                  <a:pt x="191" y="42"/>
                </a:lnTo>
                <a:lnTo>
                  <a:pt x="189" y="40"/>
                </a:lnTo>
                <a:lnTo>
                  <a:pt x="187" y="40"/>
                </a:lnTo>
                <a:lnTo>
                  <a:pt x="187" y="39"/>
                </a:lnTo>
                <a:lnTo>
                  <a:pt x="185" y="39"/>
                </a:lnTo>
                <a:lnTo>
                  <a:pt x="181" y="37"/>
                </a:lnTo>
                <a:lnTo>
                  <a:pt x="179" y="37"/>
                </a:lnTo>
                <a:lnTo>
                  <a:pt x="176" y="33"/>
                </a:lnTo>
                <a:lnTo>
                  <a:pt x="174" y="33"/>
                </a:lnTo>
                <a:lnTo>
                  <a:pt x="174" y="31"/>
                </a:lnTo>
                <a:lnTo>
                  <a:pt x="172" y="31"/>
                </a:lnTo>
                <a:lnTo>
                  <a:pt x="172" y="29"/>
                </a:lnTo>
                <a:lnTo>
                  <a:pt x="172" y="27"/>
                </a:lnTo>
                <a:lnTo>
                  <a:pt x="172" y="25"/>
                </a:lnTo>
                <a:lnTo>
                  <a:pt x="170" y="23"/>
                </a:lnTo>
                <a:lnTo>
                  <a:pt x="170" y="23"/>
                </a:lnTo>
                <a:lnTo>
                  <a:pt x="170" y="21"/>
                </a:lnTo>
                <a:lnTo>
                  <a:pt x="170" y="12"/>
                </a:lnTo>
                <a:lnTo>
                  <a:pt x="170" y="12"/>
                </a:lnTo>
                <a:lnTo>
                  <a:pt x="170" y="8"/>
                </a:lnTo>
                <a:lnTo>
                  <a:pt x="164" y="2"/>
                </a:lnTo>
                <a:lnTo>
                  <a:pt x="162" y="0"/>
                </a:lnTo>
                <a:lnTo>
                  <a:pt x="160" y="0"/>
                </a:lnTo>
                <a:lnTo>
                  <a:pt x="157" y="4"/>
                </a:lnTo>
                <a:lnTo>
                  <a:pt x="157" y="4"/>
                </a:lnTo>
                <a:lnTo>
                  <a:pt x="155" y="6"/>
                </a:lnTo>
                <a:lnTo>
                  <a:pt x="153" y="6"/>
                </a:lnTo>
                <a:lnTo>
                  <a:pt x="153" y="6"/>
                </a:lnTo>
                <a:lnTo>
                  <a:pt x="151" y="6"/>
                </a:lnTo>
                <a:lnTo>
                  <a:pt x="151" y="6"/>
                </a:lnTo>
                <a:lnTo>
                  <a:pt x="151" y="8"/>
                </a:lnTo>
                <a:lnTo>
                  <a:pt x="151" y="8"/>
                </a:lnTo>
                <a:lnTo>
                  <a:pt x="151" y="8"/>
                </a:lnTo>
                <a:lnTo>
                  <a:pt x="149" y="10"/>
                </a:lnTo>
                <a:lnTo>
                  <a:pt x="147" y="10"/>
                </a:lnTo>
                <a:lnTo>
                  <a:pt x="145" y="10"/>
                </a:lnTo>
                <a:lnTo>
                  <a:pt x="143" y="10"/>
                </a:lnTo>
                <a:lnTo>
                  <a:pt x="141" y="10"/>
                </a:lnTo>
                <a:lnTo>
                  <a:pt x="139" y="8"/>
                </a:lnTo>
                <a:lnTo>
                  <a:pt x="138" y="8"/>
                </a:lnTo>
                <a:lnTo>
                  <a:pt x="130" y="8"/>
                </a:lnTo>
                <a:lnTo>
                  <a:pt x="122" y="14"/>
                </a:lnTo>
                <a:lnTo>
                  <a:pt x="122" y="14"/>
                </a:lnTo>
                <a:lnTo>
                  <a:pt x="120" y="16"/>
                </a:lnTo>
                <a:lnTo>
                  <a:pt x="117" y="16"/>
                </a:lnTo>
                <a:lnTo>
                  <a:pt x="117" y="16"/>
                </a:lnTo>
                <a:lnTo>
                  <a:pt x="113" y="18"/>
                </a:lnTo>
                <a:lnTo>
                  <a:pt x="109" y="20"/>
                </a:lnTo>
                <a:lnTo>
                  <a:pt x="109" y="20"/>
                </a:lnTo>
                <a:lnTo>
                  <a:pt x="107" y="20"/>
                </a:lnTo>
                <a:lnTo>
                  <a:pt x="107" y="21"/>
                </a:lnTo>
                <a:lnTo>
                  <a:pt x="105" y="23"/>
                </a:lnTo>
                <a:lnTo>
                  <a:pt x="107" y="23"/>
                </a:lnTo>
                <a:lnTo>
                  <a:pt x="107" y="27"/>
                </a:lnTo>
                <a:lnTo>
                  <a:pt x="107" y="27"/>
                </a:lnTo>
                <a:lnTo>
                  <a:pt x="107" y="29"/>
                </a:lnTo>
                <a:lnTo>
                  <a:pt x="107" y="31"/>
                </a:lnTo>
                <a:lnTo>
                  <a:pt x="107" y="31"/>
                </a:lnTo>
                <a:lnTo>
                  <a:pt x="109" y="33"/>
                </a:lnTo>
                <a:lnTo>
                  <a:pt x="109" y="33"/>
                </a:lnTo>
                <a:lnTo>
                  <a:pt x="111" y="35"/>
                </a:lnTo>
                <a:lnTo>
                  <a:pt x="109" y="39"/>
                </a:lnTo>
                <a:lnTo>
                  <a:pt x="107" y="39"/>
                </a:lnTo>
                <a:lnTo>
                  <a:pt x="105" y="40"/>
                </a:lnTo>
                <a:lnTo>
                  <a:pt x="103" y="40"/>
                </a:lnTo>
                <a:lnTo>
                  <a:pt x="101" y="40"/>
                </a:lnTo>
                <a:lnTo>
                  <a:pt x="101" y="42"/>
                </a:lnTo>
                <a:lnTo>
                  <a:pt x="103" y="42"/>
                </a:lnTo>
                <a:lnTo>
                  <a:pt x="103" y="44"/>
                </a:lnTo>
                <a:lnTo>
                  <a:pt x="105" y="48"/>
                </a:lnTo>
                <a:lnTo>
                  <a:pt x="107" y="48"/>
                </a:lnTo>
                <a:lnTo>
                  <a:pt x="107" y="52"/>
                </a:lnTo>
                <a:lnTo>
                  <a:pt x="107" y="52"/>
                </a:lnTo>
                <a:lnTo>
                  <a:pt x="109" y="52"/>
                </a:lnTo>
                <a:lnTo>
                  <a:pt x="109" y="52"/>
                </a:lnTo>
                <a:lnTo>
                  <a:pt x="111" y="50"/>
                </a:lnTo>
                <a:lnTo>
                  <a:pt x="118" y="50"/>
                </a:lnTo>
                <a:lnTo>
                  <a:pt x="120" y="48"/>
                </a:lnTo>
                <a:lnTo>
                  <a:pt x="124" y="48"/>
                </a:lnTo>
                <a:lnTo>
                  <a:pt x="126" y="46"/>
                </a:lnTo>
                <a:lnTo>
                  <a:pt x="128" y="46"/>
                </a:lnTo>
                <a:lnTo>
                  <a:pt x="136" y="48"/>
                </a:lnTo>
                <a:lnTo>
                  <a:pt x="136" y="48"/>
                </a:lnTo>
                <a:lnTo>
                  <a:pt x="136" y="46"/>
                </a:lnTo>
                <a:lnTo>
                  <a:pt x="138" y="46"/>
                </a:lnTo>
                <a:lnTo>
                  <a:pt x="138" y="46"/>
                </a:lnTo>
                <a:lnTo>
                  <a:pt x="138" y="46"/>
                </a:lnTo>
                <a:lnTo>
                  <a:pt x="138" y="46"/>
                </a:lnTo>
                <a:lnTo>
                  <a:pt x="139" y="46"/>
                </a:lnTo>
                <a:lnTo>
                  <a:pt x="139" y="46"/>
                </a:lnTo>
                <a:lnTo>
                  <a:pt x="141" y="46"/>
                </a:lnTo>
                <a:lnTo>
                  <a:pt x="141" y="48"/>
                </a:lnTo>
                <a:lnTo>
                  <a:pt x="141" y="48"/>
                </a:lnTo>
                <a:lnTo>
                  <a:pt x="143" y="48"/>
                </a:lnTo>
                <a:lnTo>
                  <a:pt x="147" y="48"/>
                </a:lnTo>
                <a:lnTo>
                  <a:pt x="147" y="48"/>
                </a:lnTo>
                <a:lnTo>
                  <a:pt x="147" y="46"/>
                </a:lnTo>
                <a:lnTo>
                  <a:pt x="149" y="46"/>
                </a:lnTo>
                <a:lnTo>
                  <a:pt x="151" y="46"/>
                </a:lnTo>
                <a:lnTo>
                  <a:pt x="151" y="46"/>
                </a:lnTo>
                <a:lnTo>
                  <a:pt x="151" y="46"/>
                </a:lnTo>
                <a:lnTo>
                  <a:pt x="151" y="46"/>
                </a:lnTo>
                <a:lnTo>
                  <a:pt x="151" y="46"/>
                </a:lnTo>
                <a:lnTo>
                  <a:pt x="153" y="48"/>
                </a:lnTo>
                <a:lnTo>
                  <a:pt x="153" y="48"/>
                </a:lnTo>
                <a:lnTo>
                  <a:pt x="153" y="50"/>
                </a:lnTo>
                <a:lnTo>
                  <a:pt x="153" y="50"/>
                </a:lnTo>
                <a:lnTo>
                  <a:pt x="153" y="50"/>
                </a:lnTo>
                <a:lnTo>
                  <a:pt x="153" y="52"/>
                </a:lnTo>
                <a:lnTo>
                  <a:pt x="151" y="52"/>
                </a:lnTo>
                <a:lnTo>
                  <a:pt x="149" y="54"/>
                </a:lnTo>
                <a:lnTo>
                  <a:pt x="147" y="54"/>
                </a:lnTo>
                <a:lnTo>
                  <a:pt x="136" y="58"/>
                </a:lnTo>
                <a:lnTo>
                  <a:pt x="134" y="58"/>
                </a:lnTo>
                <a:lnTo>
                  <a:pt x="134" y="58"/>
                </a:lnTo>
                <a:lnTo>
                  <a:pt x="130" y="56"/>
                </a:lnTo>
                <a:lnTo>
                  <a:pt x="130" y="56"/>
                </a:lnTo>
                <a:lnTo>
                  <a:pt x="128" y="56"/>
                </a:lnTo>
                <a:lnTo>
                  <a:pt x="128" y="58"/>
                </a:lnTo>
                <a:lnTo>
                  <a:pt x="126" y="59"/>
                </a:lnTo>
                <a:lnTo>
                  <a:pt x="124" y="61"/>
                </a:lnTo>
                <a:lnTo>
                  <a:pt x="122" y="61"/>
                </a:lnTo>
                <a:lnTo>
                  <a:pt x="120" y="63"/>
                </a:lnTo>
                <a:lnTo>
                  <a:pt x="120" y="65"/>
                </a:lnTo>
                <a:lnTo>
                  <a:pt x="118" y="71"/>
                </a:lnTo>
                <a:lnTo>
                  <a:pt x="117" y="73"/>
                </a:lnTo>
                <a:lnTo>
                  <a:pt x="117" y="75"/>
                </a:lnTo>
                <a:lnTo>
                  <a:pt x="111" y="77"/>
                </a:lnTo>
                <a:lnTo>
                  <a:pt x="111" y="77"/>
                </a:lnTo>
                <a:lnTo>
                  <a:pt x="109" y="75"/>
                </a:lnTo>
                <a:lnTo>
                  <a:pt x="107" y="75"/>
                </a:lnTo>
                <a:lnTo>
                  <a:pt x="107" y="75"/>
                </a:lnTo>
                <a:lnTo>
                  <a:pt x="107" y="75"/>
                </a:lnTo>
                <a:lnTo>
                  <a:pt x="105" y="77"/>
                </a:lnTo>
                <a:lnTo>
                  <a:pt x="105" y="80"/>
                </a:lnTo>
                <a:lnTo>
                  <a:pt x="103" y="82"/>
                </a:lnTo>
                <a:lnTo>
                  <a:pt x="103" y="82"/>
                </a:lnTo>
                <a:lnTo>
                  <a:pt x="101" y="82"/>
                </a:lnTo>
                <a:lnTo>
                  <a:pt x="99" y="84"/>
                </a:lnTo>
                <a:lnTo>
                  <a:pt x="99" y="84"/>
                </a:lnTo>
                <a:lnTo>
                  <a:pt x="99" y="84"/>
                </a:lnTo>
                <a:lnTo>
                  <a:pt x="98" y="86"/>
                </a:lnTo>
                <a:lnTo>
                  <a:pt x="98" y="86"/>
                </a:lnTo>
                <a:lnTo>
                  <a:pt x="98" y="86"/>
                </a:lnTo>
                <a:lnTo>
                  <a:pt x="96" y="86"/>
                </a:lnTo>
                <a:lnTo>
                  <a:pt x="96" y="86"/>
                </a:lnTo>
                <a:lnTo>
                  <a:pt x="94" y="86"/>
                </a:lnTo>
                <a:lnTo>
                  <a:pt x="94" y="84"/>
                </a:lnTo>
                <a:lnTo>
                  <a:pt x="94" y="86"/>
                </a:lnTo>
                <a:lnTo>
                  <a:pt x="92" y="86"/>
                </a:lnTo>
                <a:lnTo>
                  <a:pt x="92" y="86"/>
                </a:lnTo>
                <a:lnTo>
                  <a:pt x="92" y="86"/>
                </a:lnTo>
                <a:lnTo>
                  <a:pt x="86" y="82"/>
                </a:lnTo>
                <a:lnTo>
                  <a:pt x="84" y="82"/>
                </a:lnTo>
                <a:lnTo>
                  <a:pt x="84" y="82"/>
                </a:lnTo>
                <a:lnTo>
                  <a:pt x="84" y="82"/>
                </a:lnTo>
                <a:lnTo>
                  <a:pt x="84" y="84"/>
                </a:lnTo>
                <a:lnTo>
                  <a:pt x="84" y="84"/>
                </a:lnTo>
                <a:lnTo>
                  <a:pt x="84" y="84"/>
                </a:lnTo>
                <a:lnTo>
                  <a:pt x="88" y="88"/>
                </a:lnTo>
                <a:lnTo>
                  <a:pt x="92" y="90"/>
                </a:lnTo>
                <a:lnTo>
                  <a:pt x="94" y="90"/>
                </a:lnTo>
                <a:lnTo>
                  <a:pt x="94" y="90"/>
                </a:lnTo>
                <a:lnTo>
                  <a:pt x="96" y="90"/>
                </a:lnTo>
                <a:lnTo>
                  <a:pt x="96" y="90"/>
                </a:lnTo>
                <a:lnTo>
                  <a:pt x="98" y="90"/>
                </a:lnTo>
                <a:lnTo>
                  <a:pt x="98" y="90"/>
                </a:lnTo>
                <a:lnTo>
                  <a:pt x="99" y="92"/>
                </a:lnTo>
                <a:lnTo>
                  <a:pt x="99" y="92"/>
                </a:lnTo>
                <a:lnTo>
                  <a:pt x="99" y="94"/>
                </a:lnTo>
                <a:lnTo>
                  <a:pt x="101" y="96"/>
                </a:lnTo>
                <a:lnTo>
                  <a:pt x="103" y="96"/>
                </a:lnTo>
                <a:lnTo>
                  <a:pt x="105" y="96"/>
                </a:lnTo>
                <a:lnTo>
                  <a:pt x="107" y="97"/>
                </a:lnTo>
                <a:lnTo>
                  <a:pt x="107" y="99"/>
                </a:lnTo>
                <a:lnTo>
                  <a:pt x="109" y="101"/>
                </a:lnTo>
                <a:lnTo>
                  <a:pt x="111" y="103"/>
                </a:lnTo>
                <a:lnTo>
                  <a:pt x="113" y="103"/>
                </a:lnTo>
                <a:lnTo>
                  <a:pt x="113" y="105"/>
                </a:lnTo>
                <a:lnTo>
                  <a:pt x="113" y="105"/>
                </a:lnTo>
                <a:lnTo>
                  <a:pt x="115" y="109"/>
                </a:lnTo>
                <a:lnTo>
                  <a:pt x="115" y="111"/>
                </a:lnTo>
                <a:lnTo>
                  <a:pt x="117" y="113"/>
                </a:lnTo>
                <a:lnTo>
                  <a:pt x="117" y="120"/>
                </a:lnTo>
                <a:lnTo>
                  <a:pt x="117" y="122"/>
                </a:lnTo>
                <a:lnTo>
                  <a:pt x="117" y="124"/>
                </a:lnTo>
                <a:lnTo>
                  <a:pt x="117" y="126"/>
                </a:lnTo>
                <a:lnTo>
                  <a:pt x="115" y="126"/>
                </a:lnTo>
                <a:lnTo>
                  <a:pt x="115" y="128"/>
                </a:lnTo>
                <a:lnTo>
                  <a:pt x="111" y="132"/>
                </a:lnTo>
                <a:lnTo>
                  <a:pt x="107" y="134"/>
                </a:lnTo>
                <a:lnTo>
                  <a:pt x="107" y="136"/>
                </a:lnTo>
                <a:lnTo>
                  <a:pt x="107" y="137"/>
                </a:lnTo>
                <a:lnTo>
                  <a:pt x="107" y="137"/>
                </a:lnTo>
                <a:lnTo>
                  <a:pt x="107" y="139"/>
                </a:lnTo>
                <a:lnTo>
                  <a:pt x="107" y="139"/>
                </a:lnTo>
                <a:lnTo>
                  <a:pt x="105" y="141"/>
                </a:lnTo>
                <a:lnTo>
                  <a:pt x="105" y="141"/>
                </a:lnTo>
                <a:lnTo>
                  <a:pt x="103" y="143"/>
                </a:lnTo>
                <a:lnTo>
                  <a:pt x="101" y="143"/>
                </a:lnTo>
                <a:lnTo>
                  <a:pt x="98" y="145"/>
                </a:lnTo>
                <a:lnTo>
                  <a:pt x="98" y="145"/>
                </a:lnTo>
                <a:lnTo>
                  <a:pt x="92" y="145"/>
                </a:lnTo>
                <a:lnTo>
                  <a:pt x="92" y="145"/>
                </a:lnTo>
                <a:lnTo>
                  <a:pt x="90" y="145"/>
                </a:lnTo>
                <a:lnTo>
                  <a:pt x="90" y="145"/>
                </a:lnTo>
                <a:lnTo>
                  <a:pt x="88" y="141"/>
                </a:lnTo>
                <a:lnTo>
                  <a:pt x="86" y="139"/>
                </a:lnTo>
                <a:lnTo>
                  <a:pt x="86" y="139"/>
                </a:lnTo>
                <a:lnTo>
                  <a:pt x="82" y="137"/>
                </a:lnTo>
                <a:lnTo>
                  <a:pt x="78" y="136"/>
                </a:lnTo>
                <a:lnTo>
                  <a:pt x="78" y="136"/>
                </a:lnTo>
                <a:lnTo>
                  <a:pt x="78" y="136"/>
                </a:lnTo>
                <a:lnTo>
                  <a:pt x="77" y="134"/>
                </a:lnTo>
                <a:lnTo>
                  <a:pt x="77" y="134"/>
                </a:lnTo>
                <a:lnTo>
                  <a:pt x="75" y="132"/>
                </a:lnTo>
                <a:lnTo>
                  <a:pt x="75" y="130"/>
                </a:lnTo>
                <a:lnTo>
                  <a:pt x="75" y="130"/>
                </a:lnTo>
                <a:lnTo>
                  <a:pt x="75" y="130"/>
                </a:lnTo>
                <a:lnTo>
                  <a:pt x="73" y="130"/>
                </a:lnTo>
                <a:lnTo>
                  <a:pt x="73" y="130"/>
                </a:lnTo>
                <a:lnTo>
                  <a:pt x="73" y="130"/>
                </a:lnTo>
                <a:lnTo>
                  <a:pt x="71" y="134"/>
                </a:lnTo>
                <a:lnTo>
                  <a:pt x="71" y="136"/>
                </a:lnTo>
                <a:lnTo>
                  <a:pt x="67" y="136"/>
                </a:lnTo>
                <a:lnTo>
                  <a:pt x="67" y="136"/>
                </a:lnTo>
                <a:lnTo>
                  <a:pt x="67" y="137"/>
                </a:lnTo>
                <a:lnTo>
                  <a:pt x="67" y="137"/>
                </a:lnTo>
                <a:lnTo>
                  <a:pt x="67" y="137"/>
                </a:lnTo>
                <a:lnTo>
                  <a:pt x="67" y="137"/>
                </a:lnTo>
                <a:lnTo>
                  <a:pt x="69" y="137"/>
                </a:lnTo>
                <a:lnTo>
                  <a:pt x="69" y="137"/>
                </a:lnTo>
                <a:lnTo>
                  <a:pt x="69" y="137"/>
                </a:lnTo>
                <a:lnTo>
                  <a:pt x="71" y="139"/>
                </a:lnTo>
                <a:lnTo>
                  <a:pt x="71" y="139"/>
                </a:lnTo>
                <a:lnTo>
                  <a:pt x="71" y="141"/>
                </a:lnTo>
                <a:lnTo>
                  <a:pt x="71" y="141"/>
                </a:lnTo>
                <a:lnTo>
                  <a:pt x="71" y="143"/>
                </a:lnTo>
                <a:lnTo>
                  <a:pt x="71" y="143"/>
                </a:lnTo>
                <a:lnTo>
                  <a:pt x="73" y="143"/>
                </a:lnTo>
                <a:lnTo>
                  <a:pt x="73" y="143"/>
                </a:lnTo>
                <a:lnTo>
                  <a:pt x="73" y="143"/>
                </a:lnTo>
                <a:lnTo>
                  <a:pt x="75" y="143"/>
                </a:lnTo>
                <a:lnTo>
                  <a:pt x="75" y="143"/>
                </a:lnTo>
                <a:lnTo>
                  <a:pt x="75" y="145"/>
                </a:lnTo>
                <a:lnTo>
                  <a:pt x="75" y="147"/>
                </a:lnTo>
                <a:lnTo>
                  <a:pt x="75" y="149"/>
                </a:lnTo>
                <a:lnTo>
                  <a:pt x="73" y="153"/>
                </a:lnTo>
                <a:lnTo>
                  <a:pt x="69" y="160"/>
                </a:lnTo>
                <a:lnTo>
                  <a:pt x="67" y="162"/>
                </a:lnTo>
                <a:lnTo>
                  <a:pt x="65" y="164"/>
                </a:lnTo>
                <a:lnTo>
                  <a:pt x="67" y="164"/>
                </a:lnTo>
                <a:lnTo>
                  <a:pt x="67" y="166"/>
                </a:lnTo>
                <a:lnTo>
                  <a:pt x="67" y="166"/>
                </a:lnTo>
                <a:lnTo>
                  <a:pt x="67" y="166"/>
                </a:lnTo>
                <a:lnTo>
                  <a:pt x="67" y="166"/>
                </a:lnTo>
                <a:lnTo>
                  <a:pt x="69" y="168"/>
                </a:lnTo>
                <a:lnTo>
                  <a:pt x="69" y="168"/>
                </a:lnTo>
                <a:lnTo>
                  <a:pt x="69" y="170"/>
                </a:lnTo>
                <a:lnTo>
                  <a:pt x="69" y="174"/>
                </a:lnTo>
                <a:lnTo>
                  <a:pt x="69" y="175"/>
                </a:lnTo>
                <a:lnTo>
                  <a:pt x="69" y="177"/>
                </a:lnTo>
                <a:lnTo>
                  <a:pt x="67" y="177"/>
                </a:lnTo>
                <a:lnTo>
                  <a:pt x="67" y="179"/>
                </a:lnTo>
                <a:lnTo>
                  <a:pt x="67" y="179"/>
                </a:lnTo>
                <a:lnTo>
                  <a:pt x="69" y="181"/>
                </a:lnTo>
                <a:lnTo>
                  <a:pt x="67" y="183"/>
                </a:lnTo>
                <a:lnTo>
                  <a:pt x="67" y="183"/>
                </a:lnTo>
                <a:lnTo>
                  <a:pt x="67" y="183"/>
                </a:lnTo>
                <a:lnTo>
                  <a:pt x="65" y="183"/>
                </a:lnTo>
                <a:lnTo>
                  <a:pt x="63" y="183"/>
                </a:lnTo>
                <a:lnTo>
                  <a:pt x="57" y="181"/>
                </a:lnTo>
                <a:lnTo>
                  <a:pt x="57" y="181"/>
                </a:lnTo>
                <a:lnTo>
                  <a:pt x="56" y="183"/>
                </a:lnTo>
                <a:lnTo>
                  <a:pt x="56" y="183"/>
                </a:lnTo>
                <a:lnTo>
                  <a:pt x="56" y="185"/>
                </a:lnTo>
                <a:lnTo>
                  <a:pt x="56" y="185"/>
                </a:lnTo>
                <a:lnTo>
                  <a:pt x="56" y="185"/>
                </a:lnTo>
                <a:lnTo>
                  <a:pt x="56" y="187"/>
                </a:lnTo>
                <a:lnTo>
                  <a:pt x="56" y="187"/>
                </a:lnTo>
                <a:lnTo>
                  <a:pt x="54" y="187"/>
                </a:lnTo>
                <a:lnTo>
                  <a:pt x="54" y="189"/>
                </a:lnTo>
                <a:lnTo>
                  <a:pt x="52" y="189"/>
                </a:lnTo>
                <a:lnTo>
                  <a:pt x="52" y="189"/>
                </a:lnTo>
                <a:lnTo>
                  <a:pt x="50" y="189"/>
                </a:lnTo>
                <a:lnTo>
                  <a:pt x="48" y="189"/>
                </a:lnTo>
                <a:lnTo>
                  <a:pt x="48" y="193"/>
                </a:lnTo>
                <a:lnTo>
                  <a:pt x="48" y="194"/>
                </a:lnTo>
                <a:lnTo>
                  <a:pt x="48" y="196"/>
                </a:lnTo>
                <a:lnTo>
                  <a:pt x="46" y="196"/>
                </a:lnTo>
                <a:lnTo>
                  <a:pt x="46" y="198"/>
                </a:lnTo>
                <a:lnTo>
                  <a:pt x="46" y="198"/>
                </a:lnTo>
                <a:lnTo>
                  <a:pt x="46" y="198"/>
                </a:lnTo>
                <a:lnTo>
                  <a:pt x="44" y="196"/>
                </a:lnTo>
                <a:lnTo>
                  <a:pt x="44" y="196"/>
                </a:lnTo>
                <a:lnTo>
                  <a:pt x="42" y="194"/>
                </a:lnTo>
                <a:lnTo>
                  <a:pt x="42" y="194"/>
                </a:lnTo>
                <a:lnTo>
                  <a:pt x="40" y="194"/>
                </a:lnTo>
                <a:lnTo>
                  <a:pt x="40" y="194"/>
                </a:lnTo>
                <a:lnTo>
                  <a:pt x="38" y="196"/>
                </a:lnTo>
                <a:lnTo>
                  <a:pt x="38" y="196"/>
                </a:lnTo>
                <a:lnTo>
                  <a:pt x="38" y="196"/>
                </a:lnTo>
                <a:lnTo>
                  <a:pt x="38" y="196"/>
                </a:lnTo>
                <a:lnTo>
                  <a:pt x="37" y="196"/>
                </a:lnTo>
                <a:lnTo>
                  <a:pt x="37" y="194"/>
                </a:lnTo>
                <a:lnTo>
                  <a:pt x="37" y="194"/>
                </a:lnTo>
                <a:lnTo>
                  <a:pt x="35" y="194"/>
                </a:lnTo>
                <a:lnTo>
                  <a:pt x="35" y="196"/>
                </a:lnTo>
                <a:lnTo>
                  <a:pt x="33" y="196"/>
                </a:lnTo>
                <a:lnTo>
                  <a:pt x="33" y="196"/>
                </a:lnTo>
                <a:lnTo>
                  <a:pt x="33" y="196"/>
                </a:lnTo>
                <a:lnTo>
                  <a:pt x="31" y="196"/>
                </a:lnTo>
                <a:lnTo>
                  <a:pt x="31" y="194"/>
                </a:lnTo>
                <a:lnTo>
                  <a:pt x="29" y="193"/>
                </a:lnTo>
                <a:lnTo>
                  <a:pt x="27" y="189"/>
                </a:lnTo>
                <a:lnTo>
                  <a:pt x="23" y="191"/>
                </a:lnTo>
                <a:lnTo>
                  <a:pt x="21" y="191"/>
                </a:lnTo>
                <a:lnTo>
                  <a:pt x="19" y="191"/>
                </a:lnTo>
                <a:lnTo>
                  <a:pt x="17" y="191"/>
                </a:lnTo>
                <a:lnTo>
                  <a:pt x="16" y="191"/>
                </a:lnTo>
                <a:lnTo>
                  <a:pt x="16" y="191"/>
                </a:lnTo>
                <a:lnTo>
                  <a:pt x="16" y="191"/>
                </a:lnTo>
                <a:lnTo>
                  <a:pt x="16" y="191"/>
                </a:lnTo>
                <a:lnTo>
                  <a:pt x="12" y="191"/>
                </a:lnTo>
                <a:lnTo>
                  <a:pt x="12" y="191"/>
                </a:lnTo>
                <a:lnTo>
                  <a:pt x="12" y="191"/>
                </a:lnTo>
                <a:lnTo>
                  <a:pt x="10" y="191"/>
                </a:lnTo>
                <a:lnTo>
                  <a:pt x="10" y="193"/>
                </a:lnTo>
                <a:lnTo>
                  <a:pt x="8" y="193"/>
                </a:lnTo>
                <a:lnTo>
                  <a:pt x="6" y="193"/>
                </a:lnTo>
                <a:lnTo>
                  <a:pt x="6" y="194"/>
                </a:lnTo>
                <a:lnTo>
                  <a:pt x="6" y="200"/>
                </a:lnTo>
                <a:lnTo>
                  <a:pt x="6" y="200"/>
                </a:lnTo>
                <a:lnTo>
                  <a:pt x="4" y="202"/>
                </a:lnTo>
                <a:lnTo>
                  <a:pt x="4" y="204"/>
                </a:lnTo>
                <a:lnTo>
                  <a:pt x="2" y="204"/>
                </a:lnTo>
                <a:lnTo>
                  <a:pt x="2" y="206"/>
                </a:lnTo>
                <a:lnTo>
                  <a:pt x="2" y="206"/>
                </a:lnTo>
                <a:lnTo>
                  <a:pt x="2" y="208"/>
                </a:lnTo>
                <a:lnTo>
                  <a:pt x="2" y="212"/>
                </a:lnTo>
                <a:lnTo>
                  <a:pt x="0" y="213"/>
                </a:lnTo>
                <a:lnTo>
                  <a:pt x="0" y="215"/>
                </a:lnTo>
                <a:lnTo>
                  <a:pt x="0" y="215"/>
                </a:lnTo>
                <a:lnTo>
                  <a:pt x="2" y="219"/>
                </a:lnTo>
                <a:lnTo>
                  <a:pt x="2" y="219"/>
                </a:lnTo>
                <a:lnTo>
                  <a:pt x="2" y="223"/>
                </a:lnTo>
                <a:lnTo>
                  <a:pt x="2" y="225"/>
                </a:lnTo>
                <a:lnTo>
                  <a:pt x="4" y="225"/>
                </a:lnTo>
                <a:lnTo>
                  <a:pt x="8" y="221"/>
                </a:lnTo>
                <a:lnTo>
                  <a:pt x="8" y="223"/>
                </a:lnTo>
                <a:lnTo>
                  <a:pt x="8" y="223"/>
                </a:lnTo>
                <a:lnTo>
                  <a:pt x="8" y="223"/>
                </a:lnTo>
                <a:lnTo>
                  <a:pt x="8" y="225"/>
                </a:lnTo>
                <a:lnTo>
                  <a:pt x="8" y="225"/>
                </a:lnTo>
                <a:lnTo>
                  <a:pt x="6" y="225"/>
                </a:lnTo>
                <a:lnTo>
                  <a:pt x="6" y="225"/>
                </a:lnTo>
                <a:lnTo>
                  <a:pt x="6" y="227"/>
                </a:lnTo>
                <a:lnTo>
                  <a:pt x="8" y="229"/>
                </a:lnTo>
                <a:lnTo>
                  <a:pt x="8" y="229"/>
                </a:lnTo>
                <a:lnTo>
                  <a:pt x="6" y="231"/>
                </a:lnTo>
                <a:lnTo>
                  <a:pt x="6" y="229"/>
                </a:lnTo>
                <a:lnTo>
                  <a:pt x="4" y="229"/>
                </a:lnTo>
                <a:lnTo>
                  <a:pt x="4" y="229"/>
                </a:lnTo>
                <a:lnTo>
                  <a:pt x="4" y="227"/>
                </a:lnTo>
                <a:lnTo>
                  <a:pt x="6" y="234"/>
                </a:lnTo>
                <a:lnTo>
                  <a:pt x="6" y="238"/>
                </a:lnTo>
                <a:lnTo>
                  <a:pt x="6" y="240"/>
                </a:lnTo>
                <a:lnTo>
                  <a:pt x="6" y="246"/>
                </a:lnTo>
                <a:lnTo>
                  <a:pt x="8" y="248"/>
                </a:lnTo>
                <a:lnTo>
                  <a:pt x="10" y="248"/>
                </a:lnTo>
                <a:lnTo>
                  <a:pt x="10" y="248"/>
                </a:lnTo>
                <a:lnTo>
                  <a:pt x="10" y="248"/>
                </a:lnTo>
                <a:lnTo>
                  <a:pt x="10" y="246"/>
                </a:lnTo>
                <a:lnTo>
                  <a:pt x="8" y="246"/>
                </a:lnTo>
                <a:lnTo>
                  <a:pt x="8" y="244"/>
                </a:lnTo>
                <a:lnTo>
                  <a:pt x="8" y="244"/>
                </a:lnTo>
                <a:lnTo>
                  <a:pt x="8" y="242"/>
                </a:lnTo>
                <a:lnTo>
                  <a:pt x="8" y="242"/>
                </a:lnTo>
                <a:lnTo>
                  <a:pt x="8" y="242"/>
                </a:lnTo>
                <a:lnTo>
                  <a:pt x="10" y="242"/>
                </a:lnTo>
                <a:lnTo>
                  <a:pt x="12" y="244"/>
                </a:lnTo>
                <a:lnTo>
                  <a:pt x="12" y="244"/>
                </a:lnTo>
                <a:lnTo>
                  <a:pt x="12" y="246"/>
                </a:lnTo>
                <a:lnTo>
                  <a:pt x="12" y="246"/>
                </a:lnTo>
                <a:lnTo>
                  <a:pt x="14" y="246"/>
                </a:lnTo>
                <a:lnTo>
                  <a:pt x="14" y="248"/>
                </a:lnTo>
                <a:lnTo>
                  <a:pt x="16" y="246"/>
                </a:lnTo>
                <a:lnTo>
                  <a:pt x="17" y="246"/>
                </a:lnTo>
                <a:lnTo>
                  <a:pt x="19" y="246"/>
                </a:lnTo>
                <a:lnTo>
                  <a:pt x="21" y="246"/>
                </a:lnTo>
                <a:lnTo>
                  <a:pt x="12" y="250"/>
                </a:lnTo>
                <a:lnTo>
                  <a:pt x="10" y="252"/>
                </a:lnTo>
                <a:lnTo>
                  <a:pt x="10" y="253"/>
                </a:lnTo>
                <a:lnTo>
                  <a:pt x="10" y="255"/>
                </a:lnTo>
                <a:lnTo>
                  <a:pt x="10" y="261"/>
                </a:lnTo>
                <a:lnTo>
                  <a:pt x="10" y="261"/>
                </a:lnTo>
                <a:lnTo>
                  <a:pt x="14" y="265"/>
                </a:lnTo>
                <a:lnTo>
                  <a:pt x="14" y="267"/>
                </a:lnTo>
                <a:lnTo>
                  <a:pt x="16" y="267"/>
                </a:lnTo>
                <a:lnTo>
                  <a:pt x="17" y="265"/>
                </a:lnTo>
                <a:lnTo>
                  <a:pt x="19" y="265"/>
                </a:lnTo>
                <a:lnTo>
                  <a:pt x="21" y="267"/>
                </a:lnTo>
                <a:lnTo>
                  <a:pt x="23" y="269"/>
                </a:lnTo>
                <a:lnTo>
                  <a:pt x="25" y="269"/>
                </a:lnTo>
                <a:lnTo>
                  <a:pt x="31" y="269"/>
                </a:lnTo>
                <a:lnTo>
                  <a:pt x="31" y="269"/>
                </a:lnTo>
                <a:lnTo>
                  <a:pt x="33" y="271"/>
                </a:lnTo>
                <a:lnTo>
                  <a:pt x="35" y="272"/>
                </a:lnTo>
                <a:lnTo>
                  <a:pt x="35" y="272"/>
                </a:lnTo>
                <a:lnTo>
                  <a:pt x="35" y="272"/>
                </a:lnTo>
                <a:lnTo>
                  <a:pt x="35" y="274"/>
                </a:lnTo>
                <a:lnTo>
                  <a:pt x="35" y="276"/>
                </a:lnTo>
                <a:lnTo>
                  <a:pt x="37" y="276"/>
                </a:lnTo>
                <a:lnTo>
                  <a:pt x="35" y="278"/>
                </a:lnTo>
                <a:lnTo>
                  <a:pt x="33" y="276"/>
                </a:lnTo>
                <a:lnTo>
                  <a:pt x="31" y="271"/>
                </a:lnTo>
                <a:lnTo>
                  <a:pt x="31" y="271"/>
                </a:lnTo>
                <a:lnTo>
                  <a:pt x="29" y="269"/>
                </a:lnTo>
                <a:lnTo>
                  <a:pt x="27" y="271"/>
                </a:lnTo>
                <a:lnTo>
                  <a:pt x="27" y="271"/>
                </a:lnTo>
                <a:lnTo>
                  <a:pt x="23" y="271"/>
                </a:lnTo>
                <a:lnTo>
                  <a:pt x="21" y="269"/>
                </a:lnTo>
                <a:lnTo>
                  <a:pt x="19" y="267"/>
                </a:lnTo>
                <a:lnTo>
                  <a:pt x="17" y="267"/>
                </a:lnTo>
                <a:lnTo>
                  <a:pt x="14" y="267"/>
                </a:lnTo>
                <a:lnTo>
                  <a:pt x="12" y="269"/>
                </a:lnTo>
                <a:lnTo>
                  <a:pt x="12" y="272"/>
                </a:lnTo>
                <a:lnTo>
                  <a:pt x="12" y="278"/>
                </a:lnTo>
                <a:lnTo>
                  <a:pt x="14" y="276"/>
                </a:lnTo>
                <a:lnTo>
                  <a:pt x="14" y="274"/>
                </a:lnTo>
                <a:lnTo>
                  <a:pt x="16" y="274"/>
                </a:lnTo>
                <a:lnTo>
                  <a:pt x="17" y="274"/>
                </a:lnTo>
                <a:lnTo>
                  <a:pt x="16" y="274"/>
                </a:lnTo>
                <a:lnTo>
                  <a:pt x="14" y="278"/>
                </a:lnTo>
                <a:lnTo>
                  <a:pt x="12" y="282"/>
                </a:lnTo>
                <a:lnTo>
                  <a:pt x="12" y="282"/>
                </a:lnTo>
                <a:lnTo>
                  <a:pt x="14" y="284"/>
                </a:lnTo>
                <a:lnTo>
                  <a:pt x="14" y="284"/>
                </a:lnTo>
                <a:lnTo>
                  <a:pt x="14" y="284"/>
                </a:lnTo>
                <a:lnTo>
                  <a:pt x="14" y="282"/>
                </a:lnTo>
                <a:lnTo>
                  <a:pt x="16" y="282"/>
                </a:lnTo>
                <a:lnTo>
                  <a:pt x="16" y="282"/>
                </a:lnTo>
                <a:lnTo>
                  <a:pt x="16" y="282"/>
                </a:lnTo>
                <a:lnTo>
                  <a:pt x="16" y="282"/>
                </a:lnTo>
                <a:lnTo>
                  <a:pt x="16" y="284"/>
                </a:lnTo>
                <a:lnTo>
                  <a:pt x="16" y="284"/>
                </a:lnTo>
                <a:lnTo>
                  <a:pt x="16" y="286"/>
                </a:lnTo>
                <a:lnTo>
                  <a:pt x="16" y="286"/>
                </a:lnTo>
                <a:lnTo>
                  <a:pt x="16" y="288"/>
                </a:lnTo>
                <a:lnTo>
                  <a:pt x="16" y="290"/>
                </a:lnTo>
                <a:lnTo>
                  <a:pt x="16" y="291"/>
                </a:lnTo>
                <a:lnTo>
                  <a:pt x="16" y="291"/>
                </a:lnTo>
                <a:lnTo>
                  <a:pt x="16" y="293"/>
                </a:lnTo>
                <a:lnTo>
                  <a:pt x="16" y="293"/>
                </a:lnTo>
                <a:lnTo>
                  <a:pt x="16" y="295"/>
                </a:lnTo>
                <a:lnTo>
                  <a:pt x="16" y="295"/>
                </a:lnTo>
                <a:lnTo>
                  <a:pt x="14" y="295"/>
                </a:lnTo>
                <a:lnTo>
                  <a:pt x="14" y="297"/>
                </a:lnTo>
                <a:lnTo>
                  <a:pt x="14" y="299"/>
                </a:lnTo>
                <a:lnTo>
                  <a:pt x="14" y="299"/>
                </a:lnTo>
                <a:lnTo>
                  <a:pt x="12" y="303"/>
                </a:lnTo>
                <a:lnTo>
                  <a:pt x="12" y="303"/>
                </a:lnTo>
                <a:lnTo>
                  <a:pt x="12" y="305"/>
                </a:lnTo>
                <a:lnTo>
                  <a:pt x="14" y="303"/>
                </a:lnTo>
                <a:lnTo>
                  <a:pt x="14" y="303"/>
                </a:lnTo>
                <a:lnTo>
                  <a:pt x="14" y="303"/>
                </a:lnTo>
                <a:lnTo>
                  <a:pt x="14" y="303"/>
                </a:lnTo>
                <a:lnTo>
                  <a:pt x="16" y="303"/>
                </a:lnTo>
                <a:lnTo>
                  <a:pt x="14" y="305"/>
                </a:lnTo>
                <a:lnTo>
                  <a:pt x="14" y="307"/>
                </a:lnTo>
                <a:lnTo>
                  <a:pt x="14" y="307"/>
                </a:lnTo>
                <a:lnTo>
                  <a:pt x="16" y="309"/>
                </a:lnTo>
                <a:lnTo>
                  <a:pt x="16" y="309"/>
                </a:lnTo>
                <a:lnTo>
                  <a:pt x="17" y="307"/>
                </a:lnTo>
                <a:lnTo>
                  <a:pt x="17" y="303"/>
                </a:lnTo>
                <a:lnTo>
                  <a:pt x="19" y="299"/>
                </a:lnTo>
                <a:lnTo>
                  <a:pt x="21" y="297"/>
                </a:lnTo>
                <a:lnTo>
                  <a:pt x="21" y="295"/>
                </a:lnTo>
                <a:lnTo>
                  <a:pt x="23" y="297"/>
                </a:lnTo>
                <a:lnTo>
                  <a:pt x="23" y="299"/>
                </a:lnTo>
                <a:lnTo>
                  <a:pt x="27" y="295"/>
                </a:lnTo>
                <a:lnTo>
                  <a:pt x="27" y="293"/>
                </a:lnTo>
                <a:lnTo>
                  <a:pt x="25" y="291"/>
                </a:lnTo>
                <a:lnTo>
                  <a:pt x="27" y="290"/>
                </a:lnTo>
                <a:lnTo>
                  <a:pt x="27" y="288"/>
                </a:lnTo>
                <a:lnTo>
                  <a:pt x="29" y="286"/>
                </a:lnTo>
                <a:lnTo>
                  <a:pt x="29" y="282"/>
                </a:lnTo>
                <a:lnTo>
                  <a:pt x="31" y="282"/>
                </a:lnTo>
                <a:lnTo>
                  <a:pt x="29" y="290"/>
                </a:lnTo>
                <a:lnTo>
                  <a:pt x="31" y="291"/>
                </a:lnTo>
                <a:lnTo>
                  <a:pt x="31" y="291"/>
                </a:lnTo>
                <a:lnTo>
                  <a:pt x="33" y="291"/>
                </a:lnTo>
                <a:lnTo>
                  <a:pt x="31" y="293"/>
                </a:lnTo>
                <a:lnTo>
                  <a:pt x="31" y="295"/>
                </a:lnTo>
                <a:lnTo>
                  <a:pt x="31" y="297"/>
                </a:lnTo>
                <a:lnTo>
                  <a:pt x="31" y="299"/>
                </a:lnTo>
                <a:lnTo>
                  <a:pt x="35" y="297"/>
                </a:lnTo>
                <a:lnTo>
                  <a:pt x="37" y="297"/>
                </a:lnTo>
                <a:lnTo>
                  <a:pt x="38" y="297"/>
                </a:lnTo>
                <a:lnTo>
                  <a:pt x="37" y="299"/>
                </a:lnTo>
                <a:lnTo>
                  <a:pt x="37" y="299"/>
                </a:lnTo>
                <a:lnTo>
                  <a:pt x="33" y="299"/>
                </a:lnTo>
                <a:lnTo>
                  <a:pt x="29" y="301"/>
                </a:lnTo>
                <a:lnTo>
                  <a:pt x="29" y="301"/>
                </a:lnTo>
                <a:lnTo>
                  <a:pt x="29" y="301"/>
                </a:lnTo>
                <a:lnTo>
                  <a:pt x="31" y="301"/>
                </a:lnTo>
                <a:lnTo>
                  <a:pt x="31" y="303"/>
                </a:lnTo>
                <a:lnTo>
                  <a:pt x="29" y="303"/>
                </a:lnTo>
                <a:lnTo>
                  <a:pt x="27" y="303"/>
                </a:lnTo>
                <a:lnTo>
                  <a:pt x="27" y="303"/>
                </a:lnTo>
                <a:lnTo>
                  <a:pt x="27" y="307"/>
                </a:lnTo>
                <a:lnTo>
                  <a:pt x="25" y="307"/>
                </a:lnTo>
                <a:lnTo>
                  <a:pt x="25" y="305"/>
                </a:lnTo>
                <a:lnTo>
                  <a:pt x="23" y="309"/>
                </a:lnTo>
                <a:lnTo>
                  <a:pt x="25" y="310"/>
                </a:lnTo>
                <a:lnTo>
                  <a:pt x="27" y="312"/>
                </a:lnTo>
                <a:lnTo>
                  <a:pt x="29" y="310"/>
                </a:lnTo>
                <a:lnTo>
                  <a:pt x="29" y="310"/>
                </a:lnTo>
                <a:lnTo>
                  <a:pt x="29" y="310"/>
                </a:lnTo>
                <a:lnTo>
                  <a:pt x="31" y="310"/>
                </a:lnTo>
                <a:lnTo>
                  <a:pt x="31" y="310"/>
                </a:lnTo>
                <a:lnTo>
                  <a:pt x="31" y="310"/>
                </a:lnTo>
                <a:lnTo>
                  <a:pt x="31" y="312"/>
                </a:lnTo>
                <a:lnTo>
                  <a:pt x="31" y="312"/>
                </a:lnTo>
                <a:lnTo>
                  <a:pt x="31" y="312"/>
                </a:lnTo>
                <a:lnTo>
                  <a:pt x="31" y="314"/>
                </a:lnTo>
                <a:lnTo>
                  <a:pt x="31" y="316"/>
                </a:lnTo>
                <a:lnTo>
                  <a:pt x="35" y="316"/>
                </a:lnTo>
                <a:lnTo>
                  <a:pt x="33" y="318"/>
                </a:lnTo>
                <a:lnTo>
                  <a:pt x="33" y="320"/>
                </a:lnTo>
                <a:lnTo>
                  <a:pt x="31" y="322"/>
                </a:lnTo>
                <a:lnTo>
                  <a:pt x="33" y="324"/>
                </a:lnTo>
                <a:lnTo>
                  <a:pt x="31" y="324"/>
                </a:lnTo>
                <a:lnTo>
                  <a:pt x="29" y="324"/>
                </a:lnTo>
                <a:lnTo>
                  <a:pt x="29" y="322"/>
                </a:lnTo>
                <a:lnTo>
                  <a:pt x="31" y="320"/>
                </a:lnTo>
                <a:lnTo>
                  <a:pt x="27" y="316"/>
                </a:lnTo>
                <a:lnTo>
                  <a:pt x="25" y="314"/>
                </a:lnTo>
                <a:lnTo>
                  <a:pt x="25" y="318"/>
                </a:lnTo>
                <a:lnTo>
                  <a:pt x="23" y="318"/>
                </a:lnTo>
                <a:lnTo>
                  <a:pt x="21" y="316"/>
                </a:lnTo>
                <a:lnTo>
                  <a:pt x="21" y="316"/>
                </a:lnTo>
                <a:lnTo>
                  <a:pt x="19" y="318"/>
                </a:lnTo>
                <a:lnTo>
                  <a:pt x="19" y="320"/>
                </a:lnTo>
                <a:lnTo>
                  <a:pt x="19" y="320"/>
                </a:lnTo>
                <a:lnTo>
                  <a:pt x="19" y="326"/>
                </a:lnTo>
                <a:lnTo>
                  <a:pt x="19" y="330"/>
                </a:lnTo>
                <a:lnTo>
                  <a:pt x="19" y="333"/>
                </a:lnTo>
                <a:lnTo>
                  <a:pt x="21" y="333"/>
                </a:lnTo>
                <a:lnTo>
                  <a:pt x="23" y="339"/>
                </a:lnTo>
                <a:lnTo>
                  <a:pt x="25" y="341"/>
                </a:lnTo>
                <a:lnTo>
                  <a:pt x="25" y="341"/>
                </a:lnTo>
                <a:lnTo>
                  <a:pt x="29" y="341"/>
                </a:lnTo>
                <a:lnTo>
                  <a:pt x="29" y="341"/>
                </a:lnTo>
                <a:lnTo>
                  <a:pt x="29" y="343"/>
                </a:lnTo>
                <a:lnTo>
                  <a:pt x="31" y="345"/>
                </a:lnTo>
                <a:lnTo>
                  <a:pt x="31" y="347"/>
                </a:lnTo>
                <a:lnTo>
                  <a:pt x="31" y="349"/>
                </a:lnTo>
                <a:lnTo>
                  <a:pt x="33" y="349"/>
                </a:lnTo>
                <a:lnTo>
                  <a:pt x="35" y="350"/>
                </a:lnTo>
                <a:lnTo>
                  <a:pt x="33" y="352"/>
                </a:lnTo>
                <a:lnTo>
                  <a:pt x="31" y="350"/>
                </a:lnTo>
                <a:lnTo>
                  <a:pt x="29" y="345"/>
                </a:lnTo>
                <a:lnTo>
                  <a:pt x="27" y="343"/>
                </a:lnTo>
                <a:lnTo>
                  <a:pt x="25" y="343"/>
                </a:lnTo>
                <a:lnTo>
                  <a:pt x="23" y="345"/>
                </a:lnTo>
                <a:lnTo>
                  <a:pt x="23" y="347"/>
                </a:lnTo>
                <a:lnTo>
                  <a:pt x="23" y="349"/>
                </a:lnTo>
                <a:lnTo>
                  <a:pt x="23" y="352"/>
                </a:lnTo>
                <a:lnTo>
                  <a:pt x="23" y="354"/>
                </a:lnTo>
                <a:lnTo>
                  <a:pt x="23" y="354"/>
                </a:lnTo>
                <a:lnTo>
                  <a:pt x="23" y="356"/>
                </a:lnTo>
                <a:lnTo>
                  <a:pt x="25" y="356"/>
                </a:lnTo>
                <a:lnTo>
                  <a:pt x="25" y="358"/>
                </a:lnTo>
                <a:lnTo>
                  <a:pt x="25" y="358"/>
                </a:lnTo>
                <a:lnTo>
                  <a:pt x="25" y="360"/>
                </a:lnTo>
                <a:lnTo>
                  <a:pt x="25" y="360"/>
                </a:lnTo>
                <a:lnTo>
                  <a:pt x="25" y="360"/>
                </a:lnTo>
                <a:lnTo>
                  <a:pt x="25" y="360"/>
                </a:lnTo>
                <a:lnTo>
                  <a:pt x="25" y="360"/>
                </a:lnTo>
                <a:lnTo>
                  <a:pt x="25" y="360"/>
                </a:lnTo>
                <a:lnTo>
                  <a:pt x="27" y="362"/>
                </a:lnTo>
                <a:lnTo>
                  <a:pt x="29" y="364"/>
                </a:lnTo>
                <a:lnTo>
                  <a:pt x="29" y="364"/>
                </a:lnTo>
                <a:lnTo>
                  <a:pt x="31" y="364"/>
                </a:lnTo>
                <a:lnTo>
                  <a:pt x="29" y="366"/>
                </a:lnTo>
                <a:lnTo>
                  <a:pt x="31" y="368"/>
                </a:lnTo>
                <a:lnTo>
                  <a:pt x="33" y="368"/>
                </a:lnTo>
                <a:lnTo>
                  <a:pt x="35" y="368"/>
                </a:lnTo>
                <a:lnTo>
                  <a:pt x="37" y="368"/>
                </a:lnTo>
                <a:lnTo>
                  <a:pt x="38" y="368"/>
                </a:lnTo>
                <a:lnTo>
                  <a:pt x="38" y="369"/>
                </a:lnTo>
                <a:lnTo>
                  <a:pt x="38" y="371"/>
                </a:lnTo>
                <a:lnTo>
                  <a:pt x="40" y="373"/>
                </a:lnTo>
                <a:lnTo>
                  <a:pt x="38" y="375"/>
                </a:lnTo>
                <a:lnTo>
                  <a:pt x="38" y="377"/>
                </a:lnTo>
                <a:lnTo>
                  <a:pt x="37" y="377"/>
                </a:lnTo>
                <a:lnTo>
                  <a:pt x="37" y="375"/>
                </a:lnTo>
                <a:lnTo>
                  <a:pt x="38" y="375"/>
                </a:lnTo>
                <a:lnTo>
                  <a:pt x="37" y="373"/>
                </a:lnTo>
                <a:lnTo>
                  <a:pt x="35" y="373"/>
                </a:lnTo>
                <a:lnTo>
                  <a:pt x="35" y="371"/>
                </a:lnTo>
                <a:lnTo>
                  <a:pt x="33" y="371"/>
                </a:lnTo>
                <a:lnTo>
                  <a:pt x="31" y="371"/>
                </a:lnTo>
                <a:lnTo>
                  <a:pt x="31" y="371"/>
                </a:lnTo>
                <a:lnTo>
                  <a:pt x="31" y="371"/>
                </a:lnTo>
                <a:lnTo>
                  <a:pt x="29" y="371"/>
                </a:lnTo>
                <a:lnTo>
                  <a:pt x="29" y="369"/>
                </a:lnTo>
                <a:lnTo>
                  <a:pt x="29" y="369"/>
                </a:lnTo>
                <a:lnTo>
                  <a:pt x="29" y="368"/>
                </a:lnTo>
                <a:lnTo>
                  <a:pt x="27" y="368"/>
                </a:lnTo>
                <a:lnTo>
                  <a:pt x="27" y="369"/>
                </a:lnTo>
                <a:lnTo>
                  <a:pt x="27" y="369"/>
                </a:lnTo>
                <a:lnTo>
                  <a:pt x="27" y="371"/>
                </a:lnTo>
                <a:lnTo>
                  <a:pt x="27" y="371"/>
                </a:lnTo>
                <a:lnTo>
                  <a:pt x="27" y="371"/>
                </a:lnTo>
                <a:lnTo>
                  <a:pt x="25" y="373"/>
                </a:lnTo>
                <a:lnTo>
                  <a:pt x="29" y="375"/>
                </a:lnTo>
                <a:lnTo>
                  <a:pt x="29" y="377"/>
                </a:lnTo>
                <a:lnTo>
                  <a:pt x="31" y="385"/>
                </a:lnTo>
                <a:lnTo>
                  <a:pt x="31" y="385"/>
                </a:lnTo>
                <a:lnTo>
                  <a:pt x="31" y="385"/>
                </a:lnTo>
                <a:lnTo>
                  <a:pt x="31" y="387"/>
                </a:lnTo>
                <a:lnTo>
                  <a:pt x="31" y="387"/>
                </a:lnTo>
                <a:lnTo>
                  <a:pt x="31" y="387"/>
                </a:lnTo>
                <a:lnTo>
                  <a:pt x="31" y="388"/>
                </a:lnTo>
                <a:lnTo>
                  <a:pt x="31" y="388"/>
                </a:lnTo>
                <a:lnTo>
                  <a:pt x="33" y="390"/>
                </a:lnTo>
                <a:lnTo>
                  <a:pt x="33" y="392"/>
                </a:lnTo>
                <a:lnTo>
                  <a:pt x="35" y="390"/>
                </a:lnTo>
                <a:lnTo>
                  <a:pt x="35" y="390"/>
                </a:lnTo>
                <a:lnTo>
                  <a:pt x="35" y="388"/>
                </a:lnTo>
                <a:lnTo>
                  <a:pt x="37" y="388"/>
                </a:lnTo>
                <a:lnTo>
                  <a:pt x="37" y="390"/>
                </a:lnTo>
                <a:lnTo>
                  <a:pt x="37" y="392"/>
                </a:lnTo>
                <a:lnTo>
                  <a:pt x="35" y="392"/>
                </a:lnTo>
                <a:lnTo>
                  <a:pt x="33" y="392"/>
                </a:lnTo>
                <a:lnTo>
                  <a:pt x="33" y="394"/>
                </a:lnTo>
                <a:lnTo>
                  <a:pt x="33" y="396"/>
                </a:lnTo>
                <a:lnTo>
                  <a:pt x="35" y="396"/>
                </a:lnTo>
                <a:lnTo>
                  <a:pt x="37" y="396"/>
                </a:lnTo>
                <a:lnTo>
                  <a:pt x="35" y="398"/>
                </a:lnTo>
                <a:lnTo>
                  <a:pt x="35" y="400"/>
                </a:lnTo>
                <a:lnTo>
                  <a:pt x="38" y="407"/>
                </a:lnTo>
                <a:lnTo>
                  <a:pt x="40" y="409"/>
                </a:lnTo>
                <a:lnTo>
                  <a:pt x="40" y="413"/>
                </a:lnTo>
                <a:lnTo>
                  <a:pt x="40" y="413"/>
                </a:lnTo>
                <a:lnTo>
                  <a:pt x="42" y="415"/>
                </a:lnTo>
                <a:lnTo>
                  <a:pt x="42" y="417"/>
                </a:lnTo>
                <a:lnTo>
                  <a:pt x="42" y="419"/>
                </a:lnTo>
                <a:lnTo>
                  <a:pt x="44" y="419"/>
                </a:lnTo>
                <a:lnTo>
                  <a:pt x="44" y="421"/>
                </a:lnTo>
                <a:lnTo>
                  <a:pt x="44" y="423"/>
                </a:lnTo>
                <a:lnTo>
                  <a:pt x="44" y="423"/>
                </a:lnTo>
                <a:lnTo>
                  <a:pt x="42" y="425"/>
                </a:lnTo>
                <a:lnTo>
                  <a:pt x="42" y="425"/>
                </a:lnTo>
                <a:lnTo>
                  <a:pt x="42" y="427"/>
                </a:lnTo>
                <a:lnTo>
                  <a:pt x="44" y="428"/>
                </a:lnTo>
                <a:lnTo>
                  <a:pt x="44" y="428"/>
                </a:lnTo>
                <a:lnTo>
                  <a:pt x="44" y="430"/>
                </a:lnTo>
                <a:lnTo>
                  <a:pt x="44" y="432"/>
                </a:lnTo>
                <a:lnTo>
                  <a:pt x="44" y="432"/>
                </a:lnTo>
                <a:lnTo>
                  <a:pt x="46" y="434"/>
                </a:lnTo>
                <a:lnTo>
                  <a:pt x="46" y="434"/>
                </a:lnTo>
                <a:lnTo>
                  <a:pt x="50" y="434"/>
                </a:lnTo>
                <a:lnTo>
                  <a:pt x="52" y="436"/>
                </a:lnTo>
                <a:lnTo>
                  <a:pt x="48" y="438"/>
                </a:lnTo>
                <a:lnTo>
                  <a:pt x="46" y="438"/>
                </a:lnTo>
                <a:lnTo>
                  <a:pt x="46" y="438"/>
                </a:lnTo>
                <a:lnTo>
                  <a:pt x="44" y="438"/>
                </a:lnTo>
                <a:lnTo>
                  <a:pt x="44" y="438"/>
                </a:lnTo>
                <a:lnTo>
                  <a:pt x="44" y="440"/>
                </a:lnTo>
                <a:lnTo>
                  <a:pt x="48" y="444"/>
                </a:lnTo>
                <a:lnTo>
                  <a:pt x="50" y="446"/>
                </a:lnTo>
                <a:lnTo>
                  <a:pt x="48" y="447"/>
                </a:lnTo>
                <a:lnTo>
                  <a:pt x="50" y="449"/>
                </a:lnTo>
                <a:lnTo>
                  <a:pt x="50" y="451"/>
                </a:lnTo>
                <a:lnTo>
                  <a:pt x="48" y="453"/>
                </a:lnTo>
                <a:lnTo>
                  <a:pt x="48" y="453"/>
                </a:lnTo>
                <a:lnTo>
                  <a:pt x="48" y="455"/>
                </a:lnTo>
                <a:lnTo>
                  <a:pt x="50" y="457"/>
                </a:lnTo>
                <a:lnTo>
                  <a:pt x="52" y="459"/>
                </a:lnTo>
                <a:lnTo>
                  <a:pt x="54" y="463"/>
                </a:lnTo>
                <a:lnTo>
                  <a:pt x="56" y="465"/>
                </a:lnTo>
                <a:lnTo>
                  <a:pt x="54" y="465"/>
                </a:lnTo>
                <a:lnTo>
                  <a:pt x="52" y="465"/>
                </a:lnTo>
                <a:lnTo>
                  <a:pt x="52" y="463"/>
                </a:lnTo>
                <a:lnTo>
                  <a:pt x="50" y="463"/>
                </a:lnTo>
                <a:lnTo>
                  <a:pt x="50" y="465"/>
                </a:lnTo>
                <a:lnTo>
                  <a:pt x="52" y="466"/>
                </a:lnTo>
                <a:lnTo>
                  <a:pt x="52" y="466"/>
                </a:lnTo>
                <a:lnTo>
                  <a:pt x="52" y="468"/>
                </a:lnTo>
                <a:lnTo>
                  <a:pt x="54" y="470"/>
                </a:lnTo>
                <a:lnTo>
                  <a:pt x="54" y="472"/>
                </a:lnTo>
                <a:lnTo>
                  <a:pt x="56" y="476"/>
                </a:lnTo>
                <a:lnTo>
                  <a:pt x="57" y="478"/>
                </a:lnTo>
                <a:lnTo>
                  <a:pt x="57" y="480"/>
                </a:lnTo>
                <a:lnTo>
                  <a:pt x="56" y="480"/>
                </a:lnTo>
                <a:lnTo>
                  <a:pt x="57" y="482"/>
                </a:lnTo>
                <a:lnTo>
                  <a:pt x="57" y="484"/>
                </a:lnTo>
                <a:lnTo>
                  <a:pt x="57" y="487"/>
                </a:lnTo>
                <a:lnTo>
                  <a:pt x="57" y="489"/>
                </a:lnTo>
                <a:lnTo>
                  <a:pt x="56" y="487"/>
                </a:lnTo>
                <a:lnTo>
                  <a:pt x="56" y="487"/>
                </a:lnTo>
                <a:lnTo>
                  <a:pt x="56" y="489"/>
                </a:lnTo>
                <a:lnTo>
                  <a:pt x="57" y="491"/>
                </a:lnTo>
                <a:lnTo>
                  <a:pt x="56" y="491"/>
                </a:lnTo>
                <a:lnTo>
                  <a:pt x="57" y="493"/>
                </a:lnTo>
                <a:lnTo>
                  <a:pt x="59" y="493"/>
                </a:lnTo>
                <a:lnTo>
                  <a:pt x="57" y="497"/>
                </a:lnTo>
                <a:lnTo>
                  <a:pt x="57" y="497"/>
                </a:lnTo>
                <a:lnTo>
                  <a:pt x="57" y="499"/>
                </a:lnTo>
                <a:lnTo>
                  <a:pt x="57" y="503"/>
                </a:lnTo>
                <a:lnTo>
                  <a:pt x="57" y="503"/>
                </a:lnTo>
                <a:lnTo>
                  <a:pt x="57" y="504"/>
                </a:lnTo>
                <a:lnTo>
                  <a:pt x="57" y="506"/>
                </a:lnTo>
                <a:lnTo>
                  <a:pt x="59" y="510"/>
                </a:lnTo>
                <a:lnTo>
                  <a:pt x="59" y="510"/>
                </a:lnTo>
                <a:lnTo>
                  <a:pt x="61" y="510"/>
                </a:lnTo>
                <a:lnTo>
                  <a:pt x="61" y="512"/>
                </a:lnTo>
                <a:lnTo>
                  <a:pt x="59" y="514"/>
                </a:lnTo>
                <a:lnTo>
                  <a:pt x="59" y="518"/>
                </a:lnTo>
                <a:lnTo>
                  <a:pt x="59" y="520"/>
                </a:lnTo>
                <a:lnTo>
                  <a:pt x="61" y="522"/>
                </a:lnTo>
                <a:lnTo>
                  <a:pt x="63" y="522"/>
                </a:lnTo>
                <a:lnTo>
                  <a:pt x="63" y="524"/>
                </a:lnTo>
                <a:lnTo>
                  <a:pt x="63" y="524"/>
                </a:lnTo>
                <a:lnTo>
                  <a:pt x="61" y="525"/>
                </a:lnTo>
                <a:lnTo>
                  <a:pt x="61" y="525"/>
                </a:lnTo>
                <a:lnTo>
                  <a:pt x="61" y="525"/>
                </a:lnTo>
                <a:lnTo>
                  <a:pt x="63" y="529"/>
                </a:lnTo>
                <a:lnTo>
                  <a:pt x="63" y="527"/>
                </a:lnTo>
                <a:lnTo>
                  <a:pt x="65" y="527"/>
                </a:lnTo>
                <a:lnTo>
                  <a:pt x="67" y="527"/>
                </a:lnTo>
                <a:lnTo>
                  <a:pt x="67" y="529"/>
                </a:lnTo>
                <a:lnTo>
                  <a:pt x="67" y="531"/>
                </a:lnTo>
                <a:lnTo>
                  <a:pt x="67" y="531"/>
                </a:lnTo>
                <a:lnTo>
                  <a:pt x="65" y="531"/>
                </a:lnTo>
                <a:lnTo>
                  <a:pt x="65" y="529"/>
                </a:lnTo>
                <a:lnTo>
                  <a:pt x="63" y="529"/>
                </a:lnTo>
                <a:lnTo>
                  <a:pt x="63" y="529"/>
                </a:lnTo>
                <a:lnTo>
                  <a:pt x="61" y="531"/>
                </a:lnTo>
                <a:lnTo>
                  <a:pt x="61" y="531"/>
                </a:lnTo>
                <a:lnTo>
                  <a:pt x="61" y="531"/>
                </a:lnTo>
                <a:lnTo>
                  <a:pt x="61" y="531"/>
                </a:lnTo>
                <a:lnTo>
                  <a:pt x="63" y="533"/>
                </a:lnTo>
                <a:lnTo>
                  <a:pt x="63" y="533"/>
                </a:lnTo>
                <a:lnTo>
                  <a:pt x="65" y="535"/>
                </a:lnTo>
                <a:lnTo>
                  <a:pt x="67" y="535"/>
                </a:lnTo>
                <a:lnTo>
                  <a:pt x="67" y="535"/>
                </a:lnTo>
                <a:lnTo>
                  <a:pt x="65" y="537"/>
                </a:lnTo>
                <a:lnTo>
                  <a:pt x="65" y="537"/>
                </a:lnTo>
                <a:lnTo>
                  <a:pt x="65" y="537"/>
                </a:lnTo>
                <a:lnTo>
                  <a:pt x="65" y="537"/>
                </a:lnTo>
                <a:lnTo>
                  <a:pt x="67" y="539"/>
                </a:lnTo>
                <a:lnTo>
                  <a:pt x="67" y="539"/>
                </a:lnTo>
                <a:lnTo>
                  <a:pt x="65" y="539"/>
                </a:lnTo>
                <a:lnTo>
                  <a:pt x="65" y="539"/>
                </a:lnTo>
                <a:lnTo>
                  <a:pt x="63" y="535"/>
                </a:lnTo>
                <a:lnTo>
                  <a:pt x="63" y="535"/>
                </a:lnTo>
                <a:lnTo>
                  <a:pt x="61" y="535"/>
                </a:lnTo>
                <a:lnTo>
                  <a:pt x="61" y="535"/>
                </a:lnTo>
                <a:lnTo>
                  <a:pt x="61" y="535"/>
                </a:lnTo>
                <a:lnTo>
                  <a:pt x="61" y="537"/>
                </a:lnTo>
                <a:lnTo>
                  <a:pt x="61" y="539"/>
                </a:lnTo>
                <a:lnTo>
                  <a:pt x="61" y="539"/>
                </a:lnTo>
                <a:lnTo>
                  <a:pt x="61" y="539"/>
                </a:lnTo>
                <a:lnTo>
                  <a:pt x="63" y="543"/>
                </a:lnTo>
                <a:lnTo>
                  <a:pt x="63" y="546"/>
                </a:lnTo>
                <a:lnTo>
                  <a:pt x="65" y="548"/>
                </a:lnTo>
                <a:lnTo>
                  <a:pt x="67" y="548"/>
                </a:lnTo>
                <a:lnTo>
                  <a:pt x="69" y="550"/>
                </a:lnTo>
                <a:lnTo>
                  <a:pt x="67" y="550"/>
                </a:lnTo>
                <a:lnTo>
                  <a:pt x="67" y="550"/>
                </a:lnTo>
                <a:lnTo>
                  <a:pt x="65" y="552"/>
                </a:lnTo>
                <a:lnTo>
                  <a:pt x="65" y="552"/>
                </a:lnTo>
                <a:lnTo>
                  <a:pt x="67" y="554"/>
                </a:lnTo>
                <a:lnTo>
                  <a:pt x="67" y="554"/>
                </a:lnTo>
                <a:lnTo>
                  <a:pt x="67" y="556"/>
                </a:lnTo>
                <a:lnTo>
                  <a:pt x="67" y="556"/>
                </a:lnTo>
                <a:lnTo>
                  <a:pt x="71" y="563"/>
                </a:lnTo>
                <a:lnTo>
                  <a:pt x="71" y="565"/>
                </a:lnTo>
                <a:lnTo>
                  <a:pt x="71" y="567"/>
                </a:lnTo>
                <a:lnTo>
                  <a:pt x="71" y="567"/>
                </a:lnTo>
                <a:lnTo>
                  <a:pt x="73" y="567"/>
                </a:lnTo>
                <a:lnTo>
                  <a:pt x="73" y="567"/>
                </a:lnTo>
                <a:lnTo>
                  <a:pt x="73" y="567"/>
                </a:lnTo>
                <a:lnTo>
                  <a:pt x="73" y="569"/>
                </a:lnTo>
                <a:lnTo>
                  <a:pt x="73" y="573"/>
                </a:lnTo>
                <a:lnTo>
                  <a:pt x="75" y="577"/>
                </a:lnTo>
                <a:lnTo>
                  <a:pt x="75" y="575"/>
                </a:lnTo>
                <a:lnTo>
                  <a:pt x="75" y="573"/>
                </a:lnTo>
                <a:lnTo>
                  <a:pt x="75" y="571"/>
                </a:lnTo>
                <a:lnTo>
                  <a:pt x="78" y="569"/>
                </a:lnTo>
                <a:lnTo>
                  <a:pt x="77" y="571"/>
                </a:lnTo>
                <a:lnTo>
                  <a:pt x="77" y="571"/>
                </a:lnTo>
                <a:lnTo>
                  <a:pt x="75" y="573"/>
                </a:lnTo>
                <a:lnTo>
                  <a:pt x="75" y="575"/>
                </a:lnTo>
                <a:lnTo>
                  <a:pt x="75" y="581"/>
                </a:lnTo>
                <a:lnTo>
                  <a:pt x="75" y="581"/>
                </a:lnTo>
                <a:lnTo>
                  <a:pt x="75" y="581"/>
                </a:lnTo>
                <a:lnTo>
                  <a:pt x="75" y="582"/>
                </a:lnTo>
                <a:lnTo>
                  <a:pt x="75" y="582"/>
                </a:lnTo>
                <a:lnTo>
                  <a:pt x="75" y="582"/>
                </a:lnTo>
                <a:lnTo>
                  <a:pt x="75" y="582"/>
                </a:lnTo>
                <a:lnTo>
                  <a:pt x="77" y="584"/>
                </a:lnTo>
                <a:lnTo>
                  <a:pt x="77" y="584"/>
                </a:lnTo>
                <a:lnTo>
                  <a:pt x="77" y="586"/>
                </a:lnTo>
                <a:lnTo>
                  <a:pt x="78" y="586"/>
                </a:lnTo>
                <a:lnTo>
                  <a:pt x="80" y="586"/>
                </a:lnTo>
                <a:lnTo>
                  <a:pt x="80" y="586"/>
                </a:lnTo>
                <a:lnTo>
                  <a:pt x="78" y="586"/>
                </a:lnTo>
                <a:lnTo>
                  <a:pt x="78" y="588"/>
                </a:lnTo>
                <a:lnTo>
                  <a:pt x="80" y="592"/>
                </a:lnTo>
                <a:lnTo>
                  <a:pt x="82" y="594"/>
                </a:lnTo>
                <a:lnTo>
                  <a:pt x="86" y="598"/>
                </a:lnTo>
                <a:lnTo>
                  <a:pt x="88" y="600"/>
                </a:lnTo>
                <a:lnTo>
                  <a:pt x="92" y="605"/>
                </a:lnTo>
                <a:lnTo>
                  <a:pt x="92" y="607"/>
                </a:lnTo>
                <a:lnTo>
                  <a:pt x="92" y="613"/>
                </a:lnTo>
                <a:lnTo>
                  <a:pt x="92" y="613"/>
                </a:lnTo>
                <a:lnTo>
                  <a:pt x="94" y="615"/>
                </a:lnTo>
                <a:lnTo>
                  <a:pt x="96" y="615"/>
                </a:lnTo>
                <a:lnTo>
                  <a:pt x="96" y="615"/>
                </a:lnTo>
                <a:lnTo>
                  <a:pt x="98" y="615"/>
                </a:lnTo>
                <a:lnTo>
                  <a:pt x="99" y="613"/>
                </a:lnTo>
                <a:lnTo>
                  <a:pt x="103" y="613"/>
                </a:lnTo>
                <a:lnTo>
                  <a:pt x="105" y="613"/>
                </a:lnTo>
                <a:lnTo>
                  <a:pt x="105" y="613"/>
                </a:lnTo>
                <a:lnTo>
                  <a:pt x="107" y="613"/>
                </a:lnTo>
                <a:lnTo>
                  <a:pt x="107" y="609"/>
                </a:lnTo>
                <a:lnTo>
                  <a:pt x="109" y="609"/>
                </a:lnTo>
                <a:lnTo>
                  <a:pt x="109" y="609"/>
                </a:lnTo>
                <a:lnTo>
                  <a:pt x="109" y="609"/>
                </a:lnTo>
                <a:lnTo>
                  <a:pt x="109" y="609"/>
                </a:lnTo>
                <a:lnTo>
                  <a:pt x="111" y="611"/>
                </a:lnTo>
                <a:lnTo>
                  <a:pt x="111" y="611"/>
                </a:lnTo>
                <a:lnTo>
                  <a:pt x="111" y="613"/>
                </a:lnTo>
                <a:lnTo>
                  <a:pt x="111" y="613"/>
                </a:lnTo>
                <a:lnTo>
                  <a:pt x="111" y="613"/>
                </a:lnTo>
                <a:lnTo>
                  <a:pt x="113" y="613"/>
                </a:lnTo>
                <a:lnTo>
                  <a:pt x="115" y="613"/>
                </a:lnTo>
                <a:lnTo>
                  <a:pt x="117" y="615"/>
                </a:lnTo>
                <a:lnTo>
                  <a:pt x="117" y="615"/>
                </a:lnTo>
                <a:lnTo>
                  <a:pt x="117" y="617"/>
                </a:lnTo>
                <a:lnTo>
                  <a:pt x="118" y="620"/>
                </a:lnTo>
                <a:lnTo>
                  <a:pt x="118" y="622"/>
                </a:lnTo>
                <a:lnTo>
                  <a:pt x="120" y="622"/>
                </a:lnTo>
                <a:lnTo>
                  <a:pt x="122" y="624"/>
                </a:lnTo>
                <a:lnTo>
                  <a:pt x="122" y="624"/>
                </a:lnTo>
                <a:lnTo>
                  <a:pt x="124" y="624"/>
                </a:lnTo>
                <a:lnTo>
                  <a:pt x="126" y="624"/>
                </a:lnTo>
                <a:lnTo>
                  <a:pt x="130" y="622"/>
                </a:lnTo>
                <a:lnTo>
                  <a:pt x="134" y="622"/>
                </a:lnTo>
                <a:lnTo>
                  <a:pt x="134" y="620"/>
                </a:lnTo>
                <a:lnTo>
                  <a:pt x="134" y="620"/>
                </a:lnTo>
                <a:lnTo>
                  <a:pt x="134" y="620"/>
                </a:lnTo>
                <a:lnTo>
                  <a:pt x="134" y="619"/>
                </a:lnTo>
                <a:lnTo>
                  <a:pt x="136" y="619"/>
                </a:lnTo>
                <a:lnTo>
                  <a:pt x="136" y="619"/>
                </a:lnTo>
                <a:lnTo>
                  <a:pt x="136" y="619"/>
                </a:lnTo>
                <a:lnTo>
                  <a:pt x="136" y="615"/>
                </a:lnTo>
                <a:lnTo>
                  <a:pt x="138" y="615"/>
                </a:lnTo>
                <a:lnTo>
                  <a:pt x="141" y="611"/>
                </a:lnTo>
                <a:lnTo>
                  <a:pt x="143" y="611"/>
                </a:lnTo>
                <a:lnTo>
                  <a:pt x="143" y="611"/>
                </a:lnTo>
                <a:lnTo>
                  <a:pt x="145" y="611"/>
                </a:lnTo>
                <a:lnTo>
                  <a:pt x="145" y="611"/>
                </a:lnTo>
                <a:lnTo>
                  <a:pt x="145" y="611"/>
                </a:lnTo>
                <a:lnTo>
                  <a:pt x="145" y="613"/>
                </a:lnTo>
                <a:lnTo>
                  <a:pt x="145" y="613"/>
                </a:lnTo>
                <a:lnTo>
                  <a:pt x="145" y="613"/>
                </a:lnTo>
                <a:lnTo>
                  <a:pt x="145" y="615"/>
                </a:lnTo>
                <a:lnTo>
                  <a:pt x="145" y="615"/>
                </a:lnTo>
                <a:lnTo>
                  <a:pt x="145" y="615"/>
                </a:lnTo>
                <a:lnTo>
                  <a:pt x="145" y="615"/>
                </a:lnTo>
                <a:lnTo>
                  <a:pt x="149" y="615"/>
                </a:lnTo>
                <a:lnTo>
                  <a:pt x="151" y="615"/>
                </a:lnTo>
                <a:lnTo>
                  <a:pt x="153" y="613"/>
                </a:lnTo>
                <a:lnTo>
                  <a:pt x="153" y="613"/>
                </a:lnTo>
                <a:lnTo>
                  <a:pt x="155" y="611"/>
                </a:lnTo>
                <a:lnTo>
                  <a:pt x="155" y="611"/>
                </a:lnTo>
                <a:lnTo>
                  <a:pt x="157" y="609"/>
                </a:lnTo>
                <a:lnTo>
                  <a:pt x="158" y="605"/>
                </a:lnTo>
                <a:lnTo>
                  <a:pt x="158" y="603"/>
                </a:lnTo>
                <a:lnTo>
                  <a:pt x="158" y="603"/>
                </a:lnTo>
                <a:lnTo>
                  <a:pt x="158" y="601"/>
                </a:lnTo>
                <a:lnTo>
                  <a:pt x="157" y="601"/>
                </a:lnTo>
                <a:lnTo>
                  <a:pt x="157" y="601"/>
                </a:lnTo>
                <a:lnTo>
                  <a:pt x="158" y="600"/>
                </a:lnTo>
                <a:lnTo>
                  <a:pt x="160" y="598"/>
                </a:lnTo>
                <a:lnTo>
                  <a:pt x="162" y="594"/>
                </a:lnTo>
                <a:lnTo>
                  <a:pt x="162" y="592"/>
                </a:lnTo>
                <a:lnTo>
                  <a:pt x="164" y="590"/>
                </a:lnTo>
                <a:lnTo>
                  <a:pt x="164" y="588"/>
                </a:lnTo>
                <a:lnTo>
                  <a:pt x="164" y="586"/>
                </a:lnTo>
                <a:lnTo>
                  <a:pt x="164" y="584"/>
                </a:lnTo>
                <a:lnTo>
                  <a:pt x="164" y="584"/>
                </a:lnTo>
                <a:lnTo>
                  <a:pt x="164" y="584"/>
                </a:lnTo>
                <a:lnTo>
                  <a:pt x="164" y="584"/>
                </a:lnTo>
                <a:lnTo>
                  <a:pt x="164" y="582"/>
                </a:lnTo>
                <a:lnTo>
                  <a:pt x="162" y="582"/>
                </a:lnTo>
                <a:lnTo>
                  <a:pt x="160" y="582"/>
                </a:lnTo>
                <a:lnTo>
                  <a:pt x="160" y="582"/>
                </a:lnTo>
                <a:lnTo>
                  <a:pt x="160" y="581"/>
                </a:lnTo>
                <a:lnTo>
                  <a:pt x="160" y="581"/>
                </a:lnTo>
                <a:lnTo>
                  <a:pt x="162" y="581"/>
                </a:lnTo>
                <a:lnTo>
                  <a:pt x="162" y="579"/>
                </a:lnTo>
                <a:lnTo>
                  <a:pt x="164" y="579"/>
                </a:lnTo>
                <a:lnTo>
                  <a:pt x="168" y="579"/>
                </a:lnTo>
                <a:lnTo>
                  <a:pt x="168" y="579"/>
                </a:lnTo>
                <a:lnTo>
                  <a:pt x="168" y="577"/>
                </a:lnTo>
                <a:lnTo>
                  <a:pt x="168" y="577"/>
                </a:lnTo>
                <a:lnTo>
                  <a:pt x="168" y="573"/>
                </a:lnTo>
                <a:lnTo>
                  <a:pt x="168" y="569"/>
                </a:lnTo>
                <a:lnTo>
                  <a:pt x="168" y="567"/>
                </a:lnTo>
                <a:lnTo>
                  <a:pt x="168" y="565"/>
                </a:lnTo>
                <a:lnTo>
                  <a:pt x="168" y="565"/>
                </a:lnTo>
                <a:lnTo>
                  <a:pt x="168" y="565"/>
                </a:lnTo>
                <a:lnTo>
                  <a:pt x="168" y="563"/>
                </a:lnTo>
                <a:lnTo>
                  <a:pt x="166" y="563"/>
                </a:lnTo>
                <a:lnTo>
                  <a:pt x="158" y="560"/>
                </a:lnTo>
                <a:lnTo>
                  <a:pt x="158" y="560"/>
                </a:lnTo>
                <a:lnTo>
                  <a:pt x="158" y="560"/>
                </a:lnTo>
                <a:lnTo>
                  <a:pt x="157" y="560"/>
                </a:lnTo>
                <a:lnTo>
                  <a:pt x="157" y="562"/>
                </a:lnTo>
                <a:lnTo>
                  <a:pt x="157" y="562"/>
                </a:lnTo>
                <a:lnTo>
                  <a:pt x="155" y="562"/>
                </a:lnTo>
                <a:lnTo>
                  <a:pt x="155" y="562"/>
                </a:lnTo>
                <a:lnTo>
                  <a:pt x="155" y="562"/>
                </a:lnTo>
                <a:lnTo>
                  <a:pt x="155" y="560"/>
                </a:lnTo>
                <a:lnTo>
                  <a:pt x="155" y="560"/>
                </a:lnTo>
                <a:lnTo>
                  <a:pt x="155" y="558"/>
                </a:lnTo>
                <a:lnTo>
                  <a:pt x="155" y="558"/>
                </a:lnTo>
                <a:lnTo>
                  <a:pt x="155" y="558"/>
                </a:lnTo>
                <a:lnTo>
                  <a:pt x="155" y="556"/>
                </a:lnTo>
                <a:lnTo>
                  <a:pt x="153" y="556"/>
                </a:lnTo>
                <a:lnTo>
                  <a:pt x="153" y="554"/>
                </a:lnTo>
                <a:lnTo>
                  <a:pt x="153" y="552"/>
                </a:lnTo>
                <a:lnTo>
                  <a:pt x="153" y="552"/>
                </a:lnTo>
                <a:lnTo>
                  <a:pt x="153" y="552"/>
                </a:lnTo>
                <a:lnTo>
                  <a:pt x="155" y="552"/>
                </a:lnTo>
                <a:lnTo>
                  <a:pt x="157" y="550"/>
                </a:lnTo>
                <a:lnTo>
                  <a:pt x="157" y="550"/>
                </a:lnTo>
                <a:lnTo>
                  <a:pt x="157" y="550"/>
                </a:lnTo>
                <a:lnTo>
                  <a:pt x="158" y="550"/>
                </a:lnTo>
                <a:lnTo>
                  <a:pt x="158" y="550"/>
                </a:lnTo>
                <a:lnTo>
                  <a:pt x="158" y="550"/>
                </a:lnTo>
                <a:lnTo>
                  <a:pt x="157" y="548"/>
                </a:lnTo>
                <a:lnTo>
                  <a:pt x="157" y="548"/>
                </a:lnTo>
                <a:lnTo>
                  <a:pt x="155" y="548"/>
                </a:lnTo>
                <a:lnTo>
                  <a:pt x="155" y="548"/>
                </a:lnTo>
                <a:lnTo>
                  <a:pt x="155" y="548"/>
                </a:lnTo>
                <a:lnTo>
                  <a:pt x="155" y="546"/>
                </a:lnTo>
                <a:lnTo>
                  <a:pt x="155" y="546"/>
                </a:lnTo>
                <a:lnTo>
                  <a:pt x="155" y="546"/>
                </a:lnTo>
                <a:lnTo>
                  <a:pt x="155" y="544"/>
                </a:lnTo>
                <a:lnTo>
                  <a:pt x="155" y="544"/>
                </a:lnTo>
                <a:lnTo>
                  <a:pt x="153" y="544"/>
                </a:lnTo>
                <a:lnTo>
                  <a:pt x="153" y="544"/>
                </a:lnTo>
                <a:lnTo>
                  <a:pt x="153" y="544"/>
                </a:lnTo>
                <a:lnTo>
                  <a:pt x="151" y="544"/>
                </a:lnTo>
                <a:lnTo>
                  <a:pt x="151" y="544"/>
                </a:lnTo>
                <a:lnTo>
                  <a:pt x="151" y="544"/>
                </a:lnTo>
                <a:lnTo>
                  <a:pt x="151" y="543"/>
                </a:lnTo>
                <a:lnTo>
                  <a:pt x="151" y="543"/>
                </a:lnTo>
                <a:lnTo>
                  <a:pt x="151" y="543"/>
                </a:lnTo>
                <a:lnTo>
                  <a:pt x="151" y="543"/>
                </a:lnTo>
                <a:lnTo>
                  <a:pt x="151" y="541"/>
                </a:lnTo>
                <a:lnTo>
                  <a:pt x="149" y="541"/>
                </a:lnTo>
                <a:lnTo>
                  <a:pt x="149" y="541"/>
                </a:lnTo>
                <a:lnTo>
                  <a:pt x="149" y="541"/>
                </a:lnTo>
                <a:lnTo>
                  <a:pt x="149" y="541"/>
                </a:lnTo>
                <a:lnTo>
                  <a:pt x="149" y="541"/>
                </a:lnTo>
                <a:lnTo>
                  <a:pt x="147" y="543"/>
                </a:lnTo>
                <a:lnTo>
                  <a:pt x="147" y="543"/>
                </a:lnTo>
                <a:lnTo>
                  <a:pt x="147" y="543"/>
                </a:lnTo>
                <a:lnTo>
                  <a:pt x="147" y="543"/>
                </a:lnTo>
                <a:lnTo>
                  <a:pt x="145" y="543"/>
                </a:lnTo>
                <a:lnTo>
                  <a:pt x="145" y="541"/>
                </a:lnTo>
                <a:lnTo>
                  <a:pt x="145" y="541"/>
                </a:lnTo>
                <a:lnTo>
                  <a:pt x="145" y="541"/>
                </a:lnTo>
                <a:lnTo>
                  <a:pt x="147" y="539"/>
                </a:lnTo>
                <a:lnTo>
                  <a:pt x="147" y="537"/>
                </a:lnTo>
                <a:lnTo>
                  <a:pt x="147" y="535"/>
                </a:lnTo>
                <a:lnTo>
                  <a:pt x="149" y="537"/>
                </a:lnTo>
                <a:lnTo>
                  <a:pt x="149" y="537"/>
                </a:lnTo>
                <a:lnTo>
                  <a:pt x="151" y="537"/>
                </a:lnTo>
                <a:lnTo>
                  <a:pt x="151" y="537"/>
                </a:lnTo>
                <a:lnTo>
                  <a:pt x="151" y="537"/>
                </a:lnTo>
                <a:lnTo>
                  <a:pt x="153" y="537"/>
                </a:lnTo>
                <a:lnTo>
                  <a:pt x="153" y="537"/>
                </a:lnTo>
                <a:lnTo>
                  <a:pt x="153" y="537"/>
                </a:lnTo>
                <a:lnTo>
                  <a:pt x="153" y="535"/>
                </a:lnTo>
                <a:lnTo>
                  <a:pt x="153" y="535"/>
                </a:lnTo>
                <a:lnTo>
                  <a:pt x="155" y="533"/>
                </a:lnTo>
                <a:lnTo>
                  <a:pt x="155" y="535"/>
                </a:lnTo>
                <a:lnTo>
                  <a:pt x="155" y="535"/>
                </a:lnTo>
                <a:lnTo>
                  <a:pt x="155" y="535"/>
                </a:lnTo>
                <a:lnTo>
                  <a:pt x="157" y="535"/>
                </a:lnTo>
                <a:lnTo>
                  <a:pt x="157" y="537"/>
                </a:lnTo>
                <a:lnTo>
                  <a:pt x="157" y="537"/>
                </a:lnTo>
                <a:lnTo>
                  <a:pt x="157" y="537"/>
                </a:lnTo>
                <a:lnTo>
                  <a:pt x="158" y="535"/>
                </a:lnTo>
                <a:lnTo>
                  <a:pt x="160" y="533"/>
                </a:lnTo>
                <a:lnTo>
                  <a:pt x="160" y="533"/>
                </a:lnTo>
                <a:lnTo>
                  <a:pt x="160" y="533"/>
                </a:lnTo>
                <a:lnTo>
                  <a:pt x="162" y="533"/>
                </a:lnTo>
                <a:lnTo>
                  <a:pt x="162" y="531"/>
                </a:lnTo>
                <a:lnTo>
                  <a:pt x="162" y="531"/>
                </a:lnTo>
                <a:lnTo>
                  <a:pt x="164" y="531"/>
                </a:lnTo>
                <a:lnTo>
                  <a:pt x="164" y="529"/>
                </a:lnTo>
                <a:lnTo>
                  <a:pt x="164" y="527"/>
                </a:lnTo>
                <a:lnTo>
                  <a:pt x="164" y="525"/>
                </a:lnTo>
                <a:lnTo>
                  <a:pt x="164" y="525"/>
                </a:lnTo>
                <a:lnTo>
                  <a:pt x="166" y="525"/>
                </a:lnTo>
                <a:lnTo>
                  <a:pt x="166" y="527"/>
                </a:lnTo>
                <a:lnTo>
                  <a:pt x="168" y="527"/>
                </a:lnTo>
                <a:lnTo>
                  <a:pt x="170" y="527"/>
                </a:lnTo>
                <a:lnTo>
                  <a:pt x="172" y="527"/>
                </a:lnTo>
                <a:lnTo>
                  <a:pt x="174" y="527"/>
                </a:lnTo>
                <a:lnTo>
                  <a:pt x="174" y="527"/>
                </a:lnTo>
                <a:lnTo>
                  <a:pt x="174" y="529"/>
                </a:lnTo>
                <a:lnTo>
                  <a:pt x="174" y="531"/>
                </a:lnTo>
                <a:lnTo>
                  <a:pt x="174" y="531"/>
                </a:lnTo>
                <a:lnTo>
                  <a:pt x="176" y="533"/>
                </a:lnTo>
                <a:lnTo>
                  <a:pt x="176" y="533"/>
                </a:lnTo>
                <a:lnTo>
                  <a:pt x="176" y="533"/>
                </a:lnTo>
                <a:lnTo>
                  <a:pt x="176" y="533"/>
                </a:lnTo>
                <a:lnTo>
                  <a:pt x="176" y="535"/>
                </a:lnTo>
                <a:lnTo>
                  <a:pt x="176" y="535"/>
                </a:lnTo>
                <a:lnTo>
                  <a:pt x="176" y="535"/>
                </a:lnTo>
                <a:lnTo>
                  <a:pt x="176" y="535"/>
                </a:lnTo>
                <a:lnTo>
                  <a:pt x="176" y="535"/>
                </a:lnTo>
                <a:lnTo>
                  <a:pt x="176" y="535"/>
                </a:lnTo>
                <a:lnTo>
                  <a:pt x="178" y="535"/>
                </a:lnTo>
                <a:lnTo>
                  <a:pt x="178" y="535"/>
                </a:lnTo>
                <a:lnTo>
                  <a:pt x="179" y="535"/>
                </a:lnTo>
                <a:lnTo>
                  <a:pt x="181" y="531"/>
                </a:lnTo>
                <a:lnTo>
                  <a:pt x="183" y="531"/>
                </a:lnTo>
                <a:lnTo>
                  <a:pt x="183" y="531"/>
                </a:lnTo>
                <a:lnTo>
                  <a:pt x="183" y="531"/>
                </a:lnTo>
                <a:lnTo>
                  <a:pt x="185" y="531"/>
                </a:lnTo>
                <a:lnTo>
                  <a:pt x="187" y="529"/>
                </a:lnTo>
                <a:lnTo>
                  <a:pt x="187" y="529"/>
                </a:lnTo>
                <a:lnTo>
                  <a:pt x="187" y="527"/>
                </a:lnTo>
                <a:lnTo>
                  <a:pt x="185" y="525"/>
                </a:lnTo>
                <a:lnTo>
                  <a:pt x="185" y="524"/>
                </a:lnTo>
                <a:lnTo>
                  <a:pt x="187" y="524"/>
                </a:lnTo>
                <a:lnTo>
                  <a:pt x="187" y="524"/>
                </a:lnTo>
                <a:lnTo>
                  <a:pt x="187" y="524"/>
                </a:lnTo>
                <a:lnTo>
                  <a:pt x="189" y="520"/>
                </a:lnTo>
                <a:lnTo>
                  <a:pt x="189" y="520"/>
                </a:lnTo>
                <a:lnTo>
                  <a:pt x="189" y="520"/>
                </a:lnTo>
                <a:lnTo>
                  <a:pt x="191" y="520"/>
                </a:lnTo>
                <a:lnTo>
                  <a:pt x="191" y="520"/>
                </a:lnTo>
                <a:lnTo>
                  <a:pt x="191" y="520"/>
                </a:lnTo>
                <a:lnTo>
                  <a:pt x="193" y="518"/>
                </a:lnTo>
                <a:lnTo>
                  <a:pt x="193" y="518"/>
                </a:lnTo>
                <a:lnTo>
                  <a:pt x="193" y="518"/>
                </a:lnTo>
                <a:lnTo>
                  <a:pt x="193" y="516"/>
                </a:lnTo>
                <a:lnTo>
                  <a:pt x="195" y="516"/>
                </a:lnTo>
                <a:lnTo>
                  <a:pt x="197" y="516"/>
                </a:lnTo>
                <a:lnTo>
                  <a:pt x="198" y="514"/>
                </a:lnTo>
                <a:lnTo>
                  <a:pt x="198" y="514"/>
                </a:lnTo>
                <a:lnTo>
                  <a:pt x="198" y="514"/>
                </a:lnTo>
                <a:lnTo>
                  <a:pt x="200" y="514"/>
                </a:lnTo>
                <a:lnTo>
                  <a:pt x="202" y="516"/>
                </a:lnTo>
                <a:lnTo>
                  <a:pt x="204" y="516"/>
                </a:lnTo>
                <a:lnTo>
                  <a:pt x="204" y="516"/>
                </a:lnTo>
                <a:lnTo>
                  <a:pt x="204" y="514"/>
                </a:lnTo>
                <a:lnTo>
                  <a:pt x="204" y="514"/>
                </a:lnTo>
                <a:lnTo>
                  <a:pt x="204" y="514"/>
                </a:lnTo>
                <a:lnTo>
                  <a:pt x="204" y="514"/>
                </a:lnTo>
                <a:lnTo>
                  <a:pt x="204" y="510"/>
                </a:lnTo>
                <a:lnTo>
                  <a:pt x="204" y="508"/>
                </a:lnTo>
                <a:lnTo>
                  <a:pt x="204" y="508"/>
                </a:lnTo>
                <a:lnTo>
                  <a:pt x="202" y="506"/>
                </a:lnTo>
                <a:lnTo>
                  <a:pt x="202" y="506"/>
                </a:lnTo>
                <a:lnTo>
                  <a:pt x="202" y="506"/>
                </a:lnTo>
                <a:lnTo>
                  <a:pt x="202" y="504"/>
                </a:lnTo>
                <a:lnTo>
                  <a:pt x="204" y="504"/>
                </a:lnTo>
                <a:lnTo>
                  <a:pt x="208" y="504"/>
                </a:lnTo>
                <a:lnTo>
                  <a:pt x="210" y="503"/>
                </a:lnTo>
                <a:lnTo>
                  <a:pt x="210" y="503"/>
                </a:lnTo>
                <a:lnTo>
                  <a:pt x="210" y="503"/>
                </a:lnTo>
                <a:lnTo>
                  <a:pt x="212" y="501"/>
                </a:lnTo>
                <a:lnTo>
                  <a:pt x="212" y="501"/>
                </a:lnTo>
                <a:lnTo>
                  <a:pt x="212" y="499"/>
                </a:lnTo>
                <a:lnTo>
                  <a:pt x="214" y="497"/>
                </a:lnTo>
                <a:lnTo>
                  <a:pt x="214" y="497"/>
                </a:lnTo>
                <a:lnTo>
                  <a:pt x="214" y="497"/>
                </a:lnTo>
                <a:lnTo>
                  <a:pt x="218" y="497"/>
                </a:lnTo>
                <a:lnTo>
                  <a:pt x="221" y="497"/>
                </a:lnTo>
                <a:lnTo>
                  <a:pt x="221" y="497"/>
                </a:lnTo>
                <a:lnTo>
                  <a:pt x="221" y="497"/>
                </a:lnTo>
                <a:lnTo>
                  <a:pt x="223" y="497"/>
                </a:lnTo>
                <a:lnTo>
                  <a:pt x="223" y="499"/>
                </a:lnTo>
                <a:lnTo>
                  <a:pt x="223" y="499"/>
                </a:lnTo>
                <a:lnTo>
                  <a:pt x="223" y="501"/>
                </a:lnTo>
                <a:lnTo>
                  <a:pt x="225" y="501"/>
                </a:lnTo>
                <a:lnTo>
                  <a:pt x="227" y="501"/>
                </a:lnTo>
                <a:lnTo>
                  <a:pt x="227" y="503"/>
                </a:lnTo>
                <a:lnTo>
                  <a:pt x="227" y="503"/>
                </a:lnTo>
                <a:lnTo>
                  <a:pt x="229" y="503"/>
                </a:lnTo>
                <a:lnTo>
                  <a:pt x="229" y="504"/>
                </a:lnTo>
                <a:lnTo>
                  <a:pt x="231" y="504"/>
                </a:lnTo>
                <a:lnTo>
                  <a:pt x="231" y="504"/>
                </a:lnTo>
                <a:lnTo>
                  <a:pt x="233" y="504"/>
                </a:lnTo>
                <a:lnTo>
                  <a:pt x="235" y="504"/>
                </a:lnTo>
                <a:lnTo>
                  <a:pt x="240" y="501"/>
                </a:lnTo>
                <a:lnTo>
                  <a:pt x="240" y="501"/>
                </a:lnTo>
                <a:lnTo>
                  <a:pt x="240" y="499"/>
                </a:lnTo>
                <a:lnTo>
                  <a:pt x="240" y="497"/>
                </a:lnTo>
                <a:lnTo>
                  <a:pt x="240" y="497"/>
                </a:lnTo>
                <a:lnTo>
                  <a:pt x="240" y="497"/>
                </a:lnTo>
                <a:lnTo>
                  <a:pt x="246" y="495"/>
                </a:lnTo>
                <a:lnTo>
                  <a:pt x="248" y="495"/>
                </a:lnTo>
                <a:lnTo>
                  <a:pt x="248" y="495"/>
                </a:lnTo>
                <a:lnTo>
                  <a:pt x="250" y="493"/>
                </a:lnTo>
                <a:lnTo>
                  <a:pt x="252" y="493"/>
                </a:lnTo>
                <a:lnTo>
                  <a:pt x="256" y="493"/>
                </a:lnTo>
                <a:lnTo>
                  <a:pt x="258" y="493"/>
                </a:lnTo>
                <a:lnTo>
                  <a:pt x="258" y="495"/>
                </a:lnTo>
                <a:lnTo>
                  <a:pt x="258" y="495"/>
                </a:lnTo>
                <a:lnTo>
                  <a:pt x="259" y="495"/>
                </a:lnTo>
                <a:lnTo>
                  <a:pt x="259" y="495"/>
                </a:lnTo>
                <a:lnTo>
                  <a:pt x="261" y="495"/>
                </a:lnTo>
                <a:lnTo>
                  <a:pt x="263" y="495"/>
                </a:lnTo>
                <a:lnTo>
                  <a:pt x="265" y="493"/>
                </a:lnTo>
                <a:lnTo>
                  <a:pt x="265" y="493"/>
                </a:lnTo>
                <a:lnTo>
                  <a:pt x="267" y="493"/>
                </a:lnTo>
                <a:lnTo>
                  <a:pt x="267" y="491"/>
                </a:lnTo>
                <a:lnTo>
                  <a:pt x="267" y="491"/>
                </a:lnTo>
                <a:lnTo>
                  <a:pt x="269" y="491"/>
                </a:lnTo>
                <a:lnTo>
                  <a:pt x="269" y="491"/>
                </a:lnTo>
                <a:lnTo>
                  <a:pt x="271" y="493"/>
                </a:lnTo>
                <a:lnTo>
                  <a:pt x="273" y="495"/>
                </a:lnTo>
                <a:lnTo>
                  <a:pt x="275" y="495"/>
                </a:lnTo>
                <a:lnTo>
                  <a:pt x="275" y="495"/>
                </a:lnTo>
                <a:lnTo>
                  <a:pt x="277" y="493"/>
                </a:lnTo>
                <a:lnTo>
                  <a:pt x="277" y="493"/>
                </a:lnTo>
                <a:lnTo>
                  <a:pt x="277" y="493"/>
                </a:lnTo>
                <a:lnTo>
                  <a:pt x="277" y="491"/>
                </a:lnTo>
                <a:lnTo>
                  <a:pt x="277" y="491"/>
                </a:lnTo>
                <a:lnTo>
                  <a:pt x="277" y="489"/>
                </a:lnTo>
                <a:lnTo>
                  <a:pt x="275" y="487"/>
                </a:lnTo>
                <a:lnTo>
                  <a:pt x="275" y="487"/>
                </a:lnTo>
                <a:lnTo>
                  <a:pt x="275" y="485"/>
                </a:lnTo>
                <a:lnTo>
                  <a:pt x="275" y="485"/>
                </a:lnTo>
                <a:lnTo>
                  <a:pt x="277" y="485"/>
                </a:lnTo>
                <a:lnTo>
                  <a:pt x="277" y="484"/>
                </a:lnTo>
                <a:lnTo>
                  <a:pt x="277" y="484"/>
                </a:lnTo>
                <a:lnTo>
                  <a:pt x="277" y="482"/>
                </a:lnTo>
                <a:lnTo>
                  <a:pt x="277" y="480"/>
                </a:lnTo>
                <a:lnTo>
                  <a:pt x="275" y="480"/>
                </a:lnTo>
                <a:lnTo>
                  <a:pt x="275" y="478"/>
                </a:lnTo>
                <a:lnTo>
                  <a:pt x="273" y="478"/>
                </a:lnTo>
                <a:lnTo>
                  <a:pt x="273" y="476"/>
                </a:lnTo>
                <a:lnTo>
                  <a:pt x="273" y="474"/>
                </a:lnTo>
                <a:lnTo>
                  <a:pt x="273" y="474"/>
                </a:lnTo>
                <a:lnTo>
                  <a:pt x="275" y="472"/>
                </a:lnTo>
                <a:lnTo>
                  <a:pt x="275" y="472"/>
                </a:lnTo>
                <a:lnTo>
                  <a:pt x="275" y="470"/>
                </a:lnTo>
                <a:lnTo>
                  <a:pt x="275" y="470"/>
                </a:lnTo>
                <a:lnTo>
                  <a:pt x="275" y="468"/>
                </a:lnTo>
                <a:lnTo>
                  <a:pt x="275" y="466"/>
                </a:lnTo>
                <a:lnTo>
                  <a:pt x="273" y="466"/>
                </a:lnTo>
                <a:lnTo>
                  <a:pt x="273" y="465"/>
                </a:lnTo>
                <a:lnTo>
                  <a:pt x="271" y="465"/>
                </a:lnTo>
                <a:lnTo>
                  <a:pt x="271" y="465"/>
                </a:lnTo>
                <a:lnTo>
                  <a:pt x="271" y="463"/>
                </a:lnTo>
                <a:lnTo>
                  <a:pt x="271" y="461"/>
                </a:lnTo>
                <a:lnTo>
                  <a:pt x="269" y="461"/>
                </a:lnTo>
                <a:lnTo>
                  <a:pt x="269" y="457"/>
                </a:lnTo>
                <a:lnTo>
                  <a:pt x="269" y="455"/>
                </a:lnTo>
                <a:lnTo>
                  <a:pt x="269" y="453"/>
                </a:lnTo>
                <a:lnTo>
                  <a:pt x="271" y="453"/>
                </a:lnTo>
                <a:lnTo>
                  <a:pt x="271" y="451"/>
                </a:lnTo>
                <a:lnTo>
                  <a:pt x="271" y="451"/>
                </a:lnTo>
                <a:lnTo>
                  <a:pt x="273" y="447"/>
                </a:lnTo>
                <a:lnTo>
                  <a:pt x="273" y="447"/>
                </a:lnTo>
                <a:lnTo>
                  <a:pt x="275" y="447"/>
                </a:lnTo>
                <a:lnTo>
                  <a:pt x="275" y="446"/>
                </a:lnTo>
                <a:lnTo>
                  <a:pt x="277" y="446"/>
                </a:lnTo>
                <a:lnTo>
                  <a:pt x="277" y="446"/>
                </a:lnTo>
                <a:lnTo>
                  <a:pt x="279" y="447"/>
                </a:lnTo>
                <a:lnTo>
                  <a:pt x="279" y="449"/>
                </a:lnTo>
                <a:lnTo>
                  <a:pt x="280" y="451"/>
                </a:lnTo>
                <a:lnTo>
                  <a:pt x="282" y="451"/>
                </a:lnTo>
                <a:lnTo>
                  <a:pt x="284" y="451"/>
                </a:lnTo>
                <a:lnTo>
                  <a:pt x="286" y="451"/>
                </a:lnTo>
                <a:lnTo>
                  <a:pt x="286" y="453"/>
                </a:lnTo>
                <a:lnTo>
                  <a:pt x="288" y="453"/>
                </a:lnTo>
                <a:lnTo>
                  <a:pt x="288" y="455"/>
                </a:lnTo>
                <a:lnTo>
                  <a:pt x="288" y="455"/>
                </a:lnTo>
                <a:lnTo>
                  <a:pt x="290" y="455"/>
                </a:lnTo>
                <a:lnTo>
                  <a:pt x="292" y="455"/>
                </a:lnTo>
                <a:lnTo>
                  <a:pt x="292" y="453"/>
                </a:lnTo>
                <a:lnTo>
                  <a:pt x="294" y="451"/>
                </a:lnTo>
                <a:lnTo>
                  <a:pt x="296" y="453"/>
                </a:lnTo>
                <a:lnTo>
                  <a:pt x="298" y="451"/>
                </a:lnTo>
                <a:lnTo>
                  <a:pt x="298" y="453"/>
                </a:lnTo>
                <a:lnTo>
                  <a:pt x="299" y="453"/>
                </a:lnTo>
                <a:lnTo>
                  <a:pt x="299" y="455"/>
                </a:lnTo>
                <a:lnTo>
                  <a:pt x="299" y="457"/>
                </a:lnTo>
                <a:lnTo>
                  <a:pt x="299" y="459"/>
                </a:lnTo>
                <a:lnTo>
                  <a:pt x="301" y="459"/>
                </a:lnTo>
                <a:lnTo>
                  <a:pt x="301" y="459"/>
                </a:lnTo>
                <a:lnTo>
                  <a:pt x="303" y="461"/>
                </a:lnTo>
                <a:lnTo>
                  <a:pt x="303" y="461"/>
                </a:lnTo>
                <a:lnTo>
                  <a:pt x="305" y="459"/>
                </a:lnTo>
                <a:lnTo>
                  <a:pt x="305" y="459"/>
                </a:lnTo>
                <a:lnTo>
                  <a:pt x="309" y="459"/>
                </a:lnTo>
                <a:lnTo>
                  <a:pt x="311" y="459"/>
                </a:lnTo>
                <a:lnTo>
                  <a:pt x="311" y="459"/>
                </a:lnTo>
                <a:lnTo>
                  <a:pt x="313" y="459"/>
                </a:lnTo>
                <a:lnTo>
                  <a:pt x="313" y="459"/>
                </a:lnTo>
                <a:lnTo>
                  <a:pt x="315" y="457"/>
                </a:lnTo>
                <a:lnTo>
                  <a:pt x="319" y="455"/>
                </a:lnTo>
                <a:lnTo>
                  <a:pt x="320" y="455"/>
                </a:lnTo>
                <a:lnTo>
                  <a:pt x="320" y="455"/>
                </a:lnTo>
                <a:lnTo>
                  <a:pt x="322" y="457"/>
                </a:lnTo>
                <a:lnTo>
                  <a:pt x="324" y="457"/>
                </a:lnTo>
                <a:lnTo>
                  <a:pt x="324" y="455"/>
                </a:lnTo>
                <a:lnTo>
                  <a:pt x="326" y="455"/>
                </a:lnTo>
                <a:lnTo>
                  <a:pt x="328" y="455"/>
                </a:lnTo>
                <a:lnTo>
                  <a:pt x="328" y="455"/>
                </a:lnTo>
                <a:lnTo>
                  <a:pt x="330" y="455"/>
                </a:lnTo>
                <a:lnTo>
                  <a:pt x="330" y="455"/>
                </a:lnTo>
                <a:lnTo>
                  <a:pt x="332" y="457"/>
                </a:lnTo>
                <a:lnTo>
                  <a:pt x="334" y="457"/>
                </a:lnTo>
                <a:lnTo>
                  <a:pt x="334" y="457"/>
                </a:lnTo>
                <a:lnTo>
                  <a:pt x="336" y="457"/>
                </a:lnTo>
                <a:lnTo>
                  <a:pt x="338" y="457"/>
                </a:lnTo>
                <a:lnTo>
                  <a:pt x="340" y="459"/>
                </a:lnTo>
                <a:lnTo>
                  <a:pt x="341" y="459"/>
                </a:lnTo>
                <a:lnTo>
                  <a:pt x="341" y="457"/>
                </a:lnTo>
                <a:lnTo>
                  <a:pt x="343" y="457"/>
                </a:lnTo>
                <a:lnTo>
                  <a:pt x="345" y="455"/>
                </a:lnTo>
                <a:lnTo>
                  <a:pt x="345" y="455"/>
                </a:lnTo>
                <a:lnTo>
                  <a:pt x="343" y="453"/>
                </a:lnTo>
                <a:lnTo>
                  <a:pt x="341" y="451"/>
                </a:lnTo>
                <a:lnTo>
                  <a:pt x="341" y="451"/>
                </a:lnTo>
                <a:lnTo>
                  <a:pt x="341" y="449"/>
                </a:lnTo>
                <a:lnTo>
                  <a:pt x="340" y="447"/>
                </a:lnTo>
                <a:lnTo>
                  <a:pt x="340" y="447"/>
                </a:lnTo>
                <a:lnTo>
                  <a:pt x="340" y="446"/>
                </a:lnTo>
                <a:lnTo>
                  <a:pt x="340" y="446"/>
                </a:lnTo>
                <a:lnTo>
                  <a:pt x="340" y="444"/>
                </a:lnTo>
                <a:lnTo>
                  <a:pt x="341" y="444"/>
                </a:lnTo>
                <a:lnTo>
                  <a:pt x="341" y="442"/>
                </a:lnTo>
                <a:lnTo>
                  <a:pt x="341" y="442"/>
                </a:lnTo>
                <a:lnTo>
                  <a:pt x="340" y="440"/>
                </a:lnTo>
                <a:lnTo>
                  <a:pt x="340" y="440"/>
                </a:lnTo>
                <a:lnTo>
                  <a:pt x="341" y="438"/>
                </a:lnTo>
                <a:lnTo>
                  <a:pt x="341" y="438"/>
                </a:lnTo>
                <a:lnTo>
                  <a:pt x="341" y="438"/>
                </a:lnTo>
                <a:lnTo>
                  <a:pt x="340" y="436"/>
                </a:lnTo>
                <a:lnTo>
                  <a:pt x="340" y="434"/>
                </a:lnTo>
                <a:lnTo>
                  <a:pt x="338" y="434"/>
                </a:lnTo>
                <a:lnTo>
                  <a:pt x="338" y="434"/>
                </a:lnTo>
                <a:lnTo>
                  <a:pt x="340" y="432"/>
                </a:lnTo>
                <a:lnTo>
                  <a:pt x="345" y="430"/>
                </a:lnTo>
                <a:lnTo>
                  <a:pt x="347" y="428"/>
                </a:lnTo>
                <a:lnTo>
                  <a:pt x="347" y="428"/>
                </a:lnTo>
                <a:lnTo>
                  <a:pt x="347" y="427"/>
                </a:lnTo>
                <a:lnTo>
                  <a:pt x="349" y="427"/>
                </a:lnTo>
                <a:lnTo>
                  <a:pt x="349" y="427"/>
                </a:lnTo>
                <a:lnTo>
                  <a:pt x="351" y="425"/>
                </a:lnTo>
                <a:lnTo>
                  <a:pt x="353" y="425"/>
                </a:lnTo>
                <a:lnTo>
                  <a:pt x="353" y="425"/>
                </a:lnTo>
                <a:lnTo>
                  <a:pt x="353" y="423"/>
                </a:lnTo>
                <a:lnTo>
                  <a:pt x="353" y="423"/>
                </a:lnTo>
                <a:lnTo>
                  <a:pt x="353" y="423"/>
                </a:lnTo>
                <a:lnTo>
                  <a:pt x="353" y="421"/>
                </a:lnTo>
                <a:lnTo>
                  <a:pt x="353" y="421"/>
                </a:lnTo>
                <a:lnTo>
                  <a:pt x="355" y="421"/>
                </a:lnTo>
                <a:lnTo>
                  <a:pt x="355" y="421"/>
                </a:lnTo>
                <a:lnTo>
                  <a:pt x="357" y="419"/>
                </a:lnTo>
                <a:lnTo>
                  <a:pt x="357" y="419"/>
                </a:lnTo>
                <a:lnTo>
                  <a:pt x="357" y="417"/>
                </a:lnTo>
                <a:lnTo>
                  <a:pt x="359" y="417"/>
                </a:lnTo>
                <a:lnTo>
                  <a:pt x="359" y="417"/>
                </a:lnTo>
                <a:lnTo>
                  <a:pt x="360" y="419"/>
                </a:lnTo>
                <a:lnTo>
                  <a:pt x="362" y="419"/>
                </a:lnTo>
                <a:lnTo>
                  <a:pt x="364" y="417"/>
                </a:lnTo>
                <a:lnTo>
                  <a:pt x="364" y="417"/>
                </a:lnTo>
                <a:lnTo>
                  <a:pt x="364" y="419"/>
                </a:lnTo>
                <a:lnTo>
                  <a:pt x="366" y="421"/>
                </a:lnTo>
                <a:lnTo>
                  <a:pt x="368" y="421"/>
                </a:lnTo>
                <a:lnTo>
                  <a:pt x="368" y="421"/>
                </a:lnTo>
                <a:lnTo>
                  <a:pt x="370" y="423"/>
                </a:lnTo>
                <a:lnTo>
                  <a:pt x="372" y="425"/>
                </a:lnTo>
                <a:lnTo>
                  <a:pt x="374" y="419"/>
                </a:lnTo>
                <a:lnTo>
                  <a:pt x="374" y="417"/>
                </a:lnTo>
                <a:lnTo>
                  <a:pt x="374" y="415"/>
                </a:lnTo>
                <a:lnTo>
                  <a:pt x="376" y="415"/>
                </a:lnTo>
                <a:lnTo>
                  <a:pt x="378" y="413"/>
                </a:lnTo>
                <a:lnTo>
                  <a:pt x="378" y="413"/>
                </a:lnTo>
                <a:lnTo>
                  <a:pt x="380" y="413"/>
                </a:lnTo>
                <a:lnTo>
                  <a:pt x="380" y="413"/>
                </a:lnTo>
                <a:lnTo>
                  <a:pt x="380" y="411"/>
                </a:lnTo>
                <a:lnTo>
                  <a:pt x="380" y="409"/>
                </a:lnTo>
                <a:lnTo>
                  <a:pt x="378" y="407"/>
                </a:lnTo>
                <a:lnTo>
                  <a:pt x="378" y="406"/>
                </a:lnTo>
                <a:lnTo>
                  <a:pt x="380" y="406"/>
                </a:lnTo>
                <a:lnTo>
                  <a:pt x="380" y="406"/>
                </a:lnTo>
                <a:lnTo>
                  <a:pt x="381" y="406"/>
                </a:lnTo>
                <a:lnTo>
                  <a:pt x="385" y="407"/>
                </a:lnTo>
                <a:lnTo>
                  <a:pt x="387" y="407"/>
                </a:lnTo>
                <a:lnTo>
                  <a:pt x="389" y="406"/>
                </a:lnTo>
                <a:lnTo>
                  <a:pt x="389" y="406"/>
                </a:lnTo>
                <a:lnTo>
                  <a:pt x="391" y="402"/>
                </a:lnTo>
                <a:lnTo>
                  <a:pt x="391" y="400"/>
                </a:lnTo>
                <a:lnTo>
                  <a:pt x="391" y="398"/>
                </a:lnTo>
                <a:lnTo>
                  <a:pt x="391" y="396"/>
                </a:lnTo>
                <a:lnTo>
                  <a:pt x="391" y="394"/>
                </a:lnTo>
                <a:lnTo>
                  <a:pt x="391" y="392"/>
                </a:lnTo>
                <a:lnTo>
                  <a:pt x="393" y="388"/>
                </a:lnTo>
                <a:lnTo>
                  <a:pt x="393" y="387"/>
                </a:lnTo>
                <a:lnTo>
                  <a:pt x="393" y="385"/>
                </a:lnTo>
                <a:lnTo>
                  <a:pt x="393" y="381"/>
                </a:lnTo>
                <a:lnTo>
                  <a:pt x="393" y="381"/>
                </a:lnTo>
                <a:lnTo>
                  <a:pt x="395" y="379"/>
                </a:lnTo>
                <a:lnTo>
                  <a:pt x="397" y="377"/>
                </a:lnTo>
                <a:lnTo>
                  <a:pt x="399" y="377"/>
                </a:lnTo>
                <a:lnTo>
                  <a:pt x="402" y="379"/>
                </a:lnTo>
                <a:lnTo>
                  <a:pt x="402" y="379"/>
                </a:lnTo>
                <a:lnTo>
                  <a:pt x="402" y="377"/>
                </a:lnTo>
                <a:lnTo>
                  <a:pt x="404" y="377"/>
                </a:lnTo>
                <a:lnTo>
                  <a:pt x="406" y="377"/>
                </a:lnTo>
                <a:lnTo>
                  <a:pt x="406" y="377"/>
                </a:lnTo>
                <a:lnTo>
                  <a:pt x="408" y="377"/>
                </a:lnTo>
                <a:lnTo>
                  <a:pt x="410" y="377"/>
                </a:lnTo>
                <a:lnTo>
                  <a:pt x="410" y="377"/>
                </a:lnTo>
                <a:lnTo>
                  <a:pt x="410" y="375"/>
                </a:lnTo>
                <a:lnTo>
                  <a:pt x="410" y="373"/>
                </a:lnTo>
                <a:lnTo>
                  <a:pt x="410" y="373"/>
                </a:lnTo>
                <a:lnTo>
                  <a:pt x="412" y="371"/>
                </a:lnTo>
                <a:lnTo>
                  <a:pt x="412" y="371"/>
                </a:lnTo>
                <a:lnTo>
                  <a:pt x="418" y="368"/>
                </a:lnTo>
                <a:lnTo>
                  <a:pt x="421" y="366"/>
                </a:lnTo>
                <a:lnTo>
                  <a:pt x="421" y="366"/>
                </a:lnTo>
                <a:lnTo>
                  <a:pt x="421" y="366"/>
                </a:lnTo>
                <a:lnTo>
                  <a:pt x="423" y="364"/>
                </a:lnTo>
                <a:lnTo>
                  <a:pt x="423" y="364"/>
                </a:lnTo>
                <a:lnTo>
                  <a:pt x="423" y="362"/>
                </a:lnTo>
                <a:lnTo>
                  <a:pt x="423" y="358"/>
                </a:lnTo>
                <a:lnTo>
                  <a:pt x="423" y="356"/>
                </a:lnTo>
                <a:lnTo>
                  <a:pt x="423" y="356"/>
                </a:lnTo>
                <a:lnTo>
                  <a:pt x="427" y="352"/>
                </a:lnTo>
                <a:lnTo>
                  <a:pt x="427" y="350"/>
                </a:lnTo>
                <a:lnTo>
                  <a:pt x="429" y="350"/>
                </a:lnTo>
                <a:lnTo>
                  <a:pt x="429" y="350"/>
                </a:lnTo>
                <a:lnTo>
                  <a:pt x="431" y="350"/>
                </a:lnTo>
                <a:lnTo>
                  <a:pt x="431" y="352"/>
                </a:lnTo>
                <a:lnTo>
                  <a:pt x="433" y="352"/>
                </a:lnTo>
                <a:lnTo>
                  <a:pt x="433" y="354"/>
                </a:lnTo>
                <a:lnTo>
                  <a:pt x="433" y="354"/>
                </a:lnTo>
                <a:lnTo>
                  <a:pt x="433" y="360"/>
                </a:lnTo>
                <a:lnTo>
                  <a:pt x="433" y="360"/>
                </a:lnTo>
                <a:lnTo>
                  <a:pt x="435" y="362"/>
                </a:lnTo>
                <a:lnTo>
                  <a:pt x="435" y="362"/>
                </a:lnTo>
                <a:lnTo>
                  <a:pt x="437" y="362"/>
                </a:lnTo>
                <a:lnTo>
                  <a:pt x="439" y="364"/>
                </a:lnTo>
                <a:lnTo>
                  <a:pt x="441" y="364"/>
                </a:lnTo>
                <a:lnTo>
                  <a:pt x="441" y="366"/>
                </a:lnTo>
                <a:lnTo>
                  <a:pt x="442" y="368"/>
                </a:lnTo>
                <a:lnTo>
                  <a:pt x="442" y="368"/>
                </a:lnTo>
                <a:lnTo>
                  <a:pt x="442" y="368"/>
                </a:lnTo>
                <a:lnTo>
                  <a:pt x="442" y="368"/>
                </a:lnTo>
                <a:lnTo>
                  <a:pt x="444" y="368"/>
                </a:lnTo>
                <a:lnTo>
                  <a:pt x="446" y="368"/>
                </a:lnTo>
                <a:lnTo>
                  <a:pt x="448" y="366"/>
                </a:lnTo>
                <a:lnTo>
                  <a:pt x="448" y="366"/>
                </a:lnTo>
                <a:lnTo>
                  <a:pt x="448" y="366"/>
                </a:lnTo>
                <a:lnTo>
                  <a:pt x="452" y="366"/>
                </a:lnTo>
                <a:lnTo>
                  <a:pt x="454" y="364"/>
                </a:lnTo>
                <a:lnTo>
                  <a:pt x="454" y="362"/>
                </a:lnTo>
                <a:lnTo>
                  <a:pt x="454" y="362"/>
                </a:lnTo>
                <a:lnTo>
                  <a:pt x="452" y="362"/>
                </a:lnTo>
                <a:lnTo>
                  <a:pt x="448" y="358"/>
                </a:lnTo>
                <a:lnTo>
                  <a:pt x="448" y="358"/>
                </a:lnTo>
                <a:lnTo>
                  <a:pt x="448" y="358"/>
                </a:lnTo>
                <a:lnTo>
                  <a:pt x="450" y="356"/>
                </a:lnTo>
                <a:lnTo>
                  <a:pt x="450" y="356"/>
                </a:lnTo>
                <a:lnTo>
                  <a:pt x="452" y="354"/>
                </a:lnTo>
                <a:lnTo>
                  <a:pt x="452" y="354"/>
                </a:lnTo>
                <a:lnTo>
                  <a:pt x="452" y="352"/>
                </a:lnTo>
                <a:lnTo>
                  <a:pt x="452" y="350"/>
                </a:lnTo>
                <a:lnTo>
                  <a:pt x="452" y="350"/>
                </a:lnTo>
                <a:lnTo>
                  <a:pt x="454" y="349"/>
                </a:lnTo>
                <a:lnTo>
                  <a:pt x="454" y="349"/>
                </a:lnTo>
                <a:lnTo>
                  <a:pt x="454" y="349"/>
                </a:lnTo>
                <a:lnTo>
                  <a:pt x="454" y="347"/>
                </a:lnTo>
                <a:lnTo>
                  <a:pt x="454" y="347"/>
                </a:lnTo>
                <a:lnTo>
                  <a:pt x="456" y="345"/>
                </a:lnTo>
                <a:lnTo>
                  <a:pt x="456" y="345"/>
                </a:lnTo>
                <a:lnTo>
                  <a:pt x="456" y="343"/>
                </a:lnTo>
                <a:lnTo>
                  <a:pt x="456" y="343"/>
                </a:lnTo>
                <a:lnTo>
                  <a:pt x="458" y="341"/>
                </a:lnTo>
                <a:lnTo>
                  <a:pt x="458" y="341"/>
                </a:lnTo>
                <a:lnTo>
                  <a:pt x="460" y="341"/>
                </a:lnTo>
                <a:lnTo>
                  <a:pt x="463" y="341"/>
                </a:lnTo>
                <a:lnTo>
                  <a:pt x="463" y="341"/>
                </a:lnTo>
                <a:lnTo>
                  <a:pt x="465" y="341"/>
                </a:lnTo>
                <a:lnTo>
                  <a:pt x="465" y="339"/>
                </a:lnTo>
                <a:lnTo>
                  <a:pt x="465" y="339"/>
                </a:lnTo>
                <a:lnTo>
                  <a:pt x="467" y="337"/>
                </a:lnTo>
                <a:lnTo>
                  <a:pt x="467" y="335"/>
                </a:lnTo>
                <a:lnTo>
                  <a:pt x="467" y="333"/>
                </a:lnTo>
                <a:lnTo>
                  <a:pt x="467" y="331"/>
                </a:lnTo>
                <a:lnTo>
                  <a:pt x="467" y="331"/>
                </a:lnTo>
                <a:lnTo>
                  <a:pt x="467" y="331"/>
                </a:lnTo>
                <a:lnTo>
                  <a:pt x="467" y="330"/>
                </a:lnTo>
                <a:lnTo>
                  <a:pt x="467" y="328"/>
                </a:lnTo>
                <a:lnTo>
                  <a:pt x="469" y="328"/>
                </a:lnTo>
                <a:lnTo>
                  <a:pt x="469" y="328"/>
                </a:lnTo>
                <a:lnTo>
                  <a:pt x="471" y="328"/>
                </a:lnTo>
                <a:lnTo>
                  <a:pt x="473" y="328"/>
                </a:lnTo>
                <a:lnTo>
                  <a:pt x="473" y="328"/>
                </a:lnTo>
                <a:lnTo>
                  <a:pt x="475" y="328"/>
                </a:lnTo>
                <a:lnTo>
                  <a:pt x="475" y="326"/>
                </a:lnTo>
                <a:lnTo>
                  <a:pt x="477" y="320"/>
                </a:lnTo>
                <a:lnTo>
                  <a:pt x="479" y="318"/>
                </a:lnTo>
                <a:lnTo>
                  <a:pt x="479" y="316"/>
                </a:lnTo>
                <a:lnTo>
                  <a:pt x="481" y="316"/>
                </a:lnTo>
                <a:lnTo>
                  <a:pt x="482" y="316"/>
                </a:lnTo>
                <a:lnTo>
                  <a:pt x="482" y="314"/>
                </a:lnTo>
                <a:lnTo>
                  <a:pt x="484" y="314"/>
                </a:lnTo>
                <a:lnTo>
                  <a:pt x="486" y="314"/>
                </a:lnTo>
                <a:lnTo>
                  <a:pt x="486" y="314"/>
                </a:lnTo>
                <a:lnTo>
                  <a:pt x="486" y="312"/>
                </a:lnTo>
                <a:lnTo>
                  <a:pt x="486" y="312"/>
                </a:lnTo>
                <a:lnTo>
                  <a:pt x="486" y="312"/>
                </a:lnTo>
                <a:lnTo>
                  <a:pt x="484" y="310"/>
                </a:lnTo>
                <a:lnTo>
                  <a:pt x="481" y="309"/>
                </a:lnTo>
                <a:lnTo>
                  <a:pt x="481" y="307"/>
                </a:lnTo>
                <a:lnTo>
                  <a:pt x="479" y="307"/>
                </a:lnTo>
                <a:lnTo>
                  <a:pt x="479" y="305"/>
                </a:lnTo>
                <a:lnTo>
                  <a:pt x="479" y="305"/>
                </a:lnTo>
                <a:lnTo>
                  <a:pt x="479" y="303"/>
                </a:lnTo>
                <a:lnTo>
                  <a:pt x="479" y="303"/>
                </a:lnTo>
                <a:lnTo>
                  <a:pt x="479" y="303"/>
                </a:lnTo>
                <a:lnTo>
                  <a:pt x="477" y="303"/>
                </a:lnTo>
                <a:lnTo>
                  <a:pt x="477" y="303"/>
                </a:lnTo>
                <a:lnTo>
                  <a:pt x="477" y="303"/>
                </a:lnTo>
                <a:lnTo>
                  <a:pt x="477" y="303"/>
                </a:lnTo>
                <a:lnTo>
                  <a:pt x="477" y="301"/>
                </a:lnTo>
                <a:lnTo>
                  <a:pt x="477" y="301"/>
                </a:lnTo>
                <a:lnTo>
                  <a:pt x="477" y="301"/>
                </a:lnTo>
                <a:lnTo>
                  <a:pt x="477" y="299"/>
                </a:lnTo>
                <a:lnTo>
                  <a:pt x="475" y="299"/>
                </a:lnTo>
                <a:lnTo>
                  <a:pt x="475" y="299"/>
                </a:lnTo>
                <a:lnTo>
                  <a:pt x="473" y="299"/>
                </a:lnTo>
                <a:lnTo>
                  <a:pt x="473" y="299"/>
                </a:lnTo>
                <a:lnTo>
                  <a:pt x="473" y="299"/>
                </a:lnTo>
                <a:lnTo>
                  <a:pt x="473" y="299"/>
                </a:lnTo>
                <a:lnTo>
                  <a:pt x="473" y="299"/>
                </a:lnTo>
                <a:lnTo>
                  <a:pt x="473" y="297"/>
                </a:lnTo>
                <a:lnTo>
                  <a:pt x="473" y="297"/>
                </a:lnTo>
                <a:lnTo>
                  <a:pt x="471" y="295"/>
                </a:lnTo>
                <a:lnTo>
                  <a:pt x="471" y="293"/>
                </a:lnTo>
                <a:lnTo>
                  <a:pt x="471" y="293"/>
                </a:lnTo>
                <a:lnTo>
                  <a:pt x="471" y="293"/>
                </a:lnTo>
                <a:lnTo>
                  <a:pt x="473" y="291"/>
                </a:lnTo>
                <a:lnTo>
                  <a:pt x="473" y="291"/>
                </a:lnTo>
                <a:lnTo>
                  <a:pt x="475" y="290"/>
                </a:lnTo>
                <a:lnTo>
                  <a:pt x="477" y="288"/>
                </a:lnTo>
                <a:lnTo>
                  <a:pt x="477" y="288"/>
                </a:lnTo>
                <a:lnTo>
                  <a:pt x="477" y="288"/>
                </a:lnTo>
                <a:lnTo>
                  <a:pt x="479" y="288"/>
                </a:lnTo>
                <a:lnTo>
                  <a:pt x="479" y="286"/>
                </a:lnTo>
                <a:lnTo>
                  <a:pt x="479" y="286"/>
                </a:lnTo>
                <a:lnTo>
                  <a:pt x="479" y="286"/>
                </a:lnTo>
                <a:lnTo>
                  <a:pt x="479" y="284"/>
                </a:lnTo>
                <a:lnTo>
                  <a:pt x="479" y="284"/>
                </a:lnTo>
                <a:lnTo>
                  <a:pt x="479" y="282"/>
                </a:lnTo>
                <a:lnTo>
                  <a:pt x="479" y="282"/>
                </a:lnTo>
                <a:lnTo>
                  <a:pt x="481" y="280"/>
                </a:lnTo>
                <a:lnTo>
                  <a:pt x="481" y="276"/>
                </a:lnTo>
                <a:lnTo>
                  <a:pt x="481" y="274"/>
                </a:lnTo>
                <a:lnTo>
                  <a:pt x="482" y="274"/>
                </a:lnTo>
                <a:lnTo>
                  <a:pt x="484" y="272"/>
                </a:lnTo>
                <a:lnTo>
                  <a:pt x="484" y="271"/>
                </a:lnTo>
                <a:lnTo>
                  <a:pt x="484" y="271"/>
                </a:lnTo>
                <a:lnTo>
                  <a:pt x="482" y="271"/>
                </a:lnTo>
                <a:lnTo>
                  <a:pt x="482" y="271"/>
                </a:lnTo>
                <a:lnTo>
                  <a:pt x="482" y="269"/>
                </a:lnTo>
                <a:lnTo>
                  <a:pt x="482" y="269"/>
                </a:lnTo>
                <a:lnTo>
                  <a:pt x="484" y="267"/>
                </a:lnTo>
                <a:lnTo>
                  <a:pt x="484" y="267"/>
                </a:lnTo>
                <a:lnTo>
                  <a:pt x="484" y="267"/>
                </a:lnTo>
                <a:lnTo>
                  <a:pt x="486" y="267"/>
                </a:lnTo>
                <a:lnTo>
                  <a:pt x="486" y="267"/>
                </a:lnTo>
                <a:lnTo>
                  <a:pt x="488" y="267"/>
                </a:lnTo>
                <a:lnTo>
                  <a:pt x="488" y="267"/>
                </a:lnTo>
                <a:lnTo>
                  <a:pt x="490" y="267"/>
                </a:lnTo>
                <a:lnTo>
                  <a:pt x="490" y="267"/>
                </a:lnTo>
                <a:lnTo>
                  <a:pt x="492" y="267"/>
                </a:lnTo>
                <a:lnTo>
                  <a:pt x="494" y="267"/>
                </a:lnTo>
                <a:lnTo>
                  <a:pt x="494" y="267"/>
                </a:lnTo>
                <a:lnTo>
                  <a:pt x="496" y="271"/>
                </a:lnTo>
                <a:lnTo>
                  <a:pt x="496" y="271"/>
                </a:lnTo>
                <a:lnTo>
                  <a:pt x="498" y="272"/>
                </a:lnTo>
                <a:lnTo>
                  <a:pt x="500" y="272"/>
                </a:lnTo>
                <a:lnTo>
                  <a:pt x="500" y="272"/>
                </a:lnTo>
                <a:lnTo>
                  <a:pt x="501" y="272"/>
                </a:lnTo>
                <a:lnTo>
                  <a:pt x="503" y="272"/>
                </a:lnTo>
                <a:lnTo>
                  <a:pt x="503" y="272"/>
                </a:lnTo>
                <a:lnTo>
                  <a:pt x="503" y="272"/>
                </a:lnTo>
                <a:lnTo>
                  <a:pt x="505" y="272"/>
                </a:lnTo>
                <a:lnTo>
                  <a:pt x="505" y="272"/>
                </a:lnTo>
                <a:lnTo>
                  <a:pt x="509" y="272"/>
                </a:lnTo>
                <a:lnTo>
                  <a:pt x="509" y="272"/>
                </a:lnTo>
                <a:lnTo>
                  <a:pt x="511" y="272"/>
                </a:lnTo>
                <a:lnTo>
                  <a:pt x="511" y="271"/>
                </a:lnTo>
                <a:lnTo>
                  <a:pt x="511" y="269"/>
                </a:lnTo>
                <a:lnTo>
                  <a:pt x="511" y="269"/>
                </a:lnTo>
                <a:lnTo>
                  <a:pt x="511" y="263"/>
                </a:lnTo>
                <a:lnTo>
                  <a:pt x="511" y="263"/>
                </a:lnTo>
                <a:lnTo>
                  <a:pt x="511" y="261"/>
                </a:lnTo>
                <a:lnTo>
                  <a:pt x="511" y="261"/>
                </a:lnTo>
                <a:lnTo>
                  <a:pt x="511" y="261"/>
                </a:lnTo>
                <a:lnTo>
                  <a:pt x="511" y="259"/>
                </a:lnTo>
                <a:lnTo>
                  <a:pt x="513" y="257"/>
                </a:lnTo>
                <a:lnTo>
                  <a:pt x="513" y="255"/>
                </a:lnTo>
                <a:lnTo>
                  <a:pt x="515" y="253"/>
                </a:lnTo>
                <a:lnTo>
                  <a:pt x="515" y="253"/>
                </a:lnTo>
                <a:lnTo>
                  <a:pt x="517" y="253"/>
                </a:lnTo>
                <a:lnTo>
                  <a:pt x="521" y="253"/>
                </a:lnTo>
                <a:lnTo>
                  <a:pt x="521" y="252"/>
                </a:lnTo>
                <a:lnTo>
                  <a:pt x="522" y="252"/>
                </a:lnTo>
                <a:lnTo>
                  <a:pt x="522" y="252"/>
                </a:lnTo>
                <a:lnTo>
                  <a:pt x="522" y="250"/>
                </a:lnTo>
                <a:lnTo>
                  <a:pt x="522" y="250"/>
                </a:lnTo>
                <a:lnTo>
                  <a:pt x="522" y="244"/>
                </a:lnTo>
                <a:lnTo>
                  <a:pt x="522" y="242"/>
                </a:lnTo>
                <a:lnTo>
                  <a:pt x="522" y="240"/>
                </a:lnTo>
                <a:lnTo>
                  <a:pt x="524" y="238"/>
                </a:lnTo>
                <a:lnTo>
                  <a:pt x="524" y="236"/>
                </a:lnTo>
                <a:lnTo>
                  <a:pt x="526" y="234"/>
                </a:lnTo>
                <a:lnTo>
                  <a:pt x="526" y="233"/>
                </a:lnTo>
                <a:lnTo>
                  <a:pt x="530" y="231"/>
                </a:lnTo>
                <a:lnTo>
                  <a:pt x="530" y="231"/>
                </a:lnTo>
                <a:lnTo>
                  <a:pt x="530" y="231"/>
                </a:lnTo>
                <a:lnTo>
                  <a:pt x="532" y="229"/>
                </a:lnTo>
                <a:lnTo>
                  <a:pt x="532" y="229"/>
                </a:lnTo>
                <a:lnTo>
                  <a:pt x="532" y="227"/>
                </a:lnTo>
                <a:lnTo>
                  <a:pt x="532" y="227"/>
                </a:lnTo>
                <a:lnTo>
                  <a:pt x="530" y="225"/>
                </a:lnTo>
                <a:lnTo>
                  <a:pt x="530" y="225"/>
                </a:lnTo>
                <a:lnTo>
                  <a:pt x="528" y="225"/>
                </a:lnTo>
                <a:lnTo>
                  <a:pt x="528" y="225"/>
                </a:lnTo>
                <a:lnTo>
                  <a:pt x="524" y="215"/>
                </a:lnTo>
                <a:lnTo>
                  <a:pt x="524" y="213"/>
                </a:lnTo>
                <a:lnTo>
                  <a:pt x="524" y="212"/>
                </a:lnTo>
                <a:lnTo>
                  <a:pt x="528" y="213"/>
                </a:lnTo>
                <a:lnTo>
                  <a:pt x="530" y="213"/>
                </a:lnTo>
                <a:lnTo>
                  <a:pt x="530" y="213"/>
                </a:lnTo>
                <a:lnTo>
                  <a:pt x="530" y="215"/>
                </a:lnTo>
                <a:lnTo>
                  <a:pt x="532" y="217"/>
                </a:lnTo>
                <a:lnTo>
                  <a:pt x="532" y="217"/>
                </a:lnTo>
                <a:lnTo>
                  <a:pt x="532" y="217"/>
                </a:lnTo>
                <a:lnTo>
                  <a:pt x="532" y="217"/>
                </a:lnTo>
                <a:lnTo>
                  <a:pt x="538" y="221"/>
                </a:lnTo>
                <a:lnTo>
                  <a:pt x="540" y="221"/>
                </a:lnTo>
                <a:lnTo>
                  <a:pt x="540" y="219"/>
                </a:lnTo>
                <a:lnTo>
                  <a:pt x="540" y="219"/>
                </a:lnTo>
                <a:lnTo>
                  <a:pt x="540" y="219"/>
                </a:lnTo>
                <a:lnTo>
                  <a:pt x="540" y="219"/>
                </a:lnTo>
                <a:lnTo>
                  <a:pt x="541" y="219"/>
                </a:lnTo>
                <a:lnTo>
                  <a:pt x="541" y="219"/>
                </a:lnTo>
                <a:lnTo>
                  <a:pt x="541" y="217"/>
                </a:lnTo>
                <a:lnTo>
                  <a:pt x="541" y="217"/>
                </a:lnTo>
                <a:lnTo>
                  <a:pt x="543" y="217"/>
                </a:lnTo>
                <a:lnTo>
                  <a:pt x="543" y="217"/>
                </a:lnTo>
                <a:lnTo>
                  <a:pt x="543" y="217"/>
                </a:lnTo>
                <a:lnTo>
                  <a:pt x="545" y="219"/>
                </a:lnTo>
                <a:lnTo>
                  <a:pt x="545" y="219"/>
                </a:lnTo>
                <a:lnTo>
                  <a:pt x="547" y="219"/>
                </a:lnTo>
                <a:lnTo>
                  <a:pt x="547" y="219"/>
                </a:lnTo>
                <a:lnTo>
                  <a:pt x="549" y="219"/>
                </a:lnTo>
                <a:lnTo>
                  <a:pt x="551" y="219"/>
                </a:lnTo>
                <a:lnTo>
                  <a:pt x="557" y="221"/>
                </a:lnTo>
                <a:lnTo>
                  <a:pt x="561" y="223"/>
                </a:lnTo>
                <a:lnTo>
                  <a:pt x="561" y="223"/>
                </a:lnTo>
                <a:lnTo>
                  <a:pt x="562" y="223"/>
                </a:lnTo>
                <a:lnTo>
                  <a:pt x="566" y="223"/>
                </a:lnTo>
                <a:lnTo>
                  <a:pt x="568" y="223"/>
                </a:lnTo>
                <a:lnTo>
                  <a:pt x="570" y="225"/>
                </a:lnTo>
                <a:lnTo>
                  <a:pt x="570" y="225"/>
                </a:lnTo>
                <a:lnTo>
                  <a:pt x="570" y="225"/>
                </a:lnTo>
                <a:lnTo>
                  <a:pt x="572" y="227"/>
                </a:lnTo>
                <a:lnTo>
                  <a:pt x="572" y="227"/>
                </a:lnTo>
                <a:lnTo>
                  <a:pt x="572" y="227"/>
                </a:lnTo>
                <a:lnTo>
                  <a:pt x="572" y="227"/>
                </a:lnTo>
                <a:lnTo>
                  <a:pt x="574" y="234"/>
                </a:lnTo>
                <a:lnTo>
                  <a:pt x="576" y="234"/>
                </a:lnTo>
                <a:lnTo>
                  <a:pt x="576" y="236"/>
                </a:lnTo>
                <a:lnTo>
                  <a:pt x="576" y="236"/>
                </a:lnTo>
                <a:lnTo>
                  <a:pt x="578" y="236"/>
                </a:lnTo>
                <a:lnTo>
                  <a:pt x="580" y="238"/>
                </a:lnTo>
                <a:lnTo>
                  <a:pt x="580" y="238"/>
                </a:lnTo>
                <a:lnTo>
                  <a:pt x="580" y="238"/>
                </a:lnTo>
                <a:lnTo>
                  <a:pt x="580" y="240"/>
                </a:lnTo>
                <a:lnTo>
                  <a:pt x="580" y="240"/>
                </a:lnTo>
                <a:lnTo>
                  <a:pt x="582" y="240"/>
                </a:lnTo>
                <a:lnTo>
                  <a:pt x="583" y="240"/>
                </a:lnTo>
                <a:lnTo>
                  <a:pt x="583" y="242"/>
                </a:lnTo>
                <a:lnTo>
                  <a:pt x="585" y="242"/>
                </a:lnTo>
                <a:lnTo>
                  <a:pt x="585" y="242"/>
                </a:lnTo>
                <a:lnTo>
                  <a:pt x="585" y="242"/>
                </a:lnTo>
                <a:lnTo>
                  <a:pt x="585" y="242"/>
                </a:lnTo>
                <a:lnTo>
                  <a:pt x="587" y="242"/>
                </a:lnTo>
                <a:lnTo>
                  <a:pt x="589" y="242"/>
                </a:lnTo>
                <a:lnTo>
                  <a:pt x="589" y="242"/>
                </a:lnTo>
                <a:lnTo>
                  <a:pt x="591" y="240"/>
                </a:lnTo>
                <a:lnTo>
                  <a:pt x="591" y="238"/>
                </a:lnTo>
                <a:lnTo>
                  <a:pt x="593" y="238"/>
                </a:lnTo>
                <a:lnTo>
                  <a:pt x="593" y="238"/>
                </a:lnTo>
                <a:lnTo>
                  <a:pt x="597" y="236"/>
                </a:lnTo>
                <a:lnTo>
                  <a:pt x="602" y="234"/>
                </a:lnTo>
                <a:lnTo>
                  <a:pt x="602" y="234"/>
                </a:lnTo>
                <a:lnTo>
                  <a:pt x="604" y="234"/>
                </a:lnTo>
                <a:lnTo>
                  <a:pt x="606" y="236"/>
                </a:lnTo>
                <a:lnTo>
                  <a:pt x="606" y="236"/>
                </a:lnTo>
                <a:lnTo>
                  <a:pt x="608" y="236"/>
                </a:lnTo>
                <a:lnTo>
                  <a:pt x="608" y="240"/>
                </a:lnTo>
                <a:lnTo>
                  <a:pt x="610" y="240"/>
                </a:lnTo>
                <a:lnTo>
                  <a:pt x="610" y="240"/>
                </a:lnTo>
                <a:lnTo>
                  <a:pt x="610" y="240"/>
                </a:lnTo>
                <a:lnTo>
                  <a:pt x="620" y="242"/>
                </a:lnTo>
                <a:lnTo>
                  <a:pt x="620" y="242"/>
                </a:lnTo>
                <a:lnTo>
                  <a:pt x="622" y="242"/>
                </a:lnTo>
                <a:lnTo>
                  <a:pt x="622" y="244"/>
                </a:lnTo>
                <a:lnTo>
                  <a:pt x="622" y="246"/>
                </a:lnTo>
                <a:lnTo>
                  <a:pt x="623" y="246"/>
                </a:lnTo>
                <a:lnTo>
                  <a:pt x="623" y="246"/>
                </a:lnTo>
                <a:lnTo>
                  <a:pt x="625" y="246"/>
                </a:lnTo>
                <a:lnTo>
                  <a:pt x="633" y="246"/>
                </a:lnTo>
                <a:lnTo>
                  <a:pt x="633" y="246"/>
                </a:lnTo>
                <a:lnTo>
                  <a:pt x="633" y="246"/>
                </a:lnTo>
                <a:lnTo>
                  <a:pt x="637" y="246"/>
                </a:lnTo>
                <a:lnTo>
                  <a:pt x="637" y="246"/>
                </a:lnTo>
                <a:lnTo>
                  <a:pt x="637" y="248"/>
                </a:lnTo>
                <a:lnTo>
                  <a:pt x="639" y="248"/>
                </a:lnTo>
                <a:lnTo>
                  <a:pt x="639" y="248"/>
                </a:lnTo>
                <a:lnTo>
                  <a:pt x="639" y="248"/>
                </a:lnTo>
                <a:lnTo>
                  <a:pt x="639" y="248"/>
                </a:lnTo>
                <a:lnTo>
                  <a:pt x="641" y="248"/>
                </a:lnTo>
                <a:lnTo>
                  <a:pt x="641" y="248"/>
                </a:lnTo>
                <a:lnTo>
                  <a:pt x="641" y="248"/>
                </a:lnTo>
                <a:lnTo>
                  <a:pt x="642" y="248"/>
                </a:lnTo>
                <a:lnTo>
                  <a:pt x="642" y="248"/>
                </a:lnTo>
                <a:lnTo>
                  <a:pt x="642" y="246"/>
                </a:lnTo>
                <a:lnTo>
                  <a:pt x="642" y="246"/>
                </a:lnTo>
                <a:lnTo>
                  <a:pt x="642" y="244"/>
                </a:lnTo>
                <a:lnTo>
                  <a:pt x="642" y="244"/>
                </a:lnTo>
                <a:lnTo>
                  <a:pt x="644" y="244"/>
                </a:lnTo>
                <a:lnTo>
                  <a:pt x="644" y="242"/>
                </a:lnTo>
                <a:lnTo>
                  <a:pt x="652" y="240"/>
                </a:lnTo>
                <a:lnTo>
                  <a:pt x="652" y="240"/>
                </a:lnTo>
                <a:lnTo>
                  <a:pt x="652" y="240"/>
                </a:lnTo>
                <a:lnTo>
                  <a:pt x="654" y="240"/>
                </a:lnTo>
                <a:lnTo>
                  <a:pt x="660" y="240"/>
                </a:lnTo>
                <a:lnTo>
                  <a:pt x="662" y="242"/>
                </a:lnTo>
                <a:lnTo>
                  <a:pt x="662" y="242"/>
                </a:lnTo>
                <a:lnTo>
                  <a:pt x="663" y="244"/>
                </a:lnTo>
                <a:lnTo>
                  <a:pt x="663" y="246"/>
                </a:lnTo>
                <a:lnTo>
                  <a:pt x="665" y="248"/>
                </a:lnTo>
                <a:lnTo>
                  <a:pt x="665" y="248"/>
                </a:lnTo>
                <a:lnTo>
                  <a:pt x="667" y="248"/>
                </a:lnTo>
                <a:lnTo>
                  <a:pt x="667" y="250"/>
                </a:lnTo>
                <a:lnTo>
                  <a:pt x="667" y="250"/>
                </a:lnTo>
                <a:lnTo>
                  <a:pt x="669" y="250"/>
                </a:lnTo>
                <a:lnTo>
                  <a:pt x="671" y="250"/>
                </a:lnTo>
                <a:lnTo>
                  <a:pt x="671" y="250"/>
                </a:lnTo>
                <a:lnTo>
                  <a:pt x="671" y="250"/>
                </a:lnTo>
                <a:lnTo>
                  <a:pt x="673" y="252"/>
                </a:lnTo>
                <a:lnTo>
                  <a:pt x="673" y="252"/>
                </a:lnTo>
                <a:lnTo>
                  <a:pt x="673" y="253"/>
                </a:lnTo>
                <a:lnTo>
                  <a:pt x="675" y="253"/>
                </a:lnTo>
                <a:lnTo>
                  <a:pt x="675" y="253"/>
                </a:lnTo>
                <a:lnTo>
                  <a:pt x="675" y="255"/>
                </a:lnTo>
                <a:lnTo>
                  <a:pt x="675" y="257"/>
                </a:lnTo>
                <a:lnTo>
                  <a:pt x="675" y="257"/>
                </a:lnTo>
                <a:lnTo>
                  <a:pt x="675" y="259"/>
                </a:lnTo>
                <a:lnTo>
                  <a:pt x="675" y="263"/>
                </a:lnTo>
                <a:lnTo>
                  <a:pt x="675" y="265"/>
                </a:lnTo>
                <a:lnTo>
                  <a:pt x="675" y="265"/>
                </a:lnTo>
                <a:lnTo>
                  <a:pt x="675" y="267"/>
                </a:lnTo>
                <a:lnTo>
                  <a:pt x="675" y="269"/>
                </a:lnTo>
                <a:lnTo>
                  <a:pt x="675" y="271"/>
                </a:lnTo>
                <a:lnTo>
                  <a:pt x="673" y="271"/>
                </a:lnTo>
                <a:lnTo>
                  <a:pt x="673" y="272"/>
                </a:lnTo>
                <a:lnTo>
                  <a:pt x="673" y="272"/>
                </a:lnTo>
                <a:lnTo>
                  <a:pt x="673" y="272"/>
                </a:lnTo>
                <a:lnTo>
                  <a:pt x="673" y="272"/>
                </a:lnTo>
                <a:lnTo>
                  <a:pt x="673" y="274"/>
                </a:lnTo>
                <a:lnTo>
                  <a:pt x="673" y="276"/>
                </a:lnTo>
                <a:lnTo>
                  <a:pt x="673" y="278"/>
                </a:lnTo>
                <a:lnTo>
                  <a:pt x="673" y="280"/>
                </a:lnTo>
                <a:lnTo>
                  <a:pt x="673" y="282"/>
                </a:lnTo>
                <a:lnTo>
                  <a:pt x="671" y="282"/>
                </a:lnTo>
                <a:lnTo>
                  <a:pt x="669" y="286"/>
                </a:lnTo>
                <a:lnTo>
                  <a:pt x="667" y="288"/>
                </a:lnTo>
                <a:lnTo>
                  <a:pt x="665" y="290"/>
                </a:lnTo>
                <a:lnTo>
                  <a:pt x="667" y="293"/>
                </a:lnTo>
                <a:lnTo>
                  <a:pt x="667" y="293"/>
                </a:lnTo>
                <a:lnTo>
                  <a:pt x="673" y="293"/>
                </a:lnTo>
                <a:lnTo>
                  <a:pt x="673" y="295"/>
                </a:lnTo>
                <a:lnTo>
                  <a:pt x="675" y="301"/>
                </a:lnTo>
                <a:lnTo>
                  <a:pt x="675" y="305"/>
                </a:lnTo>
                <a:lnTo>
                  <a:pt x="675" y="309"/>
                </a:lnTo>
                <a:lnTo>
                  <a:pt x="675" y="310"/>
                </a:lnTo>
                <a:lnTo>
                  <a:pt x="675" y="312"/>
                </a:lnTo>
                <a:lnTo>
                  <a:pt x="671" y="314"/>
                </a:lnTo>
                <a:lnTo>
                  <a:pt x="671" y="316"/>
                </a:lnTo>
                <a:lnTo>
                  <a:pt x="677" y="318"/>
                </a:lnTo>
                <a:lnTo>
                  <a:pt x="679" y="320"/>
                </a:lnTo>
                <a:lnTo>
                  <a:pt x="683" y="322"/>
                </a:lnTo>
                <a:lnTo>
                  <a:pt x="684" y="324"/>
                </a:lnTo>
                <a:lnTo>
                  <a:pt x="684" y="324"/>
                </a:lnTo>
                <a:lnTo>
                  <a:pt x="686" y="328"/>
                </a:lnTo>
                <a:lnTo>
                  <a:pt x="686" y="328"/>
                </a:lnTo>
                <a:lnTo>
                  <a:pt x="694" y="328"/>
                </a:lnTo>
                <a:lnTo>
                  <a:pt x="702" y="328"/>
                </a:lnTo>
                <a:lnTo>
                  <a:pt x="702" y="328"/>
                </a:lnTo>
                <a:lnTo>
                  <a:pt x="703" y="326"/>
                </a:lnTo>
                <a:lnTo>
                  <a:pt x="703" y="324"/>
                </a:lnTo>
                <a:lnTo>
                  <a:pt x="703" y="324"/>
                </a:lnTo>
                <a:lnTo>
                  <a:pt x="703" y="322"/>
                </a:lnTo>
                <a:lnTo>
                  <a:pt x="703" y="320"/>
                </a:lnTo>
                <a:lnTo>
                  <a:pt x="703" y="320"/>
                </a:lnTo>
                <a:lnTo>
                  <a:pt x="709" y="316"/>
                </a:lnTo>
                <a:lnTo>
                  <a:pt x="711" y="314"/>
                </a:lnTo>
                <a:lnTo>
                  <a:pt x="711" y="312"/>
                </a:lnTo>
                <a:lnTo>
                  <a:pt x="705" y="307"/>
                </a:lnTo>
                <a:lnTo>
                  <a:pt x="703" y="303"/>
                </a:lnTo>
                <a:lnTo>
                  <a:pt x="703" y="301"/>
                </a:lnTo>
                <a:lnTo>
                  <a:pt x="705" y="297"/>
                </a:lnTo>
                <a:lnTo>
                  <a:pt x="711" y="290"/>
                </a:lnTo>
                <a:lnTo>
                  <a:pt x="713" y="288"/>
                </a:lnTo>
                <a:lnTo>
                  <a:pt x="713" y="286"/>
                </a:lnTo>
                <a:lnTo>
                  <a:pt x="713" y="284"/>
                </a:lnTo>
                <a:lnTo>
                  <a:pt x="715" y="276"/>
                </a:lnTo>
                <a:lnTo>
                  <a:pt x="717" y="274"/>
                </a:lnTo>
                <a:lnTo>
                  <a:pt x="717" y="272"/>
                </a:lnTo>
                <a:lnTo>
                  <a:pt x="719" y="272"/>
                </a:lnTo>
                <a:lnTo>
                  <a:pt x="721" y="272"/>
                </a:lnTo>
                <a:lnTo>
                  <a:pt x="721" y="271"/>
                </a:lnTo>
                <a:lnTo>
                  <a:pt x="723" y="267"/>
                </a:lnTo>
                <a:lnTo>
                  <a:pt x="723" y="267"/>
                </a:lnTo>
                <a:lnTo>
                  <a:pt x="724" y="265"/>
                </a:lnTo>
                <a:lnTo>
                  <a:pt x="726" y="265"/>
                </a:lnTo>
                <a:lnTo>
                  <a:pt x="726" y="265"/>
                </a:lnTo>
                <a:lnTo>
                  <a:pt x="728" y="263"/>
                </a:lnTo>
                <a:lnTo>
                  <a:pt x="728" y="261"/>
                </a:lnTo>
                <a:lnTo>
                  <a:pt x="730" y="261"/>
                </a:lnTo>
                <a:lnTo>
                  <a:pt x="732" y="259"/>
                </a:lnTo>
                <a:lnTo>
                  <a:pt x="734" y="261"/>
                </a:lnTo>
                <a:lnTo>
                  <a:pt x="734" y="265"/>
                </a:lnTo>
                <a:lnTo>
                  <a:pt x="736" y="267"/>
                </a:lnTo>
                <a:lnTo>
                  <a:pt x="738" y="267"/>
                </a:lnTo>
                <a:lnTo>
                  <a:pt x="740" y="267"/>
                </a:lnTo>
                <a:lnTo>
                  <a:pt x="742" y="267"/>
                </a:lnTo>
                <a:lnTo>
                  <a:pt x="743" y="269"/>
                </a:lnTo>
                <a:lnTo>
                  <a:pt x="743" y="271"/>
                </a:lnTo>
                <a:lnTo>
                  <a:pt x="745" y="272"/>
                </a:lnTo>
                <a:lnTo>
                  <a:pt x="745" y="272"/>
                </a:lnTo>
                <a:lnTo>
                  <a:pt x="745" y="272"/>
                </a:lnTo>
                <a:lnTo>
                  <a:pt x="747" y="271"/>
                </a:lnTo>
                <a:lnTo>
                  <a:pt x="747" y="271"/>
                </a:lnTo>
                <a:lnTo>
                  <a:pt x="749" y="269"/>
                </a:lnTo>
                <a:lnTo>
                  <a:pt x="751" y="269"/>
                </a:lnTo>
                <a:lnTo>
                  <a:pt x="755" y="267"/>
                </a:lnTo>
                <a:lnTo>
                  <a:pt x="755" y="265"/>
                </a:lnTo>
                <a:lnTo>
                  <a:pt x="755" y="265"/>
                </a:lnTo>
                <a:lnTo>
                  <a:pt x="755" y="263"/>
                </a:lnTo>
                <a:lnTo>
                  <a:pt x="753" y="261"/>
                </a:lnTo>
                <a:lnTo>
                  <a:pt x="753" y="259"/>
                </a:lnTo>
                <a:lnTo>
                  <a:pt x="753" y="259"/>
                </a:lnTo>
                <a:lnTo>
                  <a:pt x="755" y="259"/>
                </a:lnTo>
                <a:lnTo>
                  <a:pt x="755" y="257"/>
                </a:lnTo>
                <a:lnTo>
                  <a:pt x="757" y="257"/>
                </a:lnTo>
                <a:lnTo>
                  <a:pt x="759" y="257"/>
                </a:lnTo>
                <a:lnTo>
                  <a:pt x="761" y="257"/>
                </a:lnTo>
                <a:lnTo>
                  <a:pt x="761" y="255"/>
                </a:lnTo>
                <a:lnTo>
                  <a:pt x="761" y="253"/>
                </a:lnTo>
                <a:lnTo>
                  <a:pt x="763" y="253"/>
                </a:lnTo>
                <a:lnTo>
                  <a:pt x="761" y="252"/>
                </a:lnTo>
                <a:close/>
              </a:path>
            </a:pathLst>
          </a:custGeom>
          <a:ln>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1" name="Graphic 80" descr="Pin">
            <a:extLst>
              <a:ext uri="{FF2B5EF4-FFF2-40B4-BE49-F238E27FC236}">
                <a16:creationId xmlns:a16="http://schemas.microsoft.com/office/drawing/2014/main" id="{84D79F0A-104C-41E7-A086-E9EB162A90A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5269715" y="4855848"/>
            <a:ext cx="350805" cy="350805"/>
          </a:xfrm>
          <a:prstGeom prst="rect">
            <a:avLst/>
          </a:prstGeom>
          <a:effectLst>
            <a:outerShdw blurRad="76200" dir="13500000" sy="23000" kx="1200000" algn="br" rotWithShape="0">
              <a:prstClr val="black">
                <a:alpha val="20000"/>
              </a:prstClr>
            </a:outerShdw>
          </a:effectLst>
        </p:spPr>
      </p:pic>
      <p:sp>
        <p:nvSpPr>
          <p:cNvPr id="82" name="TextBox 81">
            <a:extLst>
              <a:ext uri="{FF2B5EF4-FFF2-40B4-BE49-F238E27FC236}">
                <a16:creationId xmlns:a16="http://schemas.microsoft.com/office/drawing/2014/main" id="{AC7F59D1-4EAA-423A-BFC4-312A5F4F8512}"/>
              </a:ext>
            </a:extLst>
          </p:cNvPr>
          <p:cNvSpPr txBox="1"/>
          <p:nvPr/>
        </p:nvSpPr>
        <p:spPr>
          <a:xfrm>
            <a:off x="5427018" y="4011717"/>
            <a:ext cx="1371492" cy="769441"/>
          </a:xfrm>
          <a:prstGeom prst="rect">
            <a:avLst/>
          </a:prstGeom>
          <a:noFill/>
        </p:spPr>
        <p:txBody>
          <a:bodyPr wrap="square" rtlCol="0">
            <a:spAutoFit/>
          </a:bodyPr>
          <a:lstStyle/>
          <a:p>
            <a:pPr algn="ctr"/>
            <a:r>
              <a:rPr lang="en-US" sz="1100" b="1" dirty="0">
                <a:latin typeface="Century Gothic" panose="020B0502020202020204" pitchFamily="34" charset="0"/>
              </a:rPr>
              <a:t>CHENNAI</a:t>
            </a:r>
          </a:p>
          <a:p>
            <a:pPr algn="ctr"/>
            <a:r>
              <a:rPr lang="en-US" sz="1100" b="1" dirty="0">
                <a:solidFill>
                  <a:srgbClr val="FF0000"/>
                </a:solidFill>
                <a:latin typeface="Century Gothic" panose="020B0502020202020204" pitchFamily="34" charset="0"/>
              </a:rPr>
              <a:t>2500</a:t>
            </a:r>
          </a:p>
          <a:p>
            <a:pPr algn="ctr"/>
            <a:r>
              <a:rPr lang="en-US" sz="1100" b="1" dirty="0">
                <a:solidFill>
                  <a:srgbClr val="FFFF00"/>
                </a:solidFill>
                <a:latin typeface="Century Gothic" panose="020B0502020202020204" pitchFamily="34" charset="0"/>
              </a:rPr>
              <a:t>1200</a:t>
            </a:r>
          </a:p>
          <a:p>
            <a:pPr algn="ctr"/>
            <a:r>
              <a:rPr lang="en-US" sz="1100" b="1" dirty="0">
                <a:solidFill>
                  <a:srgbClr val="00B050"/>
                </a:solidFill>
                <a:latin typeface="Century Gothic" panose="020B0502020202020204" pitchFamily="34" charset="0"/>
              </a:rPr>
              <a:t>2000</a:t>
            </a:r>
          </a:p>
        </p:txBody>
      </p:sp>
      <p:sp>
        <p:nvSpPr>
          <p:cNvPr id="83" name="Freeform: Shape 82">
            <a:extLst>
              <a:ext uri="{FF2B5EF4-FFF2-40B4-BE49-F238E27FC236}">
                <a16:creationId xmlns:a16="http://schemas.microsoft.com/office/drawing/2014/main" id="{310993CD-F403-4662-852B-226960CA90BA}"/>
              </a:ext>
            </a:extLst>
          </p:cNvPr>
          <p:cNvSpPr/>
          <p:nvPr/>
        </p:nvSpPr>
        <p:spPr>
          <a:xfrm rot="21202637" flipH="1">
            <a:off x="5395723" y="4211428"/>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4" name="Graphic 83" descr="Pin">
            <a:extLst>
              <a:ext uri="{FF2B5EF4-FFF2-40B4-BE49-F238E27FC236}">
                <a16:creationId xmlns:a16="http://schemas.microsoft.com/office/drawing/2014/main" id="{D1B6B93D-95BD-497B-B8A3-C630B06F3DD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4700755" y="4429128"/>
            <a:ext cx="350805" cy="350805"/>
          </a:xfrm>
          <a:prstGeom prst="rect">
            <a:avLst/>
          </a:prstGeom>
          <a:effectLst>
            <a:outerShdw blurRad="76200" dir="13500000" sy="23000" kx="1200000" algn="br" rotWithShape="0">
              <a:prstClr val="black">
                <a:alpha val="20000"/>
              </a:prstClr>
            </a:outerShdw>
          </a:effectLst>
        </p:spPr>
      </p:pic>
      <p:sp>
        <p:nvSpPr>
          <p:cNvPr id="85" name="TextBox 84">
            <a:extLst>
              <a:ext uri="{FF2B5EF4-FFF2-40B4-BE49-F238E27FC236}">
                <a16:creationId xmlns:a16="http://schemas.microsoft.com/office/drawing/2014/main" id="{8626D9C1-5C4F-424D-8C5A-A3C031FCD954}"/>
              </a:ext>
            </a:extLst>
          </p:cNvPr>
          <p:cNvSpPr txBox="1"/>
          <p:nvPr/>
        </p:nvSpPr>
        <p:spPr>
          <a:xfrm>
            <a:off x="2897113" y="4170682"/>
            <a:ext cx="1371492" cy="769441"/>
          </a:xfrm>
          <a:prstGeom prst="rect">
            <a:avLst/>
          </a:prstGeom>
          <a:noFill/>
        </p:spPr>
        <p:txBody>
          <a:bodyPr wrap="square" rtlCol="0">
            <a:spAutoFit/>
          </a:bodyPr>
          <a:lstStyle/>
          <a:p>
            <a:pPr algn="ctr"/>
            <a:r>
              <a:rPr lang="en-US" sz="1100" b="1" dirty="0">
                <a:latin typeface="Century Gothic" panose="020B0502020202020204" pitchFamily="34" charset="0"/>
              </a:rPr>
              <a:t>BANGALORE</a:t>
            </a:r>
          </a:p>
          <a:p>
            <a:pPr algn="ctr"/>
            <a:r>
              <a:rPr lang="en-US" sz="1100" b="1" dirty="0">
                <a:solidFill>
                  <a:srgbClr val="FF0000"/>
                </a:solidFill>
                <a:latin typeface="Century Gothic" panose="020B0502020202020204" pitchFamily="34" charset="0"/>
              </a:rPr>
              <a:t>3500</a:t>
            </a:r>
          </a:p>
          <a:p>
            <a:pPr algn="ctr"/>
            <a:r>
              <a:rPr lang="en-US" sz="1100" b="1" dirty="0">
                <a:solidFill>
                  <a:srgbClr val="FFFF00"/>
                </a:solidFill>
                <a:latin typeface="Century Gothic" panose="020B0502020202020204" pitchFamily="34" charset="0"/>
              </a:rPr>
              <a:t>750</a:t>
            </a:r>
          </a:p>
          <a:p>
            <a:pPr algn="ctr"/>
            <a:r>
              <a:rPr lang="en-US" sz="1100" b="1" dirty="0">
                <a:solidFill>
                  <a:srgbClr val="00B050"/>
                </a:solidFill>
                <a:latin typeface="Century Gothic" panose="020B0502020202020204" pitchFamily="34" charset="0"/>
              </a:rPr>
              <a:t>50000</a:t>
            </a:r>
          </a:p>
        </p:txBody>
      </p:sp>
      <p:sp>
        <p:nvSpPr>
          <p:cNvPr id="86" name="Freeform: Shape 85">
            <a:extLst>
              <a:ext uri="{FF2B5EF4-FFF2-40B4-BE49-F238E27FC236}">
                <a16:creationId xmlns:a16="http://schemas.microsoft.com/office/drawing/2014/main" id="{E0F89223-98E4-4171-BFA8-FE827096C049}"/>
              </a:ext>
            </a:extLst>
          </p:cNvPr>
          <p:cNvSpPr/>
          <p:nvPr/>
        </p:nvSpPr>
        <p:spPr>
          <a:xfrm rot="19138525">
            <a:off x="4337079" y="4045971"/>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7" name="Graphic 86" descr="Pin">
            <a:extLst>
              <a:ext uri="{FF2B5EF4-FFF2-40B4-BE49-F238E27FC236}">
                <a16:creationId xmlns:a16="http://schemas.microsoft.com/office/drawing/2014/main" id="{B48DC587-1B5B-44CC-9100-B661D053EA5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6580355" y="3159128"/>
            <a:ext cx="350805" cy="350805"/>
          </a:xfrm>
          <a:prstGeom prst="rect">
            <a:avLst/>
          </a:prstGeom>
          <a:effectLst>
            <a:outerShdw blurRad="76200" dir="13500000" sy="23000" kx="1200000" algn="br" rotWithShape="0">
              <a:prstClr val="black">
                <a:alpha val="20000"/>
              </a:prstClr>
            </a:outerShdw>
          </a:effectLst>
        </p:spPr>
      </p:pic>
      <p:sp>
        <p:nvSpPr>
          <p:cNvPr id="88" name="TextBox 87">
            <a:extLst>
              <a:ext uri="{FF2B5EF4-FFF2-40B4-BE49-F238E27FC236}">
                <a16:creationId xmlns:a16="http://schemas.microsoft.com/office/drawing/2014/main" id="{E02FB121-775D-4626-9837-D6963D4F1642}"/>
              </a:ext>
            </a:extLst>
          </p:cNvPr>
          <p:cNvSpPr txBox="1"/>
          <p:nvPr/>
        </p:nvSpPr>
        <p:spPr>
          <a:xfrm>
            <a:off x="6737658" y="2314997"/>
            <a:ext cx="1371492" cy="769441"/>
          </a:xfrm>
          <a:prstGeom prst="rect">
            <a:avLst/>
          </a:prstGeom>
          <a:noFill/>
        </p:spPr>
        <p:txBody>
          <a:bodyPr wrap="square" rtlCol="0">
            <a:spAutoFit/>
          </a:bodyPr>
          <a:lstStyle/>
          <a:p>
            <a:pPr algn="ctr"/>
            <a:r>
              <a:rPr lang="en-US" sz="1100" b="1" dirty="0">
                <a:latin typeface="Century Gothic" panose="020B0502020202020204" pitchFamily="34" charset="0"/>
              </a:rPr>
              <a:t>KOLKATA</a:t>
            </a:r>
          </a:p>
          <a:p>
            <a:pPr algn="ctr"/>
            <a:r>
              <a:rPr lang="en-US" sz="1100" b="1" dirty="0">
                <a:solidFill>
                  <a:srgbClr val="FF0000"/>
                </a:solidFill>
                <a:latin typeface="Century Gothic" panose="020B0502020202020204" pitchFamily="34" charset="0"/>
              </a:rPr>
              <a:t>1600</a:t>
            </a:r>
          </a:p>
          <a:p>
            <a:pPr algn="ctr"/>
            <a:r>
              <a:rPr lang="en-US" sz="1100" b="1" dirty="0">
                <a:solidFill>
                  <a:srgbClr val="FFFF00"/>
                </a:solidFill>
                <a:latin typeface="Century Gothic" panose="020B0502020202020204" pitchFamily="34" charset="0"/>
              </a:rPr>
              <a:t>NA</a:t>
            </a:r>
          </a:p>
          <a:p>
            <a:pPr algn="ctr"/>
            <a:r>
              <a:rPr lang="en-US" sz="1100" b="1" dirty="0">
                <a:solidFill>
                  <a:srgbClr val="00B050"/>
                </a:solidFill>
                <a:latin typeface="Century Gothic" panose="020B0502020202020204" pitchFamily="34" charset="0"/>
              </a:rPr>
              <a:t>50000</a:t>
            </a:r>
          </a:p>
        </p:txBody>
      </p:sp>
      <p:sp>
        <p:nvSpPr>
          <p:cNvPr id="89" name="Freeform: Shape 88">
            <a:extLst>
              <a:ext uri="{FF2B5EF4-FFF2-40B4-BE49-F238E27FC236}">
                <a16:creationId xmlns:a16="http://schemas.microsoft.com/office/drawing/2014/main" id="{755CF7A5-A2A1-4752-AACA-9A60A68D63BB}"/>
              </a:ext>
            </a:extLst>
          </p:cNvPr>
          <p:cNvSpPr/>
          <p:nvPr/>
        </p:nvSpPr>
        <p:spPr>
          <a:xfrm rot="21202637" flipH="1">
            <a:off x="6706363" y="2514708"/>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0" name="Graphic 89" descr="Pin">
            <a:extLst>
              <a:ext uri="{FF2B5EF4-FFF2-40B4-BE49-F238E27FC236}">
                <a16:creationId xmlns:a16="http://schemas.microsoft.com/office/drawing/2014/main" id="{A70684B9-6B64-4F1F-9469-434A2F8325A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4218632" y="3702138"/>
            <a:ext cx="350805" cy="350805"/>
          </a:xfrm>
          <a:prstGeom prst="rect">
            <a:avLst/>
          </a:prstGeom>
          <a:effectLst>
            <a:outerShdw blurRad="76200" dir="13500000" sy="23000" kx="1200000" algn="br" rotWithShape="0">
              <a:prstClr val="black">
                <a:alpha val="20000"/>
              </a:prstClr>
            </a:outerShdw>
          </a:effectLst>
        </p:spPr>
      </p:pic>
      <p:sp>
        <p:nvSpPr>
          <p:cNvPr id="91" name="TextBox 90">
            <a:extLst>
              <a:ext uri="{FF2B5EF4-FFF2-40B4-BE49-F238E27FC236}">
                <a16:creationId xmlns:a16="http://schemas.microsoft.com/office/drawing/2014/main" id="{DEDC90DF-5C9E-431E-A32C-252B05CCBE03}"/>
              </a:ext>
            </a:extLst>
          </p:cNvPr>
          <p:cNvSpPr txBox="1"/>
          <p:nvPr/>
        </p:nvSpPr>
        <p:spPr>
          <a:xfrm>
            <a:off x="2690924" y="3180003"/>
            <a:ext cx="1371492" cy="769441"/>
          </a:xfrm>
          <a:prstGeom prst="rect">
            <a:avLst/>
          </a:prstGeom>
          <a:noFill/>
        </p:spPr>
        <p:txBody>
          <a:bodyPr wrap="square" rtlCol="0">
            <a:spAutoFit/>
          </a:bodyPr>
          <a:lstStyle/>
          <a:p>
            <a:pPr algn="ctr"/>
            <a:r>
              <a:rPr lang="en-US" sz="1100" b="1" dirty="0">
                <a:latin typeface="Century Gothic" panose="020B0502020202020204" pitchFamily="34" charset="0"/>
              </a:rPr>
              <a:t>MUMBAI</a:t>
            </a:r>
          </a:p>
          <a:p>
            <a:pPr algn="ctr"/>
            <a:r>
              <a:rPr lang="en-US" sz="1100" b="1" dirty="0">
                <a:solidFill>
                  <a:srgbClr val="FF0000"/>
                </a:solidFill>
                <a:latin typeface="Century Gothic" panose="020B0502020202020204" pitchFamily="34" charset="0"/>
              </a:rPr>
              <a:t>2500</a:t>
            </a:r>
          </a:p>
          <a:p>
            <a:pPr algn="ctr"/>
            <a:r>
              <a:rPr lang="en-US" sz="1100" b="1" dirty="0">
                <a:solidFill>
                  <a:srgbClr val="FFFF00"/>
                </a:solidFill>
                <a:latin typeface="Century Gothic" panose="020B0502020202020204" pitchFamily="34" charset="0"/>
              </a:rPr>
              <a:t>1200</a:t>
            </a:r>
          </a:p>
          <a:p>
            <a:pPr algn="ctr"/>
            <a:r>
              <a:rPr lang="en-US" sz="1100" b="1" dirty="0">
                <a:solidFill>
                  <a:srgbClr val="00B050"/>
                </a:solidFill>
                <a:latin typeface="Century Gothic" panose="020B0502020202020204" pitchFamily="34" charset="0"/>
              </a:rPr>
              <a:t>1000</a:t>
            </a:r>
          </a:p>
        </p:txBody>
      </p:sp>
      <p:sp>
        <p:nvSpPr>
          <p:cNvPr id="92" name="Freeform: Shape 91">
            <a:extLst>
              <a:ext uri="{FF2B5EF4-FFF2-40B4-BE49-F238E27FC236}">
                <a16:creationId xmlns:a16="http://schemas.microsoft.com/office/drawing/2014/main" id="{9CA18FE7-A134-48A6-83EA-38DAFA2A31E9}"/>
              </a:ext>
            </a:extLst>
          </p:cNvPr>
          <p:cNvSpPr/>
          <p:nvPr/>
        </p:nvSpPr>
        <p:spPr>
          <a:xfrm rot="20045675">
            <a:off x="3930885" y="3202536"/>
            <a:ext cx="317048" cy="649857"/>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Graphic 92" descr="Pin">
            <a:extLst>
              <a:ext uri="{FF2B5EF4-FFF2-40B4-BE49-F238E27FC236}">
                <a16:creationId xmlns:a16="http://schemas.microsoft.com/office/drawing/2014/main" id="{BA3A4C2D-FDFB-48DA-A4BC-641B6917BD4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5101604" y="3914738"/>
            <a:ext cx="350805" cy="350805"/>
          </a:xfrm>
          <a:prstGeom prst="rect">
            <a:avLst/>
          </a:prstGeom>
          <a:effectLst>
            <a:outerShdw blurRad="76200" dir="13500000" sy="23000" kx="1200000" algn="br" rotWithShape="0">
              <a:prstClr val="black">
                <a:alpha val="20000"/>
              </a:prstClr>
            </a:outerShdw>
          </a:effectLst>
        </p:spPr>
      </p:pic>
      <p:sp>
        <p:nvSpPr>
          <p:cNvPr id="94" name="TextBox 93">
            <a:extLst>
              <a:ext uri="{FF2B5EF4-FFF2-40B4-BE49-F238E27FC236}">
                <a16:creationId xmlns:a16="http://schemas.microsoft.com/office/drawing/2014/main" id="{5057758A-2CA7-4B15-A7F8-70E600BC39A5}"/>
              </a:ext>
            </a:extLst>
          </p:cNvPr>
          <p:cNvSpPr txBox="1"/>
          <p:nvPr/>
        </p:nvSpPr>
        <p:spPr>
          <a:xfrm>
            <a:off x="5390078" y="2795282"/>
            <a:ext cx="1371492" cy="769441"/>
          </a:xfrm>
          <a:prstGeom prst="rect">
            <a:avLst/>
          </a:prstGeom>
          <a:noFill/>
        </p:spPr>
        <p:txBody>
          <a:bodyPr wrap="square" rtlCol="0">
            <a:spAutoFit/>
          </a:bodyPr>
          <a:lstStyle/>
          <a:p>
            <a:pPr algn="ctr"/>
            <a:r>
              <a:rPr lang="en-US" sz="1100" b="1" dirty="0">
                <a:latin typeface="Century Gothic" panose="020B0502020202020204" pitchFamily="34" charset="0"/>
              </a:rPr>
              <a:t>HYDERABAD</a:t>
            </a:r>
          </a:p>
          <a:p>
            <a:pPr algn="ctr"/>
            <a:r>
              <a:rPr lang="en-US" sz="1100" b="1" dirty="0">
                <a:solidFill>
                  <a:srgbClr val="FF0000"/>
                </a:solidFill>
                <a:latin typeface="Century Gothic" panose="020B0502020202020204" pitchFamily="34" charset="0"/>
              </a:rPr>
              <a:t>5000</a:t>
            </a:r>
          </a:p>
          <a:p>
            <a:pPr algn="ctr"/>
            <a:r>
              <a:rPr lang="en-US" sz="1100" b="1" dirty="0">
                <a:solidFill>
                  <a:srgbClr val="FFFF00"/>
                </a:solidFill>
                <a:latin typeface="Century Gothic" panose="020B0502020202020204" pitchFamily="34" charset="0"/>
              </a:rPr>
              <a:t>300</a:t>
            </a:r>
          </a:p>
          <a:p>
            <a:pPr algn="ctr"/>
            <a:r>
              <a:rPr lang="en-US" sz="1100" b="1" dirty="0">
                <a:solidFill>
                  <a:srgbClr val="00B050"/>
                </a:solidFill>
                <a:latin typeface="Century Gothic" panose="020B0502020202020204" pitchFamily="34" charset="0"/>
              </a:rPr>
              <a:t>5000</a:t>
            </a:r>
          </a:p>
        </p:txBody>
      </p:sp>
      <p:sp>
        <p:nvSpPr>
          <p:cNvPr id="95" name="Freeform: Shape 94">
            <a:extLst>
              <a:ext uri="{FF2B5EF4-FFF2-40B4-BE49-F238E27FC236}">
                <a16:creationId xmlns:a16="http://schemas.microsoft.com/office/drawing/2014/main" id="{17116AE1-EC1D-4144-9679-370745B98147}"/>
              </a:ext>
            </a:extLst>
          </p:cNvPr>
          <p:cNvSpPr/>
          <p:nvPr/>
        </p:nvSpPr>
        <p:spPr>
          <a:xfrm rot="21202637" flipH="1">
            <a:off x="5215485" y="3060751"/>
            <a:ext cx="423078" cy="873251"/>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0185E530-1E6F-4BAD-9AD8-1EF96005D0B3}"/>
              </a:ext>
            </a:extLst>
          </p:cNvPr>
          <p:cNvGrpSpPr/>
          <p:nvPr/>
        </p:nvGrpSpPr>
        <p:grpSpPr>
          <a:xfrm>
            <a:off x="439060" y="847618"/>
            <a:ext cx="2825750" cy="1345287"/>
            <a:chOff x="914400" y="1663700"/>
            <a:chExt cx="2825750" cy="1345287"/>
          </a:xfrm>
        </p:grpSpPr>
        <p:sp>
          <p:nvSpPr>
            <p:cNvPr id="22" name="TextBox 21">
              <a:extLst>
                <a:ext uri="{FF2B5EF4-FFF2-40B4-BE49-F238E27FC236}">
                  <a16:creationId xmlns:a16="http://schemas.microsoft.com/office/drawing/2014/main" id="{EC940199-06AA-41EE-93D0-1A4D860512FC}"/>
                </a:ext>
              </a:extLst>
            </p:cNvPr>
            <p:cNvSpPr txBox="1"/>
            <p:nvPr/>
          </p:nvSpPr>
          <p:spPr>
            <a:xfrm>
              <a:off x="914400" y="2578100"/>
              <a:ext cx="2825750" cy="430887"/>
            </a:xfrm>
            <a:prstGeom prst="rect">
              <a:avLst/>
            </a:prstGeom>
            <a:noFill/>
          </p:spPr>
          <p:txBody>
            <a:bodyPr wrap="square" lIns="0" tIns="0" rIns="0" bIns="0" rtlCol="0">
              <a:spAutoFit/>
            </a:bodyPr>
            <a:lstStyle/>
            <a:p>
              <a:pPr algn="l"/>
              <a:r>
                <a:rPr lang="en-US" sz="1400" kern="0" dirty="0"/>
                <a:t>C And D Plants All Over India.</a:t>
              </a:r>
            </a:p>
            <a:p>
              <a:pPr algn="l"/>
              <a:endParaRPr lang="en-US" sz="1400" kern="0" dirty="0"/>
            </a:p>
          </p:txBody>
        </p:sp>
        <p:sp>
          <p:nvSpPr>
            <p:cNvPr id="23" name="TextBox 22">
              <a:extLst>
                <a:ext uri="{FF2B5EF4-FFF2-40B4-BE49-F238E27FC236}">
                  <a16:creationId xmlns:a16="http://schemas.microsoft.com/office/drawing/2014/main" id="{C686C00B-FF4C-4E94-AAA2-9BEF2C46D01E}"/>
                </a:ext>
              </a:extLst>
            </p:cNvPr>
            <p:cNvSpPr txBox="1"/>
            <p:nvPr/>
          </p:nvSpPr>
          <p:spPr>
            <a:xfrm>
              <a:off x="914400" y="1663700"/>
              <a:ext cx="2825750" cy="492443"/>
            </a:xfrm>
            <a:prstGeom prst="rect">
              <a:avLst/>
            </a:prstGeom>
            <a:noFill/>
          </p:spPr>
          <p:txBody>
            <a:bodyPr wrap="square" lIns="0" tIns="0" rIns="0" bIns="0" rtlCol="0">
              <a:spAutoFit/>
            </a:bodyPr>
            <a:lstStyle/>
            <a:p>
              <a:pPr algn="l"/>
              <a:r>
                <a:rPr lang="en-US" sz="3200" kern="0" dirty="0">
                  <a:solidFill>
                    <a:schemeClr val="accent1"/>
                  </a:solidFill>
                </a:rPr>
                <a:t>India</a:t>
              </a:r>
            </a:p>
          </p:txBody>
        </p:sp>
      </p:grpSp>
      <p:pic>
        <p:nvPicPr>
          <p:cNvPr id="24" name="Graphic 23" descr="Pin">
            <a:extLst>
              <a:ext uri="{FF2B5EF4-FFF2-40B4-BE49-F238E27FC236}">
                <a16:creationId xmlns:a16="http://schemas.microsoft.com/office/drawing/2014/main" id="{89C9FDB3-474A-49B6-B67E-7A74BFE5479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4381936" y="3738970"/>
            <a:ext cx="350805" cy="350805"/>
          </a:xfrm>
          <a:prstGeom prst="rect">
            <a:avLst/>
          </a:prstGeom>
          <a:effectLst>
            <a:outerShdw blurRad="76200" dir="13500000" sy="23000" kx="1200000" algn="br" rotWithShape="0">
              <a:prstClr val="black">
                <a:alpha val="20000"/>
              </a:prstClr>
            </a:outerShdw>
          </a:effectLst>
        </p:spPr>
      </p:pic>
      <p:sp>
        <p:nvSpPr>
          <p:cNvPr id="25" name="TextBox 24">
            <a:extLst>
              <a:ext uri="{FF2B5EF4-FFF2-40B4-BE49-F238E27FC236}">
                <a16:creationId xmlns:a16="http://schemas.microsoft.com/office/drawing/2014/main" id="{6ACD27C8-C659-4049-8D15-9F397B04C655}"/>
              </a:ext>
            </a:extLst>
          </p:cNvPr>
          <p:cNvSpPr txBox="1"/>
          <p:nvPr/>
        </p:nvSpPr>
        <p:spPr>
          <a:xfrm>
            <a:off x="4321864" y="2871383"/>
            <a:ext cx="1371492" cy="769441"/>
          </a:xfrm>
          <a:prstGeom prst="rect">
            <a:avLst/>
          </a:prstGeom>
          <a:noFill/>
        </p:spPr>
        <p:txBody>
          <a:bodyPr wrap="square" rtlCol="0">
            <a:spAutoFit/>
          </a:bodyPr>
          <a:lstStyle/>
          <a:p>
            <a:pPr algn="ctr"/>
            <a:r>
              <a:rPr lang="en-US" sz="1100" b="1" dirty="0">
                <a:latin typeface="Century Gothic" panose="020B0502020202020204" pitchFamily="34" charset="0"/>
              </a:rPr>
              <a:t>PUNE</a:t>
            </a:r>
          </a:p>
          <a:p>
            <a:pPr algn="ctr"/>
            <a:r>
              <a:rPr lang="en-US" sz="1100" b="1" dirty="0">
                <a:solidFill>
                  <a:srgbClr val="FF0000"/>
                </a:solidFill>
                <a:latin typeface="Century Gothic" panose="020B0502020202020204" pitchFamily="34" charset="0"/>
              </a:rPr>
              <a:t>300</a:t>
            </a:r>
          </a:p>
          <a:p>
            <a:pPr algn="ctr"/>
            <a:r>
              <a:rPr lang="en-US" sz="1100" b="1" dirty="0">
                <a:solidFill>
                  <a:srgbClr val="FFFF00"/>
                </a:solidFill>
                <a:latin typeface="Century Gothic" panose="020B0502020202020204" pitchFamily="34" charset="0"/>
              </a:rPr>
              <a:t>125</a:t>
            </a:r>
          </a:p>
          <a:p>
            <a:pPr algn="ctr"/>
            <a:r>
              <a:rPr lang="en-US" sz="1100" b="1" dirty="0">
                <a:solidFill>
                  <a:srgbClr val="00B050"/>
                </a:solidFill>
                <a:latin typeface="Century Gothic" panose="020B0502020202020204" pitchFamily="34" charset="0"/>
              </a:rPr>
              <a:t>25000</a:t>
            </a:r>
          </a:p>
        </p:txBody>
      </p:sp>
      <p:sp>
        <p:nvSpPr>
          <p:cNvPr id="26" name="Freeform: Shape 25">
            <a:extLst>
              <a:ext uri="{FF2B5EF4-FFF2-40B4-BE49-F238E27FC236}">
                <a16:creationId xmlns:a16="http://schemas.microsoft.com/office/drawing/2014/main" id="{A7A35DC5-F1E9-4061-B7FD-03EBE51E968B}"/>
              </a:ext>
            </a:extLst>
          </p:cNvPr>
          <p:cNvSpPr/>
          <p:nvPr/>
        </p:nvSpPr>
        <p:spPr>
          <a:xfrm rot="21447720" flipH="1">
            <a:off x="4530056" y="3024973"/>
            <a:ext cx="219505" cy="712701"/>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phic 26" descr="Pin">
            <a:extLst>
              <a:ext uri="{FF2B5EF4-FFF2-40B4-BE49-F238E27FC236}">
                <a16:creationId xmlns:a16="http://schemas.microsoft.com/office/drawing/2014/main" id="{1A8D4A9E-C7D5-4F78-BA79-C68BF86F939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4936644" y="2355674"/>
            <a:ext cx="350805" cy="350805"/>
          </a:xfrm>
          <a:prstGeom prst="rect">
            <a:avLst/>
          </a:prstGeom>
          <a:effectLst>
            <a:outerShdw blurRad="76200" dir="13500000" sy="23000" kx="1200000" algn="br" rotWithShape="0">
              <a:prstClr val="black">
                <a:alpha val="20000"/>
              </a:prstClr>
            </a:outerShdw>
          </a:effectLst>
        </p:spPr>
      </p:pic>
      <p:sp>
        <p:nvSpPr>
          <p:cNvPr id="28" name="TextBox 27">
            <a:extLst>
              <a:ext uri="{FF2B5EF4-FFF2-40B4-BE49-F238E27FC236}">
                <a16:creationId xmlns:a16="http://schemas.microsoft.com/office/drawing/2014/main" id="{160E5DA3-D8BD-419D-8AA2-DAD66A7F2251}"/>
              </a:ext>
            </a:extLst>
          </p:cNvPr>
          <p:cNvSpPr txBox="1"/>
          <p:nvPr/>
        </p:nvSpPr>
        <p:spPr>
          <a:xfrm>
            <a:off x="5063641" y="1599022"/>
            <a:ext cx="1371492" cy="769441"/>
          </a:xfrm>
          <a:prstGeom prst="rect">
            <a:avLst/>
          </a:prstGeom>
          <a:noFill/>
        </p:spPr>
        <p:txBody>
          <a:bodyPr wrap="square" rtlCol="0">
            <a:spAutoFit/>
          </a:bodyPr>
          <a:lstStyle/>
          <a:p>
            <a:pPr algn="ctr"/>
            <a:r>
              <a:rPr lang="en-US" sz="1100" b="1" dirty="0">
                <a:latin typeface="Century Gothic" panose="020B0502020202020204" pitchFamily="34" charset="0"/>
              </a:rPr>
              <a:t>DELHI</a:t>
            </a:r>
          </a:p>
          <a:p>
            <a:pPr algn="ctr"/>
            <a:r>
              <a:rPr lang="en-US" sz="1100" b="1" dirty="0">
                <a:solidFill>
                  <a:srgbClr val="FF0000"/>
                </a:solidFill>
                <a:latin typeface="Century Gothic" panose="020B0502020202020204" pitchFamily="34" charset="0"/>
              </a:rPr>
              <a:t>7000</a:t>
            </a:r>
          </a:p>
          <a:p>
            <a:pPr algn="ctr"/>
            <a:r>
              <a:rPr lang="en-US" sz="1100" b="1" dirty="0">
                <a:solidFill>
                  <a:srgbClr val="FFFF00"/>
                </a:solidFill>
                <a:latin typeface="Century Gothic" panose="020B0502020202020204" pitchFamily="34" charset="0"/>
              </a:rPr>
              <a:t>4150</a:t>
            </a:r>
          </a:p>
          <a:p>
            <a:pPr algn="ctr"/>
            <a:r>
              <a:rPr lang="en-US" sz="1100" b="1" dirty="0">
                <a:solidFill>
                  <a:srgbClr val="00B050"/>
                </a:solidFill>
                <a:latin typeface="Century Gothic" panose="020B0502020202020204" pitchFamily="34" charset="0"/>
              </a:rPr>
              <a:t>5000</a:t>
            </a:r>
          </a:p>
        </p:txBody>
      </p:sp>
      <p:sp>
        <p:nvSpPr>
          <p:cNvPr id="29" name="Freeform: Shape 28">
            <a:extLst>
              <a:ext uri="{FF2B5EF4-FFF2-40B4-BE49-F238E27FC236}">
                <a16:creationId xmlns:a16="http://schemas.microsoft.com/office/drawing/2014/main" id="{88DDE6F6-F666-43BA-AD7B-708DFDFD2443}"/>
              </a:ext>
            </a:extLst>
          </p:cNvPr>
          <p:cNvSpPr/>
          <p:nvPr/>
        </p:nvSpPr>
        <p:spPr>
          <a:xfrm rot="21202637" flipH="1">
            <a:off x="5068546" y="1770727"/>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descr="Pin">
            <a:extLst>
              <a:ext uri="{FF2B5EF4-FFF2-40B4-BE49-F238E27FC236}">
                <a16:creationId xmlns:a16="http://schemas.microsoft.com/office/drawing/2014/main" id="{D6F346F1-F2B8-4C34-AC49-8EEA0A3ACD5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4777960" y="2234694"/>
            <a:ext cx="350805" cy="350805"/>
          </a:xfrm>
          <a:prstGeom prst="rect">
            <a:avLst/>
          </a:prstGeom>
          <a:effectLst>
            <a:outerShdw blurRad="76200" dir="13500000" sy="23000" kx="1200000" algn="br" rotWithShape="0">
              <a:prstClr val="black">
                <a:alpha val="20000"/>
              </a:prstClr>
            </a:outerShdw>
          </a:effectLst>
        </p:spPr>
      </p:pic>
      <p:sp>
        <p:nvSpPr>
          <p:cNvPr id="31" name="TextBox 30">
            <a:extLst>
              <a:ext uri="{FF2B5EF4-FFF2-40B4-BE49-F238E27FC236}">
                <a16:creationId xmlns:a16="http://schemas.microsoft.com/office/drawing/2014/main" id="{D57CAF25-F540-4DEA-ADED-CA0C29062E17}"/>
              </a:ext>
            </a:extLst>
          </p:cNvPr>
          <p:cNvSpPr txBox="1"/>
          <p:nvPr/>
        </p:nvSpPr>
        <p:spPr>
          <a:xfrm>
            <a:off x="3486297" y="1365036"/>
            <a:ext cx="1371492" cy="769441"/>
          </a:xfrm>
          <a:prstGeom prst="rect">
            <a:avLst/>
          </a:prstGeom>
          <a:noFill/>
        </p:spPr>
        <p:txBody>
          <a:bodyPr wrap="square" rtlCol="0">
            <a:spAutoFit/>
          </a:bodyPr>
          <a:lstStyle/>
          <a:p>
            <a:pPr algn="ctr"/>
            <a:r>
              <a:rPr lang="en-US" sz="1100" b="1" dirty="0">
                <a:latin typeface="Century Gothic" panose="020B0502020202020204" pitchFamily="34" charset="0"/>
              </a:rPr>
              <a:t>GURUGRAM</a:t>
            </a:r>
          </a:p>
          <a:p>
            <a:pPr algn="ctr"/>
            <a:r>
              <a:rPr lang="en-US" sz="1100" b="1" dirty="0">
                <a:solidFill>
                  <a:srgbClr val="FF0000"/>
                </a:solidFill>
                <a:latin typeface="Century Gothic" panose="020B0502020202020204" pitchFamily="34" charset="0"/>
              </a:rPr>
              <a:t>800</a:t>
            </a:r>
          </a:p>
          <a:p>
            <a:pPr algn="ctr"/>
            <a:r>
              <a:rPr lang="en-US" sz="1100" b="1" dirty="0">
                <a:solidFill>
                  <a:srgbClr val="FFFF00"/>
                </a:solidFill>
                <a:latin typeface="Century Gothic" panose="020B0502020202020204" pitchFamily="34" charset="0"/>
              </a:rPr>
              <a:t>300</a:t>
            </a:r>
          </a:p>
          <a:p>
            <a:pPr algn="ctr"/>
            <a:r>
              <a:rPr lang="en-US" sz="1100" b="1" dirty="0">
                <a:solidFill>
                  <a:schemeClr val="accent3"/>
                </a:solidFill>
                <a:latin typeface="Century Gothic" panose="020B0502020202020204" pitchFamily="34" charset="0"/>
              </a:rPr>
              <a:t>5000</a:t>
            </a:r>
          </a:p>
        </p:txBody>
      </p:sp>
      <p:sp>
        <p:nvSpPr>
          <p:cNvPr id="32" name="Freeform: Shape 31">
            <a:extLst>
              <a:ext uri="{FF2B5EF4-FFF2-40B4-BE49-F238E27FC236}">
                <a16:creationId xmlns:a16="http://schemas.microsoft.com/office/drawing/2014/main" id="{A53CFD34-2A42-4D1C-A209-8AF837E6A72A}"/>
              </a:ext>
            </a:extLst>
          </p:cNvPr>
          <p:cNvSpPr/>
          <p:nvPr/>
        </p:nvSpPr>
        <p:spPr>
          <a:xfrm rot="397363">
            <a:off x="4617629" y="1564904"/>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phic 32" descr="Pin">
            <a:extLst>
              <a:ext uri="{FF2B5EF4-FFF2-40B4-BE49-F238E27FC236}">
                <a16:creationId xmlns:a16="http://schemas.microsoft.com/office/drawing/2014/main" id="{5FDCC623-E1BD-41F9-85C4-4A27AD17C56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18888">
            <a:off x="4157363" y="3160091"/>
            <a:ext cx="350805" cy="350805"/>
          </a:xfrm>
          <a:prstGeom prst="rect">
            <a:avLst/>
          </a:prstGeom>
          <a:effectLst>
            <a:outerShdw blurRad="76200" dir="13500000" sy="23000" kx="1200000" algn="br" rotWithShape="0">
              <a:prstClr val="black">
                <a:alpha val="20000"/>
              </a:prstClr>
            </a:outerShdw>
          </a:effectLst>
        </p:spPr>
      </p:pic>
      <p:sp>
        <p:nvSpPr>
          <p:cNvPr id="34" name="TextBox 33">
            <a:extLst>
              <a:ext uri="{FF2B5EF4-FFF2-40B4-BE49-F238E27FC236}">
                <a16:creationId xmlns:a16="http://schemas.microsoft.com/office/drawing/2014/main" id="{14EF8DA8-CF93-430F-A1CE-25A1990EA8C8}"/>
              </a:ext>
            </a:extLst>
          </p:cNvPr>
          <p:cNvSpPr txBox="1"/>
          <p:nvPr/>
        </p:nvSpPr>
        <p:spPr>
          <a:xfrm>
            <a:off x="2762132" y="2271007"/>
            <a:ext cx="1371492" cy="769441"/>
          </a:xfrm>
          <a:prstGeom prst="rect">
            <a:avLst/>
          </a:prstGeom>
          <a:noFill/>
        </p:spPr>
        <p:txBody>
          <a:bodyPr wrap="square" rtlCol="0">
            <a:spAutoFit/>
          </a:bodyPr>
          <a:lstStyle/>
          <a:p>
            <a:pPr algn="ctr"/>
            <a:r>
              <a:rPr lang="en-US" sz="1100" b="1" dirty="0">
                <a:latin typeface="Century Gothic" panose="020B0502020202020204" pitchFamily="34" charset="0"/>
              </a:rPr>
              <a:t>AHEMEDABAD</a:t>
            </a:r>
          </a:p>
          <a:p>
            <a:pPr algn="ctr"/>
            <a:r>
              <a:rPr lang="en-US" sz="1100" b="1" dirty="0">
                <a:solidFill>
                  <a:srgbClr val="FF0000"/>
                </a:solidFill>
                <a:latin typeface="Century Gothic" panose="020B0502020202020204" pitchFamily="34" charset="0"/>
              </a:rPr>
              <a:t>700</a:t>
            </a:r>
          </a:p>
          <a:p>
            <a:pPr algn="ctr"/>
            <a:r>
              <a:rPr lang="en-US" sz="1100" b="1" dirty="0">
                <a:solidFill>
                  <a:srgbClr val="FFFF00"/>
                </a:solidFill>
                <a:latin typeface="Century Gothic" panose="020B0502020202020204" pitchFamily="34" charset="0"/>
              </a:rPr>
              <a:t>1000</a:t>
            </a:r>
          </a:p>
          <a:p>
            <a:pPr algn="ctr"/>
            <a:r>
              <a:rPr lang="en-US" sz="1100" b="1" dirty="0">
                <a:solidFill>
                  <a:srgbClr val="00B050"/>
                </a:solidFill>
                <a:latin typeface="Century Gothic" panose="020B0502020202020204" pitchFamily="34" charset="0"/>
              </a:rPr>
              <a:t>NA</a:t>
            </a:r>
          </a:p>
        </p:txBody>
      </p:sp>
      <p:sp>
        <p:nvSpPr>
          <p:cNvPr id="35" name="Freeform: Shape 34">
            <a:extLst>
              <a:ext uri="{FF2B5EF4-FFF2-40B4-BE49-F238E27FC236}">
                <a16:creationId xmlns:a16="http://schemas.microsoft.com/office/drawing/2014/main" id="{FC4D3FB5-FD39-4FEE-A1CC-D4DFDEAB2D0E}"/>
              </a:ext>
            </a:extLst>
          </p:cNvPr>
          <p:cNvSpPr/>
          <p:nvPr/>
        </p:nvSpPr>
        <p:spPr>
          <a:xfrm rot="397363">
            <a:off x="3997032" y="2490301"/>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422B234C-4E2B-46C8-977A-2D82A107C55A}"/>
              </a:ext>
            </a:extLst>
          </p:cNvPr>
          <p:cNvSpPr txBox="1"/>
          <p:nvPr/>
        </p:nvSpPr>
        <p:spPr>
          <a:xfrm>
            <a:off x="8367329" y="309009"/>
            <a:ext cx="3385611" cy="1231106"/>
          </a:xfrm>
          <a:prstGeom prst="rect">
            <a:avLst/>
          </a:prstGeom>
          <a:noFill/>
        </p:spPr>
        <p:txBody>
          <a:bodyPr wrap="square" lIns="0" tIns="0" rIns="0" bIns="0" rtlCol="0">
            <a:spAutoFit/>
          </a:bodyPr>
          <a:lstStyle/>
          <a:p>
            <a:pPr marL="285750" indent="-285750" algn="l">
              <a:buClr>
                <a:srgbClr val="FF0000"/>
              </a:buClr>
              <a:buFont typeface="Wingdings" panose="05000000000000000000" pitchFamily="2" charset="2"/>
              <a:buChar char="§"/>
            </a:pPr>
            <a:r>
              <a:rPr lang="en-US" sz="1600" kern="0" dirty="0">
                <a:solidFill>
                  <a:srgbClr val="FF0000"/>
                </a:solidFill>
              </a:rPr>
              <a:t>C And D Waste Generation in Million Tons </a:t>
            </a:r>
          </a:p>
          <a:p>
            <a:pPr marL="285750" indent="-285750" algn="l">
              <a:buClr>
                <a:srgbClr val="FFFF00"/>
              </a:buClr>
              <a:buFont typeface="Wingdings" panose="05000000000000000000" pitchFamily="2" charset="2"/>
              <a:buChar char="§"/>
            </a:pPr>
            <a:r>
              <a:rPr lang="en-US" sz="1600" kern="0" dirty="0">
                <a:solidFill>
                  <a:srgbClr val="FFFF00"/>
                </a:solidFill>
              </a:rPr>
              <a:t>Estimated Capacity of </a:t>
            </a:r>
            <a:r>
              <a:rPr lang="en-US" sz="1600" kern="0" dirty="0" err="1">
                <a:solidFill>
                  <a:srgbClr val="FFFF00"/>
                </a:solidFill>
              </a:rPr>
              <a:t>Recyling</a:t>
            </a:r>
            <a:r>
              <a:rPr lang="en-US" sz="1600" kern="0" dirty="0">
                <a:solidFill>
                  <a:srgbClr val="FFFF00"/>
                </a:solidFill>
              </a:rPr>
              <a:t> Plants in Million Tons</a:t>
            </a:r>
          </a:p>
          <a:p>
            <a:pPr marL="285750" indent="-285750" algn="l">
              <a:buFont typeface="Wingdings" panose="05000000000000000000" pitchFamily="2" charset="2"/>
              <a:buChar char="§"/>
            </a:pPr>
            <a:r>
              <a:rPr lang="en-US" sz="1600" kern="0" dirty="0">
                <a:solidFill>
                  <a:srgbClr val="00B050"/>
                </a:solidFill>
              </a:rPr>
              <a:t>Fine For Illegal Dumping in Rs/-</a:t>
            </a:r>
          </a:p>
        </p:txBody>
      </p:sp>
    </p:spTree>
    <p:extLst>
      <p:ext uri="{BB962C8B-B14F-4D97-AF65-F5344CB8AC3E}">
        <p14:creationId xmlns:p14="http://schemas.microsoft.com/office/powerpoint/2010/main" val="15754082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2" fill="hold" grpId="0" nodeType="after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500" fill="hold"/>
                                            <p:tgtEl>
                                              <p:spTgt spid="2"/>
                                            </p:tgtEl>
                                            <p:attrNameLst>
                                              <p:attrName>ppt_x</p:attrName>
                                            </p:attrNameLst>
                                          </p:cBhvr>
                                          <p:tavLst>
                                            <p:tav tm="0">
                                              <p:val>
                                                <p:strVal val="1+#ppt_w/2"/>
                                              </p:val>
                                            </p:tav>
                                            <p:tav tm="100000">
                                              <p:val>
                                                <p:strVal val="#ppt_x"/>
                                              </p:val>
                                            </p:tav>
                                          </p:tavLst>
                                        </p:anim>
                                        <p:anim calcmode="lin" valueType="num">
                                          <p:cBhvr additive="base">
                                            <p:cTn id="17"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1" fill="hold" nodeType="clickEffect" p14:presetBounceEnd="62000">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14:bounceEnd="62000">
                                          <p:cBhvr additive="base">
                                            <p:cTn id="22" dur="500" fill="hold"/>
                                            <p:tgtEl>
                                              <p:spTgt spid="27"/>
                                            </p:tgtEl>
                                            <p:attrNameLst>
                                              <p:attrName>ppt_x</p:attrName>
                                            </p:attrNameLst>
                                          </p:cBhvr>
                                          <p:tavLst>
                                            <p:tav tm="0">
                                              <p:val>
                                                <p:strVal val="#ppt_x"/>
                                              </p:val>
                                            </p:tav>
                                            <p:tav tm="100000">
                                              <p:val>
                                                <p:strVal val="#ppt_x"/>
                                              </p:val>
                                            </p:tav>
                                          </p:tavLst>
                                        </p:anim>
                                        <p:anim calcmode="lin" valueType="num" p14:bounceEnd="62000">
                                          <p:cBhvr additive="base">
                                            <p:cTn id="23" dur="500" fill="hold"/>
                                            <p:tgtEl>
                                              <p:spTgt spid="27"/>
                                            </p:tgtEl>
                                            <p:attrNameLst>
                                              <p:attrName>ppt_y</p:attrName>
                                            </p:attrNameLst>
                                          </p:cBhvr>
                                          <p:tavLst>
                                            <p:tav tm="0">
                                              <p:val>
                                                <p:strVal val="0-#ppt_h/2"/>
                                              </p:val>
                                            </p:tav>
                                            <p:tav tm="100000">
                                              <p:val>
                                                <p:strVal val="#ppt_y"/>
                                              </p:val>
                                            </p:tav>
                                          </p:tavLst>
                                        </p:anim>
                                      </p:childTnLst>
                                    </p:cTn>
                                  </p:par>
                                </p:childTnLst>
                              </p:cTn>
                            </p:par>
                            <p:par>
                              <p:cTn id="24" fill="hold">
                                <p:stCondLst>
                                  <p:cond delay="500"/>
                                </p:stCondLst>
                                <p:childTnLst>
                                  <p:par>
                                    <p:cTn id="25" presetID="22" presetClass="entr" presetSubtype="4"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2" presetClass="entr" presetSubtype="1" fill="hold" nodeType="clickEffect" p14:presetBounceEnd="62000">
                                      <p:stCondLst>
                                        <p:cond delay="0"/>
                                      </p:stCondLst>
                                      <p:childTnLst>
                                        <p:set>
                                          <p:cBhvr>
                                            <p:cTn id="35" dur="1" fill="hold">
                                              <p:stCondLst>
                                                <p:cond delay="0"/>
                                              </p:stCondLst>
                                            </p:cTn>
                                            <p:tgtEl>
                                              <p:spTgt spid="30"/>
                                            </p:tgtEl>
                                            <p:attrNameLst>
                                              <p:attrName>style.visibility</p:attrName>
                                            </p:attrNameLst>
                                          </p:cBhvr>
                                          <p:to>
                                            <p:strVal val="visible"/>
                                          </p:to>
                                        </p:set>
                                        <p:anim calcmode="lin" valueType="num" p14:bounceEnd="62000">
                                          <p:cBhvr additive="base">
                                            <p:cTn id="36" dur="500" fill="hold"/>
                                            <p:tgtEl>
                                              <p:spTgt spid="30"/>
                                            </p:tgtEl>
                                            <p:attrNameLst>
                                              <p:attrName>ppt_x</p:attrName>
                                            </p:attrNameLst>
                                          </p:cBhvr>
                                          <p:tavLst>
                                            <p:tav tm="0">
                                              <p:val>
                                                <p:strVal val="#ppt_x"/>
                                              </p:val>
                                            </p:tav>
                                            <p:tav tm="100000">
                                              <p:val>
                                                <p:strVal val="#ppt_x"/>
                                              </p:val>
                                            </p:tav>
                                          </p:tavLst>
                                        </p:anim>
                                        <p:anim calcmode="lin" valueType="num" p14:bounceEnd="62000">
                                          <p:cBhvr additive="base">
                                            <p:cTn id="37" dur="500" fill="hold"/>
                                            <p:tgtEl>
                                              <p:spTgt spid="30"/>
                                            </p:tgtEl>
                                            <p:attrNameLst>
                                              <p:attrName>ppt_y</p:attrName>
                                            </p:attrNameLst>
                                          </p:cBhvr>
                                          <p:tavLst>
                                            <p:tav tm="0">
                                              <p:val>
                                                <p:strVal val="0-#ppt_h/2"/>
                                              </p:val>
                                            </p:tav>
                                            <p:tav tm="100000">
                                              <p:val>
                                                <p:strVal val="#ppt_y"/>
                                              </p:val>
                                            </p:tav>
                                          </p:tavLst>
                                        </p:anim>
                                      </p:childTnLst>
                                    </p:cTn>
                                  </p:par>
                                </p:childTnLst>
                              </p:cTn>
                            </p:par>
                            <p:par>
                              <p:cTn id="38" fill="hold">
                                <p:stCondLst>
                                  <p:cond delay="500"/>
                                </p:stCondLst>
                                <p:childTnLst>
                                  <p:par>
                                    <p:cTn id="39" presetID="22" presetClass="entr" presetSubtype="4" fill="hold" grpId="0" nodeType="after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wipe(down)">
                                          <p:cBhvr>
                                            <p:cTn id="41" dur="500"/>
                                            <p:tgtEl>
                                              <p:spTgt spid="32"/>
                                            </p:tgtEl>
                                          </p:cBhvr>
                                        </p:animEffect>
                                      </p:childTnLst>
                                    </p:cTn>
                                  </p:par>
                                </p:childTnLst>
                              </p:cTn>
                            </p:par>
                            <p:par>
                              <p:cTn id="42" fill="hold">
                                <p:stCondLst>
                                  <p:cond delay="1000"/>
                                </p:stCondLst>
                                <p:childTnLst>
                                  <p:par>
                                    <p:cTn id="43" presetID="10" presetClass="entr" presetSubtype="0" fill="hold" grpId="0" nodeType="after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childTnLst>
                              </p:cTn>
                            </p:par>
                          </p:childTnLst>
                        </p:cTn>
                      </p:par>
                      <p:par>
                        <p:cTn id="46" fill="hold">
                          <p:stCondLst>
                            <p:cond delay="indefinite"/>
                          </p:stCondLst>
                          <p:childTnLst>
                            <p:par>
                              <p:cTn id="47" fill="hold">
                                <p:stCondLst>
                                  <p:cond delay="0"/>
                                </p:stCondLst>
                                <p:childTnLst>
                                  <p:par>
                                    <p:cTn id="48" presetID="2" presetClass="entr" presetSubtype="1" fill="hold" nodeType="clickEffect" p14:presetBounceEnd="62000">
                                      <p:stCondLst>
                                        <p:cond delay="0"/>
                                      </p:stCondLst>
                                      <p:childTnLst>
                                        <p:set>
                                          <p:cBhvr>
                                            <p:cTn id="49" dur="1" fill="hold">
                                              <p:stCondLst>
                                                <p:cond delay="0"/>
                                              </p:stCondLst>
                                            </p:cTn>
                                            <p:tgtEl>
                                              <p:spTgt spid="90"/>
                                            </p:tgtEl>
                                            <p:attrNameLst>
                                              <p:attrName>style.visibility</p:attrName>
                                            </p:attrNameLst>
                                          </p:cBhvr>
                                          <p:to>
                                            <p:strVal val="visible"/>
                                          </p:to>
                                        </p:set>
                                        <p:anim calcmode="lin" valueType="num" p14:bounceEnd="62000">
                                          <p:cBhvr additive="base">
                                            <p:cTn id="50" dur="500" fill="hold"/>
                                            <p:tgtEl>
                                              <p:spTgt spid="90"/>
                                            </p:tgtEl>
                                            <p:attrNameLst>
                                              <p:attrName>ppt_x</p:attrName>
                                            </p:attrNameLst>
                                          </p:cBhvr>
                                          <p:tavLst>
                                            <p:tav tm="0">
                                              <p:val>
                                                <p:strVal val="#ppt_x"/>
                                              </p:val>
                                            </p:tav>
                                            <p:tav tm="100000">
                                              <p:val>
                                                <p:strVal val="#ppt_x"/>
                                              </p:val>
                                            </p:tav>
                                          </p:tavLst>
                                        </p:anim>
                                        <p:anim calcmode="lin" valueType="num" p14:bounceEnd="62000">
                                          <p:cBhvr additive="base">
                                            <p:cTn id="51" dur="500" fill="hold"/>
                                            <p:tgtEl>
                                              <p:spTgt spid="90"/>
                                            </p:tgtEl>
                                            <p:attrNameLst>
                                              <p:attrName>ppt_y</p:attrName>
                                            </p:attrNameLst>
                                          </p:cBhvr>
                                          <p:tavLst>
                                            <p:tav tm="0">
                                              <p:val>
                                                <p:strVal val="0-#ppt_h/2"/>
                                              </p:val>
                                            </p:tav>
                                            <p:tav tm="100000">
                                              <p:val>
                                                <p:strVal val="#ppt_y"/>
                                              </p:val>
                                            </p:tav>
                                          </p:tavLst>
                                        </p:anim>
                                      </p:childTnLst>
                                    </p:cTn>
                                  </p:par>
                                </p:childTnLst>
                              </p:cTn>
                            </p:par>
                            <p:par>
                              <p:cTn id="52" fill="hold">
                                <p:stCondLst>
                                  <p:cond delay="500"/>
                                </p:stCondLst>
                                <p:childTnLst>
                                  <p:par>
                                    <p:cTn id="53" presetID="22" presetClass="entr" presetSubtype="4" fill="hold" grpId="0" nodeType="after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wipe(down)">
                                          <p:cBhvr>
                                            <p:cTn id="55" dur="500"/>
                                            <p:tgtEl>
                                              <p:spTgt spid="9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91"/>
                                            </p:tgtEl>
                                            <p:attrNameLst>
                                              <p:attrName>style.visibility</p:attrName>
                                            </p:attrNameLst>
                                          </p:cBhvr>
                                          <p:to>
                                            <p:strVal val="visible"/>
                                          </p:to>
                                        </p:set>
                                        <p:animEffect transition="in" filter="fade">
                                          <p:cBhvr>
                                            <p:cTn id="59" dur="500"/>
                                            <p:tgtEl>
                                              <p:spTgt spid="91"/>
                                            </p:tgtEl>
                                          </p:cBhvr>
                                        </p:animEffect>
                                      </p:childTnLst>
                                    </p:cTn>
                                  </p:par>
                                </p:childTnLst>
                              </p:cTn>
                            </p:par>
                          </p:childTnLst>
                        </p:cTn>
                      </p:par>
                      <p:par>
                        <p:cTn id="60" fill="hold">
                          <p:stCondLst>
                            <p:cond delay="indefinite"/>
                          </p:stCondLst>
                          <p:childTnLst>
                            <p:par>
                              <p:cTn id="61" fill="hold">
                                <p:stCondLst>
                                  <p:cond delay="0"/>
                                </p:stCondLst>
                                <p:childTnLst>
                                  <p:par>
                                    <p:cTn id="62" presetID="2" presetClass="entr" presetSubtype="1" fill="hold" nodeType="clickEffect" p14:presetBounceEnd="62000">
                                      <p:stCondLst>
                                        <p:cond delay="0"/>
                                      </p:stCondLst>
                                      <p:childTnLst>
                                        <p:set>
                                          <p:cBhvr>
                                            <p:cTn id="63" dur="1" fill="hold">
                                              <p:stCondLst>
                                                <p:cond delay="0"/>
                                              </p:stCondLst>
                                            </p:cTn>
                                            <p:tgtEl>
                                              <p:spTgt spid="24"/>
                                            </p:tgtEl>
                                            <p:attrNameLst>
                                              <p:attrName>style.visibility</p:attrName>
                                            </p:attrNameLst>
                                          </p:cBhvr>
                                          <p:to>
                                            <p:strVal val="visible"/>
                                          </p:to>
                                        </p:set>
                                        <p:anim calcmode="lin" valueType="num" p14:bounceEnd="62000">
                                          <p:cBhvr additive="base">
                                            <p:cTn id="64" dur="500" fill="hold"/>
                                            <p:tgtEl>
                                              <p:spTgt spid="24"/>
                                            </p:tgtEl>
                                            <p:attrNameLst>
                                              <p:attrName>ppt_x</p:attrName>
                                            </p:attrNameLst>
                                          </p:cBhvr>
                                          <p:tavLst>
                                            <p:tav tm="0">
                                              <p:val>
                                                <p:strVal val="#ppt_x"/>
                                              </p:val>
                                            </p:tav>
                                            <p:tav tm="100000">
                                              <p:val>
                                                <p:strVal val="#ppt_x"/>
                                              </p:val>
                                            </p:tav>
                                          </p:tavLst>
                                        </p:anim>
                                        <p:anim calcmode="lin" valueType="num" p14:bounceEnd="62000">
                                          <p:cBhvr additive="base">
                                            <p:cTn id="65" dur="500" fill="hold"/>
                                            <p:tgtEl>
                                              <p:spTgt spid="24"/>
                                            </p:tgtEl>
                                            <p:attrNameLst>
                                              <p:attrName>ppt_y</p:attrName>
                                            </p:attrNameLst>
                                          </p:cBhvr>
                                          <p:tavLst>
                                            <p:tav tm="0">
                                              <p:val>
                                                <p:strVal val="0-#ppt_h/2"/>
                                              </p:val>
                                            </p:tav>
                                            <p:tav tm="100000">
                                              <p:val>
                                                <p:strVal val="#ppt_y"/>
                                              </p:val>
                                            </p:tav>
                                          </p:tavLst>
                                        </p:anim>
                                      </p:childTnLst>
                                    </p:cTn>
                                  </p:par>
                                </p:childTnLst>
                              </p:cTn>
                            </p:par>
                            <p:par>
                              <p:cTn id="66" fill="hold">
                                <p:stCondLst>
                                  <p:cond delay="500"/>
                                </p:stCondLst>
                                <p:childTnLst>
                                  <p:par>
                                    <p:cTn id="67" presetID="22" presetClass="entr" presetSubtype="4" fill="hold" grpId="0" nodeType="afterEffect">
                                      <p:stCondLst>
                                        <p:cond delay="0"/>
                                      </p:stCondLst>
                                      <p:childTnLst>
                                        <p:set>
                                          <p:cBhvr>
                                            <p:cTn id="68" dur="1" fill="hold">
                                              <p:stCondLst>
                                                <p:cond delay="0"/>
                                              </p:stCondLst>
                                            </p:cTn>
                                            <p:tgtEl>
                                              <p:spTgt spid="26"/>
                                            </p:tgtEl>
                                            <p:attrNameLst>
                                              <p:attrName>style.visibility</p:attrName>
                                            </p:attrNameLst>
                                          </p:cBhvr>
                                          <p:to>
                                            <p:strVal val="visible"/>
                                          </p:to>
                                        </p:set>
                                        <p:animEffect transition="in" filter="wipe(down)">
                                          <p:cBhvr>
                                            <p:cTn id="69" dur="500"/>
                                            <p:tgtEl>
                                              <p:spTgt spid="26"/>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500"/>
                                            <p:tgtEl>
                                              <p:spTgt spid="25"/>
                                            </p:tgtEl>
                                          </p:cBhvr>
                                        </p:animEffect>
                                      </p:childTnLst>
                                    </p:cTn>
                                  </p:par>
                                </p:childTnLst>
                              </p:cTn>
                            </p:par>
                          </p:childTnLst>
                        </p:cTn>
                      </p:par>
                      <p:par>
                        <p:cTn id="74" fill="hold">
                          <p:stCondLst>
                            <p:cond delay="indefinite"/>
                          </p:stCondLst>
                          <p:childTnLst>
                            <p:par>
                              <p:cTn id="75" fill="hold">
                                <p:stCondLst>
                                  <p:cond delay="0"/>
                                </p:stCondLst>
                                <p:childTnLst>
                                  <p:par>
                                    <p:cTn id="76" presetID="2" presetClass="entr" presetSubtype="1" fill="hold" nodeType="clickEffect" p14:presetBounceEnd="62000">
                                      <p:stCondLst>
                                        <p:cond delay="0"/>
                                      </p:stCondLst>
                                      <p:childTnLst>
                                        <p:set>
                                          <p:cBhvr>
                                            <p:cTn id="77" dur="1" fill="hold">
                                              <p:stCondLst>
                                                <p:cond delay="0"/>
                                              </p:stCondLst>
                                            </p:cTn>
                                            <p:tgtEl>
                                              <p:spTgt spid="81"/>
                                            </p:tgtEl>
                                            <p:attrNameLst>
                                              <p:attrName>style.visibility</p:attrName>
                                            </p:attrNameLst>
                                          </p:cBhvr>
                                          <p:to>
                                            <p:strVal val="visible"/>
                                          </p:to>
                                        </p:set>
                                        <p:anim calcmode="lin" valueType="num" p14:bounceEnd="62000">
                                          <p:cBhvr additive="base">
                                            <p:cTn id="78" dur="500" fill="hold"/>
                                            <p:tgtEl>
                                              <p:spTgt spid="81"/>
                                            </p:tgtEl>
                                            <p:attrNameLst>
                                              <p:attrName>ppt_x</p:attrName>
                                            </p:attrNameLst>
                                          </p:cBhvr>
                                          <p:tavLst>
                                            <p:tav tm="0">
                                              <p:val>
                                                <p:strVal val="#ppt_x"/>
                                              </p:val>
                                            </p:tav>
                                            <p:tav tm="100000">
                                              <p:val>
                                                <p:strVal val="#ppt_x"/>
                                              </p:val>
                                            </p:tav>
                                          </p:tavLst>
                                        </p:anim>
                                        <p:anim calcmode="lin" valueType="num" p14:bounceEnd="62000">
                                          <p:cBhvr additive="base">
                                            <p:cTn id="79" dur="500" fill="hold"/>
                                            <p:tgtEl>
                                              <p:spTgt spid="81"/>
                                            </p:tgtEl>
                                            <p:attrNameLst>
                                              <p:attrName>ppt_y</p:attrName>
                                            </p:attrNameLst>
                                          </p:cBhvr>
                                          <p:tavLst>
                                            <p:tav tm="0">
                                              <p:val>
                                                <p:strVal val="0-#ppt_h/2"/>
                                              </p:val>
                                            </p:tav>
                                            <p:tav tm="100000">
                                              <p:val>
                                                <p:strVal val="#ppt_y"/>
                                              </p:val>
                                            </p:tav>
                                          </p:tavLst>
                                        </p:anim>
                                      </p:childTnLst>
                                    </p:cTn>
                                  </p:par>
                                </p:childTnLst>
                              </p:cTn>
                            </p:par>
                            <p:par>
                              <p:cTn id="80" fill="hold">
                                <p:stCondLst>
                                  <p:cond delay="500"/>
                                </p:stCondLst>
                                <p:childTnLst>
                                  <p:par>
                                    <p:cTn id="81" presetID="22" presetClass="entr" presetSubtype="4" fill="hold" grpId="0" nodeType="afterEffect">
                                      <p:stCondLst>
                                        <p:cond delay="0"/>
                                      </p:stCondLst>
                                      <p:childTnLst>
                                        <p:set>
                                          <p:cBhvr>
                                            <p:cTn id="82" dur="1" fill="hold">
                                              <p:stCondLst>
                                                <p:cond delay="0"/>
                                              </p:stCondLst>
                                            </p:cTn>
                                            <p:tgtEl>
                                              <p:spTgt spid="83"/>
                                            </p:tgtEl>
                                            <p:attrNameLst>
                                              <p:attrName>style.visibility</p:attrName>
                                            </p:attrNameLst>
                                          </p:cBhvr>
                                          <p:to>
                                            <p:strVal val="visible"/>
                                          </p:to>
                                        </p:set>
                                        <p:animEffect transition="in" filter="wipe(down)">
                                          <p:cBhvr>
                                            <p:cTn id="83" dur="500"/>
                                            <p:tgtEl>
                                              <p:spTgt spid="83"/>
                                            </p:tgtEl>
                                          </p:cBhvr>
                                        </p:animEffec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82"/>
                                            </p:tgtEl>
                                            <p:attrNameLst>
                                              <p:attrName>style.visibility</p:attrName>
                                            </p:attrNameLst>
                                          </p:cBhvr>
                                          <p:to>
                                            <p:strVal val="visible"/>
                                          </p:to>
                                        </p:set>
                                        <p:animEffect transition="in" filter="fade">
                                          <p:cBhvr>
                                            <p:cTn id="87" dur="500"/>
                                            <p:tgtEl>
                                              <p:spTgt spid="82"/>
                                            </p:tgtEl>
                                          </p:cBhvr>
                                        </p:animEffect>
                                      </p:childTnLst>
                                    </p:cTn>
                                  </p:par>
                                </p:childTnLst>
                              </p:cTn>
                            </p:par>
                          </p:childTnLst>
                        </p:cTn>
                      </p:par>
                      <p:par>
                        <p:cTn id="88" fill="hold">
                          <p:stCondLst>
                            <p:cond delay="indefinite"/>
                          </p:stCondLst>
                          <p:childTnLst>
                            <p:par>
                              <p:cTn id="89" fill="hold">
                                <p:stCondLst>
                                  <p:cond delay="0"/>
                                </p:stCondLst>
                                <p:childTnLst>
                                  <p:par>
                                    <p:cTn id="90" presetID="2" presetClass="entr" presetSubtype="1" fill="hold" nodeType="clickEffect" p14:presetBounceEnd="62000">
                                      <p:stCondLst>
                                        <p:cond delay="0"/>
                                      </p:stCondLst>
                                      <p:childTnLst>
                                        <p:set>
                                          <p:cBhvr>
                                            <p:cTn id="91" dur="1" fill="hold">
                                              <p:stCondLst>
                                                <p:cond delay="0"/>
                                              </p:stCondLst>
                                            </p:cTn>
                                            <p:tgtEl>
                                              <p:spTgt spid="84"/>
                                            </p:tgtEl>
                                            <p:attrNameLst>
                                              <p:attrName>style.visibility</p:attrName>
                                            </p:attrNameLst>
                                          </p:cBhvr>
                                          <p:to>
                                            <p:strVal val="visible"/>
                                          </p:to>
                                        </p:set>
                                        <p:anim calcmode="lin" valueType="num" p14:bounceEnd="62000">
                                          <p:cBhvr additive="base">
                                            <p:cTn id="92" dur="500" fill="hold"/>
                                            <p:tgtEl>
                                              <p:spTgt spid="84"/>
                                            </p:tgtEl>
                                            <p:attrNameLst>
                                              <p:attrName>ppt_x</p:attrName>
                                            </p:attrNameLst>
                                          </p:cBhvr>
                                          <p:tavLst>
                                            <p:tav tm="0">
                                              <p:val>
                                                <p:strVal val="#ppt_x"/>
                                              </p:val>
                                            </p:tav>
                                            <p:tav tm="100000">
                                              <p:val>
                                                <p:strVal val="#ppt_x"/>
                                              </p:val>
                                            </p:tav>
                                          </p:tavLst>
                                        </p:anim>
                                        <p:anim calcmode="lin" valueType="num" p14:bounceEnd="62000">
                                          <p:cBhvr additive="base">
                                            <p:cTn id="93" dur="500" fill="hold"/>
                                            <p:tgtEl>
                                              <p:spTgt spid="84"/>
                                            </p:tgtEl>
                                            <p:attrNameLst>
                                              <p:attrName>ppt_y</p:attrName>
                                            </p:attrNameLst>
                                          </p:cBhvr>
                                          <p:tavLst>
                                            <p:tav tm="0">
                                              <p:val>
                                                <p:strVal val="0-#ppt_h/2"/>
                                              </p:val>
                                            </p:tav>
                                            <p:tav tm="100000">
                                              <p:val>
                                                <p:strVal val="#ppt_y"/>
                                              </p:val>
                                            </p:tav>
                                          </p:tavLst>
                                        </p:anim>
                                      </p:childTnLst>
                                    </p:cTn>
                                  </p:par>
                                </p:childTnLst>
                              </p:cTn>
                            </p:par>
                            <p:par>
                              <p:cTn id="94" fill="hold">
                                <p:stCondLst>
                                  <p:cond delay="500"/>
                                </p:stCondLst>
                                <p:childTnLst>
                                  <p:par>
                                    <p:cTn id="95" presetID="22" presetClass="entr" presetSubtype="4" fill="hold" grpId="0" nodeType="afterEffect">
                                      <p:stCondLst>
                                        <p:cond delay="0"/>
                                      </p:stCondLst>
                                      <p:childTnLst>
                                        <p:set>
                                          <p:cBhvr>
                                            <p:cTn id="96" dur="1" fill="hold">
                                              <p:stCondLst>
                                                <p:cond delay="0"/>
                                              </p:stCondLst>
                                            </p:cTn>
                                            <p:tgtEl>
                                              <p:spTgt spid="86"/>
                                            </p:tgtEl>
                                            <p:attrNameLst>
                                              <p:attrName>style.visibility</p:attrName>
                                            </p:attrNameLst>
                                          </p:cBhvr>
                                          <p:to>
                                            <p:strVal val="visible"/>
                                          </p:to>
                                        </p:set>
                                        <p:animEffect transition="in" filter="wipe(down)">
                                          <p:cBhvr>
                                            <p:cTn id="97" dur="500"/>
                                            <p:tgtEl>
                                              <p:spTgt spid="86"/>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85"/>
                                            </p:tgtEl>
                                            <p:attrNameLst>
                                              <p:attrName>style.visibility</p:attrName>
                                            </p:attrNameLst>
                                          </p:cBhvr>
                                          <p:to>
                                            <p:strVal val="visible"/>
                                          </p:to>
                                        </p:set>
                                        <p:animEffect transition="in" filter="fade">
                                          <p:cBhvr>
                                            <p:cTn id="101" dur="500"/>
                                            <p:tgtEl>
                                              <p:spTgt spid="85"/>
                                            </p:tgtEl>
                                          </p:cBhvr>
                                        </p:animEffect>
                                      </p:childTnLst>
                                    </p:cTn>
                                  </p:par>
                                </p:childTnLst>
                              </p:cTn>
                            </p:par>
                          </p:childTnLst>
                        </p:cTn>
                      </p:par>
                      <p:par>
                        <p:cTn id="102" fill="hold">
                          <p:stCondLst>
                            <p:cond delay="indefinite"/>
                          </p:stCondLst>
                          <p:childTnLst>
                            <p:par>
                              <p:cTn id="103" fill="hold">
                                <p:stCondLst>
                                  <p:cond delay="0"/>
                                </p:stCondLst>
                                <p:childTnLst>
                                  <p:par>
                                    <p:cTn id="104" presetID="2" presetClass="entr" presetSubtype="1" fill="hold" nodeType="clickEffect" p14:presetBounceEnd="62000">
                                      <p:stCondLst>
                                        <p:cond delay="0"/>
                                      </p:stCondLst>
                                      <p:childTnLst>
                                        <p:set>
                                          <p:cBhvr>
                                            <p:cTn id="105" dur="1" fill="hold">
                                              <p:stCondLst>
                                                <p:cond delay="0"/>
                                              </p:stCondLst>
                                            </p:cTn>
                                            <p:tgtEl>
                                              <p:spTgt spid="87"/>
                                            </p:tgtEl>
                                            <p:attrNameLst>
                                              <p:attrName>style.visibility</p:attrName>
                                            </p:attrNameLst>
                                          </p:cBhvr>
                                          <p:to>
                                            <p:strVal val="visible"/>
                                          </p:to>
                                        </p:set>
                                        <p:anim calcmode="lin" valueType="num" p14:bounceEnd="62000">
                                          <p:cBhvr additive="base">
                                            <p:cTn id="106" dur="500" fill="hold"/>
                                            <p:tgtEl>
                                              <p:spTgt spid="87"/>
                                            </p:tgtEl>
                                            <p:attrNameLst>
                                              <p:attrName>ppt_x</p:attrName>
                                            </p:attrNameLst>
                                          </p:cBhvr>
                                          <p:tavLst>
                                            <p:tav tm="0">
                                              <p:val>
                                                <p:strVal val="#ppt_x"/>
                                              </p:val>
                                            </p:tav>
                                            <p:tav tm="100000">
                                              <p:val>
                                                <p:strVal val="#ppt_x"/>
                                              </p:val>
                                            </p:tav>
                                          </p:tavLst>
                                        </p:anim>
                                        <p:anim calcmode="lin" valueType="num" p14:bounceEnd="62000">
                                          <p:cBhvr additive="base">
                                            <p:cTn id="107" dur="500" fill="hold"/>
                                            <p:tgtEl>
                                              <p:spTgt spid="87"/>
                                            </p:tgtEl>
                                            <p:attrNameLst>
                                              <p:attrName>ppt_y</p:attrName>
                                            </p:attrNameLst>
                                          </p:cBhvr>
                                          <p:tavLst>
                                            <p:tav tm="0">
                                              <p:val>
                                                <p:strVal val="0-#ppt_h/2"/>
                                              </p:val>
                                            </p:tav>
                                            <p:tav tm="100000">
                                              <p:val>
                                                <p:strVal val="#ppt_y"/>
                                              </p:val>
                                            </p:tav>
                                          </p:tavLst>
                                        </p:anim>
                                      </p:childTnLst>
                                    </p:cTn>
                                  </p:par>
                                </p:childTnLst>
                              </p:cTn>
                            </p:par>
                            <p:par>
                              <p:cTn id="108" fill="hold">
                                <p:stCondLst>
                                  <p:cond delay="500"/>
                                </p:stCondLst>
                                <p:childTnLst>
                                  <p:par>
                                    <p:cTn id="109" presetID="22" presetClass="entr" presetSubtype="4" fill="hold" grpId="0" nodeType="afterEffect">
                                      <p:stCondLst>
                                        <p:cond delay="0"/>
                                      </p:stCondLst>
                                      <p:childTnLst>
                                        <p:set>
                                          <p:cBhvr>
                                            <p:cTn id="110" dur="1" fill="hold">
                                              <p:stCondLst>
                                                <p:cond delay="0"/>
                                              </p:stCondLst>
                                            </p:cTn>
                                            <p:tgtEl>
                                              <p:spTgt spid="89"/>
                                            </p:tgtEl>
                                            <p:attrNameLst>
                                              <p:attrName>style.visibility</p:attrName>
                                            </p:attrNameLst>
                                          </p:cBhvr>
                                          <p:to>
                                            <p:strVal val="visible"/>
                                          </p:to>
                                        </p:set>
                                        <p:animEffect transition="in" filter="wipe(down)">
                                          <p:cBhvr>
                                            <p:cTn id="111" dur="500"/>
                                            <p:tgtEl>
                                              <p:spTgt spid="89"/>
                                            </p:tgtEl>
                                          </p:cBhvr>
                                        </p:animEffect>
                                      </p:childTnLst>
                                    </p:cTn>
                                  </p:par>
                                </p:childTnLst>
                              </p:cTn>
                            </p:par>
                            <p:par>
                              <p:cTn id="112" fill="hold">
                                <p:stCondLst>
                                  <p:cond delay="1000"/>
                                </p:stCondLst>
                                <p:childTnLst>
                                  <p:par>
                                    <p:cTn id="113" presetID="10" presetClass="entr" presetSubtype="0" fill="hold" grpId="0" nodeType="afterEffect">
                                      <p:stCondLst>
                                        <p:cond delay="0"/>
                                      </p:stCondLst>
                                      <p:childTnLst>
                                        <p:set>
                                          <p:cBhvr>
                                            <p:cTn id="114" dur="1" fill="hold">
                                              <p:stCondLst>
                                                <p:cond delay="0"/>
                                              </p:stCondLst>
                                            </p:cTn>
                                            <p:tgtEl>
                                              <p:spTgt spid="88"/>
                                            </p:tgtEl>
                                            <p:attrNameLst>
                                              <p:attrName>style.visibility</p:attrName>
                                            </p:attrNameLst>
                                          </p:cBhvr>
                                          <p:to>
                                            <p:strVal val="visible"/>
                                          </p:to>
                                        </p:set>
                                        <p:animEffect transition="in" filter="fade">
                                          <p:cBhvr>
                                            <p:cTn id="115" dur="500"/>
                                            <p:tgtEl>
                                              <p:spTgt spid="88"/>
                                            </p:tgtEl>
                                          </p:cBhvr>
                                        </p:animEffect>
                                      </p:childTnLst>
                                    </p:cTn>
                                  </p:par>
                                </p:childTnLst>
                              </p:cTn>
                            </p:par>
                          </p:childTnLst>
                        </p:cTn>
                      </p:par>
                      <p:par>
                        <p:cTn id="116" fill="hold">
                          <p:stCondLst>
                            <p:cond delay="indefinite"/>
                          </p:stCondLst>
                          <p:childTnLst>
                            <p:par>
                              <p:cTn id="117" fill="hold">
                                <p:stCondLst>
                                  <p:cond delay="0"/>
                                </p:stCondLst>
                                <p:childTnLst>
                                  <p:par>
                                    <p:cTn id="118" presetID="2" presetClass="entr" presetSubtype="1" fill="hold" nodeType="clickEffect" p14:presetBounceEnd="62000">
                                      <p:stCondLst>
                                        <p:cond delay="0"/>
                                      </p:stCondLst>
                                      <p:childTnLst>
                                        <p:set>
                                          <p:cBhvr>
                                            <p:cTn id="119" dur="1" fill="hold">
                                              <p:stCondLst>
                                                <p:cond delay="0"/>
                                              </p:stCondLst>
                                            </p:cTn>
                                            <p:tgtEl>
                                              <p:spTgt spid="93"/>
                                            </p:tgtEl>
                                            <p:attrNameLst>
                                              <p:attrName>style.visibility</p:attrName>
                                            </p:attrNameLst>
                                          </p:cBhvr>
                                          <p:to>
                                            <p:strVal val="visible"/>
                                          </p:to>
                                        </p:set>
                                        <p:anim calcmode="lin" valueType="num" p14:bounceEnd="62000">
                                          <p:cBhvr additive="base">
                                            <p:cTn id="120" dur="500" fill="hold"/>
                                            <p:tgtEl>
                                              <p:spTgt spid="93"/>
                                            </p:tgtEl>
                                            <p:attrNameLst>
                                              <p:attrName>ppt_x</p:attrName>
                                            </p:attrNameLst>
                                          </p:cBhvr>
                                          <p:tavLst>
                                            <p:tav tm="0">
                                              <p:val>
                                                <p:strVal val="#ppt_x"/>
                                              </p:val>
                                            </p:tav>
                                            <p:tav tm="100000">
                                              <p:val>
                                                <p:strVal val="#ppt_x"/>
                                              </p:val>
                                            </p:tav>
                                          </p:tavLst>
                                        </p:anim>
                                        <p:anim calcmode="lin" valueType="num" p14:bounceEnd="62000">
                                          <p:cBhvr additive="base">
                                            <p:cTn id="121" dur="500" fill="hold"/>
                                            <p:tgtEl>
                                              <p:spTgt spid="93"/>
                                            </p:tgtEl>
                                            <p:attrNameLst>
                                              <p:attrName>ppt_y</p:attrName>
                                            </p:attrNameLst>
                                          </p:cBhvr>
                                          <p:tavLst>
                                            <p:tav tm="0">
                                              <p:val>
                                                <p:strVal val="0-#ppt_h/2"/>
                                              </p:val>
                                            </p:tav>
                                            <p:tav tm="100000">
                                              <p:val>
                                                <p:strVal val="#ppt_y"/>
                                              </p:val>
                                            </p:tav>
                                          </p:tavLst>
                                        </p:anim>
                                      </p:childTnLst>
                                    </p:cTn>
                                  </p:par>
                                </p:childTnLst>
                              </p:cTn>
                            </p:par>
                            <p:par>
                              <p:cTn id="122" fill="hold">
                                <p:stCondLst>
                                  <p:cond delay="500"/>
                                </p:stCondLst>
                                <p:childTnLst>
                                  <p:par>
                                    <p:cTn id="123" presetID="22" presetClass="entr" presetSubtype="4" fill="hold" grpId="0" nodeType="afterEffect">
                                      <p:stCondLst>
                                        <p:cond delay="0"/>
                                      </p:stCondLst>
                                      <p:childTnLst>
                                        <p:set>
                                          <p:cBhvr>
                                            <p:cTn id="124" dur="1" fill="hold">
                                              <p:stCondLst>
                                                <p:cond delay="0"/>
                                              </p:stCondLst>
                                            </p:cTn>
                                            <p:tgtEl>
                                              <p:spTgt spid="95"/>
                                            </p:tgtEl>
                                            <p:attrNameLst>
                                              <p:attrName>style.visibility</p:attrName>
                                            </p:attrNameLst>
                                          </p:cBhvr>
                                          <p:to>
                                            <p:strVal val="visible"/>
                                          </p:to>
                                        </p:set>
                                        <p:animEffect transition="in" filter="wipe(down)">
                                          <p:cBhvr>
                                            <p:cTn id="125" dur="500"/>
                                            <p:tgtEl>
                                              <p:spTgt spid="95"/>
                                            </p:tgtEl>
                                          </p:cBhvr>
                                        </p:animEffect>
                                      </p:childTnLst>
                                    </p:cTn>
                                  </p:par>
                                </p:childTnLst>
                              </p:cTn>
                            </p:par>
                            <p:par>
                              <p:cTn id="126" fill="hold">
                                <p:stCondLst>
                                  <p:cond delay="1000"/>
                                </p:stCondLst>
                                <p:childTnLst>
                                  <p:par>
                                    <p:cTn id="127" presetID="10" presetClass="entr" presetSubtype="0" fill="hold" grpId="0" nodeType="afterEffect">
                                      <p:stCondLst>
                                        <p:cond delay="0"/>
                                      </p:stCondLst>
                                      <p:childTnLst>
                                        <p:set>
                                          <p:cBhvr>
                                            <p:cTn id="128" dur="1" fill="hold">
                                              <p:stCondLst>
                                                <p:cond delay="0"/>
                                              </p:stCondLst>
                                            </p:cTn>
                                            <p:tgtEl>
                                              <p:spTgt spid="94"/>
                                            </p:tgtEl>
                                            <p:attrNameLst>
                                              <p:attrName>style.visibility</p:attrName>
                                            </p:attrNameLst>
                                          </p:cBhvr>
                                          <p:to>
                                            <p:strVal val="visible"/>
                                          </p:to>
                                        </p:set>
                                        <p:animEffect transition="in" filter="fade">
                                          <p:cBhvr>
                                            <p:cTn id="129" dur="500"/>
                                            <p:tgtEl>
                                              <p:spTgt spid="94"/>
                                            </p:tgtEl>
                                          </p:cBhvr>
                                        </p:animEffect>
                                      </p:childTnLst>
                                    </p:cTn>
                                  </p:par>
                                </p:childTnLst>
                              </p:cTn>
                            </p:par>
                          </p:childTnLst>
                        </p:cTn>
                      </p:par>
                      <p:par>
                        <p:cTn id="130" fill="hold">
                          <p:stCondLst>
                            <p:cond delay="indefinite"/>
                          </p:stCondLst>
                          <p:childTnLst>
                            <p:par>
                              <p:cTn id="131" fill="hold">
                                <p:stCondLst>
                                  <p:cond delay="0"/>
                                </p:stCondLst>
                                <p:childTnLst>
                                  <p:par>
                                    <p:cTn id="132" presetID="2" presetClass="entr" presetSubtype="1" fill="hold" nodeType="clickEffect" p14:presetBounceEnd="62000">
                                      <p:stCondLst>
                                        <p:cond delay="0"/>
                                      </p:stCondLst>
                                      <p:childTnLst>
                                        <p:set>
                                          <p:cBhvr>
                                            <p:cTn id="133" dur="1" fill="hold">
                                              <p:stCondLst>
                                                <p:cond delay="0"/>
                                              </p:stCondLst>
                                            </p:cTn>
                                            <p:tgtEl>
                                              <p:spTgt spid="33"/>
                                            </p:tgtEl>
                                            <p:attrNameLst>
                                              <p:attrName>style.visibility</p:attrName>
                                            </p:attrNameLst>
                                          </p:cBhvr>
                                          <p:to>
                                            <p:strVal val="visible"/>
                                          </p:to>
                                        </p:set>
                                        <p:anim calcmode="lin" valueType="num" p14:bounceEnd="62000">
                                          <p:cBhvr additive="base">
                                            <p:cTn id="134" dur="500" fill="hold"/>
                                            <p:tgtEl>
                                              <p:spTgt spid="33"/>
                                            </p:tgtEl>
                                            <p:attrNameLst>
                                              <p:attrName>ppt_x</p:attrName>
                                            </p:attrNameLst>
                                          </p:cBhvr>
                                          <p:tavLst>
                                            <p:tav tm="0">
                                              <p:val>
                                                <p:strVal val="#ppt_x"/>
                                              </p:val>
                                            </p:tav>
                                            <p:tav tm="100000">
                                              <p:val>
                                                <p:strVal val="#ppt_x"/>
                                              </p:val>
                                            </p:tav>
                                          </p:tavLst>
                                        </p:anim>
                                        <p:anim calcmode="lin" valueType="num" p14:bounceEnd="62000">
                                          <p:cBhvr additive="base">
                                            <p:cTn id="135" dur="500" fill="hold"/>
                                            <p:tgtEl>
                                              <p:spTgt spid="33"/>
                                            </p:tgtEl>
                                            <p:attrNameLst>
                                              <p:attrName>ppt_y</p:attrName>
                                            </p:attrNameLst>
                                          </p:cBhvr>
                                          <p:tavLst>
                                            <p:tav tm="0">
                                              <p:val>
                                                <p:strVal val="0-#ppt_h/2"/>
                                              </p:val>
                                            </p:tav>
                                            <p:tav tm="100000">
                                              <p:val>
                                                <p:strVal val="#ppt_y"/>
                                              </p:val>
                                            </p:tav>
                                          </p:tavLst>
                                        </p:anim>
                                      </p:childTnLst>
                                    </p:cTn>
                                  </p:par>
                                </p:childTnLst>
                              </p:cTn>
                            </p:par>
                            <p:par>
                              <p:cTn id="136" fill="hold">
                                <p:stCondLst>
                                  <p:cond delay="500"/>
                                </p:stCondLst>
                                <p:childTnLst>
                                  <p:par>
                                    <p:cTn id="137" presetID="22" presetClass="entr" presetSubtype="4" fill="hold" grpId="0" nodeType="afterEffect">
                                      <p:stCondLst>
                                        <p:cond delay="0"/>
                                      </p:stCondLst>
                                      <p:childTnLst>
                                        <p:set>
                                          <p:cBhvr>
                                            <p:cTn id="138" dur="1" fill="hold">
                                              <p:stCondLst>
                                                <p:cond delay="0"/>
                                              </p:stCondLst>
                                            </p:cTn>
                                            <p:tgtEl>
                                              <p:spTgt spid="35"/>
                                            </p:tgtEl>
                                            <p:attrNameLst>
                                              <p:attrName>style.visibility</p:attrName>
                                            </p:attrNameLst>
                                          </p:cBhvr>
                                          <p:to>
                                            <p:strVal val="visible"/>
                                          </p:to>
                                        </p:set>
                                        <p:animEffect transition="in" filter="wipe(down)">
                                          <p:cBhvr>
                                            <p:cTn id="139" dur="500"/>
                                            <p:tgtEl>
                                              <p:spTgt spid="35"/>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34"/>
                                            </p:tgtEl>
                                            <p:attrNameLst>
                                              <p:attrName>style.visibility</p:attrName>
                                            </p:attrNameLst>
                                          </p:cBhvr>
                                          <p:to>
                                            <p:strVal val="visible"/>
                                          </p:to>
                                        </p:set>
                                        <p:animEffect transition="in" filter="fade">
                                          <p:cBhvr>
                                            <p:cTn id="143"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82" grpId="0"/>
          <p:bldP spid="83" grpId="0" animBg="1"/>
          <p:bldP spid="85" grpId="0"/>
          <p:bldP spid="86" grpId="0" animBg="1"/>
          <p:bldP spid="88" grpId="0"/>
          <p:bldP spid="89" grpId="0" animBg="1"/>
          <p:bldP spid="91" grpId="0"/>
          <p:bldP spid="92" grpId="0" animBg="1"/>
          <p:bldP spid="94" grpId="0"/>
          <p:bldP spid="95" grpId="0" animBg="1"/>
          <p:bldP spid="25" grpId="0"/>
          <p:bldP spid="26" grpId="0" animBg="1"/>
          <p:bldP spid="28" grpId="0"/>
          <p:bldP spid="29" grpId="0" animBg="1"/>
          <p:bldP spid="31" grpId="0"/>
          <p:bldP spid="32" grpId="0" animBg="1"/>
          <p:bldP spid="34" grpId="0"/>
          <p:bldP spid="35" grpId="0" animBg="1"/>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2" fill="hold" grpId="0" nodeType="after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500" fill="hold"/>
                                            <p:tgtEl>
                                              <p:spTgt spid="2"/>
                                            </p:tgtEl>
                                            <p:attrNameLst>
                                              <p:attrName>ppt_x</p:attrName>
                                            </p:attrNameLst>
                                          </p:cBhvr>
                                          <p:tavLst>
                                            <p:tav tm="0">
                                              <p:val>
                                                <p:strVal val="1+#ppt_w/2"/>
                                              </p:val>
                                            </p:tav>
                                            <p:tav tm="100000">
                                              <p:val>
                                                <p:strVal val="#ppt_x"/>
                                              </p:val>
                                            </p:tav>
                                          </p:tavLst>
                                        </p:anim>
                                        <p:anim calcmode="lin" valueType="num">
                                          <p:cBhvr additive="base">
                                            <p:cTn id="17"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1" fill="hold" nodeType="click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additive="base">
                                            <p:cTn id="22" dur="500" fill="hold"/>
                                            <p:tgtEl>
                                              <p:spTgt spid="27"/>
                                            </p:tgtEl>
                                            <p:attrNameLst>
                                              <p:attrName>ppt_x</p:attrName>
                                            </p:attrNameLst>
                                          </p:cBhvr>
                                          <p:tavLst>
                                            <p:tav tm="0">
                                              <p:val>
                                                <p:strVal val="#ppt_x"/>
                                              </p:val>
                                            </p:tav>
                                            <p:tav tm="100000">
                                              <p:val>
                                                <p:strVal val="#ppt_x"/>
                                              </p:val>
                                            </p:tav>
                                          </p:tavLst>
                                        </p:anim>
                                        <p:anim calcmode="lin" valueType="num">
                                          <p:cBhvr additive="base">
                                            <p:cTn id="23" dur="500" fill="hold"/>
                                            <p:tgtEl>
                                              <p:spTgt spid="27"/>
                                            </p:tgtEl>
                                            <p:attrNameLst>
                                              <p:attrName>ppt_y</p:attrName>
                                            </p:attrNameLst>
                                          </p:cBhvr>
                                          <p:tavLst>
                                            <p:tav tm="0">
                                              <p:val>
                                                <p:strVal val="0-#ppt_h/2"/>
                                              </p:val>
                                            </p:tav>
                                            <p:tav tm="100000">
                                              <p:val>
                                                <p:strVal val="#ppt_y"/>
                                              </p:val>
                                            </p:tav>
                                          </p:tavLst>
                                        </p:anim>
                                      </p:childTnLst>
                                    </p:cTn>
                                  </p:par>
                                </p:childTnLst>
                              </p:cTn>
                            </p:par>
                            <p:par>
                              <p:cTn id="24" fill="hold">
                                <p:stCondLst>
                                  <p:cond delay="500"/>
                                </p:stCondLst>
                                <p:childTnLst>
                                  <p:par>
                                    <p:cTn id="25" presetID="22" presetClass="entr" presetSubtype="4"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2" presetClass="entr" presetSubtype="1"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 calcmode="lin" valueType="num">
                                          <p:cBhvr additive="base">
                                            <p:cTn id="36" dur="500" fill="hold"/>
                                            <p:tgtEl>
                                              <p:spTgt spid="30"/>
                                            </p:tgtEl>
                                            <p:attrNameLst>
                                              <p:attrName>ppt_x</p:attrName>
                                            </p:attrNameLst>
                                          </p:cBhvr>
                                          <p:tavLst>
                                            <p:tav tm="0">
                                              <p:val>
                                                <p:strVal val="#ppt_x"/>
                                              </p:val>
                                            </p:tav>
                                            <p:tav tm="100000">
                                              <p:val>
                                                <p:strVal val="#ppt_x"/>
                                              </p:val>
                                            </p:tav>
                                          </p:tavLst>
                                        </p:anim>
                                        <p:anim calcmode="lin" valueType="num">
                                          <p:cBhvr additive="base">
                                            <p:cTn id="37" dur="500" fill="hold"/>
                                            <p:tgtEl>
                                              <p:spTgt spid="30"/>
                                            </p:tgtEl>
                                            <p:attrNameLst>
                                              <p:attrName>ppt_y</p:attrName>
                                            </p:attrNameLst>
                                          </p:cBhvr>
                                          <p:tavLst>
                                            <p:tav tm="0">
                                              <p:val>
                                                <p:strVal val="0-#ppt_h/2"/>
                                              </p:val>
                                            </p:tav>
                                            <p:tav tm="100000">
                                              <p:val>
                                                <p:strVal val="#ppt_y"/>
                                              </p:val>
                                            </p:tav>
                                          </p:tavLst>
                                        </p:anim>
                                      </p:childTnLst>
                                    </p:cTn>
                                  </p:par>
                                </p:childTnLst>
                              </p:cTn>
                            </p:par>
                            <p:par>
                              <p:cTn id="38" fill="hold">
                                <p:stCondLst>
                                  <p:cond delay="500"/>
                                </p:stCondLst>
                                <p:childTnLst>
                                  <p:par>
                                    <p:cTn id="39" presetID="22" presetClass="entr" presetSubtype="4" fill="hold" grpId="0" nodeType="after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wipe(down)">
                                          <p:cBhvr>
                                            <p:cTn id="41" dur="500"/>
                                            <p:tgtEl>
                                              <p:spTgt spid="32"/>
                                            </p:tgtEl>
                                          </p:cBhvr>
                                        </p:animEffect>
                                      </p:childTnLst>
                                    </p:cTn>
                                  </p:par>
                                </p:childTnLst>
                              </p:cTn>
                            </p:par>
                            <p:par>
                              <p:cTn id="42" fill="hold">
                                <p:stCondLst>
                                  <p:cond delay="1000"/>
                                </p:stCondLst>
                                <p:childTnLst>
                                  <p:par>
                                    <p:cTn id="43" presetID="10" presetClass="entr" presetSubtype="0" fill="hold" grpId="0" nodeType="after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childTnLst>
                              </p:cTn>
                            </p:par>
                          </p:childTnLst>
                        </p:cTn>
                      </p:par>
                      <p:par>
                        <p:cTn id="46" fill="hold">
                          <p:stCondLst>
                            <p:cond delay="indefinite"/>
                          </p:stCondLst>
                          <p:childTnLst>
                            <p:par>
                              <p:cTn id="47" fill="hold">
                                <p:stCondLst>
                                  <p:cond delay="0"/>
                                </p:stCondLst>
                                <p:childTnLst>
                                  <p:par>
                                    <p:cTn id="48" presetID="2" presetClass="entr" presetSubtype="1" fill="hold" nodeType="clickEffect">
                                      <p:stCondLst>
                                        <p:cond delay="0"/>
                                      </p:stCondLst>
                                      <p:childTnLst>
                                        <p:set>
                                          <p:cBhvr>
                                            <p:cTn id="49" dur="1" fill="hold">
                                              <p:stCondLst>
                                                <p:cond delay="0"/>
                                              </p:stCondLst>
                                            </p:cTn>
                                            <p:tgtEl>
                                              <p:spTgt spid="90"/>
                                            </p:tgtEl>
                                            <p:attrNameLst>
                                              <p:attrName>style.visibility</p:attrName>
                                            </p:attrNameLst>
                                          </p:cBhvr>
                                          <p:to>
                                            <p:strVal val="visible"/>
                                          </p:to>
                                        </p:set>
                                        <p:anim calcmode="lin" valueType="num">
                                          <p:cBhvr additive="base">
                                            <p:cTn id="50" dur="500" fill="hold"/>
                                            <p:tgtEl>
                                              <p:spTgt spid="90"/>
                                            </p:tgtEl>
                                            <p:attrNameLst>
                                              <p:attrName>ppt_x</p:attrName>
                                            </p:attrNameLst>
                                          </p:cBhvr>
                                          <p:tavLst>
                                            <p:tav tm="0">
                                              <p:val>
                                                <p:strVal val="#ppt_x"/>
                                              </p:val>
                                            </p:tav>
                                            <p:tav tm="100000">
                                              <p:val>
                                                <p:strVal val="#ppt_x"/>
                                              </p:val>
                                            </p:tav>
                                          </p:tavLst>
                                        </p:anim>
                                        <p:anim calcmode="lin" valueType="num">
                                          <p:cBhvr additive="base">
                                            <p:cTn id="51" dur="500" fill="hold"/>
                                            <p:tgtEl>
                                              <p:spTgt spid="90"/>
                                            </p:tgtEl>
                                            <p:attrNameLst>
                                              <p:attrName>ppt_y</p:attrName>
                                            </p:attrNameLst>
                                          </p:cBhvr>
                                          <p:tavLst>
                                            <p:tav tm="0">
                                              <p:val>
                                                <p:strVal val="0-#ppt_h/2"/>
                                              </p:val>
                                            </p:tav>
                                            <p:tav tm="100000">
                                              <p:val>
                                                <p:strVal val="#ppt_y"/>
                                              </p:val>
                                            </p:tav>
                                          </p:tavLst>
                                        </p:anim>
                                      </p:childTnLst>
                                    </p:cTn>
                                  </p:par>
                                </p:childTnLst>
                              </p:cTn>
                            </p:par>
                            <p:par>
                              <p:cTn id="52" fill="hold">
                                <p:stCondLst>
                                  <p:cond delay="500"/>
                                </p:stCondLst>
                                <p:childTnLst>
                                  <p:par>
                                    <p:cTn id="53" presetID="22" presetClass="entr" presetSubtype="4" fill="hold" grpId="0" nodeType="after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wipe(down)">
                                          <p:cBhvr>
                                            <p:cTn id="55" dur="500"/>
                                            <p:tgtEl>
                                              <p:spTgt spid="9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91"/>
                                            </p:tgtEl>
                                            <p:attrNameLst>
                                              <p:attrName>style.visibility</p:attrName>
                                            </p:attrNameLst>
                                          </p:cBhvr>
                                          <p:to>
                                            <p:strVal val="visible"/>
                                          </p:to>
                                        </p:set>
                                        <p:animEffect transition="in" filter="fade">
                                          <p:cBhvr>
                                            <p:cTn id="59" dur="500"/>
                                            <p:tgtEl>
                                              <p:spTgt spid="91"/>
                                            </p:tgtEl>
                                          </p:cBhvr>
                                        </p:animEffect>
                                      </p:childTnLst>
                                    </p:cTn>
                                  </p:par>
                                </p:childTnLst>
                              </p:cTn>
                            </p:par>
                          </p:childTnLst>
                        </p:cTn>
                      </p:par>
                      <p:par>
                        <p:cTn id="60" fill="hold">
                          <p:stCondLst>
                            <p:cond delay="indefinite"/>
                          </p:stCondLst>
                          <p:childTnLst>
                            <p:par>
                              <p:cTn id="61" fill="hold">
                                <p:stCondLst>
                                  <p:cond delay="0"/>
                                </p:stCondLst>
                                <p:childTnLst>
                                  <p:par>
                                    <p:cTn id="62" presetID="2" presetClass="entr" presetSubtype="1" fill="hold" nodeType="clickEffect">
                                      <p:stCondLst>
                                        <p:cond delay="0"/>
                                      </p:stCondLst>
                                      <p:childTnLst>
                                        <p:set>
                                          <p:cBhvr>
                                            <p:cTn id="63" dur="1" fill="hold">
                                              <p:stCondLst>
                                                <p:cond delay="0"/>
                                              </p:stCondLst>
                                            </p:cTn>
                                            <p:tgtEl>
                                              <p:spTgt spid="24"/>
                                            </p:tgtEl>
                                            <p:attrNameLst>
                                              <p:attrName>style.visibility</p:attrName>
                                            </p:attrNameLst>
                                          </p:cBhvr>
                                          <p:to>
                                            <p:strVal val="visible"/>
                                          </p:to>
                                        </p:set>
                                        <p:anim calcmode="lin" valueType="num">
                                          <p:cBhvr additive="base">
                                            <p:cTn id="64" dur="500" fill="hold"/>
                                            <p:tgtEl>
                                              <p:spTgt spid="24"/>
                                            </p:tgtEl>
                                            <p:attrNameLst>
                                              <p:attrName>ppt_x</p:attrName>
                                            </p:attrNameLst>
                                          </p:cBhvr>
                                          <p:tavLst>
                                            <p:tav tm="0">
                                              <p:val>
                                                <p:strVal val="#ppt_x"/>
                                              </p:val>
                                            </p:tav>
                                            <p:tav tm="100000">
                                              <p:val>
                                                <p:strVal val="#ppt_x"/>
                                              </p:val>
                                            </p:tav>
                                          </p:tavLst>
                                        </p:anim>
                                        <p:anim calcmode="lin" valueType="num">
                                          <p:cBhvr additive="base">
                                            <p:cTn id="65" dur="500" fill="hold"/>
                                            <p:tgtEl>
                                              <p:spTgt spid="24"/>
                                            </p:tgtEl>
                                            <p:attrNameLst>
                                              <p:attrName>ppt_y</p:attrName>
                                            </p:attrNameLst>
                                          </p:cBhvr>
                                          <p:tavLst>
                                            <p:tav tm="0">
                                              <p:val>
                                                <p:strVal val="0-#ppt_h/2"/>
                                              </p:val>
                                            </p:tav>
                                            <p:tav tm="100000">
                                              <p:val>
                                                <p:strVal val="#ppt_y"/>
                                              </p:val>
                                            </p:tav>
                                          </p:tavLst>
                                        </p:anim>
                                      </p:childTnLst>
                                    </p:cTn>
                                  </p:par>
                                </p:childTnLst>
                              </p:cTn>
                            </p:par>
                            <p:par>
                              <p:cTn id="66" fill="hold">
                                <p:stCondLst>
                                  <p:cond delay="500"/>
                                </p:stCondLst>
                                <p:childTnLst>
                                  <p:par>
                                    <p:cTn id="67" presetID="22" presetClass="entr" presetSubtype="4" fill="hold" grpId="0" nodeType="afterEffect">
                                      <p:stCondLst>
                                        <p:cond delay="0"/>
                                      </p:stCondLst>
                                      <p:childTnLst>
                                        <p:set>
                                          <p:cBhvr>
                                            <p:cTn id="68" dur="1" fill="hold">
                                              <p:stCondLst>
                                                <p:cond delay="0"/>
                                              </p:stCondLst>
                                            </p:cTn>
                                            <p:tgtEl>
                                              <p:spTgt spid="26"/>
                                            </p:tgtEl>
                                            <p:attrNameLst>
                                              <p:attrName>style.visibility</p:attrName>
                                            </p:attrNameLst>
                                          </p:cBhvr>
                                          <p:to>
                                            <p:strVal val="visible"/>
                                          </p:to>
                                        </p:set>
                                        <p:animEffect transition="in" filter="wipe(down)">
                                          <p:cBhvr>
                                            <p:cTn id="69" dur="500"/>
                                            <p:tgtEl>
                                              <p:spTgt spid="26"/>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500"/>
                                            <p:tgtEl>
                                              <p:spTgt spid="25"/>
                                            </p:tgtEl>
                                          </p:cBhvr>
                                        </p:animEffect>
                                      </p:childTnLst>
                                    </p:cTn>
                                  </p:par>
                                </p:childTnLst>
                              </p:cTn>
                            </p:par>
                          </p:childTnLst>
                        </p:cTn>
                      </p:par>
                      <p:par>
                        <p:cTn id="74" fill="hold">
                          <p:stCondLst>
                            <p:cond delay="indefinite"/>
                          </p:stCondLst>
                          <p:childTnLst>
                            <p:par>
                              <p:cTn id="75" fill="hold">
                                <p:stCondLst>
                                  <p:cond delay="0"/>
                                </p:stCondLst>
                                <p:childTnLst>
                                  <p:par>
                                    <p:cTn id="76" presetID="2" presetClass="entr" presetSubtype="1" fill="hold" nodeType="clickEffect">
                                      <p:stCondLst>
                                        <p:cond delay="0"/>
                                      </p:stCondLst>
                                      <p:childTnLst>
                                        <p:set>
                                          <p:cBhvr>
                                            <p:cTn id="77" dur="1" fill="hold">
                                              <p:stCondLst>
                                                <p:cond delay="0"/>
                                              </p:stCondLst>
                                            </p:cTn>
                                            <p:tgtEl>
                                              <p:spTgt spid="81"/>
                                            </p:tgtEl>
                                            <p:attrNameLst>
                                              <p:attrName>style.visibility</p:attrName>
                                            </p:attrNameLst>
                                          </p:cBhvr>
                                          <p:to>
                                            <p:strVal val="visible"/>
                                          </p:to>
                                        </p:set>
                                        <p:anim calcmode="lin" valueType="num">
                                          <p:cBhvr additive="base">
                                            <p:cTn id="78" dur="500" fill="hold"/>
                                            <p:tgtEl>
                                              <p:spTgt spid="81"/>
                                            </p:tgtEl>
                                            <p:attrNameLst>
                                              <p:attrName>ppt_x</p:attrName>
                                            </p:attrNameLst>
                                          </p:cBhvr>
                                          <p:tavLst>
                                            <p:tav tm="0">
                                              <p:val>
                                                <p:strVal val="#ppt_x"/>
                                              </p:val>
                                            </p:tav>
                                            <p:tav tm="100000">
                                              <p:val>
                                                <p:strVal val="#ppt_x"/>
                                              </p:val>
                                            </p:tav>
                                          </p:tavLst>
                                        </p:anim>
                                        <p:anim calcmode="lin" valueType="num">
                                          <p:cBhvr additive="base">
                                            <p:cTn id="79" dur="500" fill="hold"/>
                                            <p:tgtEl>
                                              <p:spTgt spid="81"/>
                                            </p:tgtEl>
                                            <p:attrNameLst>
                                              <p:attrName>ppt_y</p:attrName>
                                            </p:attrNameLst>
                                          </p:cBhvr>
                                          <p:tavLst>
                                            <p:tav tm="0">
                                              <p:val>
                                                <p:strVal val="0-#ppt_h/2"/>
                                              </p:val>
                                            </p:tav>
                                            <p:tav tm="100000">
                                              <p:val>
                                                <p:strVal val="#ppt_y"/>
                                              </p:val>
                                            </p:tav>
                                          </p:tavLst>
                                        </p:anim>
                                      </p:childTnLst>
                                    </p:cTn>
                                  </p:par>
                                </p:childTnLst>
                              </p:cTn>
                            </p:par>
                            <p:par>
                              <p:cTn id="80" fill="hold">
                                <p:stCondLst>
                                  <p:cond delay="500"/>
                                </p:stCondLst>
                                <p:childTnLst>
                                  <p:par>
                                    <p:cTn id="81" presetID="22" presetClass="entr" presetSubtype="4" fill="hold" grpId="0" nodeType="afterEffect">
                                      <p:stCondLst>
                                        <p:cond delay="0"/>
                                      </p:stCondLst>
                                      <p:childTnLst>
                                        <p:set>
                                          <p:cBhvr>
                                            <p:cTn id="82" dur="1" fill="hold">
                                              <p:stCondLst>
                                                <p:cond delay="0"/>
                                              </p:stCondLst>
                                            </p:cTn>
                                            <p:tgtEl>
                                              <p:spTgt spid="83"/>
                                            </p:tgtEl>
                                            <p:attrNameLst>
                                              <p:attrName>style.visibility</p:attrName>
                                            </p:attrNameLst>
                                          </p:cBhvr>
                                          <p:to>
                                            <p:strVal val="visible"/>
                                          </p:to>
                                        </p:set>
                                        <p:animEffect transition="in" filter="wipe(down)">
                                          <p:cBhvr>
                                            <p:cTn id="83" dur="500"/>
                                            <p:tgtEl>
                                              <p:spTgt spid="83"/>
                                            </p:tgtEl>
                                          </p:cBhvr>
                                        </p:animEffec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82"/>
                                            </p:tgtEl>
                                            <p:attrNameLst>
                                              <p:attrName>style.visibility</p:attrName>
                                            </p:attrNameLst>
                                          </p:cBhvr>
                                          <p:to>
                                            <p:strVal val="visible"/>
                                          </p:to>
                                        </p:set>
                                        <p:animEffect transition="in" filter="fade">
                                          <p:cBhvr>
                                            <p:cTn id="87" dur="500"/>
                                            <p:tgtEl>
                                              <p:spTgt spid="82"/>
                                            </p:tgtEl>
                                          </p:cBhvr>
                                        </p:animEffect>
                                      </p:childTnLst>
                                    </p:cTn>
                                  </p:par>
                                </p:childTnLst>
                              </p:cTn>
                            </p:par>
                          </p:childTnLst>
                        </p:cTn>
                      </p:par>
                      <p:par>
                        <p:cTn id="88" fill="hold">
                          <p:stCondLst>
                            <p:cond delay="indefinite"/>
                          </p:stCondLst>
                          <p:childTnLst>
                            <p:par>
                              <p:cTn id="89" fill="hold">
                                <p:stCondLst>
                                  <p:cond delay="0"/>
                                </p:stCondLst>
                                <p:childTnLst>
                                  <p:par>
                                    <p:cTn id="90" presetID="2" presetClass="entr" presetSubtype="1" fill="hold" nodeType="clickEffect">
                                      <p:stCondLst>
                                        <p:cond delay="0"/>
                                      </p:stCondLst>
                                      <p:childTnLst>
                                        <p:set>
                                          <p:cBhvr>
                                            <p:cTn id="91" dur="1" fill="hold">
                                              <p:stCondLst>
                                                <p:cond delay="0"/>
                                              </p:stCondLst>
                                            </p:cTn>
                                            <p:tgtEl>
                                              <p:spTgt spid="84"/>
                                            </p:tgtEl>
                                            <p:attrNameLst>
                                              <p:attrName>style.visibility</p:attrName>
                                            </p:attrNameLst>
                                          </p:cBhvr>
                                          <p:to>
                                            <p:strVal val="visible"/>
                                          </p:to>
                                        </p:set>
                                        <p:anim calcmode="lin" valueType="num">
                                          <p:cBhvr additive="base">
                                            <p:cTn id="92" dur="500" fill="hold"/>
                                            <p:tgtEl>
                                              <p:spTgt spid="84"/>
                                            </p:tgtEl>
                                            <p:attrNameLst>
                                              <p:attrName>ppt_x</p:attrName>
                                            </p:attrNameLst>
                                          </p:cBhvr>
                                          <p:tavLst>
                                            <p:tav tm="0">
                                              <p:val>
                                                <p:strVal val="#ppt_x"/>
                                              </p:val>
                                            </p:tav>
                                            <p:tav tm="100000">
                                              <p:val>
                                                <p:strVal val="#ppt_x"/>
                                              </p:val>
                                            </p:tav>
                                          </p:tavLst>
                                        </p:anim>
                                        <p:anim calcmode="lin" valueType="num">
                                          <p:cBhvr additive="base">
                                            <p:cTn id="93" dur="500" fill="hold"/>
                                            <p:tgtEl>
                                              <p:spTgt spid="84"/>
                                            </p:tgtEl>
                                            <p:attrNameLst>
                                              <p:attrName>ppt_y</p:attrName>
                                            </p:attrNameLst>
                                          </p:cBhvr>
                                          <p:tavLst>
                                            <p:tav tm="0">
                                              <p:val>
                                                <p:strVal val="0-#ppt_h/2"/>
                                              </p:val>
                                            </p:tav>
                                            <p:tav tm="100000">
                                              <p:val>
                                                <p:strVal val="#ppt_y"/>
                                              </p:val>
                                            </p:tav>
                                          </p:tavLst>
                                        </p:anim>
                                      </p:childTnLst>
                                    </p:cTn>
                                  </p:par>
                                </p:childTnLst>
                              </p:cTn>
                            </p:par>
                            <p:par>
                              <p:cTn id="94" fill="hold">
                                <p:stCondLst>
                                  <p:cond delay="500"/>
                                </p:stCondLst>
                                <p:childTnLst>
                                  <p:par>
                                    <p:cTn id="95" presetID="22" presetClass="entr" presetSubtype="4" fill="hold" grpId="0" nodeType="afterEffect">
                                      <p:stCondLst>
                                        <p:cond delay="0"/>
                                      </p:stCondLst>
                                      <p:childTnLst>
                                        <p:set>
                                          <p:cBhvr>
                                            <p:cTn id="96" dur="1" fill="hold">
                                              <p:stCondLst>
                                                <p:cond delay="0"/>
                                              </p:stCondLst>
                                            </p:cTn>
                                            <p:tgtEl>
                                              <p:spTgt spid="86"/>
                                            </p:tgtEl>
                                            <p:attrNameLst>
                                              <p:attrName>style.visibility</p:attrName>
                                            </p:attrNameLst>
                                          </p:cBhvr>
                                          <p:to>
                                            <p:strVal val="visible"/>
                                          </p:to>
                                        </p:set>
                                        <p:animEffect transition="in" filter="wipe(down)">
                                          <p:cBhvr>
                                            <p:cTn id="97" dur="500"/>
                                            <p:tgtEl>
                                              <p:spTgt spid="86"/>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85"/>
                                            </p:tgtEl>
                                            <p:attrNameLst>
                                              <p:attrName>style.visibility</p:attrName>
                                            </p:attrNameLst>
                                          </p:cBhvr>
                                          <p:to>
                                            <p:strVal val="visible"/>
                                          </p:to>
                                        </p:set>
                                        <p:animEffect transition="in" filter="fade">
                                          <p:cBhvr>
                                            <p:cTn id="101" dur="500"/>
                                            <p:tgtEl>
                                              <p:spTgt spid="85"/>
                                            </p:tgtEl>
                                          </p:cBhvr>
                                        </p:animEffect>
                                      </p:childTnLst>
                                    </p:cTn>
                                  </p:par>
                                </p:childTnLst>
                              </p:cTn>
                            </p:par>
                          </p:childTnLst>
                        </p:cTn>
                      </p:par>
                      <p:par>
                        <p:cTn id="102" fill="hold">
                          <p:stCondLst>
                            <p:cond delay="indefinite"/>
                          </p:stCondLst>
                          <p:childTnLst>
                            <p:par>
                              <p:cTn id="103" fill="hold">
                                <p:stCondLst>
                                  <p:cond delay="0"/>
                                </p:stCondLst>
                                <p:childTnLst>
                                  <p:par>
                                    <p:cTn id="104" presetID="2" presetClass="entr" presetSubtype="1" fill="hold" nodeType="clickEffect">
                                      <p:stCondLst>
                                        <p:cond delay="0"/>
                                      </p:stCondLst>
                                      <p:childTnLst>
                                        <p:set>
                                          <p:cBhvr>
                                            <p:cTn id="105" dur="1" fill="hold">
                                              <p:stCondLst>
                                                <p:cond delay="0"/>
                                              </p:stCondLst>
                                            </p:cTn>
                                            <p:tgtEl>
                                              <p:spTgt spid="87"/>
                                            </p:tgtEl>
                                            <p:attrNameLst>
                                              <p:attrName>style.visibility</p:attrName>
                                            </p:attrNameLst>
                                          </p:cBhvr>
                                          <p:to>
                                            <p:strVal val="visible"/>
                                          </p:to>
                                        </p:set>
                                        <p:anim calcmode="lin" valueType="num">
                                          <p:cBhvr additive="base">
                                            <p:cTn id="106" dur="500" fill="hold"/>
                                            <p:tgtEl>
                                              <p:spTgt spid="87"/>
                                            </p:tgtEl>
                                            <p:attrNameLst>
                                              <p:attrName>ppt_x</p:attrName>
                                            </p:attrNameLst>
                                          </p:cBhvr>
                                          <p:tavLst>
                                            <p:tav tm="0">
                                              <p:val>
                                                <p:strVal val="#ppt_x"/>
                                              </p:val>
                                            </p:tav>
                                            <p:tav tm="100000">
                                              <p:val>
                                                <p:strVal val="#ppt_x"/>
                                              </p:val>
                                            </p:tav>
                                          </p:tavLst>
                                        </p:anim>
                                        <p:anim calcmode="lin" valueType="num">
                                          <p:cBhvr additive="base">
                                            <p:cTn id="107" dur="500" fill="hold"/>
                                            <p:tgtEl>
                                              <p:spTgt spid="87"/>
                                            </p:tgtEl>
                                            <p:attrNameLst>
                                              <p:attrName>ppt_y</p:attrName>
                                            </p:attrNameLst>
                                          </p:cBhvr>
                                          <p:tavLst>
                                            <p:tav tm="0">
                                              <p:val>
                                                <p:strVal val="0-#ppt_h/2"/>
                                              </p:val>
                                            </p:tav>
                                            <p:tav tm="100000">
                                              <p:val>
                                                <p:strVal val="#ppt_y"/>
                                              </p:val>
                                            </p:tav>
                                          </p:tavLst>
                                        </p:anim>
                                      </p:childTnLst>
                                    </p:cTn>
                                  </p:par>
                                </p:childTnLst>
                              </p:cTn>
                            </p:par>
                            <p:par>
                              <p:cTn id="108" fill="hold">
                                <p:stCondLst>
                                  <p:cond delay="500"/>
                                </p:stCondLst>
                                <p:childTnLst>
                                  <p:par>
                                    <p:cTn id="109" presetID="22" presetClass="entr" presetSubtype="4" fill="hold" grpId="0" nodeType="afterEffect">
                                      <p:stCondLst>
                                        <p:cond delay="0"/>
                                      </p:stCondLst>
                                      <p:childTnLst>
                                        <p:set>
                                          <p:cBhvr>
                                            <p:cTn id="110" dur="1" fill="hold">
                                              <p:stCondLst>
                                                <p:cond delay="0"/>
                                              </p:stCondLst>
                                            </p:cTn>
                                            <p:tgtEl>
                                              <p:spTgt spid="89"/>
                                            </p:tgtEl>
                                            <p:attrNameLst>
                                              <p:attrName>style.visibility</p:attrName>
                                            </p:attrNameLst>
                                          </p:cBhvr>
                                          <p:to>
                                            <p:strVal val="visible"/>
                                          </p:to>
                                        </p:set>
                                        <p:animEffect transition="in" filter="wipe(down)">
                                          <p:cBhvr>
                                            <p:cTn id="111" dur="500"/>
                                            <p:tgtEl>
                                              <p:spTgt spid="89"/>
                                            </p:tgtEl>
                                          </p:cBhvr>
                                        </p:animEffect>
                                      </p:childTnLst>
                                    </p:cTn>
                                  </p:par>
                                </p:childTnLst>
                              </p:cTn>
                            </p:par>
                            <p:par>
                              <p:cTn id="112" fill="hold">
                                <p:stCondLst>
                                  <p:cond delay="1000"/>
                                </p:stCondLst>
                                <p:childTnLst>
                                  <p:par>
                                    <p:cTn id="113" presetID="10" presetClass="entr" presetSubtype="0" fill="hold" grpId="0" nodeType="afterEffect">
                                      <p:stCondLst>
                                        <p:cond delay="0"/>
                                      </p:stCondLst>
                                      <p:childTnLst>
                                        <p:set>
                                          <p:cBhvr>
                                            <p:cTn id="114" dur="1" fill="hold">
                                              <p:stCondLst>
                                                <p:cond delay="0"/>
                                              </p:stCondLst>
                                            </p:cTn>
                                            <p:tgtEl>
                                              <p:spTgt spid="88"/>
                                            </p:tgtEl>
                                            <p:attrNameLst>
                                              <p:attrName>style.visibility</p:attrName>
                                            </p:attrNameLst>
                                          </p:cBhvr>
                                          <p:to>
                                            <p:strVal val="visible"/>
                                          </p:to>
                                        </p:set>
                                        <p:animEffect transition="in" filter="fade">
                                          <p:cBhvr>
                                            <p:cTn id="115" dur="500"/>
                                            <p:tgtEl>
                                              <p:spTgt spid="88"/>
                                            </p:tgtEl>
                                          </p:cBhvr>
                                        </p:animEffect>
                                      </p:childTnLst>
                                    </p:cTn>
                                  </p:par>
                                </p:childTnLst>
                              </p:cTn>
                            </p:par>
                          </p:childTnLst>
                        </p:cTn>
                      </p:par>
                      <p:par>
                        <p:cTn id="116" fill="hold">
                          <p:stCondLst>
                            <p:cond delay="indefinite"/>
                          </p:stCondLst>
                          <p:childTnLst>
                            <p:par>
                              <p:cTn id="117" fill="hold">
                                <p:stCondLst>
                                  <p:cond delay="0"/>
                                </p:stCondLst>
                                <p:childTnLst>
                                  <p:par>
                                    <p:cTn id="118" presetID="2" presetClass="entr" presetSubtype="1" fill="hold" nodeType="clickEffect">
                                      <p:stCondLst>
                                        <p:cond delay="0"/>
                                      </p:stCondLst>
                                      <p:childTnLst>
                                        <p:set>
                                          <p:cBhvr>
                                            <p:cTn id="119" dur="1" fill="hold">
                                              <p:stCondLst>
                                                <p:cond delay="0"/>
                                              </p:stCondLst>
                                            </p:cTn>
                                            <p:tgtEl>
                                              <p:spTgt spid="93"/>
                                            </p:tgtEl>
                                            <p:attrNameLst>
                                              <p:attrName>style.visibility</p:attrName>
                                            </p:attrNameLst>
                                          </p:cBhvr>
                                          <p:to>
                                            <p:strVal val="visible"/>
                                          </p:to>
                                        </p:set>
                                        <p:anim calcmode="lin" valueType="num">
                                          <p:cBhvr additive="base">
                                            <p:cTn id="120" dur="500" fill="hold"/>
                                            <p:tgtEl>
                                              <p:spTgt spid="93"/>
                                            </p:tgtEl>
                                            <p:attrNameLst>
                                              <p:attrName>ppt_x</p:attrName>
                                            </p:attrNameLst>
                                          </p:cBhvr>
                                          <p:tavLst>
                                            <p:tav tm="0">
                                              <p:val>
                                                <p:strVal val="#ppt_x"/>
                                              </p:val>
                                            </p:tav>
                                            <p:tav tm="100000">
                                              <p:val>
                                                <p:strVal val="#ppt_x"/>
                                              </p:val>
                                            </p:tav>
                                          </p:tavLst>
                                        </p:anim>
                                        <p:anim calcmode="lin" valueType="num">
                                          <p:cBhvr additive="base">
                                            <p:cTn id="121" dur="500" fill="hold"/>
                                            <p:tgtEl>
                                              <p:spTgt spid="93"/>
                                            </p:tgtEl>
                                            <p:attrNameLst>
                                              <p:attrName>ppt_y</p:attrName>
                                            </p:attrNameLst>
                                          </p:cBhvr>
                                          <p:tavLst>
                                            <p:tav tm="0">
                                              <p:val>
                                                <p:strVal val="0-#ppt_h/2"/>
                                              </p:val>
                                            </p:tav>
                                            <p:tav tm="100000">
                                              <p:val>
                                                <p:strVal val="#ppt_y"/>
                                              </p:val>
                                            </p:tav>
                                          </p:tavLst>
                                        </p:anim>
                                      </p:childTnLst>
                                    </p:cTn>
                                  </p:par>
                                </p:childTnLst>
                              </p:cTn>
                            </p:par>
                            <p:par>
                              <p:cTn id="122" fill="hold">
                                <p:stCondLst>
                                  <p:cond delay="500"/>
                                </p:stCondLst>
                                <p:childTnLst>
                                  <p:par>
                                    <p:cTn id="123" presetID="22" presetClass="entr" presetSubtype="4" fill="hold" grpId="0" nodeType="afterEffect">
                                      <p:stCondLst>
                                        <p:cond delay="0"/>
                                      </p:stCondLst>
                                      <p:childTnLst>
                                        <p:set>
                                          <p:cBhvr>
                                            <p:cTn id="124" dur="1" fill="hold">
                                              <p:stCondLst>
                                                <p:cond delay="0"/>
                                              </p:stCondLst>
                                            </p:cTn>
                                            <p:tgtEl>
                                              <p:spTgt spid="95"/>
                                            </p:tgtEl>
                                            <p:attrNameLst>
                                              <p:attrName>style.visibility</p:attrName>
                                            </p:attrNameLst>
                                          </p:cBhvr>
                                          <p:to>
                                            <p:strVal val="visible"/>
                                          </p:to>
                                        </p:set>
                                        <p:animEffect transition="in" filter="wipe(down)">
                                          <p:cBhvr>
                                            <p:cTn id="125" dur="500"/>
                                            <p:tgtEl>
                                              <p:spTgt spid="95"/>
                                            </p:tgtEl>
                                          </p:cBhvr>
                                        </p:animEffect>
                                      </p:childTnLst>
                                    </p:cTn>
                                  </p:par>
                                </p:childTnLst>
                              </p:cTn>
                            </p:par>
                            <p:par>
                              <p:cTn id="126" fill="hold">
                                <p:stCondLst>
                                  <p:cond delay="1000"/>
                                </p:stCondLst>
                                <p:childTnLst>
                                  <p:par>
                                    <p:cTn id="127" presetID="10" presetClass="entr" presetSubtype="0" fill="hold" grpId="0" nodeType="afterEffect">
                                      <p:stCondLst>
                                        <p:cond delay="0"/>
                                      </p:stCondLst>
                                      <p:childTnLst>
                                        <p:set>
                                          <p:cBhvr>
                                            <p:cTn id="128" dur="1" fill="hold">
                                              <p:stCondLst>
                                                <p:cond delay="0"/>
                                              </p:stCondLst>
                                            </p:cTn>
                                            <p:tgtEl>
                                              <p:spTgt spid="94"/>
                                            </p:tgtEl>
                                            <p:attrNameLst>
                                              <p:attrName>style.visibility</p:attrName>
                                            </p:attrNameLst>
                                          </p:cBhvr>
                                          <p:to>
                                            <p:strVal val="visible"/>
                                          </p:to>
                                        </p:set>
                                        <p:animEffect transition="in" filter="fade">
                                          <p:cBhvr>
                                            <p:cTn id="129" dur="500"/>
                                            <p:tgtEl>
                                              <p:spTgt spid="94"/>
                                            </p:tgtEl>
                                          </p:cBhvr>
                                        </p:animEffect>
                                      </p:childTnLst>
                                    </p:cTn>
                                  </p:par>
                                </p:childTnLst>
                              </p:cTn>
                            </p:par>
                          </p:childTnLst>
                        </p:cTn>
                      </p:par>
                      <p:par>
                        <p:cTn id="130" fill="hold">
                          <p:stCondLst>
                            <p:cond delay="indefinite"/>
                          </p:stCondLst>
                          <p:childTnLst>
                            <p:par>
                              <p:cTn id="131" fill="hold">
                                <p:stCondLst>
                                  <p:cond delay="0"/>
                                </p:stCondLst>
                                <p:childTnLst>
                                  <p:par>
                                    <p:cTn id="132" presetID="2" presetClass="entr" presetSubtype="1" fill="hold" nodeType="clickEffect">
                                      <p:stCondLst>
                                        <p:cond delay="0"/>
                                      </p:stCondLst>
                                      <p:childTnLst>
                                        <p:set>
                                          <p:cBhvr>
                                            <p:cTn id="133" dur="1" fill="hold">
                                              <p:stCondLst>
                                                <p:cond delay="0"/>
                                              </p:stCondLst>
                                            </p:cTn>
                                            <p:tgtEl>
                                              <p:spTgt spid="33"/>
                                            </p:tgtEl>
                                            <p:attrNameLst>
                                              <p:attrName>style.visibility</p:attrName>
                                            </p:attrNameLst>
                                          </p:cBhvr>
                                          <p:to>
                                            <p:strVal val="visible"/>
                                          </p:to>
                                        </p:set>
                                        <p:anim calcmode="lin" valueType="num">
                                          <p:cBhvr additive="base">
                                            <p:cTn id="134" dur="500" fill="hold"/>
                                            <p:tgtEl>
                                              <p:spTgt spid="33"/>
                                            </p:tgtEl>
                                            <p:attrNameLst>
                                              <p:attrName>ppt_x</p:attrName>
                                            </p:attrNameLst>
                                          </p:cBhvr>
                                          <p:tavLst>
                                            <p:tav tm="0">
                                              <p:val>
                                                <p:strVal val="#ppt_x"/>
                                              </p:val>
                                            </p:tav>
                                            <p:tav tm="100000">
                                              <p:val>
                                                <p:strVal val="#ppt_x"/>
                                              </p:val>
                                            </p:tav>
                                          </p:tavLst>
                                        </p:anim>
                                        <p:anim calcmode="lin" valueType="num">
                                          <p:cBhvr additive="base">
                                            <p:cTn id="135" dur="500" fill="hold"/>
                                            <p:tgtEl>
                                              <p:spTgt spid="33"/>
                                            </p:tgtEl>
                                            <p:attrNameLst>
                                              <p:attrName>ppt_y</p:attrName>
                                            </p:attrNameLst>
                                          </p:cBhvr>
                                          <p:tavLst>
                                            <p:tav tm="0">
                                              <p:val>
                                                <p:strVal val="0-#ppt_h/2"/>
                                              </p:val>
                                            </p:tav>
                                            <p:tav tm="100000">
                                              <p:val>
                                                <p:strVal val="#ppt_y"/>
                                              </p:val>
                                            </p:tav>
                                          </p:tavLst>
                                        </p:anim>
                                      </p:childTnLst>
                                    </p:cTn>
                                  </p:par>
                                </p:childTnLst>
                              </p:cTn>
                            </p:par>
                            <p:par>
                              <p:cTn id="136" fill="hold">
                                <p:stCondLst>
                                  <p:cond delay="500"/>
                                </p:stCondLst>
                                <p:childTnLst>
                                  <p:par>
                                    <p:cTn id="137" presetID="22" presetClass="entr" presetSubtype="4" fill="hold" grpId="0" nodeType="afterEffect">
                                      <p:stCondLst>
                                        <p:cond delay="0"/>
                                      </p:stCondLst>
                                      <p:childTnLst>
                                        <p:set>
                                          <p:cBhvr>
                                            <p:cTn id="138" dur="1" fill="hold">
                                              <p:stCondLst>
                                                <p:cond delay="0"/>
                                              </p:stCondLst>
                                            </p:cTn>
                                            <p:tgtEl>
                                              <p:spTgt spid="35"/>
                                            </p:tgtEl>
                                            <p:attrNameLst>
                                              <p:attrName>style.visibility</p:attrName>
                                            </p:attrNameLst>
                                          </p:cBhvr>
                                          <p:to>
                                            <p:strVal val="visible"/>
                                          </p:to>
                                        </p:set>
                                        <p:animEffect transition="in" filter="wipe(down)">
                                          <p:cBhvr>
                                            <p:cTn id="139" dur="500"/>
                                            <p:tgtEl>
                                              <p:spTgt spid="35"/>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34"/>
                                            </p:tgtEl>
                                            <p:attrNameLst>
                                              <p:attrName>style.visibility</p:attrName>
                                            </p:attrNameLst>
                                          </p:cBhvr>
                                          <p:to>
                                            <p:strVal val="visible"/>
                                          </p:to>
                                        </p:set>
                                        <p:animEffect transition="in" filter="fade">
                                          <p:cBhvr>
                                            <p:cTn id="143"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82" grpId="0"/>
          <p:bldP spid="83" grpId="0" animBg="1"/>
          <p:bldP spid="85" grpId="0"/>
          <p:bldP spid="86" grpId="0" animBg="1"/>
          <p:bldP spid="88" grpId="0"/>
          <p:bldP spid="89" grpId="0" animBg="1"/>
          <p:bldP spid="91" grpId="0"/>
          <p:bldP spid="92" grpId="0" animBg="1"/>
          <p:bldP spid="94" grpId="0"/>
          <p:bldP spid="95" grpId="0" animBg="1"/>
          <p:bldP spid="25" grpId="0"/>
          <p:bldP spid="26" grpId="0" animBg="1"/>
          <p:bldP spid="28" grpId="0"/>
          <p:bldP spid="29" grpId="0" animBg="1"/>
          <p:bldP spid="31" grpId="0"/>
          <p:bldP spid="32" grpId="0" animBg="1"/>
          <p:bldP spid="34" grpId="0"/>
          <p:bldP spid="35" grpId="0" animBg="1"/>
          <p:bldP spid="2" grpId="0"/>
        </p:bldLst>
      </p:timing>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 name="Freeform 37">
            <a:extLst>
              <a:ext uri="{FF2B5EF4-FFF2-40B4-BE49-F238E27FC236}">
                <a16:creationId xmlns:a16="http://schemas.microsoft.com/office/drawing/2014/main" id="{B6321DF2-2448-43C2-88B7-81FCF13A52EB}"/>
              </a:ext>
            </a:extLst>
          </p:cNvPr>
          <p:cNvSpPr/>
          <p:nvPr/>
        </p:nvSpPr>
        <p:spPr bwMode="auto">
          <a:xfrm>
            <a:off x="7146019" y="1938938"/>
            <a:ext cx="2898301" cy="1960047"/>
          </a:xfrm>
          <a:custGeom>
            <a:avLst/>
            <a:gdLst>
              <a:gd name="T0" fmla="*/ 724 w 763"/>
              <a:gd name="T1" fmla="*/ 223 h 624"/>
              <a:gd name="T2" fmla="*/ 726 w 763"/>
              <a:gd name="T3" fmla="*/ 208 h 624"/>
              <a:gd name="T4" fmla="*/ 736 w 763"/>
              <a:gd name="T5" fmla="*/ 166 h 624"/>
              <a:gd name="T6" fmla="*/ 730 w 763"/>
              <a:gd name="T7" fmla="*/ 136 h 624"/>
              <a:gd name="T8" fmla="*/ 742 w 763"/>
              <a:gd name="T9" fmla="*/ 67 h 624"/>
              <a:gd name="T10" fmla="*/ 696 w 763"/>
              <a:gd name="T11" fmla="*/ 39 h 624"/>
              <a:gd name="T12" fmla="*/ 642 w 763"/>
              <a:gd name="T13" fmla="*/ 48 h 624"/>
              <a:gd name="T14" fmla="*/ 580 w 763"/>
              <a:gd name="T15" fmla="*/ 46 h 624"/>
              <a:gd name="T16" fmla="*/ 532 w 763"/>
              <a:gd name="T17" fmla="*/ 40 h 624"/>
              <a:gd name="T18" fmla="*/ 458 w 763"/>
              <a:gd name="T19" fmla="*/ 63 h 624"/>
              <a:gd name="T20" fmla="*/ 452 w 763"/>
              <a:gd name="T21" fmla="*/ 33 h 624"/>
              <a:gd name="T22" fmla="*/ 387 w 763"/>
              <a:gd name="T23" fmla="*/ 42 h 624"/>
              <a:gd name="T24" fmla="*/ 347 w 763"/>
              <a:gd name="T25" fmla="*/ 92 h 624"/>
              <a:gd name="T26" fmla="*/ 273 w 763"/>
              <a:gd name="T27" fmla="*/ 63 h 624"/>
              <a:gd name="T28" fmla="*/ 185 w 763"/>
              <a:gd name="T29" fmla="*/ 39 h 624"/>
              <a:gd name="T30" fmla="*/ 122 w 763"/>
              <a:gd name="T31" fmla="*/ 14 h 624"/>
              <a:gd name="T32" fmla="*/ 124 w 763"/>
              <a:gd name="T33" fmla="*/ 48 h 624"/>
              <a:gd name="T34" fmla="*/ 130 w 763"/>
              <a:gd name="T35" fmla="*/ 56 h 624"/>
              <a:gd name="T36" fmla="*/ 86 w 763"/>
              <a:gd name="T37" fmla="*/ 82 h 624"/>
              <a:gd name="T38" fmla="*/ 111 w 763"/>
              <a:gd name="T39" fmla="*/ 132 h 624"/>
              <a:gd name="T40" fmla="*/ 67 w 763"/>
              <a:gd name="T41" fmla="*/ 137 h 624"/>
              <a:gd name="T42" fmla="*/ 67 w 763"/>
              <a:gd name="T43" fmla="*/ 179 h 624"/>
              <a:gd name="T44" fmla="*/ 38 w 763"/>
              <a:gd name="T45" fmla="*/ 196 h 624"/>
              <a:gd name="T46" fmla="*/ 2 w 763"/>
              <a:gd name="T47" fmla="*/ 206 h 624"/>
              <a:gd name="T48" fmla="*/ 8 w 763"/>
              <a:gd name="T49" fmla="*/ 244 h 624"/>
              <a:gd name="T50" fmla="*/ 35 w 763"/>
              <a:gd name="T51" fmla="*/ 276 h 624"/>
              <a:gd name="T52" fmla="*/ 16 w 763"/>
              <a:gd name="T53" fmla="*/ 288 h 624"/>
              <a:gd name="T54" fmla="*/ 29 w 763"/>
              <a:gd name="T55" fmla="*/ 286 h 624"/>
              <a:gd name="T56" fmla="*/ 31 w 763"/>
              <a:gd name="T57" fmla="*/ 312 h 624"/>
              <a:gd name="T58" fmla="*/ 35 w 763"/>
              <a:gd name="T59" fmla="*/ 350 h 624"/>
              <a:gd name="T60" fmla="*/ 37 w 763"/>
              <a:gd name="T61" fmla="*/ 377 h 624"/>
              <a:gd name="T62" fmla="*/ 37 w 763"/>
              <a:gd name="T63" fmla="*/ 390 h 624"/>
              <a:gd name="T64" fmla="*/ 44 w 763"/>
              <a:gd name="T65" fmla="*/ 438 h 624"/>
              <a:gd name="T66" fmla="*/ 57 w 763"/>
              <a:gd name="T67" fmla="*/ 493 h 624"/>
              <a:gd name="T68" fmla="*/ 61 w 763"/>
              <a:gd name="T69" fmla="*/ 531 h 624"/>
              <a:gd name="T70" fmla="*/ 71 w 763"/>
              <a:gd name="T71" fmla="*/ 565 h 624"/>
              <a:gd name="T72" fmla="*/ 92 w 763"/>
              <a:gd name="T73" fmla="*/ 607 h 624"/>
              <a:gd name="T74" fmla="*/ 134 w 763"/>
              <a:gd name="T75" fmla="*/ 620 h 624"/>
              <a:gd name="T76" fmla="*/ 162 w 763"/>
              <a:gd name="T77" fmla="*/ 592 h 624"/>
              <a:gd name="T78" fmla="*/ 155 w 763"/>
              <a:gd name="T79" fmla="*/ 562 h 624"/>
              <a:gd name="T80" fmla="*/ 151 w 763"/>
              <a:gd name="T81" fmla="*/ 543 h 624"/>
              <a:gd name="T82" fmla="*/ 158 w 763"/>
              <a:gd name="T83" fmla="*/ 535 h 624"/>
              <a:gd name="T84" fmla="*/ 183 w 763"/>
              <a:gd name="T85" fmla="*/ 531 h 624"/>
              <a:gd name="T86" fmla="*/ 202 w 763"/>
              <a:gd name="T87" fmla="*/ 506 h 624"/>
              <a:gd name="T88" fmla="*/ 240 w 763"/>
              <a:gd name="T89" fmla="*/ 497 h 624"/>
              <a:gd name="T90" fmla="*/ 277 w 763"/>
              <a:gd name="T91" fmla="*/ 484 h 624"/>
              <a:gd name="T92" fmla="*/ 280 w 763"/>
              <a:gd name="T93" fmla="*/ 451 h 624"/>
              <a:gd name="T94" fmla="*/ 326 w 763"/>
              <a:gd name="T95" fmla="*/ 455 h 624"/>
              <a:gd name="T96" fmla="*/ 340 w 763"/>
              <a:gd name="T97" fmla="*/ 432 h 624"/>
              <a:gd name="T98" fmla="*/ 378 w 763"/>
              <a:gd name="T99" fmla="*/ 413 h 624"/>
              <a:gd name="T100" fmla="*/ 410 w 763"/>
              <a:gd name="T101" fmla="*/ 375 h 624"/>
              <a:gd name="T102" fmla="*/ 446 w 763"/>
              <a:gd name="T103" fmla="*/ 368 h 624"/>
              <a:gd name="T104" fmla="*/ 467 w 763"/>
              <a:gd name="T105" fmla="*/ 335 h 624"/>
              <a:gd name="T106" fmla="*/ 477 w 763"/>
              <a:gd name="T107" fmla="*/ 303 h 624"/>
              <a:gd name="T108" fmla="*/ 484 w 763"/>
              <a:gd name="T109" fmla="*/ 272 h 624"/>
              <a:gd name="T110" fmla="*/ 511 w 763"/>
              <a:gd name="T111" fmla="*/ 263 h 624"/>
              <a:gd name="T112" fmla="*/ 528 w 763"/>
              <a:gd name="T113" fmla="*/ 213 h 624"/>
              <a:gd name="T114" fmla="*/ 572 w 763"/>
              <a:gd name="T115" fmla="*/ 227 h 624"/>
              <a:gd name="T116" fmla="*/ 610 w 763"/>
              <a:gd name="T117" fmla="*/ 240 h 624"/>
              <a:gd name="T118" fmla="*/ 663 w 763"/>
              <a:gd name="T119" fmla="*/ 244 h 624"/>
              <a:gd name="T120" fmla="*/ 669 w 763"/>
              <a:gd name="T121" fmla="*/ 286 h 624"/>
              <a:gd name="T122" fmla="*/ 711 w 763"/>
              <a:gd name="T123" fmla="*/ 290 h 624"/>
              <a:gd name="T124" fmla="*/ 755 w 763"/>
              <a:gd name="T125" fmla="*/ 26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3" h="624">
                <a:moveTo>
                  <a:pt x="761" y="252"/>
                </a:moveTo>
                <a:lnTo>
                  <a:pt x="761" y="250"/>
                </a:lnTo>
                <a:lnTo>
                  <a:pt x="757" y="248"/>
                </a:lnTo>
                <a:lnTo>
                  <a:pt x="757" y="246"/>
                </a:lnTo>
                <a:lnTo>
                  <a:pt x="755" y="244"/>
                </a:lnTo>
                <a:lnTo>
                  <a:pt x="755" y="244"/>
                </a:lnTo>
                <a:lnTo>
                  <a:pt x="755" y="244"/>
                </a:lnTo>
                <a:lnTo>
                  <a:pt x="753" y="244"/>
                </a:lnTo>
                <a:lnTo>
                  <a:pt x="751" y="242"/>
                </a:lnTo>
                <a:lnTo>
                  <a:pt x="749" y="242"/>
                </a:lnTo>
                <a:lnTo>
                  <a:pt x="745" y="240"/>
                </a:lnTo>
                <a:lnTo>
                  <a:pt x="743" y="240"/>
                </a:lnTo>
                <a:lnTo>
                  <a:pt x="743" y="238"/>
                </a:lnTo>
                <a:lnTo>
                  <a:pt x="742" y="238"/>
                </a:lnTo>
                <a:lnTo>
                  <a:pt x="742" y="233"/>
                </a:lnTo>
                <a:lnTo>
                  <a:pt x="740" y="231"/>
                </a:lnTo>
                <a:lnTo>
                  <a:pt x="740" y="231"/>
                </a:lnTo>
                <a:lnTo>
                  <a:pt x="740" y="231"/>
                </a:lnTo>
                <a:lnTo>
                  <a:pt x="738" y="229"/>
                </a:lnTo>
                <a:lnTo>
                  <a:pt x="734" y="229"/>
                </a:lnTo>
                <a:lnTo>
                  <a:pt x="734" y="229"/>
                </a:lnTo>
                <a:lnTo>
                  <a:pt x="732" y="227"/>
                </a:lnTo>
                <a:lnTo>
                  <a:pt x="730" y="227"/>
                </a:lnTo>
                <a:lnTo>
                  <a:pt x="730" y="225"/>
                </a:lnTo>
                <a:lnTo>
                  <a:pt x="730" y="221"/>
                </a:lnTo>
                <a:lnTo>
                  <a:pt x="728" y="219"/>
                </a:lnTo>
                <a:lnTo>
                  <a:pt x="728" y="219"/>
                </a:lnTo>
                <a:lnTo>
                  <a:pt x="728" y="219"/>
                </a:lnTo>
                <a:lnTo>
                  <a:pt x="726" y="219"/>
                </a:lnTo>
                <a:lnTo>
                  <a:pt x="726" y="219"/>
                </a:lnTo>
                <a:lnTo>
                  <a:pt x="724" y="219"/>
                </a:lnTo>
                <a:lnTo>
                  <a:pt x="724" y="219"/>
                </a:lnTo>
                <a:lnTo>
                  <a:pt x="724" y="221"/>
                </a:lnTo>
                <a:lnTo>
                  <a:pt x="724" y="221"/>
                </a:lnTo>
                <a:lnTo>
                  <a:pt x="724" y="221"/>
                </a:lnTo>
                <a:lnTo>
                  <a:pt x="724" y="221"/>
                </a:lnTo>
                <a:lnTo>
                  <a:pt x="724" y="223"/>
                </a:lnTo>
                <a:lnTo>
                  <a:pt x="724" y="223"/>
                </a:lnTo>
                <a:lnTo>
                  <a:pt x="724" y="223"/>
                </a:lnTo>
                <a:lnTo>
                  <a:pt x="724" y="223"/>
                </a:lnTo>
                <a:lnTo>
                  <a:pt x="723" y="223"/>
                </a:lnTo>
                <a:lnTo>
                  <a:pt x="723" y="223"/>
                </a:lnTo>
                <a:lnTo>
                  <a:pt x="721" y="223"/>
                </a:lnTo>
                <a:lnTo>
                  <a:pt x="719" y="223"/>
                </a:lnTo>
                <a:lnTo>
                  <a:pt x="717" y="223"/>
                </a:lnTo>
                <a:lnTo>
                  <a:pt x="717" y="221"/>
                </a:lnTo>
                <a:lnTo>
                  <a:pt x="717" y="221"/>
                </a:lnTo>
                <a:lnTo>
                  <a:pt x="717" y="221"/>
                </a:lnTo>
                <a:lnTo>
                  <a:pt x="717" y="219"/>
                </a:lnTo>
                <a:lnTo>
                  <a:pt x="719" y="219"/>
                </a:lnTo>
                <a:lnTo>
                  <a:pt x="721" y="219"/>
                </a:lnTo>
                <a:lnTo>
                  <a:pt x="723" y="217"/>
                </a:lnTo>
                <a:lnTo>
                  <a:pt x="723" y="217"/>
                </a:lnTo>
                <a:lnTo>
                  <a:pt x="723" y="217"/>
                </a:lnTo>
                <a:lnTo>
                  <a:pt x="723" y="215"/>
                </a:lnTo>
                <a:lnTo>
                  <a:pt x="723" y="215"/>
                </a:lnTo>
                <a:lnTo>
                  <a:pt x="724" y="215"/>
                </a:lnTo>
                <a:lnTo>
                  <a:pt x="724" y="213"/>
                </a:lnTo>
                <a:lnTo>
                  <a:pt x="723" y="213"/>
                </a:lnTo>
                <a:lnTo>
                  <a:pt x="723" y="213"/>
                </a:lnTo>
                <a:lnTo>
                  <a:pt x="721" y="212"/>
                </a:lnTo>
                <a:lnTo>
                  <a:pt x="719" y="212"/>
                </a:lnTo>
                <a:lnTo>
                  <a:pt x="719" y="212"/>
                </a:lnTo>
                <a:lnTo>
                  <a:pt x="719" y="212"/>
                </a:lnTo>
                <a:lnTo>
                  <a:pt x="719" y="212"/>
                </a:lnTo>
                <a:lnTo>
                  <a:pt x="719" y="210"/>
                </a:lnTo>
                <a:lnTo>
                  <a:pt x="719" y="210"/>
                </a:lnTo>
                <a:lnTo>
                  <a:pt x="721" y="208"/>
                </a:lnTo>
                <a:lnTo>
                  <a:pt x="721" y="206"/>
                </a:lnTo>
                <a:lnTo>
                  <a:pt x="721" y="206"/>
                </a:lnTo>
                <a:lnTo>
                  <a:pt x="723" y="206"/>
                </a:lnTo>
                <a:lnTo>
                  <a:pt x="724" y="208"/>
                </a:lnTo>
                <a:lnTo>
                  <a:pt x="726" y="208"/>
                </a:lnTo>
                <a:lnTo>
                  <a:pt x="726" y="208"/>
                </a:lnTo>
                <a:lnTo>
                  <a:pt x="728" y="208"/>
                </a:lnTo>
                <a:lnTo>
                  <a:pt x="728" y="208"/>
                </a:lnTo>
                <a:lnTo>
                  <a:pt x="728" y="208"/>
                </a:lnTo>
                <a:lnTo>
                  <a:pt x="728" y="206"/>
                </a:lnTo>
                <a:lnTo>
                  <a:pt x="728" y="200"/>
                </a:lnTo>
                <a:lnTo>
                  <a:pt x="730" y="198"/>
                </a:lnTo>
                <a:lnTo>
                  <a:pt x="730" y="198"/>
                </a:lnTo>
                <a:lnTo>
                  <a:pt x="730" y="196"/>
                </a:lnTo>
                <a:lnTo>
                  <a:pt x="730" y="196"/>
                </a:lnTo>
                <a:lnTo>
                  <a:pt x="730" y="193"/>
                </a:lnTo>
                <a:lnTo>
                  <a:pt x="728" y="187"/>
                </a:lnTo>
                <a:lnTo>
                  <a:pt x="726" y="187"/>
                </a:lnTo>
                <a:lnTo>
                  <a:pt x="726" y="187"/>
                </a:lnTo>
                <a:lnTo>
                  <a:pt x="726" y="187"/>
                </a:lnTo>
                <a:lnTo>
                  <a:pt x="719" y="187"/>
                </a:lnTo>
                <a:lnTo>
                  <a:pt x="717" y="185"/>
                </a:lnTo>
                <a:lnTo>
                  <a:pt x="717" y="185"/>
                </a:lnTo>
                <a:lnTo>
                  <a:pt x="717" y="185"/>
                </a:lnTo>
                <a:lnTo>
                  <a:pt x="719" y="181"/>
                </a:lnTo>
                <a:lnTo>
                  <a:pt x="719" y="179"/>
                </a:lnTo>
                <a:lnTo>
                  <a:pt x="719" y="179"/>
                </a:lnTo>
                <a:lnTo>
                  <a:pt x="719" y="177"/>
                </a:lnTo>
                <a:lnTo>
                  <a:pt x="719" y="175"/>
                </a:lnTo>
                <a:lnTo>
                  <a:pt x="719" y="175"/>
                </a:lnTo>
                <a:lnTo>
                  <a:pt x="721" y="175"/>
                </a:lnTo>
                <a:lnTo>
                  <a:pt x="726" y="175"/>
                </a:lnTo>
                <a:lnTo>
                  <a:pt x="726" y="174"/>
                </a:lnTo>
                <a:lnTo>
                  <a:pt x="728" y="174"/>
                </a:lnTo>
                <a:lnTo>
                  <a:pt x="730" y="174"/>
                </a:lnTo>
                <a:lnTo>
                  <a:pt x="732" y="172"/>
                </a:lnTo>
                <a:lnTo>
                  <a:pt x="732" y="170"/>
                </a:lnTo>
                <a:lnTo>
                  <a:pt x="734" y="170"/>
                </a:lnTo>
                <a:lnTo>
                  <a:pt x="736" y="170"/>
                </a:lnTo>
                <a:lnTo>
                  <a:pt x="736" y="168"/>
                </a:lnTo>
                <a:lnTo>
                  <a:pt x="736" y="168"/>
                </a:lnTo>
                <a:lnTo>
                  <a:pt x="736" y="166"/>
                </a:lnTo>
                <a:lnTo>
                  <a:pt x="736" y="166"/>
                </a:lnTo>
                <a:lnTo>
                  <a:pt x="736" y="164"/>
                </a:lnTo>
                <a:lnTo>
                  <a:pt x="736" y="162"/>
                </a:lnTo>
                <a:lnTo>
                  <a:pt x="736" y="160"/>
                </a:lnTo>
                <a:lnTo>
                  <a:pt x="736" y="155"/>
                </a:lnTo>
                <a:lnTo>
                  <a:pt x="736" y="155"/>
                </a:lnTo>
                <a:lnTo>
                  <a:pt x="736" y="153"/>
                </a:lnTo>
                <a:lnTo>
                  <a:pt x="738" y="151"/>
                </a:lnTo>
                <a:lnTo>
                  <a:pt x="738" y="151"/>
                </a:lnTo>
                <a:lnTo>
                  <a:pt x="738" y="149"/>
                </a:lnTo>
                <a:lnTo>
                  <a:pt x="736" y="149"/>
                </a:lnTo>
                <a:lnTo>
                  <a:pt x="736" y="149"/>
                </a:lnTo>
                <a:lnTo>
                  <a:pt x="736" y="147"/>
                </a:lnTo>
                <a:lnTo>
                  <a:pt x="736" y="143"/>
                </a:lnTo>
                <a:lnTo>
                  <a:pt x="736" y="143"/>
                </a:lnTo>
                <a:lnTo>
                  <a:pt x="736" y="141"/>
                </a:lnTo>
                <a:lnTo>
                  <a:pt x="736" y="141"/>
                </a:lnTo>
                <a:lnTo>
                  <a:pt x="736" y="141"/>
                </a:lnTo>
                <a:lnTo>
                  <a:pt x="736" y="141"/>
                </a:lnTo>
                <a:lnTo>
                  <a:pt x="734" y="141"/>
                </a:lnTo>
                <a:lnTo>
                  <a:pt x="732" y="139"/>
                </a:lnTo>
                <a:lnTo>
                  <a:pt x="732" y="139"/>
                </a:lnTo>
                <a:lnTo>
                  <a:pt x="732" y="139"/>
                </a:lnTo>
                <a:lnTo>
                  <a:pt x="730" y="139"/>
                </a:lnTo>
                <a:lnTo>
                  <a:pt x="730" y="141"/>
                </a:lnTo>
                <a:lnTo>
                  <a:pt x="728" y="143"/>
                </a:lnTo>
                <a:lnTo>
                  <a:pt x="726" y="143"/>
                </a:lnTo>
                <a:lnTo>
                  <a:pt x="726" y="143"/>
                </a:lnTo>
                <a:lnTo>
                  <a:pt x="726" y="143"/>
                </a:lnTo>
                <a:lnTo>
                  <a:pt x="724" y="143"/>
                </a:lnTo>
                <a:lnTo>
                  <a:pt x="724" y="141"/>
                </a:lnTo>
                <a:lnTo>
                  <a:pt x="724" y="141"/>
                </a:lnTo>
                <a:lnTo>
                  <a:pt x="724" y="141"/>
                </a:lnTo>
                <a:lnTo>
                  <a:pt x="724" y="139"/>
                </a:lnTo>
                <a:lnTo>
                  <a:pt x="724" y="137"/>
                </a:lnTo>
                <a:lnTo>
                  <a:pt x="726" y="137"/>
                </a:lnTo>
                <a:lnTo>
                  <a:pt x="726" y="137"/>
                </a:lnTo>
                <a:lnTo>
                  <a:pt x="730" y="136"/>
                </a:lnTo>
                <a:lnTo>
                  <a:pt x="730" y="134"/>
                </a:lnTo>
                <a:lnTo>
                  <a:pt x="732" y="134"/>
                </a:lnTo>
                <a:lnTo>
                  <a:pt x="732" y="132"/>
                </a:lnTo>
                <a:lnTo>
                  <a:pt x="730" y="124"/>
                </a:lnTo>
                <a:lnTo>
                  <a:pt x="730" y="115"/>
                </a:lnTo>
                <a:lnTo>
                  <a:pt x="730" y="113"/>
                </a:lnTo>
                <a:lnTo>
                  <a:pt x="730" y="111"/>
                </a:lnTo>
                <a:lnTo>
                  <a:pt x="730" y="111"/>
                </a:lnTo>
                <a:lnTo>
                  <a:pt x="730" y="109"/>
                </a:lnTo>
                <a:lnTo>
                  <a:pt x="728" y="109"/>
                </a:lnTo>
                <a:lnTo>
                  <a:pt x="728" y="109"/>
                </a:lnTo>
                <a:lnTo>
                  <a:pt x="728" y="109"/>
                </a:lnTo>
                <a:lnTo>
                  <a:pt x="726" y="109"/>
                </a:lnTo>
                <a:lnTo>
                  <a:pt x="724" y="109"/>
                </a:lnTo>
                <a:lnTo>
                  <a:pt x="724" y="109"/>
                </a:lnTo>
                <a:lnTo>
                  <a:pt x="724" y="109"/>
                </a:lnTo>
                <a:lnTo>
                  <a:pt x="723" y="109"/>
                </a:lnTo>
                <a:lnTo>
                  <a:pt x="723" y="109"/>
                </a:lnTo>
                <a:lnTo>
                  <a:pt x="723" y="107"/>
                </a:lnTo>
                <a:lnTo>
                  <a:pt x="721" y="107"/>
                </a:lnTo>
                <a:lnTo>
                  <a:pt x="721" y="107"/>
                </a:lnTo>
                <a:lnTo>
                  <a:pt x="719" y="105"/>
                </a:lnTo>
                <a:lnTo>
                  <a:pt x="719" y="101"/>
                </a:lnTo>
                <a:lnTo>
                  <a:pt x="719" y="101"/>
                </a:lnTo>
                <a:lnTo>
                  <a:pt x="719" y="99"/>
                </a:lnTo>
                <a:lnTo>
                  <a:pt x="721" y="96"/>
                </a:lnTo>
                <a:lnTo>
                  <a:pt x="721" y="90"/>
                </a:lnTo>
                <a:lnTo>
                  <a:pt x="721" y="88"/>
                </a:lnTo>
                <a:lnTo>
                  <a:pt x="723" y="88"/>
                </a:lnTo>
                <a:lnTo>
                  <a:pt x="723" y="86"/>
                </a:lnTo>
                <a:lnTo>
                  <a:pt x="724" y="86"/>
                </a:lnTo>
                <a:lnTo>
                  <a:pt x="730" y="82"/>
                </a:lnTo>
                <a:lnTo>
                  <a:pt x="736" y="78"/>
                </a:lnTo>
                <a:lnTo>
                  <a:pt x="738" y="77"/>
                </a:lnTo>
                <a:lnTo>
                  <a:pt x="740" y="75"/>
                </a:lnTo>
                <a:lnTo>
                  <a:pt x="742" y="73"/>
                </a:lnTo>
                <a:lnTo>
                  <a:pt x="742" y="67"/>
                </a:lnTo>
                <a:lnTo>
                  <a:pt x="740" y="67"/>
                </a:lnTo>
                <a:lnTo>
                  <a:pt x="738" y="69"/>
                </a:lnTo>
                <a:lnTo>
                  <a:pt x="738" y="69"/>
                </a:lnTo>
                <a:lnTo>
                  <a:pt x="738" y="69"/>
                </a:lnTo>
                <a:lnTo>
                  <a:pt x="736" y="69"/>
                </a:lnTo>
                <a:lnTo>
                  <a:pt x="736" y="69"/>
                </a:lnTo>
                <a:lnTo>
                  <a:pt x="724" y="63"/>
                </a:lnTo>
                <a:lnTo>
                  <a:pt x="724" y="63"/>
                </a:lnTo>
                <a:lnTo>
                  <a:pt x="723" y="61"/>
                </a:lnTo>
                <a:lnTo>
                  <a:pt x="723" y="61"/>
                </a:lnTo>
                <a:lnTo>
                  <a:pt x="721" y="63"/>
                </a:lnTo>
                <a:lnTo>
                  <a:pt x="719" y="63"/>
                </a:lnTo>
                <a:lnTo>
                  <a:pt x="717" y="63"/>
                </a:lnTo>
                <a:lnTo>
                  <a:pt x="717" y="63"/>
                </a:lnTo>
                <a:lnTo>
                  <a:pt x="717" y="63"/>
                </a:lnTo>
                <a:lnTo>
                  <a:pt x="715" y="63"/>
                </a:lnTo>
                <a:lnTo>
                  <a:pt x="715" y="61"/>
                </a:lnTo>
                <a:lnTo>
                  <a:pt x="715" y="61"/>
                </a:lnTo>
                <a:lnTo>
                  <a:pt x="717" y="59"/>
                </a:lnTo>
                <a:lnTo>
                  <a:pt x="717" y="59"/>
                </a:lnTo>
                <a:lnTo>
                  <a:pt x="717" y="59"/>
                </a:lnTo>
                <a:lnTo>
                  <a:pt x="717" y="58"/>
                </a:lnTo>
                <a:lnTo>
                  <a:pt x="717" y="58"/>
                </a:lnTo>
                <a:lnTo>
                  <a:pt x="717" y="56"/>
                </a:lnTo>
                <a:lnTo>
                  <a:pt x="717" y="54"/>
                </a:lnTo>
                <a:lnTo>
                  <a:pt x="715" y="54"/>
                </a:lnTo>
                <a:lnTo>
                  <a:pt x="709" y="50"/>
                </a:lnTo>
                <a:lnTo>
                  <a:pt x="709" y="48"/>
                </a:lnTo>
                <a:lnTo>
                  <a:pt x="709" y="48"/>
                </a:lnTo>
                <a:lnTo>
                  <a:pt x="709" y="46"/>
                </a:lnTo>
                <a:lnTo>
                  <a:pt x="709" y="46"/>
                </a:lnTo>
                <a:lnTo>
                  <a:pt x="707" y="46"/>
                </a:lnTo>
                <a:lnTo>
                  <a:pt x="707" y="44"/>
                </a:lnTo>
                <a:lnTo>
                  <a:pt x="703" y="44"/>
                </a:lnTo>
                <a:lnTo>
                  <a:pt x="702" y="42"/>
                </a:lnTo>
                <a:lnTo>
                  <a:pt x="698" y="40"/>
                </a:lnTo>
                <a:lnTo>
                  <a:pt x="696" y="39"/>
                </a:lnTo>
                <a:lnTo>
                  <a:pt x="696" y="40"/>
                </a:lnTo>
                <a:lnTo>
                  <a:pt x="696" y="40"/>
                </a:lnTo>
                <a:lnTo>
                  <a:pt x="694" y="40"/>
                </a:lnTo>
                <a:lnTo>
                  <a:pt x="688" y="42"/>
                </a:lnTo>
                <a:lnTo>
                  <a:pt x="686" y="44"/>
                </a:lnTo>
                <a:lnTo>
                  <a:pt x="686" y="46"/>
                </a:lnTo>
                <a:lnTo>
                  <a:pt x="679" y="48"/>
                </a:lnTo>
                <a:lnTo>
                  <a:pt x="679" y="48"/>
                </a:lnTo>
                <a:lnTo>
                  <a:pt x="677" y="48"/>
                </a:lnTo>
                <a:lnTo>
                  <a:pt x="677" y="48"/>
                </a:lnTo>
                <a:lnTo>
                  <a:pt x="677" y="48"/>
                </a:lnTo>
                <a:lnTo>
                  <a:pt x="677" y="46"/>
                </a:lnTo>
                <a:lnTo>
                  <a:pt x="677" y="46"/>
                </a:lnTo>
                <a:lnTo>
                  <a:pt x="675" y="46"/>
                </a:lnTo>
                <a:lnTo>
                  <a:pt x="673" y="48"/>
                </a:lnTo>
                <a:lnTo>
                  <a:pt x="673" y="48"/>
                </a:lnTo>
                <a:lnTo>
                  <a:pt x="671" y="48"/>
                </a:lnTo>
                <a:lnTo>
                  <a:pt x="671" y="48"/>
                </a:lnTo>
                <a:lnTo>
                  <a:pt x="669" y="50"/>
                </a:lnTo>
                <a:lnTo>
                  <a:pt x="667" y="50"/>
                </a:lnTo>
                <a:lnTo>
                  <a:pt x="665" y="50"/>
                </a:lnTo>
                <a:lnTo>
                  <a:pt x="665" y="50"/>
                </a:lnTo>
                <a:lnTo>
                  <a:pt x="663" y="50"/>
                </a:lnTo>
                <a:lnTo>
                  <a:pt x="663" y="48"/>
                </a:lnTo>
                <a:lnTo>
                  <a:pt x="663" y="46"/>
                </a:lnTo>
                <a:lnTo>
                  <a:pt x="662" y="46"/>
                </a:lnTo>
                <a:lnTo>
                  <a:pt x="662" y="44"/>
                </a:lnTo>
                <a:lnTo>
                  <a:pt x="660" y="44"/>
                </a:lnTo>
                <a:lnTo>
                  <a:pt x="658" y="44"/>
                </a:lnTo>
                <a:lnTo>
                  <a:pt x="656" y="44"/>
                </a:lnTo>
                <a:lnTo>
                  <a:pt x="652" y="44"/>
                </a:lnTo>
                <a:lnTo>
                  <a:pt x="648" y="44"/>
                </a:lnTo>
                <a:lnTo>
                  <a:pt x="648" y="44"/>
                </a:lnTo>
                <a:lnTo>
                  <a:pt x="646" y="44"/>
                </a:lnTo>
                <a:lnTo>
                  <a:pt x="644" y="46"/>
                </a:lnTo>
                <a:lnTo>
                  <a:pt x="642" y="48"/>
                </a:lnTo>
                <a:lnTo>
                  <a:pt x="642" y="48"/>
                </a:lnTo>
                <a:lnTo>
                  <a:pt x="641" y="48"/>
                </a:lnTo>
                <a:lnTo>
                  <a:pt x="639" y="48"/>
                </a:lnTo>
                <a:lnTo>
                  <a:pt x="639" y="48"/>
                </a:lnTo>
                <a:lnTo>
                  <a:pt x="637" y="48"/>
                </a:lnTo>
                <a:lnTo>
                  <a:pt x="637" y="46"/>
                </a:lnTo>
                <a:lnTo>
                  <a:pt x="637" y="44"/>
                </a:lnTo>
                <a:lnTo>
                  <a:pt x="637" y="44"/>
                </a:lnTo>
                <a:lnTo>
                  <a:pt x="637" y="44"/>
                </a:lnTo>
                <a:lnTo>
                  <a:pt x="637" y="42"/>
                </a:lnTo>
                <a:lnTo>
                  <a:pt x="635" y="40"/>
                </a:lnTo>
                <a:lnTo>
                  <a:pt x="633" y="39"/>
                </a:lnTo>
                <a:lnTo>
                  <a:pt x="631" y="37"/>
                </a:lnTo>
                <a:lnTo>
                  <a:pt x="629" y="35"/>
                </a:lnTo>
                <a:lnTo>
                  <a:pt x="625" y="35"/>
                </a:lnTo>
                <a:lnTo>
                  <a:pt x="625" y="35"/>
                </a:lnTo>
                <a:lnTo>
                  <a:pt x="623" y="35"/>
                </a:lnTo>
                <a:lnTo>
                  <a:pt x="622" y="35"/>
                </a:lnTo>
                <a:lnTo>
                  <a:pt x="622" y="33"/>
                </a:lnTo>
                <a:lnTo>
                  <a:pt x="618" y="35"/>
                </a:lnTo>
                <a:lnTo>
                  <a:pt x="616" y="33"/>
                </a:lnTo>
                <a:lnTo>
                  <a:pt x="614" y="33"/>
                </a:lnTo>
                <a:lnTo>
                  <a:pt x="610" y="31"/>
                </a:lnTo>
                <a:lnTo>
                  <a:pt x="608" y="31"/>
                </a:lnTo>
                <a:lnTo>
                  <a:pt x="608" y="33"/>
                </a:lnTo>
                <a:lnTo>
                  <a:pt x="608" y="33"/>
                </a:lnTo>
                <a:lnTo>
                  <a:pt x="608" y="33"/>
                </a:lnTo>
                <a:lnTo>
                  <a:pt x="608" y="35"/>
                </a:lnTo>
                <a:lnTo>
                  <a:pt x="608" y="37"/>
                </a:lnTo>
                <a:lnTo>
                  <a:pt x="606" y="37"/>
                </a:lnTo>
                <a:lnTo>
                  <a:pt x="604" y="39"/>
                </a:lnTo>
                <a:lnTo>
                  <a:pt x="602" y="39"/>
                </a:lnTo>
                <a:lnTo>
                  <a:pt x="597" y="40"/>
                </a:lnTo>
                <a:lnTo>
                  <a:pt x="595" y="42"/>
                </a:lnTo>
                <a:lnTo>
                  <a:pt x="585" y="42"/>
                </a:lnTo>
                <a:lnTo>
                  <a:pt x="582" y="44"/>
                </a:lnTo>
                <a:lnTo>
                  <a:pt x="580" y="44"/>
                </a:lnTo>
                <a:lnTo>
                  <a:pt x="580" y="46"/>
                </a:lnTo>
                <a:lnTo>
                  <a:pt x="580" y="46"/>
                </a:lnTo>
                <a:lnTo>
                  <a:pt x="580" y="48"/>
                </a:lnTo>
                <a:lnTo>
                  <a:pt x="580" y="48"/>
                </a:lnTo>
                <a:lnTo>
                  <a:pt x="580" y="50"/>
                </a:lnTo>
                <a:lnTo>
                  <a:pt x="580" y="50"/>
                </a:lnTo>
                <a:lnTo>
                  <a:pt x="580" y="52"/>
                </a:lnTo>
                <a:lnTo>
                  <a:pt x="578" y="52"/>
                </a:lnTo>
                <a:lnTo>
                  <a:pt x="574" y="52"/>
                </a:lnTo>
                <a:lnTo>
                  <a:pt x="572" y="52"/>
                </a:lnTo>
                <a:lnTo>
                  <a:pt x="568" y="54"/>
                </a:lnTo>
                <a:lnTo>
                  <a:pt x="562" y="54"/>
                </a:lnTo>
                <a:lnTo>
                  <a:pt x="561" y="56"/>
                </a:lnTo>
                <a:lnTo>
                  <a:pt x="559" y="56"/>
                </a:lnTo>
                <a:lnTo>
                  <a:pt x="553" y="56"/>
                </a:lnTo>
                <a:lnTo>
                  <a:pt x="545" y="54"/>
                </a:lnTo>
                <a:lnTo>
                  <a:pt x="545" y="52"/>
                </a:lnTo>
                <a:lnTo>
                  <a:pt x="543" y="52"/>
                </a:lnTo>
                <a:lnTo>
                  <a:pt x="543" y="50"/>
                </a:lnTo>
                <a:lnTo>
                  <a:pt x="541" y="50"/>
                </a:lnTo>
                <a:lnTo>
                  <a:pt x="540" y="50"/>
                </a:lnTo>
                <a:lnTo>
                  <a:pt x="540" y="50"/>
                </a:lnTo>
                <a:lnTo>
                  <a:pt x="538" y="50"/>
                </a:lnTo>
                <a:lnTo>
                  <a:pt x="538" y="52"/>
                </a:lnTo>
                <a:lnTo>
                  <a:pt x="536" y="52"/>
                </a:lnTo>
                <a:lnTo>
                  <a:pt x="536" y="52"/>
                </a:lnTo>
                <a:lnTo>
                  <a:pt x="534" y="52"/>
                </a:lnTo>
                <a:lnTo>
                  <a:pt x="534" y="52"/>
                </a:lnTo>
                <a:lnTo>
                  <a:pt x="534" y="52"/>
                </a:lnTo>
                <a:lnTo>
                  <a:pt x="534" y="52"/>
                </a:lnTo>
                <a:lnTo>
                  <a:pt x="534" y="52"/>
                </a:lnTo>
                <a:lnTo>
                  <a:pt x="534" y="52"/>
                </a:lnTo>
                <a:lnTo>
                  <a:pt x="534" y="50"/>
                </a:lnTo>
                <a:lnTo>
                  <a:pt x="534" y="48"/>
                </a:lnTo>
                <a:lnTo>
                  <a:pt x="534" y="46"/>
                </a:lnTo>
                <a:lnTo>
                  <a:pt x="532" y="44"/>
                </a:lnTo>
                <a:lnTo>
                  <a:pt x="532" y="42"/>
                </a:lnTo>
                <a:lnTo>
                  <a:pt x="532" y="40"/>
                </a:lnTo>
                <a:lnTo>
                  <a:pt x="530" y="40"/>
                </a:lnTo>
                <a:lnTo>
                  <a:pt x="530" y="40"/>
                </a:lnTo>
                <a:lnTo>
                  <a:pt x="528" y="40"/>
                </a:lnTo>
                <a:lnTo>
                  <a:pt x="528" y="40"/>
                </a:lnTo>
                <a:lnTo>
                  <a:pt x="526" y="40"/>
                </a:lnTo>
                <a:lnTo>
                  <a:pt x="526" y="40"/>
                </a:lnTo>
                <a:lnTo>
                  <a:pt x="524" y="40"/>
                </a:lnTo>
                <a:lnTo>
                  <a:pt x="522" y="44"/>
                </a:lnTo>
                <a:lnTo>
                  <a:pt x="519" y="46"/>
                </a:lnTo>
                <a:lnTo>
                  <a:pt x="513" y="46"/>
                </a:lnTo>
                <a:lnTo>
                  <a:pt x="513" y="48"/>
                </a:lnTo>
                <a:lnTo>
                  <a:pt x="511" y="48"/>
                </a:lnTo>
                <a:lnTo>
                  <a:pt x="509" y="50"/>
                </a:lnTo>
                <a:lnTo>
                  <a:pt x="507" y="54"/>
                </a:lnTo>
                <a:lnTo>
                  <a:pt x="505" y="54"/>
                </a:lnTo>
                <a:lnTo>
                  <a:pt x="501" y="56"/>
                </a:lnTo>
                <a:lnTo>
                  <a:pt x="498" y="59"/>
                </a:lnTo>
                <a:lnTo>
                  <a:pt x="486" y="63"/>
                </a:lnTo>
                <a:lnTo>
                  <a:pt x="484" y="63"/>
                </a:lnTo>
                <a:lnTo>
                  <a:pt x="482" y="63"/>
                </a:lnTo>
                <a:lnTo>
                  <a:pt x="481" y="61"/>
                </a:lnTo>
                <a:lnTo>
                  <a:pt x="477" y="59"/>
                </a:lnTo>
                <a:lnTo>
                  <a:pt x="475" y="59"/>
                </a:lnTo>
                <a:lnTo>
                  <a:pt x="475" y="59"/>
                </a:lnTo>
                <a:lnTo>
                  <a:pt x="473" y="61"/>
                </a:lnTo>
                <a:lnTo>
                  <a:pt x="471" y="63"/>
                </a:lnTo>
                <a:lnTo>
                  <a:pt x="467" y="65"/>
                </a:lnTo>
                <a:lnTo>
                  <a:pt x="467" y="65"/>
                </a:lnTo>
                <a:lnTo>
                  <a:pt x="465" y="65"/>
                </a:lnTo>
                <a:lnTo>
                  <a:pt x="465" y="63"/>
                </a:lnTo>
                <a:lnTo>
                  <a:pt x="465" y="63"/>
                </a:lnTo>
                <a:lnTo>
                  <a:pt x="463" y="63"/>
                </a:lnTo>
                <a:lnTo>
                  <a:pt x="461" y="63"/>
                </a:lnTo>
                <a:lnTo>
                  <a:pt x="461" y="63"/>
                </a:lnTo>
                <a:lnTo>
                  <a:pt x="460" y="63"/>
                </a:lnTo>
                <a:lnTo>
                  <a:pt x="460" y="63"/>
                </a:lnTo>
                <a:lnTo>
                  <a:pt x="458" y="63"/>
                </a:lnTo>
                <a:lnTo>
                  <a:pt x="456" y="63"/>
                </a:lnTo>
                <a:lnTo>
                  <a:pt x="456" y="63"/>
                </a:lnTo>
                <a:lnTo>
                  <a:pt x="454" y="63"/>
                </a:lnTo>
                <a:lnTo>
                  <a:pt x="454" y="63"/>
                </a:lnTo>
                <a:lnTo>
                  <a:pt x="454" y="63"/>
                </a:lnTo>
                <a:lnTo>
                  <a:pt x="452" y="61"/>
                </a:lnTo>
                <a:lnTo>
                  <a:pt x="452" y="61"/>
                </a:lnTo>
                <a:lnTo>
                  <a:pt x="450" y="61"/>
                </a:lnTo>
                <a:lnTo>
                  <a:pt x="450" y="61"/>
                </a:lnTo>
                <a:lnTo>
                  <a:pt x="450" y="61"/>
                </a:lnTo>
                <a:lnTo>
                  <a:pt x="448" y="61"/>
                </a:lnTo>
                <a:lnTo>
                  <a:pt x="448" y="63"/>
                </a:lnTo>
                <a:lnTo>
                  <a:pt x="448" y="63"/>
                </a:lnTo>
                <a:lnTo>
                  <a:pt x="446" y="63"/>
                </a:lnTo>
                <a:lnTo>
                  <a:pt x="446" y="63"/>
                </a:lnTo>
                <a:lnTo>
                  <a:pt x="446" y="61"/>
                </a:lnTo>
                <a:lnTo>
                  <a:pt x="446" y="59"/>
                </a:lnTo>
                <a:lnTo>
                  <a:pt x="444" y="56"/>
                </a:lnTo>
                <a:lnTo>
                  <a:pt x="442" y="54"/>
                </a:lnTo>
                <a:lnTo>
                  <a:pt x="442" y="52"/>
                </a:lnTo>
                <a:lnTo>
                  <a:pt x="442" y="52"/>
                </a:lnTo>
                <a:lnTo>
                  <a:pt x="442" y="50"/>
                </a:lnTo>
                <a:lnTo>
                  <a:pt x="442" y="50"/>
                </a:lnTo>
                <a:lnTo>
                  <a:pt x="442" y="48"/>
                </a:lnTo>
                <a:lnTo>
                  <a:pt x="442" y="48"/>
                </a:lnTo>
                <a:lnTo>
                  <a:pt x="444" y="48"/>
                </a:lnTo>
                <a:lnTo>
                  <a:pt x="454" y="48"/>
                </a:lnTo>
                <a:lnTo>
                  <a:pt x="454" y="48"/>
                </a:lnTo>
                <a:lnTo>
                  <a:pt x="456" y="48"/>
                </a:lnTo>
                <a:lnTo>
                  <a:pt x="456" y="48"/>
                </a:lnTo>
                <a:lnTo>
                  <a:pt x="456" y="46"/>
                </a:lnTo>
                <a:lnTo>
                  <a:pt x="454" y="46"/>
                </a:lnTo>
                <a:lnTo>
                  <a:pt x="454" y="44"/>
                </a:lnTo>
                <a:lnTo>
                  <a:pt x="454" y="42"/>
                </a:lnTo>
                <a:lnTo>
                  <a:pt x="454" y="42"/>
                </a:lnTo>
                <a:lnTo>
                  <a:pt x="454" y="40"/>
                </a:lnTo>
                <a:lnTo>
                  <a:pt x="452" y="33"/>
                </a:lnTo>
                <a:lnTo>
                  <a:pt x="452" y="33"/>
                </a:lnTo>
                <a:lnTo>
                  <a:pt x="452" y="31"/>
                </a:lnTo>
                <a:lnTo>
                  <a:pt x="450" y="31"/>
                </a:lnTo>
                <a:lnTo>
                  <a:pt x="448" y="29"/>
                </a:lnTo>
                <a:lnTo>
                  <a:pt x="448" y="29"/>
                </a:lnTo>
                <a:lnTo>
                  <a:pt x="448" y="29"/>
                </a:lnTo>
                <a:lnTo>
                  <a:pt x="448" y="29"/>
                </a:lnTo>
                <a:lnTo>
                  <a:pt x="448" y="29"/>
                </a:lnTo>
                <a:lnTo>
                  <a:pt x="448" y="27"/>
                </a:lnTo>
                <a:lnTo>
                  <a:pt x="446" y="27"/>
                </a:lnTo>
                <a:lnTo>
                  <a:pt x="446" y="27"/>
                </a:lnTo>
                <a:lnTo>
                  <a:pt x="444" y="25"/>
                </a:lnTo>
                <a:lnTo>
                  <a:pt x="433" y="25"/>
                </a:lnTo>
                <a:lnTo>
                  <a:pt x="431" y="25"/>
                </a:lnTo>
                <a:lnTo>
                  <a:pt x="431" y="27"/>
                </a:lnTo>
                <a:lnTo>
                  <a:pt x="429" y="29"/>
                </a:lnTo>
                <a:lnTo>
                  <a:pt x="429" y="29"/>
                </a:lnTo>
                <a:lnTo>
                  <a:pt x="425" y="29"/>
                </a:lnTo>
                <a:lnTo>
                  <a:pt x="425" y="29"/>
                </a:lnTo>
                <a:lnTo>
                  <a:pt x="423" y="31"/>
                </a:lnTo>
                <a:lnTo>
                  <a:pt x="423" y="33"/>
                </a:lnTo>
                <a:lnTo>
                  <a:pt x="423" y="33"/>
                </a:lnTo>
                <a:lnTo>
                  <a:pt x="421" y="33"/>
                </a:lnTo>
                <a:lnTo>
                  <a:pt x="421" y="33"/>
                </a:lnTo>
                <a:lnTo>
                  <a:pt x="421" y="33"/>
                </a:lnTo>
                <a:lnTo>
                  <a:pt x="420" y="33"/>
                </a:lnTo>
                <a:lnTo>
                  <a:pt x="420" y="31"/>
                </a:lnTo>
                <a:lnTo>
                  <a:pt x="420" y="31"/>
                </a:lnTo>
                <a:lnTo>
                  <a:pt x="420" y="31"/>
                </a:lnTo>
                <a:lnTo>
                  <a:pt x="418" y="31"/>
                </a:lnTo>
                <a:lnTo>
                  <a:pt x="418" y="31"/>
                </a:lnTo>
                <a:lnTo>
                  <a:pt x="412" y="31"/>
                </a:lnTo>
                <a:lnTo>
                  <a:pt x="408" y="31"/>
                </a:lnTo>
                <a:lnTo>
                  <a:pt x="404" y="33"/>
                </a:lnTo>
                <a:lnTo>
                  <a:pt x="395" y="40"/>
                </a:lnTo>
                <a:lnTo>
                  <a:pt x="393" y="42"/>
                </a:lnTo>
                <a:lnTo>
                  <a:pt x="387" y="42"/>
                </a:lnTo>
                <a:lnTo>
                  <a:pt x="385" y="42"/>
                </a:lnTo>
                <a:lnTo>
                  <a:pt x="383" y="44"/>
                </a:lnTo>
                <a:lnTo>
                  <a:pt x="381" y="48"/>
                </a:lnTo>
                <a:lnTo>
                  <a:pt x="381" y="50"/>
                </a:lnTo>
                <a:lnTo>
                  <a:pt x="381" y="50"/>
                </a:lnTo>
                <a:lnTo>
                  <a:pt x="381" y="52"/>
                </a:lnTo>
                <a:lnTo>
                  <a:pt x="381" y="52"/>
                </a:lnTo>
                <a:lnTo>
                  <a:pt x="381" y="52"/>
                </a:lnTo>
                <a:lnTo>
                  <a:pt x="381" y="54"/>
                </a:lnTo>
                <a:lnTo>
                  <a:pt x="381" y="54"/>
                </a:lnTo>
                <a:lnTo>
                  <a:pt x="381" y="54"/>
                </a:lnTo>
                <a:lnTo>
                  <a:pt x="381" y="56"/>
                </a:lnTo>
                <a:lnTo>
                  <a:pt x="380" y="56"/>
                </a:lnTo>
                <a:lnTo>
                  <a:pt x="380" y="58"/>
                </a:lnTo>
                <a:lnTo>
                  <a:pt x="378" y="61"/>
                </a:lnTo>
                <a:lnTo>
                  <a:pt x="376" y="61"/>
                </a:lnTo>
                <a:lnTo>
                  <a:pt x="376" y="63"/>
                </a:lnTo>
                <a:lnTo>
                  <a:pt x="372" y="65"/>
                </a:lnTo>
                <a:lnTo>
                  <a:pt x="370" y="67"/>
                </a:lnTo>
                <a:lnTo>
                  <a:pt x="368" y="67"/>
                </a:lnTo>
                <a:lnTo>
                  <a:pt x="368" y="69"/>
                </a:lnTo>
                <a:lnTo>
                  <a:pt x="368" y="69"/>
                </a:lnTo>
                <a:lnTo>
                  <a:pt x="368" y="71"/>
                </a:lnTo>
                <a:lnTo>
                  <a:pt x="370" y="73"/>
                </a:lnTo>
                <a:lnTo>
                  <a:pt x="370" y="77"/>
                </a:lnTo>
                <a:lnTo>
                  <a:pt x="370" y="78"/>
                </a:lnTo>
                <a:lnTo>
                  <a:pt x="368" y="80"/>
                </a:lnTo>
                <a:lnTo>
                  <a:pt x="368" y="82"/>
                </a:lnTo>
                <a:lnTo>
                  <a:pt x="366" y="82"/>
                </a:lnTo>
                <a:lnTo>
                  <a:pt x="360" y="82"/>
                </a:lnTo>
                <a:lnTo>
                  <a:pt x="359" y="82"/>
                </a:lnTo>
                <a:lnTo>
                  <a:pt x="355" y="84"/>
                </a:lnTo>
                <a:lnTo>
                  <a:pt x="355" y="86"/>
                </a:lnTo>
                <a:lnTo>
                  <a:pt x="353" y="88"/>
                </a:lnTo>
                <a:lnTo>
                  <a:pt x="351" y="90"/>
                </a:lnTo>
                <a:lnTo>
                  <a:pt x="349" y="92"/>
                </a:lnTo>
                <a:lnTo>
                  <a:pt x="347" y="92"/>
                </a:lnTo>
                <a:lnTo>
                  <a:pt x="345" y="94"/>
                </a:lnTo>
                <a:lnTo>
                  <a:pt x="340" y="94"/>
                </a:lnTo>
                <a:lnTo>
                  <a:pt x="336" y="96"/>
                </a:lnTo>
                <a:lnTo>
                  <a:pt x="326" y="94"/>
                </a:lnTo>
                <a:lnTo>
                  <a:pt x="324" y="94"/>
                </a:lnTo>
                <a:lnTo>
                  <a:pt x="322" y="92"/>
                </a:lnTo>
                <a:lnTo>
                  <a:pt x="320" y="86"/>
                </a:lnTo>
                <a:lnTo>
                  <a:pt x="319" y="86"/>
                </a:lnTo>
                <a:lnTo>
                  <a:pt x="319" y="86"/>
                </a:lnTo>
                <a:lnTo>
                  <a:pt x="319" y="86"/>
                </a:lnTo>
                <a:lnTo>
                  <a:pt x="319" y="86"/>
                </a:lnTo>
                <a:lnTo>
                  <a:pt x="319" y="86"/>
                </a:lnTo>
                <a:lnTo>
                  <a:pt x="320" y="84"/>
                </a:lnTo>
                <a:lnTo>
                  <a:pt x="320" y="84"/>
                </a:lnTo>
                <a:lnTo>
                  <a:pt x="320" y="84"/>
                </a:lnTo>
                <a:lnTo>
                  <a:pt x="322" y="84"/>
                </a:lnTo>
                <a:lnTo>
                  <a:pt x="322" y="84"/>
                </a:lnTo>
                <a:lnTo>
                  <a:pt x="322" y="82"/>
                </a:lnTo>
                <a:lnTo>
                  <a:pt x="322" y="78"/>
                </a:lnTo>
                <a:lnTo>
                  <a:pt x="322" y="75"/>
                </a:lnTo>
                <a:lnTo>
                  <a:pt x="320" y="69"/>
                </a:lnTo>
                <a:lnTo>
                  <a:pt x="319" y="67"/>
                </a:lnTo>
                <a:lnTo>
                  <a:pt x="317" y="65"/>
                </a:lnTo>
                <a:lnTo>
                  <a:pt x="317" y="65"/>
                </a:lnTo>
                <a:lnTo>
                  <a:pt x="315" y="65"/>
                </a:lnTo>
                <a:lnTo>
                  <a:pt x="315" y="65"/>
                </a:lnTo>
                <a:lnTo>
                  <a:pt x="313" y="65"/>
                </a:lnTo>
                <a:lnTo>
                  <a:pt x="309" y="65"/>
                </a:lnTo>
                <a:lnTo>
                  <a:pt x="305" y="63"/>
                </a:lnTo>
                <a:lnTo>
                  <a:pt x="303" y="63"/>
                </a:lnTo>
                <a:lnTo>
                  <a:pt x="301" y="63"/>
                </a:lnTo>
                <a:lnTo>
                  <a:pt x="298" y="63"/>
                </a:lnTo>
                <a:lnTo>
                  <a:pt x="292" y="65"/>
                </a:lnTo>
                <a:lnTo>
                  <a:pt x="282" y="65"/>
                </a:lnTo>
                <a:lnTo>
                  <a:pt x="279" y="65"/>
                </a:lnTo>
                <a:lnTo>
                  <a:pt x="275" y="63"/>
                </a:lnTo>
                <a:lnTo>
                  <a:pt x="273" y="63"/>
                </a:lnTo>
                <a:lnTo>
                  <a:pt x="273" y="65"/>
                </a:lnTo>
                <a:lnTo>
                  <a:pt x="269" y="65"/>
                </a:lnTo>
                <a:lnTo>
                  <a:pt x="267" y="65"/>
                </a:lnTo>
                <a:lnTo>
                  <a:pt x="265" y="65"/>
                </a:lnTo>
                <a:lnTo>
                  <a:pt x="261" y="65"/>
                </a:lnTo>
                <a:lnTo>
                  <a:pt x="252" y="65"/>
                </a:lnTo>
                <a:lnTo>
                  <a:pt x="252" y="65"/>
                </a:lnTo>
                <a:lnTo>
                  <a:pt x="250" y="65"/>
                </a:lnTo>
                <a:lnTo>
                  <a:pt x="250" y="63"/>
                </a:lnTo>
                <a:lnTo>
                  <a:pt x="246" y="65"/>
                </a:lnTo>
                <a:lnTo>
                  <a:pt x="237" y="63"/>
                </a:lnTo>
                <a:lnTo>
                  <a:pt x="231" y="59"/>
                </a:lnTo>
                <a:lnTo>
                  <a:pt x="231" y="59"/>
                </a:lnTo>
                <a:lnTo>
                  <a:pt x="229" y="59"/>
                </a:lnTo>
                <a:lnTo>
                  <a:pt x="229" y="58"/>
                </a:lnTo>
                <a:lnTo>
                  <a:pt x="227" y="58"/>
                </a:lnTo>
                <a:lnTo>
                  <a:pt x="227" y="54"/>
                </a:lnTo>
                <a:lnTo>
                  <a:pt x="223" y="50"/>
                </a:lnTo>
                <a:lnTo>
                  <a:pt x="221" y="48"/>
                </a:lnTo>
                <a:lnTo>
                  <a:pt x="221" y="46"/>
                </a:lnTo>
                <a:lnTo>
                  <a:pt x="218" y="46"/>
                </a:lnTo>
                <a:lnTo>
                  <a:pt x="218" y="46"/>
                </a:lnTo>
                <a:lnTo>
                  <a:pt x="214" y="44"/>
                </a:lnTo>
                <a:lnTo>
                  <a:pt x="212" y="44"/>
                </a:lnTo>
                <a:lnTo>
                  <a:pt x="210" y="44"/>
                </a:lnTo>
                <a:lnTo>
                  <a:pt x="210" y="42"/>
                </a:lnTo>
                <a:lnTo>
                  <a:pt x="208" y="42"/>
                </a:lnTo>
                <a:lnTo>
                  <a:pt x="208" y="42"/>
                </a:lnTo>
                <a:lnTo>
                  <a:pt x="204" y="40"/>
                </a:lnTo>
                <a:lnTo>
                  <a:pt x="204" y="40"/>
                </a:lnTo>
                <a:lnTo>
                  <a:pt x="195" y="42"/>
                </a:lnTo>
                <a:lnTo>
                  <a:pt x="193" y="42"/>
                </a:lnTo>
                <a:lnTo>
                  <a:pt x="191" y="42"/>
                </a:lnTo>
                <a:lnTo>
                  <a:pt x="189" y="40"/>
                </a:lnTo>
                <a:lnTo>
                  <a:pt x="187" y="40"/>
                </a:lnTo>
                <a:lnTo>
                  <a:pt x="187" y="39"/>
                </a:lnTo>
                <a:lnTo>
                  <a:pt x="185" y="39"/>
                </a:lnTo>
                <a:lnTo>
                  <a:pt x="181" y="37"/>
                </a:lnTo>
                <a:lnTo>
                  <a:pt x="179" y="37"/>
                </a:lnTo>
                <a:lnTo>
                  <a:pt x="176" y="33"/>
                </a:lnTo>
                <a:lnTo>
                  <a:pt x="174" y="33"/>
                </a:lnTo>
                <a:lnTo>
                  <a:pt x="174" y="31"/>
                </a:lnTo>
                <a:lnTo>
                  <a:pt x="172" y="31"/>
                </a:lnTo>
                <a:lnTo>
                  <a:pt x="172" y="29"/>
                </a:lnTo>
                <a:lnTo>
                  <a:pt x="172" y="27"/>
                </a:lnTo>
                <a:lnTo>
                  <a:pt x="172" y="25"/>
                </a:lnTo>
                <a:lnTo>
                  <a:pt x="170" y="23"/>
                </a:lnTo>
                <a:lnTo>
                  <a:pt x="170" y="23"/>
                </a:lnTo>
                <a:lnTo>
                  <a:pt x="170" y="21"/>
                </a:lnTo>
                <a:lnTo>
                  <a:pt x="170" y="12"/>
                </a:lnTo>
                <a:lnTo>
                  <a:pt x="170" y="12"/>
                </a:lnTo>
                <a:lnTo>
                  <a:pt x="170" y="8"/>
                </a:lnTo>
                <a:lnTo>
                  <a:pt x="164" y="2"/>
                </a:lnTo>
                <a:lnTo>
                  <a:pt x="162" y="0"/>
                </a:lnTo>
                <a:lnTo>
                  <a:pt x="160" y="0"/>
                </a:lnTo>
                <a:lnTo>
                  <a:pt x="157" y="4"/>
                </a:lnTo>
                <a:lnTo>
                  <a:pt x="157" y="4"/>
                </a:lnTo>
                <a:lnTo>
                  <a:pt x="155" y="6"/>
                </a:lnTo>
                <a:lnTo>
                  <a:pt x="153" y="6"/>
                </a:lnTo>
                <a:lnTo>
                  <a:pt x="153" y="6"/>
                </a:lnTo>
                <a:lnTo>
                  <a:pt x="151" y="6"/>
                </a:lnTo>
                <a:lnTo>
                  <a:pt x="151" y="6"/>
                </a:lnTo>
                <a:lnTo>
                  <a:pt x="151" y="8"/>
                </a:lnTo>
                <a:lnTo>
                  <a:pt x="151" y="8"/>
                </a:lnTo>
                <a:lnTo>
                  <a:pt x="151" y="8"/>
                </a:lnTo>
                <a:lnTo>
                  <a:pt x="149" y="10"/>
                </a:lnTo>
                <a:lnTo>
                  <a:pt x="147" y="10"/>
                </a:lnTo>
                <a:lnTo>
                  <a:pt x="145" y="10"/>
                </a:lnTo>
                <a:lnTo>
                  <a:pt x="143" y="10"/>
                </a:lnTo>
                <a:lnTo>
                  <a:pt x="141" y="10"/>
                </a:lnTo>
                <a:lnTo>
                  <a:pt x="139" y="8"/>
                </a:lnTo>
                <a:lnTo>
                  <a:pt x="138" y="8"/>
                </a:lnTo>
                <a:lnTo>
                  <a:pt x="130" y="8"/>
                </a:lnTo>
                <a:lnTo>
                  <a:pt x="122" y="14"/>
                </a:lnTo>
                <a:lnTo>
                  <a:pt x="122" y="14"/>
                </a:lnTo>
                <a:lnTo>
                  <a:pt x="120" y="16"/>
                </a:lnTo>
                <a:lnTo>
                  <a:pt x="117" y="16"/>
                </a:lnTo>
                <a:lnTo>
                  <a:pt x="117" y="16"/>
                </a:lnTo>
                <a:lnTo>
                  <a:pt x="113" y="18"/>
                </a:lnTo>
                <a:lnTo>
                  <a:pt x="109" y="20"/>
                </a:lnTo>
                <a:lnTo>
                  <a:pt x="109" y="20"/>
                </a:lnTo>
                <a:lnTo>
                  <a:pt x="107" y="20"/>
                </a:lnTo>
                <a:lnTo>
                  <a:pt x="107" y="21"/>
                </a:lnTo>
                <a:lnTo>
                  <a:pt x="105" y="23"/>
                </a:lnTo>
                <a:lnTo>
                  <a:pt x="107" y="23"/>
                </a:lnTo>
                <a:lnTo>
                  <a:pt x="107" y="27"/>
                </a:lnTo>
                <a:lnTo>
                  <a:pt x="107" y="27"/>
                </a:lnTo>
                <a:lnTo>
                  <a:pt x="107" y="29"/>
                </a:lnTo>
                <a:lnTo>
                  <a:pt x="107" y="31"/>
                </a:lnTo>
                <a:lnTo>
                  <a:pt x="107" y="31"/>
                </a:lnTo>
                <a:lnTo>
                  <a:pt x="109" y="33"/>
                </a:lnTo>
                <a:lnTo>
                  <a:pt x="109" y="33"/>
                </a:lnTo>
                <a:lnTo>
                  <a:pt x="111" y="35"/>
                </a:lnTo>
                <a:lnTo>
                  <a:pt x="109" y="39"/>
                </a:lnTo>
                <a:lnTo>
                  <a:pt x="107" y="39"/>
                </a:lnTo>
                <a:lnTo>
                  <a:pt x="105" y="40"/>
                </a:lnTo>
                <a:lnTo>
                  <a:pt x="103" y="40"/>
                </a:lnTo>
                <a:lnTo>
                  <a:pt x="101" y="40"/>
                </a:lnTo>
                <a:lnTo>
                  <a:pt x="101" y="42"/>
                </a:lnTo>
                <a:lnTo>
                  <a:pt x="103" y="42"/>
                </a:lnTo>
                <a:lnTo>
                  <a:pt x="103" y="44"/>
                </a:lnTo>
                <a:lnTo>
                  <a:pt x="105" y="48"/>
                </a:lnTo>
                <a:lnTo>
                  <a:pt x="107" y="48"/>
                </a:lnTo>
                <a:lnTo>
                  <a:pt x="107" y="52"/>
                </a:lnTo>
                <a:lnTo>
                  <a:pt x="107" y="52"/>
                </a:lnTo>
                <a:lnTo>
                  <a:pt x="109" y="52"/>
                </a:lnTo>
                <a:lnTo>
                  <a:pt x="109" y="52"/>
                </a:lnTo>
                <a:lnTo>
                  <a:pt x="111" y="50"/>
                </a:lnTo>
                <a:lnTo>
                  <a:pt x="118" y="50"/>
                </a:lnTo>
                <a:lnTo>
                  <a:pt x="120" y="48"/>
                </a:lnTo>
                <a:lnTo>
                  <a:pt x="124" y="48"/>
                </a:lnTo>
                <a:lnTo>
                  <a:pt x="126" y="46"/>
                </a:lnTo>
                <a:lnTo>
                  <a:pt x="128" y="46"/>
                </a:lnTo>
                <a:lnTo>
                  <a:pt x="136" y="48"/>
                </a:lnTo>
                <a:lnTo>
                  <a:pt x="136" y="48"/>
                </a:lnTo>
                <a:lnTo>
                  <a:pt x="136" y="46"/>
                </a:lnTo>
                <a:lnTo>
                  <a:pt x="138" y="46"/>
                </a:lnTo>
                <a:lnTo>
                  <a:pt x="138" y="46"/>
                </a:lnTo>
                <a:lnTo>
                  <a:pt x="138" y="46"/>
                </a:lnTo>
                <a:lnTo>
                  <a:pt x="138" y="46"/>
                </a:lnTo>
                <a:lnTo>
                  <a:pt x="139" y="46"/>
                </a:lnTo>
                <a:lnTo>
                  <a:pt x="139" y="46"/>
                </a:lnTo>
                <a:lnTo>
                  <a:pt x="141" y="46"/>
                </a:lnTo>
                <a:lnTo>
                  <a:pt x="141" y="48"/>
                </a:lnTo>
                <a:lnTo>
                  <a:pt x="141" y="48"/>
                </a:lnTo>
                <a:lnTo>
                  <a:pt x="143" y="48"/>
                </a:lnTo>
                <a:lnTo>
                  <a:pt x="147" y="48"/>
                </a:lnTo>
                <a:lnTo>
                  <a:pt x="147" y="48"/>
                </a:lnTo>
                <a:lnTo>
                  <a:pt x="147" y="46"/>
                </a:lnTo>
                <a:lnTo>
                  <a:pt x="149" y="46"/>
                </a:lnTo>
                <a:lnTo>
                  <a:pt x="151" y="46"/>
                </a:lnTo>
                <a:lnTo>
                  <a:pt x="151" y="46"/>
                </a:lnTo>
                <a:lnTo>
                  <a:pt x="151" y="46"/>
                </a:lnTo>
                <a:lnTo>
                  <a:pt x="151" y="46"/>
                </a:lnTo>
                <a:lnTo>
                  <a:pt x="151" y="46"/>
                </a:lnTo>
                <a:lnTo>
                  <a:pt x="153" y="48"/>
                </a:lnTo>
                <a:lnTo>
                  <a:pt x="153" y="48"/>
                </a:lnTo>
                <a:lnTo>
                  <a:pt x="153" y="50"/>
                </a:lnTo>
                <a:lnTo>
                  <a:pt x="153" y="50"/>
                </a:lnTo>
                <a:lnTo>
                  <a:pt x="153" y="50"/>
                </a:lnTo>
                <a:lnTo>
                  <a:pt x="153" y="52"/>
                </a:lnTo>
                <a:lnTo>
                  <a:pt x="151" y="52"/>
                </a:lnTo>
                <a:lnTo>
                  <a:pt x="149" y="54"/>
                </a:lnTo>
                <a:lnTo>
                  <a:pt x="147" y="54"/>
                </a:lnTo>
                <a:lnTo>
                  <a:pt x="136" y="58"/>
                </a:lnTo>
                <a:lnTo>
                  <a:pt x="134" y="58"/>
                </a:lnTo>
                <a:lnTo>
                  <a:pt x="134" y="58"/>
                </a:lnTo>
                <a:lnTo>
                  <a:pt x="130" y="56"/>
                </a:lnTo>
                <a:lnTo>
                  <a:pt x="130" y="56"/>
                </a:lnTo>
                <a:lnTo>
                  <a:pt x="128" y="56"/>
                </a:lnTo>
                <a:lnTo>
                  <a:pt x="128" y="58"/>
                </a:lnTo>
                <a:lnTo>
                  <a:pt x="126" y="59"/>
                </a:lnTo>
                <a:lnTo>
                  <a:pt x="124" y="61"/>
                </a:lnTo>
                <a:lnTo>
                  <a:pt x="122" y="61"/>
                </a:lnTo>
                <a:lnTo>
                  <a:pt x="120" y="63"/>
                </a:lnTo>
                <a:lnTo>
                  <a:pt x="120" y="65"/>
                </a:lnTo>
                <a:lnTo>
                  <a:pt x="118" y="71"/>
                </a:lnTo>
                <a:lnTo>
                  <a:pt x="117" y="73"/>
                </a:lnTo>
                <a:lnTo>
                  <a:pt x="117" y="75"/>
                </a:lnTo>
                <a:lnTo>
                  <a:pt x="111" y="77"/>
                </a:lnTo>
                <a:lnTo>
                  <a:pt x="111" y="77"/>
                </a:lnTo>
                <a:lnTo>
                  <a:pt x="109" y="75"/>
                </a:lnTo>
                <a:lnTo>
                  <a:pt x="107" y="75"/>
                </a:lnTo>
                <a:lnTo>
                  <a:pt x="107" y="75"/>
                </a:lnTo>
                <a:lnTo>
                  <a:pt x="107" y="75"/>
                </a:lnTo>
                <a:lnTo>
                  <a:pt x="105" y="77"/>
                </a:lnTo>
                <a:lnTo>
                  <a:pt x="105" y="80"/>
                </a:lnTo>
                <a:lnTo>
                  <a:pt x="103" y="82"/>
                </a:lnTo>
                <a:lnTo>
                  <a:pt x="103" y="82"/>
                </a:lnTo>
                <a:lnTo>
                  <a:pt x="101" y="82"/>
                </a:lnTo>
                <a:lnTo>
                  <a:pt x="99" y="84"/>
                </a:lnTo>
                <a:lnTo>
                  <a:pt x="99" y="84"/>
                </a:lnTo>
                <a:lnTo>
                  <a:pt x="99" y="84"/>
                </a:lnTo>
                <a:lnTo>
                  <a:pt x="98" y="86"/>
                </a:lnTo>
                <a:lnTo>
                  <a:pt x="98" y="86"/>
                </a:lnTo>
                <a:lnTo>
                  <a:pt x="98" y="86"/>
                </a:lnTo>
                <a:lnTo>
                  <a:pt x="96" y="86"/>
                </a:lnTo>
                <a:lnTo>
                  <a:pt x="96" y="86"/>
                </a:lnTo>
                <a:lnTo>
                  <a:pt x="94" y="86"/>
                </a:lnTo>
                <a:lnTo>
                  <a:pt x="94" y="84"/>
                </a:lnTo>
                <a:lnTo>
                  <a:pt x="94" y="86"/>
                </a:lnTo>
                <a:lnTo>
                  <a:pt x="92" y="86"/>
                </a:lnTo>
                <a:lnTo>
                  <a:pt x="92" y="86"/>
                </a:lnTo>
                <a:lnTo>
                  <a:pt x="92" y="86"/>
                </a:lnTo>
                <a:lnTo>
                  <a:pt x="86" y="82"/>
                </a:lnTo>
                <a:lnTo>
                  <a:pt x="84" y="82"/>
                </a:lnTo>
                <a:lnTo>
                  <a:pt x="84" y="82"/>
                </a:lnTo>
                <a:lnTo>
                  <a:pt x="84" y="82"/>
                </a:lnTo>
                <a:lnTo>
                  <a:pt x="84" y="84"/>
                </a:lnTo>
                <a:lnTo>
                  <a:pt x="84" y="84"/>
                </a:lnTo>
                <a:lnTo>
                  <a:pt x="84" y="84"/>
                </a:lnTo>
                <a:lnTo>
                  <a:pt x="88" y="88"/>
                </a:lnTo>
                <a:lnTo>
                  <a:pt x="92" y="90"/>
                </a:lnTo>
                <a:lnTo>
                  <a:pt x="94" y="90"/>
                </a:lnTo>
                <a:lnTo>
                  <a:pt x="94" y="90"/>
                </a:lnTo>
                <a:lnTo>
                  <a:pt x="96" y="90"/>
                </a:lnTo>
                <a:lnTo>
                  <a:pt x="96" y="90"/>
                </a:lnTo>
                <a:lnTo>
                  <a:pt x="98" y="90"/>
                </a:lnTo>
                <a:lnTo>
                  <a:pt x="98" y="90"/>
                </a:lnTo>
                <a:lnTo>
                  <a:pt x="99" y="92"/>
                </a:lnTo>
                <a:lnTo>
                  <a:pt x="99" y="92"/>
                </a:lnTo>
                <a:lnTo>
                  <a:pt x="99" y="94"/>
                </a:lnTo>
                <a:lnTo>
                  <a:pt x="101" y="96"/>
                </a:lnTo>
                <a:lnTo>
                  <a:pt x="103" y="96"/>
                </a:lnTo>
                <a:lnTo>
                  <a:pt x="105" y="96"/>
                </a:lnTo>
                <a:lnTo>
                  <a:pt x="107" y="97"/>
                </a:lnTo>
                <a:lnTo>
                  <a:pt x="107" y="99"/>
                </a:lnTo>
                <a:lnTo>
                  <a:pt x="109" y="101"/>
                </a:lnTo>
                <a:lnTo>
                  <a:pt x="111" y="103"/>
                </a:lnTo>
                <a:lnTo>
                  <a:pt x="113" y="103"/>
                </a:lnTo>
                <a:lnTo>
                  <a:pt x="113" y="105"/>
                </a:lnTo>
                <a:lnTo>
                  <a:pt x="113" y="105"/>
                </a:lnTo>
                <a:lnTo>
                  <a:pt x="115" y="109"/>
                </a:lnTo>
                <a:lnTo>
                  <a:pt x="115" y="111"/>
                </a:lnTo>
                <a:lnTo>
                  <a:pt x="117" y="113"/>
                </a:lnTo>
                <a:lnTo>
                  <a:pt x="117" y="120"/>
                </a:lnTo>
                <a:lnTo>
                  <a:pt x="117" y="122"/>
                </a:lnTo>
                <a:lnTo>
                  <a:pt x="117" y="124"/>
                </a:lnTo>
                <a:lnTo>
                  <a:pt x="117" y="126"/>
                </a:lnTo>
                <a:lnTo>
                  <a:pt x="115" y="126"/>
                </a:lnTo>
                <a:lnTo>
                  <a:pt x="115" y="128"/>
                </a:lnTo>
                <a:lnTo>
                  <a:pt x="111" y="132"/>
                </a:lnTo>
                <a:lnTo>
                  <a:pt x="107" y="134"/>
                </a:lnTo>
                <a:lnTo>
                  <a:pt x="107" y="136"/>
                </a:lnTo>
                <a:lnTo>
                  <a:pt x="107" y="137"/>
                </a:lnTo>
                <a:lnTo>
                  <a:pt x="107" y="137"/>
                </a:lnTo>
                <a:lnTo>
                  <a:pt x="107" y="139"/>
                </a:lnTo>
                <a:lnTo>
                  <a:pt x="107" y="139"/>
                </a:lnTo>
                <a:lnTo>
                  <a:pt x="105" y="141"/>
                </a:lnTo>
                <a:lnTo>
                  <a:pt x="105" y="141"/>
                </a:lnTo>
                <a:lnTo>
                  <a:pt x="103" y="143"/>
                </a:lnTo>
                <a:lnTo>
                  <a:pt x="101" y="143"/>
                </a:lnTo>
                <a:lnTo>
                  <a:pt x="98" y="145"/>
                </a:lnTo>
                <a:lnTo>
                  <a:pt x="98" y="145"/>
                </a:lnTo>
                <a:lnTo>
                  <a:pt x="92" y="145"/>
                </a:lnTo>
                <a:lnTo>
                  <a:pt x="92" y="145"/>
                </a:lnTo>
                <a:lnTo>
                  <a:pt x="90" y="145"/>
                </a:lnTo>
                <a:lnTo>
                  <a:pt x="90" y="145"/>
                </a:lnTo>
                <a:lnTo>
                  <a:pt x="88" y="141"/>
                </a:lnTo>
                <a:lnTo>
                  <a:pt x="86" y="139"/>
                </a:lnTo>
                <a:lnTo>
                  <a:pt x="86" y="139"/>
                </a:lnTo>
                <a:lnTo>
                  <a:pt x="82" y="137"/>
                </a:lnTo>
                <a:lnTo>
                  <a:pt x="78" y="136"/>
                </a:lnTo>
                <a:lnTo>
                  <a:pt x="78" y="136"/>
                </a:lnTo>
                <a:lnTo>
                  <a:pt x="78" y="136"/>
                </a:lnTo>
                <a:lnTo>
                  <a:pt x="77" y="134"/>
                </a:lnTo>
                <a:lnTo>
                  <a:pt x="77" y="134"/>
                </a:lnTo>
                <a:lnTo>
                  <a:pt x="75" y="132"/>
                </a:lnTo>
                <a:lnTo>
                  <a:pt x="75" y="130"/>
                </a:lnTo>
                <a:lnTo>
                  <a:pt x="75" y="130"/>
                </a:lnTo>
                <a:lnTo>
                  <a:pt x="75" y="130"/>
                </a:lnTo>
                <a:lnTo>
                  <a:pt x="73" y="130"/>
                </a:lnTo>
                <a:lnTo>
                  <a:pt x="73" y="130"/>
                </a:lnTo>
                <a:lnTo>
                  <a:pt x="73" y="130"/>
                </a:lnTo>
                <a:lnTo>
                  <a:pt x="71" y="134"/>
                </a:lnTo>
                <a:lnTo>
                  <a:pt x="71" y="136"/>
                </a:lnTo>
                <a:lnTo>
                  <a:pt x="67" y="136"/>
                </a:lnTo>
                <a:lnTo>
                  <a:pt x="67" y="136"/>
                </a:lnTo>
                <a:lnTo>
                  <a:pt x="67" y="137"/>
                </a:lnTo>
                <a:lnTo>
                  <a:pt x="67" y="137"/>
                </a:lnTo>
                <a:lnTo>
                  <a:pt x="67" y="137"/>
                </a:lnTo>
                <a:lnTo>
                  <a:pt x="67" y="137"/>
                </a:lnTo>
                <a:lnTo>
                  <a:pt x="69" y="137"/>
                </a:lnTo>
                <a:lnTo>
                  <a:pt x="69" y="137"/>
                </a:lnTo>
                <a:lnTo>
                  <a:pt x="69" y="137"/>
                </a:lnTo>
                <a:lnTo>
                  <a:pt x="71" y="139"/>
                </a:lnTo>
                <a:lnTo>
                  <a:pt x="71" y="139"/>
                </a:lnTo>
                <a:lnTo>
                  <a:pt x="71" y="141"/>
                </a:lnTo>
                <a:lnTo>
                  <a:pt x="71" y="141"/>
                </a:lnTo>
                <a:lnTo>
                  <a:pt x="71" y="143"/>
                </a:lnTo>
                <a:lnTo>
                  <a:pt x="71" y="143"/>
                </a:lnTo>
                <a:lnTo>
                  <a:pt x="73" y="143"/>
                </a:lnTo>
                <a:lnTo>
                  <a:pt x="73" y="143"/>
                </a:lnTo>
                <a:lnTo>
                  <a:pt x="73" y="143"/>
                </a:lnTo>
                <a:lnTo>
                  <a:pt x="75" y="143"/>
                </a:lnTo>
                <a:lnTo>
                  <a:pt x="75" y="143"/>
                </a:lnTo>
                <a:lnTo>
                  <a:pt x="75" y="145"/>
                </a:lnTo>
                <a:lnTo>
                  <a:pt x="75" y="147"/>
                </a:lnTo>
                <a:lnTo>
                  <a:pt x="75" y="149"/>
                </a:lnTo>
                <a:lnTo>
                  <a:pt x="73" y="153"/>
                </a:lnTo>
                <a:lnTo>
                  <a:pt x="69" y="160"/>
                </a:lnTo>
                <a:lnTo>
                  <a:pt x="67" y="162"/>
                </a:lnTo>
                <a:lnTo>
                  <a:pt x="65" y="164"/>
                </a:lnTo>
                <a:lnTo>
                  <a:pt x="67" y="164"/>
                </a:lnTo>
                <a:lnTo>
                  <a:pt x="67" y="166"/>
                </a:lnTo>
                <a:lnTo>
                  <a:pt x="67" y="166"/>
                </a:lnTo>
                <a:lnTo>
                  <a:pt x="67" y="166"/>
                </a:lnTo>
                <a:lnTo>
                  <a:pt x="67" y="166"/>
                </a:lnTo>
                <a:lnTo>
                  <a:pt x="69" y="168"/>
                </a:lnTo>
                <a:lnTo>
                  <a:pt x="69" y="168"/>
                </a:lnTo>
                <a:lnTo>
                  <a:pt x="69" y="170"/>
                </a:lnTo>
                <a:lnTo>
                  <a:pt x="69" y="174"/>
                </a:lnTo>
                <a:lnTo>
                  <a:pt x="69" y="175"/>
                </a:lnTo>
                <a:lnTo>
                  <a:pt x="69" y="177"/>
                </a:lnTo>
                <a:lnTo>
                  <a:pt x="67" y="177"/>
                </a:lnTo>
                <a:lnTo>
                  <a:pt x="67" y="179"/>
                </a:lnTo>
                <a:lnTo>
                  <a:pt x="67" y="179"/>
                </a:lnTo>
                <a:lnTo>
                  <a:pt x="69" y="181"/>
                </a:lnTo>
                <a:lnTo>
                  <a:pt x="67" y="183"/>
                </a:lnTo>
                <a:lnTo>
                  <a:pt x="67" y="183"/>
                </a:lnTo>
                <a:lnTo>
                  <a:pt x="67" y="183"/>
                </a:lnTo>
                <a:lnTo>
                  <a:pt x="65" y="183"/>
                </a:lnTo>
                <a:lnTo>
                  <a:pt x="63" y="183"/>
                </a:lnTo>
                <a:lnTo>
                  <a:pt x="57" y="181"/>
                </a:lnTo>
                <a:lnTo>
                  <a:pt x="57" y="181"/>
                </a:lnTo>
                <a:lnTo>
                  <a:pt x="56" y="183"/>
                </a:lnTo>
                <a:lnTo>
                  <a:pt x="56" y="183"/>
                </a:lnTo>
                <a:lnTo>
                  <a:pt x="56" y="185"/>
                </a:lnTo>
                <a:lnTo>
                  <a:pt x="56" y="185"/>
                </a:lnTo>
                <a:lnTo>
                  <a:pt x="56" y="185"/>
                </a:lnTo>
                <a:lnTo>
                  <a:pt x="56" y="187"/>
                </a:lnTo>
                <a:lnTo>
                  <a:pt x="56" y="187"/>
                </a:lnTo>
                <a:lnTo>
                  <a:pt x="54" y="187"/>
                </a:lnTo>
                <a:lnTo>
                  <a:pt x="54" y="189"/>
                </a:lnTo>
                <a:lnTo>
                  <a:pt x="52" y="189"/>
                </a:lnTo>
                <a:lnTo>
                  <a:pt x="52" y="189"/>
                </a:lnTo>
                <a:lnTo>
                  <a:pt x="50" y="189"/>
                </a:lnTo>
                <a:lnTo>
                  <a:pt x="48" y="189"/>
                </a:lnTo>
                <a:lnTo>
                  <a:pt x="48" y="193"/>
                </a:lnTo>
                <a:lnTo>
                  <a:pt x="48" y="194"/>
                </a:lnTo>
                <a:lnTo>
                  <a:pt x="48" y="196"/>
                </a:lnTo>
                <a:lnTo>
                  <a:pt x="46" y="196"/>
                </a:lnTo>
                <a:lnTo>
                  <a:pt x="46" y="198"/>
                </a:lnTo>
                <a:lnTo>
                  <a:pt x="46" y="198"/>
                </a:lnTo>
                <a:lnTo>
                  <a:pt x="46" y="198"/>
                </a:lnTo>
                <a:lnTo>
                  <a:pt x="44" y="196"/>
                </a:lnTo>
                <a:lnTo>
                  <a:pt x="44" y="196"/>
                </a:lnTo>
                <a:lnTo>
                  <a:pt x="42" y="194"/>
                </a:lnTo>
                <a:lnTo>
                  <a:pt x="42" y="194"/>
                </a:lnTo>
                <a:lnTo>
                  <a:pt x="40" y="194"/>
                </a:lnTo>
                <a:lnTo>
                  <a:pt x="40" y="194"/>
                </a:lnTo>
                <a:lnTo>
                  <a:pt x="38" y="196"/>
                </a:lnTo>
                <a:lnTo>
                  <a:pt x="38" y="196"/>
                </a:lnTo>
                <a:lnTo>
                  <a:pt x="38" y="196"/>
                </a:lnTo>
                <a:lnTo>
                  <a:pt x="38" y="196"/>
                </a:lnTo>
                <a:lnTo>
                  <a:pt x="37" y="196"/>
                </a:lnTo>
                <a:lnTo>
                  <a:pt x="37" y="194"/>
                </a:lnTo>
                <a:lnTo>
                  <a:pt x="37" y="194"/>
                </a:lnTo>
                <a:lnTo>
                  <a:pt x="35" y="194"/>
                </a:lnTo>
                <a:lnTo>
                  <a:pt x="35" y="196"/>
                </a:lnTo>
                <a:lnTo>
                  <a:pt x="33" y="196"/>
                </a:lnTo>
                <a:lnTo>
                  <a:pt x="33" y="196"/>
                </a:lnTo>
                <a:lnTo>
                  <a:pt x="33" y="196"/>
                </a:lnTo>
                <a:lnTo>
                  <a:pt x="31" y="196"/>
                </a:lnTo>
                <a:lnTo>
                  <a:pt x="31" y="194"/>
                </a:lnTo>
                <a:lnTo>
                  <a:pt x="29" y="193"/>
                </a:lnTo>
                <a:lnTo>
                  <a:pt x="27" y="189"/>
                </a:lnTo>
                <a:lnTo>
                  <a:pt x="23" y="191"/>
                </a:lnTo>
                <a:lnTo>
                  <a:pt x="21" y="191"/>
                </a:lnTo>
                <a:lnTo>
                  <a:pt x="19" y="191"/>
                </a:lnTo>
                <a:lnTo>
                  <a:pt x="17" y="191"/>
                </a:lnTo>
                <a:lnTo>
                  <a:pt x="16" y="191"/>
                </a:lnTo>
                <a:lnTo>
                  <a:pt x="16" y="191"/>
                </a:lnTo>
                <a:lnTo>
                  <a:pt x="16" y="191"/>
                </a:lnTo>
                <a:lnTo>
                  <a:pt x="16" y="191"/>
                </a:lnTo>
                <a:lnTo>
                  <a:pt x="12" y="191"/>
                </a:lnTo>
                <a:lnTo>
                  <a:pt x="12" y="191"/>
                </a:lnTo>
                <a:lnTo>
                  <a:pt x="12" y="191"/>
                </a:lnTo>
                <a:lnTo>
                  <a:pt x="10" y="191"/>
                </a:lnTo>
                <a:lnTo>
                  <a:pt x="10" y="193"/>
                </a:lnTo>
                <a:lnTo>
                  <a:pt x="8" y="193"/>
                </a:lnTo>
                <a:lnTo>
                  <a:pt x="6" y="193"/>
                </a:lnTo>
                <a:lnTo>
                  <a:pt x="6" y="194"/>
                </a:lnTo>
                <a:lnTo>
                  <a:pt x="6" y="200"/>
                </a:lnTo>
                <a:lnTo>
                  <a:pt x="6" y="200"/>
                </a:lnTo>
                <a:lnTo>
                  <a:pt x="4" y="202"/>
                </a:lnTo>
                <a:lnTo>
                  <a:pt x="4" y="204"/>
                </a:lnTo>
                <a:lnTo>
                  <a:pt x="2" y="204"/>
                </a:lnTo>
                <a:lnTo>
                  <a:pt x="2" y="206"/>
                </a:lnTo>
                <a:lnTo>
                  <a:pt x="2" y="206"/>
                </a:lnTo>
                <a:lnTo>
                  <a:pt x="2" y="208"/>
                </a:lnTo>
                <a:lnTo>
                  <a:pt x="2" y="212"/>
                </a:lnTo>
                <a:lnTo>
                  <a:pt x="0" y="213"/>
                </a:lnTo>
                <a:lnTo>
                  <a:pt x="0" y="215"/>
                </a:lnTo>
                <a:lnTo>
                  <a:pt x="0" y="215"/>
                </a:lnTo>
                <a:lnTo>
                  <a:pt x="2" y="219"/>
                </a:lnTo>
                <a:lnTo>
                  <a:pt x="2" y="219"/>
                </a:lnTo>
                <a:lnTo>
                  <a:pt x="2" y="223"/>
                </a:lnTo>
                <a:lnTo>
                  <a:pt x="2" y="225"/>
                </a:lnTo>
                <a:lnTo>
                  <a:pt x="4" y="225"/>
                </a:lnTo>
                <a:lnTo>
                  <a:pt x="8" y="221"/>
                </a:lnTo>
                <a:lnTo>
                  <a:pt x="8" y="223"/>
                </a:lnTo>
                <a:lnTo>
                  <a:pt x="8" y="223"/>
                </a:lnTo>
                <a:lnTo>
                  <a:pt x="8" y="223"/>
                </a:lnTo>
                <a:lnTo>
                  <a:pt x="8" y="225"/>
                </a:lnTo>
                <a:lnTo>
                  <a:pt x="8" y="225"/>
                </a:lnTo>
                <a:lnTo>
                  <a:pt x="6" y="225"/>
                </a:lnTo>
                <a:lnTo>
                  <a:pt x="6" y="225"/>
                </a:lnTo>
                <a:lnTo>
                  <a:pt x="6" y="227"/>
                </a:lnTo>
                <a:lnTo>
                  <a:pt x="8" y="229"/>
                </a:lnTo>
                <a:lnTo>
                  <a:pt x="8" y="229"/>
                </a:lnTo>
                <a:lnTo>
                  <a:pt x="6" y="231"/>
                </a:lnTo>
                <a:lnTo>
                  <a:pt x="6" y="229"/>
                </a:lnTo>
                <a:lnTo>
                  <a:pt x="4" y="229"/>
                </a:lnTo>
                <a:lnTo>
                  <a:pt x="4" y="229"/>
                </a:lnTo>
                <a:lnTo>
                  <a:pt x="4" y="227"/>
                </a:lnTo>
                <a:lnTo>
                  <a:pt x="6" y="234"/>
                </a:lnTo>
                <a:lnTo>
                  <a:pt x="6" y="238"/>
                </a:lnTo>
                <a:lnTo>
                  <a:pt x="6" y="240"/>
                </a:lnTo>
                <a:lnTo>
                  <a:pt x="6" y="246"/>
                </a:lnTo>
                <a:lnTo>
                  <a:pt x="8" y="248"/>
                </a:lnTo>
                <a:lnTo>
                  <a:pt x="10" y="248"/>
                </a:lnTo>
                <a:lnTo>
                  <a:pt x="10" y="248"/>
                </a:lnTo>
                <a:lnTo>
                  <a:pt x="10" y="248"/>
                </a:lnTo>
                <a:lnTo>
                  <a:pt x="10" y="246"/>
                </a:lnTo>
                <a:lnTo>
                  <a:pt x="8" y="246"/>
                </a:lnTo>
                <a:lnTo>
                  <a:pt x="8" y="244"/>
                </a:lnTo>
                <a:lnTo>
                  <a:pt x="8" y="244"/>
                </a:lnTo>
                <a:lnTo>
                  <a:pt x="8" y="242"/>
                </a:lnTo>
                <a:lnTo>
                  <a:pt x="8" y="242"/>
                </a:lnTo>
                <a:lnTo>
                  <a:pt x="8" y="242"/>
                </a:lnTo>
                <a:lnTo>
                  <a:pt x="10" y="242"/>
                </a:lnTo>
                <a:lnTo>
                  <a:pt x="12" y="244"/>
                </a:lnTo>
                <a:lnTo>
                  <a:pt x="12" y="244"/>
                </a:lnTo>
                <a:lnTo>
                  <a:pt x="12" y="246"/>
                </a:lnTo>
                <a:lnTo>
                  <a:pt x="12" y="246"/>
                </a:lnTo>
                <a:lnTo>
                  <a:pt x="14" y="246"/>
                </a:lnTo>
                <a:lnTo>
                  <a:pt x="14" y="248"/>
                </a:lnTo>
                <a:lnTo>
                  <a:pt x="16" y="246"/>
                </a:lnTo>
                <a:lnTo>
                  <a:pt x="17" y="246"/>
                </a:lnTo>
                <a:lnTo>
                  <a:pt x="19" y="246"/>
                </a:lnTo>
                <a:lnTo>
                  <a:pt x="21" y="246"/>
                </a:lnTo>
                <a:lnTo>
                  <a:pt x="12" y="250"/>
                </a:lnTo>
                <a:lnTo>
                  <a:pt x="10" y="252"/>
                </a:lnTo>
                <a:lnTo>
                  <a:pt x="10" y="253"/>
                </a:lnTo>
                <a:lnTo>
                  <a:pt x="10" y="255"/>
                </a:lnTo>
                <a:lnTo>
                  <a:pt x="10" y="261"/>
                </a:lnTo>
                <a:lnTo>
                  <a:pt x="10" y="261"/>
                </a:lnTo>
                <a:lnTo>
                  <a:pt x="14" y="265"/>
                </a:lnTo>
                <a:lnTo>
                  <a:pt x="14" y="267"/>
                </a:lnTo>
                <a:lnTo>
                  <a:pt x="16" y="267"/>
                </a:lnTo>
                <a:lnTo>
                  <a:pt x="17" y="265"/>
                </a:lnTo>
                <a:lnTo>
                  <a:pt x="19" y="265"/>
                </a:lnTo>
                <a:lnTo>
                  <a:pt x="21" y="267"/>
                </a:lnTo>
                <a:lnTo>
                  <a:pt x="23" y="269"/>
                </a:lnTo>
                <a:lnTo>
                  <a:pt x="25" y="269"/>
                </a:lnTo>
                <a:lnTo>
                  <a:pt x="31" y="269"/>
                </a:lnTo>
                <a:lnTo>
                  <a:pt x="31" y="269"/>
                </a:lnTo>
                <a:lnTo>
                  <a:pt x="33" y="271"/>
                </a:lnTo>
                <a:lnTo>
                  <a:pt x="35" y="272"/>
                </a:lnTo>
                <a:lnTo>
                  <a:pt x="35" y="272"/>
                </a:lnTo>
                <a:lnTo>
                  <a:pt x="35" y="272"/>
                </a:lnTo>
                <a:lnTo>
                  <a:pt x="35" y="274"/>
                </a:lnTo>
                <a:lnTo>
                  <a:pt x="35" y="276"/>
                </a:lnTo>
                <a:lnTo>
                  <a:pt x="37" y="276"/>
                </a:lnTo>
                <a:lnTo>
                  <a:pt x="35" y="278"/>
                </a:lnTo>
                <a:lnTo>
                  <a:pt x="33" y="276"/>
                </a:lnTo>
                <a:lnTo>
                  <a:pt x="31" y="271"/>
                </a:lnTo>
                <a:lnTo>
                  <a:pt x="31" y="271"/>
                </a:lnTo>
                <a:lnTo>
                  <a:pt x="29" y="269"/>
                </a:lnTo>
                <a:lnTo>
                  <a:pt x="27" y="271"/>
                </a:lnTo>
                <a:lnTo>
                  <a:pt x="27" y="271"/>
                </a:lnTo>
                <a:lnTo>
                  <a:pt x="23" y="271"/>
                </a:lnTo>
                <a:lnTo>
                  <a:pt x="21" y="269"/>
                </a:lnTo>
                <a:lnTo>
                  <a:pt x="19" y="267"/>
                </a:lnTo>
                <a:lnTo>
                  <a:pt x="17" y="267"/>
                </a:lnTo>
                <a:lnTo>
                  <a:pt x="14" y="267"/>
                </a:lnTo>
                <a:lnTo>
                  <a:pt x="12" y="269"/>
                </a:lnTo>
                <a:lnTo>
                  <a:pt x="12" y="272"/>
                </a:lnTo>
                <a:lnTo>
                  <a:pt x="12" y="278"/>
                </a:lnTo>
                <a:lnTo>
                  <a:pt x="14" y="276"/>
                </a:lnTo>
                <a:lnTo>
                  <a:pt x="14" y="274"/>
                </a:lnTo>
                <a:lnTo>
                  <a:pt x="16" y="274"/>
                </a:lnTo>
                <a:lnTo>
                  <a:pt x="17" y="274"/>
                </a:lnTo>
                <a:lnTo>
                  <a:pt x="16" y="274"/>
                </a:lnTo>
                <a:lnTo>
                  <a:pt x="14" y="278"/>
                </a:lnTo>
                <a:lnTo>
                  <a:pt x="12" y="282"/>
                </a:lnTo>
                <a:lnTo>
                  <a:pt x="12" y="282"/>
                </a:lnTo>
                <a:lnTo>
                  <a:pt x="14" y="284"/>
                </a:lnTo>
                <a:lnTo>
                  <a:pt x="14" y="284"/>
                </a:lnTo>
                <a:lnTo>
                  <a:pt x="14" y="284"/>
                </a:lnTo>
                <a:lnTo>
                  <a:pt x="14" y="282"/>
                </a:lnTo>
                <a:lnTo>
                  <a:pt x="16" y="282"/>
                </a:lnTo>
                <a:lnTo>
                  <a:pt x="16" y="282"/>
                </a:lnTo>
                <a:lnTo>
                  <a:pt x="16" y="282"/>
                </a:lnTo>
                <a:lnTo>
                  <a:pt x="16" y="282"/>
                </a:lnTo>
                <a:lnTo>
                  <a:pt x="16" y="284"/>
                </a:lnTo>
                <a:lnTo>
                  <a:pt x="16" y="284"/>
                </a:lnTo>
                <a:lnTo>
                  <a:pt x="16" y="286"/>
                </a:lnTo>
                <a:lnTo>
                  <a:pt x="16" y="286"/>
                </a:lnTo>
                <a:lnTo>
                  <a:pt x="16" y="288"/>
                </a:lnTo>
                <a:lnTo>
                  <a:pt x="16" y="290"/>
                </a:lnTo>
                <a:lnTo>
                  <a:pt x="16" y="291"/>
                </a:lnTo>
                <a:lnTo>
                  <a:pt x="16" y="291"/>
                </a:lnTo>
                <a:lnTo>
                  <a:pt x="16" y="293"/>
                </a:lnTo>
                <a:lnTo>
                  <a:pt x="16" y="293"/>
                </a:lnTo>
                <a:lnTo>
                  <a:pt x="16" y="295"/>
                </a:lnTo>
                <a:lnTo>
                  <a:pt x="16" y="295"/>
                </a:lnTo>
                <a:lnTo>
                  <a:pt x="14" y="295"/>
                </a:lnTo>
                <a:lnTo>
                  <a:pt x="14" y="297"/>
                </a:lnTo>
                <a:lnTo>
                  <a:pt x="14" y="299"/>
                </a:lnTo>
                <a:lnTo>
                  <a:pt x="14" y="299"/>
                </a:lnTo>
                <a:lnTo>
                  <a:pt x="12" y="303"/>
                </a:lnTo>
                <a:lnTo>
                  <a:pt x="12" y="303"/>
                </a:lnTo>
                <a:lnTo>
                  <a:pt x="12" y="305"/>
                </a:lnTo>
                <a:lnTo>
                  <a:pt x="14" y="303"/>
                </a:lnTo>
                <a:lnTo>
                  <a:pt x="14" y="303"/>
                </a:lnTo>
                <a:lnTo>
                  <a:pt x="14" y="303"/>
                </a:lnTo>
                <a:lnTo>
                  <a:pt x="14" y="303"/>
                </a:lnTo>
                <a:lnTo>
                  <a:pt x="16" y="303"/>
                </a:lnTo>
                <a:lnTo>
                  <a:pt x="14" y="305"/>
                </a:lnTo>
                <a:lnTo>
                  <a:pt x="14" y="307"/>
                </a:lnTo>
                <a:lnTo>
                  <a:pt x="14" y="307"/>
                </a:lnTo>
                <a:lnTo>
                  <a:pt x="16" y="309"/>
                </a:lnTo>
                <a:lnTo>
                  <a:pt x="16" y="309"/>
                </a:lnTo>
                <a:lnTo>
                  <a:pt x="17" y="307"/>
                </a:lnTo>
                <a:lnTo>
                  <a:pt x="17" y="303"/>
                </a:lnTo>
                <a:lnTo>
                  <a:pt x="19" y="299"/>
                </a:lnTo>
                <a:lnTo>
                  <a:pt x="21" y="297"/>
                </a:lnTo>
                <a:lnTo>
                  <a:pt x="21" y="295"/>
                </a:lnTo>
                <a:lnTo>
                  <a:pt x="23" y="297"/>
                </a:lnTo>
                <a:lnTo>
                  <a:pt x="23" y="299"/>
                </a:lnTo>
                <a:lnTo>
                  <a:pt x="27" y="295"/>
                </a:lnTo>
                <a:lnTo>
                  <a:pt x="27" y="293"/>
                </a:lnTo>
                <a:lnTo>
                  <a:pt x="25" y="291"/>
                </a:lnTo>
                <a:lnTo>
                  <a:pt x="27" y="290"/>
                </a:lnTo>
                <a:lnTo>
                  <a:pt x="27" y="288"/>
                </a:lnTo>
                <a:lnTo>
                  <a:pt x="29" y="286"/>
                </a:lnTo>
                <a:lnTo>
                  <a:pt x="29" y="282"/>
                </a:lnTo>
                <a:lnTo>
                  <a:pt x="31" y="282"/>
                </a:lnTo>
                <a:lnTo>
                  <a:pt x="29" y="290"/>
                </a:lnTo>
                <a:lnTo>
                  <a:pt x="31" y="291"/>
                </a:lnTo>
                <a:lnTo>
                  <a:pt x="31" y="291"/>
                </a:lnTo>
                <a:lnTo>
                  <a:pt x="33" y="291"/>
                </a:lnTo>
                <a:lnTo>
                  <a:pt x="31" y="293"/>
                </a:lnTo>
                <a:lnTo>
                  <a:pt x="31" y="295"/>
                </a:lnTo>
                <a:lnTo>
                  <a:pt x="31" y="297"/>
                </a:lnTo>
                <a:lnTo>
                  <a:pt x="31" y="299"/>
                </a:lnTo>
                <a:lnTo>
                  <a:pt x="35" y="297"/>
                </a:lnTo>
                <a:lnTo>
                  <a:pt x="37" y="297"/>
                </a:lnTo>
                <a:lnTo>
                  <a:pt x="38" y="297"/>
                </a:lnTo>
                <a:lnTo>
                  <a:pt x="37" y="299"/>
                </a:lnTo>
                <a:lnTo>
                  <a:pt x="37" y="299"/>
                </a:lnTo>
                <a:lnTo>
                  <a:pt x="33" y="299"/>
                </a:lnTo>
                <a:lnTo>
                  <a:pt x="29" y="301"/>
                </a:lnTo>
                <a:lnTo>
                  <a:pt x="29" y="301"/>
                </a:lnTo>
                <a:lnTo>
                  <a:pt x="29" y="301"/>
                </a:lnTo>
                <a:lnTo>
                  <a:pt x="31" y="301"/>
                </a:lnTo>
                <a:lnTo>
                  <a:pt x="31" y="303"/>
                </a:lnTo>
                <a:lnTo>
                  <a:pt x="29" y="303"/>
                </a:lnTo>
                <a:lnTo>
                  <a:pt x="27" y="303"/>
                </a:lnTo>
                <a:lnTo>
                  <a:pt x="27" y="303"/>
                </a:lnTo>
                <a:lnTo>
                  <a:pt x="27" y="307"/>
                </a:lnTo>
                <a:lnTo>
                  <a:pt x="25" y="307"/>
                </a:lnTo>
                <a:lnTo>
                  <a:pt x="25" y="305"/>
                </a:lnTo>
                <a:lnTo>
                  <a:pt x="23" y="309"/>
                </a:lnTo>
                <a:lnTo>
                  <a:pt x="25" y="310"/>
                </a:lnTo>
                <a:lnTo>
                  <a:pt x="27" y="312"/>
                </a:lnTo>
                <a:lnTo>
                  <a:pt x="29" y="310"/>
                </a:lnTo>
                <a:lnTo>
                  <a:pt x="29" y="310"/>
                </a:lnTo>
                <a:lnTo>
                  <a:pt x="29" y="310"/>
                </a:lnTo>
                <a:lnTo>
                  <a:pt x="31" y="310"/>
                </a:lnTo>
                <a:lnTo>
                  <a:pt x="31" y="310"/>
                </a:lnTo>
                <a:lnTo>
                  <a:pt x="31" y="310"/>
                </a:lnTo>
                <a:lnTo>
                  <a:pt x="31" y="312"/>
                </a:lnTo>
                <a:lnTo>
                  <a:pt x="31" y="312"/>
                </a:lnTo>
                <a:lnTo>
                  <a:pt x="31" y="312"/>
                </a:lnTo>
                <a:lnTo>
                  <a:pt x="31" y="314"/>
                </a:lnTo>
                <a:lnTo>
                  <a:pt x="31" y="316"/>
                </a:lnTo>
                <a:lnTo>
                  <a:pt x="35" y="316"/>
                </a:lnTo>
                <a:lnTo>
                  <a:pt x="33" y="318"/>
                </a:lnTo>
                <a:lnTo>
                  <a:pt x="33" y="320"/>
                </a:lnTo>
                <a:lnTo>
                  <a:pt x="31" y="322"/>
                </a:lnTo>
                <a:lnTo>
                  <a:pt x="33" y="324"/>
                </a:lnTo>
                <a:lnTo>
                  <a:pt x="31" y="324"/>
                </a:lnTo>
                <a:lnTo>
                  <a:pt x="29" y="324"/>
                </a:lnTo>
                <a:lnTo>
                  <a:pt x="29" y="322"/>
                </a:lnTo>
                <a:lnTo>
                  <a:pt x="31" y="320"/>
                </a:lnTo>
                <a:lnTo>
                  <a:pt x="27" y="316"/>
                </a:lnTo>
                <a:lnTo>
                  <a:pt x="25" y="314"/>
                </a:lnTo>
                <a:lnTo>
                  <a:pt x="25" y="318"/>
                </a:lnTo>
                <a:lnTo>
                  <a:pt x="23" y="318"/>
                </a:lnTo>
                <a:lnTo>
                  <a:pt x="21" y="316"/>
                </a:lnTo>
                <a:lnTo>
                  <a:pt x="21" y="316"/>
                </a:lnTo>
                <a:lnTo>
                  <a:pt x="19" y="318"/>
                </a:lnTo>
                <a:lnTo>
                  <a:pt x="19" y="320"/>
                </a:lnTo>
                <a:lnTo>
                  <a:pt x="19" y="320"/>
                </a:lnTo>
                <a:lnTo>
                  <a:pt x="19" y="326"/>
                </a:lnTo>
                <a:lnTo>
                  <a:pt x="19" y="330"/>
                </a:lnTo>
                <a:lnTo>
                  <a:pt x="19" y="333"/>
                </a:lnTo>
                <a:lnTo>
                  <a:pt x="21" y="333"/>
                </a:lnTo>
                <a:lnTo>
                  <a:pt x="23" y="339"/>
                </a:lnTo>
                <a:lnTo>
                  <a:pt x="25" y="341"/>
                </a:lnTo>
                <a:lnTo>
                  <a:pt x="25" y="341"/>
                </a:lnTo>
                <a:lnTo>
                  <a:pt x="29" y="341"/>
                </a:lnTo>
                <a:lnTo>
                  <a:pt x="29" y="341"/>
                </a:lnTo>
                <a:lnTo>
                  <a:pt x="29" y="343"/>
                </a:lnTo>
                <a:lnTo>
                  <a:pt x="31" y="345"/>
                </a:lnTo>
                <a:lnTo>
                  <a:pt x="31" y="347"/>
                </a:lnTo>
                <a:lnTo>
                  <a:pt x="31" y="349"/>
                </a:lnTo>
                <a:lnTo>
                  <a:pt x="33" y="349"/>
                </a:lnTo>
                <a:lnTo>
                  <a:pt x="35" y="350"/>
                </a:lnTo>
                <a:lnTo>
                  <a:pt x="33" y="352"/>
                </a:lnTo>
                <a:lnTo>
                  <a:pt x="31" y="350"/>
                </a:lnTo>
                <a:lnTo>
                  <a:pt x="29" y="345"/>
                </a:lnTo>
                <a:lnTo>
                  <a:pt x="27" y="343"/>
                </a:lnTo>
                <a:lnTo>
                  <a:pt x="25" y="343"/>
                </a:lnTo>
                <a:lnTo>
                  <a:pt x="23" y="345"/>
                </a:lnTo>
                <a:lnTo>
                  <a:pt x="23" y="347"/>
                </a:lnTo>
                <a:lnTo>
                  <a:pt x="23" y="349"/>
                </a:lnTo>
                <a:lnTo>
                  <a:pt x="23" y="352"/>
                </a:lnTo>
                <a:lnTo>
                  <a:pt x="23" y="354"/>
                </a:lnTo>
                <a:lnTo>
                  <a:pt x="23" y="354"/>
                </a:lnTo>
                <a:lnTo>
                  <a:pt x="23" y="356"/>
                </a:lnTo>
                <a:lnTo>
                  <a:pt x="25" y="356"/>
                </a:lnTo>
                <a:lnTo>
                  <a:pt x="25" y="358"/>
                </a:lnTo>
                <a:lnTo>
                  <a:pt x="25" y="358"/>
                </a:lnTo>
                <a:lnTo>
                  <a:pt x="25" y="360"/>
                </a:lnTo>
                <a:lnTo>
                  <a:pt x="25" y="360"/>
                </a:lnTo>
                <a:lnTo>
                  <a:pt x="25" y="360"/>
                </a:lnTo>
                <a:lnTo>
                  <a:pt x="25" y="360"/>
                </a:lnTo>
                <a:lnTo>
                  <a:pt x="25" y="360"/>
                </a:lnTo>
                <a:lnTo>
                  <a:pt x="25" y="360"/>
                </a:lnTo>
                <a:lnTo>
                  <a:pt x="27" y="362"/>
                </a:lnTo>
                <a:lnTo>
                  <a:pt x="29" y="364"/>
                </a:lnTo>
                <a:lnTo>
                  <a:pt x="29" y="364"/>
                </a:lnTo>
                <a:lnTo>
                  <a:pt x="31" y="364"/>
                </a:lnTo>
                <a:lnTo>
                  <a:pt x="29" y="366"/>
                </a:lnTo>
                <a:lnTo>
                  <a:pt x="31" y="368"/>
                </a:lnTo>
                <a:lnTo>
                  <a:pt x="33" y="368"/>
                </a:lnTo>
                <a:lnTo>
                  <a:pt x="35" y="368"/>
                </a:lnTo>
                <a:lnTo>
                  <a:pt x="37" y="368"/>
                </a:lnTo>
                <a:lnTo>
                  <a:pt x="38" y="368"/>
                </a:lnTo>
                <a:lnTo>
                  <a:pt x="38" y="369"/>
                </a:lnTo>
                <a:lnTo>
                  <a:pt x="38" y="371"/>
                </a:lnTo>
                <a:lnTo>
                  <a:pt x="40" y="373"/>
                </a:lnTo>
                <a:lnTo>
                  <a:pt x="38" y="375"/>
                </a:lnTo>
                <a:lnTo>
                  <a:pt x="38" y="377"/>
                </a:lnTo>
                <a:lnTo>
                  <a:pt x="37" y="377"/>
                </a:lnTo>
                <a:lnTo>
                  <a:pt x="37" y="375"/>
                </a:lnTo>
                <a:lnTo>
                  <a:pt x="38" y="375"/>
                </a:lnTo>
                <a:lnTo>
                  <a:pt x="37" y="373"/>
                </a:lnTo>
                <a:lnTo>
                  <a:pt x="35" y="373"/>
                </a:lnTo>
                <a:lnTo>
                  <a:pt x="35" y="371"/>
                </a:lnTo>
                <a:lnTo>
                  <a:pt x="33" y="371"/>
                </a:lnTo>
                <a:lnTo>
                  <a:pt x="31" y="371"/>
                </a:lnTo>
                <a:lnTo>
                  <a:pt x="31" y="371"/>
                </a:lnTo>
                <a:lnTo>
                  <a:pt x="31" y="371"/>
                </a:lnTo>
                <a:lnTo>
                  <a:pt x="29" y="371"/>
                </a:lnTo>
                <a:lnTo>
                  <a:pt x="29" y="369"/>
                </a:lnTo>
                <a:lnTo>
                  <a:pt x="29" y="369"/>
                </a:lnTo>
                <a:lnTo>
                  <a:pt x="29" y="368"/>
                </a:lnTo>
                <a:lnTo>
                  <a:pt x="27" y="368"/>
                </a:lnTo>
                <a:lnTo>
                  <a:pt x="27" y="369"/>
                </a:lnTo>
                <a:lnTo>
                  <a:pt x="27" y="369"/>
                </a:lnTo>
                <a:lnTo>
                  <a:pt x="27" y="371"/>
                </a:lnTo>
                <a:lnTo>
                  <a:pt x="27" y="371"/>
                </a:lnTo>
                <a:lnTo>
                  <a:pt x="27" y="371"/>
                </a:lnTo>
                <a:lnTo>
                  <a:pt x="25" y="373"/>
                </a:lnTo>
                <a:lnTo>
                  <a:pt x="29" y="375"/>
                </a:lnTo>
                <a:lnTo>
                  <a:pt x="29" y="377"/>
                </a:lnTo>
                <a:lnTo>
                  <a:pt x="31" y="385"/>
                </a:lnTo>
                <a:lnTo>
                  <a:pt x="31" y="385"/>
                </a:lnTo>
                <a:lnTo>
                  <a:pt x="31" y="385"/>
                </a:lnTo>
                <a:lnTo>
                  <a:pt x="31" y="387"/>
                </a:lnTo>
                <a:lnTo>
                  <a:pt x="31" y="387"/>
                </a:lnTo>
                <a:lnTo>
                  <a:pt x="31" y="387"/>
                </a:lnTo>
                <a:lnTo>
                  <a:pt x="31" y="388"/>
                </a:lnTo>
                <a:lnTo>
                  <a:pt x="31" y="388"/>
                </a:lnTo>
                <a:lnTo>
                  <a:pt x="33" y="390"/>
                </a:lnTo>
                <a:lnTo>
                  <a:pt x="33" y="392"/>
                </a:lnTo>
                <a:lnTo>
                  <a:pt x="35" y="390"/>
                </a:lnTo>
                <a:lnTo>
                  <a:pt x="35" y="390"/>
                </a:lnTo>
                <a:lnTo>
                  <a:pt x="35" y="388"/>
                </a:lnTo>
                <a:lnTo>
                  <a:pt x="37" y="388"/>
                </a:lnTo>
                <a:lnTo>
                  <a:pt x="37" y="390"/>
                </a:lnTo>
                <a:lnTo>
                  <a:pt x="37" y="392"/>
                </a:lnTo>
                <a:lnTo>
                  <a:pt x="35" y="392"/>
                </a:lnTo>
                <a:lnTo>
                  <a:pt x="33" y="392"/>
                </a:lnTo>
                <a:lnTo>
                  <a:pt x="33" y="394"/>
                </a:lnTo>
                <a:lnTo>
                  <a:pt x="33" y="396"/>
                </a:lnTo>
                <a:lnTo>
                  <a:pt x="35" y="396"/>
                </a:lnTo>
                <a:lnTo>
                  <a:pt x="37" y="396"/>
                </a:lnTo>
                <a:lnTo>
                  <a:pt x="35" y="398"/>
                </a:lnTo>
                <a:lnTo>
                  <a:pt x="35" y="400"/>
                </a:lnTo>
                <a:lnTo>
                  <a:pt x="38" y="407"/>
                </a:lnTo>
                <a:lnTo>
                  <a:pt x="40" y="409"/>
                </a:lnTo>
                <a:lnTo>
                  <a:pt x="40" y="413"/>
                </a:lnTo>
                <a:lnTo>
                  <a:pt x="40" y="413"/>
                </a:lnTo>
                <a:lnTo>
                  <a:pt x="42" y="415"/>
                </a:lnTo>
                <a:lnTo>
                  <a:pt x="42" y="417"/>
                </a:lnTo>
                <a:lnTo>
                  <a:pt x="42" y="419"/>
                </a:lnTo>
                <a:lnTo>
                  <a:pt x="44" y="419"/>
                </a:lnTo>
                <a:lnTo>
                  <a:pt x="44" y="421"/>
                </a:lnTo>
                <a:lnTo>
                  <a:pt x="44" y="423"/>
                </a:lnTo>
                <a:lnTo>
                  <a:pt x="44" y="423"/>
                </a:lnTo>
                <a:lnTo>
                  <a:pt x="42" y="425"/>
                </a:lnTo>
                <a:lnTo>
                  <a:pt x="42" y="425"/>
                </a:lnTo>
                <a:lnTo>
                  <a:pt x="42" y="427"/>
                </a:lnTo>
                <a:lnTo>
                  <a:pt x="44" y="428"/>
                </a:lnTo>
                <a:lnTo>
                  <a:pt x="44" y="428"/>
                </a:lnTo>
                <a:lnTo>
                  <a:pt x="44" y="430"/>
                </a:lnTo>
                <a:lnTo>
                  <a:pt x="44" y="432"/>
                </a:lnTo>
                <a:lnTo>
                  <a:pt x="44" y="432"/>
                </a:lnTo>
                <a:lnTo>
                  <a:pt x="46" y="434"/>
                </a:lnTo>
                <a:lnTo>
                  <a:pt x="46" y="434"/>
                </a:lnTo>
                <a:lnTo>
                  <a:pt x="50" y="434"/>
                </a:lnTo>
                <a:lnTo>
                  <a:pt x="52" y="436"/>
                </a:lnTo>
                <a:lnTo>
                  <a:pt x="48" y="438"/>
                </a:lnTo>
                <a:lnTo>
                  <a:pt x="46" y="438"/>
                </a:lnTo>
                <a:lnTo>
                  <a:pt x="46" y="438"/>
                </a:lnTo>
                <a:lnTo>
                  <a:pt x="44" y="438"/>
                </a:lnTo>
                <a:lnTo>
                  <a:pt x="44" y="438"/>
                </a:lnTo>
                <a:lnTo>
                  <a:pt x="44" y="440"/>
                </a:lnTo>
                <a:lnTo>
                  <a:pt x="48" y="444"/>
                </a:lnTo>
                <a:lnTo>
                  <a:pt x="50" y="446"/>
                </a:lnTo>
                <a:lnTo>
                  <a:pt x="48" y="447"/>
                </a:lnTo>
                <a:lnTo>
                  <a:pt x="50" y="449"/>
                </a:lnTo>
                <a:lnTo>
                  <a:pt x="50" y="451"/>
                </a:lnTo>
                <a:lnTo>
                  <a:pt x="48" y="453"/>
                </a:lnTo>
                <a:lnTo>
                  <a:pt x="48" y="453"/>
                </a:lnTo>
                <a:lnTo>
                  <a:pt x="48" y="455"/>
                </a:lnTo>
                <a:lnTo>
                  <a:pt x="50" y="457"/>
                </a:lnTo>
                <a:lnTo>
                  <a:pt x="52" y="459"/>
                </a:lnTo>
                <a:lnTo>
                  <a:pt x="54" y="463"/>
                </a:lnTo>
                <a:lnTo>
                  <a:pt x="56" y="465"/>
                </a:lnTo>
                <a:lnTo>
                  <a:pt x="54" y="465"/>
                </a:lnTo>
                <a:lnTo>
                  <a:pt x="52" y="465"/>
                </a:lnTo>
                <a:lnTo>
                  <a:pt x="52" y="463"/>
                </a:lnTo>
                <a:lnTo>
                  <a:pt x="50" y="463"/>
                </a:lnTo>
                <a:lnTo>
                  <a:pt x="50" y="465"/>
                </a:lnTo>
                <a:lnTo>
                  <a:pt x="52" y="466"/>
                </a:lnTo>
                <a:lnTo>
                  <a:pt x="52" y="466"/>
                </a:lnTo>
                <a:lnTo>
                  <a:pt x="52" y="468"/>
                </a:lnTo>
                <a:lnTo>
                  <a:pt x="54" y="470"/>
                </a:lnTo>
                <a:lnTo>
                  <a:pt x="54" y="472"/>
                </a:lnTo>
                <a:lnTo>
                  <a:pt x="56" y="476"/>
                </a:lnTo>
                <a:lnTo>
                  <a:pt x="57" y="478"/>
                </a:lnTo>
                <a:lnTo>
                  <a:pt x="57" y="480"/>
                </a:lnTo>
                <a:lnTo>
                  <a:pt x="56" y="480"/>
                </a:lnTo>
                <a:lnTo>
                  <a:pt x="57" y="482"/>
                </a:lnTo>
                <a:lnTo>
                  <a:pt x="57" y="484"/>
                </a:lnTo>
                <a:lnTo>
                  <a:pt x="57" y="487"/>
                </a:lnTo>
                <a:lnTo>
                  <a:pt x="57" y="489"/>
                </a:lnTo>
                <a:lnTo>
                  <a:pt x="56" y="487"/>
                </a:lnTo>
                <a:lnTo>
                  <a:pt x="56" y="487"/>
                </a:lnTo>
                <a:lnTo>
                  <a:pt x="56" y="489"/>
                </a:lnTo>
                <a:lnTo>
                  <a:pt x="57" y="491"/>
                </a:lnTo>
                <a:lnTo>
                  <a:pt x="56" y="491"/>
                </a:lnTo>
                <a:lnTo>
                  <a:pt x="57" y="493"/>
                </a:lnTo>
                <a:lnTo>
                  <a:pt x="59" y="493"/>
                </a:lnTo>
                <a:lnTo>
                  <a:pt x="57" y="497"/>
                </a:lnTo>
                <a:lnTo>
                  <a:pt x="57" y="497"/>
                </a:lnTo>
                <a:lnTo>
                  <a:pt x="57" y="499"/>
                </a:lnTo>
                <a:lnTo>
                  <a:pt x="57" y="503"/>
                </a:lnTo>
                <a:lnTo>
                  <a:pt x="57" y="503"/>
                </a:lnTo>
                <a:lnTo>
                  <a:pt x="57" y="504"/>
                </a:lnTo>
                <a:lnTo>
                  <a:pt x="57" y="506"/>
                </a:lnTo>
                <a:lnTo>
                  <a:pt x="59" y="510"/>
                </a:lnTo>
                <a:lnTo>
                  <a:pt x="59" y="510"/>
                </a:lnTo>
                <a:lnTo>
                  <a:pt x="61" y="510"/>
                </a:lnTo>
                <a:lnTo>
                  <a:pt x="61" y="512"/>
                </a:lnTo>
                <a:lnTo>
                  <a:pt x="59" y="514"/>
                </a:lnTo>
                <a:lnTo>
                  <a:pt x="59" y="518"/>
                </a:lnTo>
                <a:lnTo>
                  <a:pt x="59" y="520"/>
                </a:lnTo>
                <a:lnTo>
                  <a:pt x="61" y="522"/>
                </a:lnTo>
                <a:lnTo>
                  <a:pt x="63" y="522"/>
                </a:lnTo>
                <a:lnTo>
                  <a:pt x="63" y="524"/>
                </a:lnTo>
                <a:lnTo>
                  <a:pt x="63" y="524"/>
                </a:lnTo>
                <a:lnTo>
                  <a:pt x="61" y="525"/>
                </a:lnTo>
                <a:lnTo>
                  <a:pt x="61" y="525"/>
                </a:lnTo>
                <a:lnTo>
                  <a:pt x="61" y="525"/>
                </a:lnTo>
                <a:lnTo>
                  <a:pt x="63" y="529"/>
                </a:lnTo>
                <a:lnTo>
                  <a:pt x="63" y="527"/>
                </a:lnTo>
                <a:lnTo>
                  <a:pt x="65" y="527"/>
                </a:lnTo>
                <a:lnTo>
                  <a:pt x="67" y="527"/>
                </a:lnTo>
                <a:lnTo>
                  <a:pt x="67" y="529"/>
                </a:lnTo>
                <a:lnTo>
                  <a:pt x="67" y="531"/>
                </a:lnTo>
                <a:lnTo>
                  <a:pt x="67" y="531"/>
                </a:lnTo>
                <a:lnTo>
                  <a:pt x="65" y="531"/>
                </a:lnTo>
                <a:lnTo>
                  <a:pt x="65" y="529"/>
                </a:lnTo>
                <a:lnTo>
                  <a:pt x="63" y="529"/>
                </a:lnTo>
                <a:lnTo>
                  <a:pt x="63" y="529"/>
                </a:lnTo>
                <a:lnTo>
                  <a:pt x="61" y="531"/>
                </a:lnTo>
                <a:lnTo>
                  <a:pt x="61" y="531"/>
                </a:lnTo>
                <a:lnTo>
                  <a:pt x="61" y="531"/>
                </a:lnTo>
                <a:lnTo>
                  <a:pt x="61" y="531"/>
                </a:lnTo>
                <a:lnTo>
                  <a:pt x="63" y="533"/>
                </a:lnTo>
                <a:lnTo>
                  <a:pt x="63" y="533"/>
                </a:lnTo>
                <a:lnTo>
                  <a:pt x="65" y="535"/>
                </a:lnTo>
                <a:lnTo>
                  <a:pt x="67" y="535"/>
                </a:lnTo>
                <a:lnTo>
                  <a:pt x="67" y="535"/>
                </a:lnTo>
                <a:lnTo>
                  <a:pt x="65" y="537"/>
                </a:lnTo>
                <a:lnTo>
                  <a:pt x="65" y="537"/>
                </a:lnTo>
                <a:lnTo>
                  <a:pt x="65" y="537"/>
                </a:lnTo>
                <a:lnTo>
                  <a:pt x="65" y="537"/>
                </a:lnTo>
                <a:lnTo>
                  <a:pt x="67" y="539"/>
                </a:lnTo>
                <a:lnTo>
                  <a:pt x="67" y="539"/>
                </a:lnTo>
                <a:lnTo>
                  <a:pt x="65" y="539"/>
                </a:lnTo>
                <a:lnTo>
                  <a:pt x="65" y="539"/>
                </a:lnTo>
                <a:lnTo>
                  <a:pt x="63" y="535"/>
                </a:lnTo>
                <a:lnTo>
                  <a:pt x="63" y="535"/>
                </a:lnTo>
                <a:lnTo>
                  <a:pt x="61" y="535"/>
                </a:lnTo>
                <a:lnTo>
                  <a:pt x="61" y="535"/>
                </a:lnTo>
                <a:lnTo>
                  <a:pt x="61" y="535"/>
                </a:lnTo>
                <a:lnTo>
                  <a:pt x="61" y="537"/>
                </a:lnTo>
                <a:lnTo>
                  <a:pt x="61" y="539"/>
                </a:lnTo>
                <a:lnTo>
                  <a:pt x="61" y="539"/>
                </a:lnTo>
                <a:lnTo>
                  <a:pt x="61" y="539"/>
                </a:lnTo>
                <a:lnTo>
                  <a:pt x="63" y="543"/>
                </a:lnTo>
                <a:lnTo>
                  <a:pt x="63" y="546"/>
                </a:lnTo>
                <a:lnTo>
                  <a:pt x="65" y="548"/>
                </a:lnTo>
                <a:lnTo>
                  <a:pt x="67" y="548"/>
                </a:lnTo>
                <a:lnTo>
                  <a:pt x="69" y="550"/>
                </a:lnTo>
                <a:lnTo>
                  <a:pt x="67" y="550"/>
                </a:lnTo>
                <a:lnTo>
                  <a:pt x="67" y="550"/>
                </a:lnTo>
                <a:lnTo>
                  <a:pt x="65" y="552"/>
                </a:lnTo>
                <a:lnTo>
                  <a:pt x="65" y="552"/>
                </a:lnTo>
                <a:lnTo>
                  <a:pt x="67" y="554"/>
                </a:lnTo>
                <a:lnTo>
                  <a:pt x="67" y="554"/>
                </a:lnTo>
                <a:lnTo>
                  <a:pt x="67" y="556"/>
                </a:lnTo>
                <a:lnTo>
                  <a:pt x="67" y="556"/>
                </a:lnTo>
                <a:lnTo>
                  <a:pt x="71" y="563"/>
                </a:lnTo>
                <a:lnTo>
                  <a:pt x="71" y="565"/>
                </a:lnTo>
                <a:lnTo>
                  <a:pt x="71" y="567"/>
                </a:lnTo>
                <a:lnTo>
                  <a:pt x="71" y="567"/>
                </a:lnTo>
                <a:lnTo>
                  <a:pt x="73" y="567"/>
                </a:lnTo>
                <a:lnTo>
                  <a:pt x="73" y="567"/>
                </a:lnTo>
                <a:lnTo>
                  <a:pt x="73" y="567"/>
                </a:lnTo>
                <a:lnTo>
                  <a:pt x="73" y="569"/>
                </a:lnTo>
                <a:lnTo>
                  <a:pt x="73" y="573"/>
                </a:lnTo>
                <a:lnTo>
                  <a:pt x="75" y="577"/>
                </a:lnTo>
                <a:lnTo>
                  <a:pt x="75" y="575"/>
                </a:lnTo>
                <a:lnTo>
                  <a:pt x="75" y="573"/>
                </a:lnTo>
                <a:lnTo>
                  <a:pt x="75" y="571"/>
                </a:lnTo>
                <a:lnTo>
                  <a:pt x="78" y="569"/>
                </a:lnTo>
                <a:lnTo>
                  <a:pt x="77" y="571"/>
                </a:lnTo>
                <a:lnTo>
                  <a:pt x="77" y="571"/>
                </a:lnTo>
                <a:lnTo>
                  <a:pt x="75" y="573"/>
                </a:lnTo>
                <a:lnTo>
                  <a:pt x="75" y="575"/>
                </a:lnTo>
                <a:lnTo>
                  <a:pt x="75" y="581"/>
                </a:lnTo>
                <a:lnTo>
                  <a:pt x="75" y="581"/>
                </a:lnTo>
                <a:lnTo>
                  <a:pt x="75" y="581"/>
                </a:lnTo>
                <a:lnTo>
                  <a:pt x="75" y="582"/>
                </a:lnTo>
                <a:lnTo>
                  <a:pt x="75" y="582"/>
                </a:lnTo>
                <a:lnTo>
                  <a:pt x="75" y="582"/>
                </a:lnTo>
                <a:lnTo>
                  <a:pt x="75" y="582"/>
                </a:lnTo>
                <a:lnTo>
                  <a:pt x="77" y="584"/>
                </a:lnTo>
                <a:lnTo>
                  <a:pt x="77" y="584"/>
                </a:lnTo>
                <a:lnTo>
                  <a:pt x="77" y="586"/>
                </a:lnTo>
                <a:lnTo>
                  <a:pt x="78" y="586"/>
                </a:lnTo>
                <a:lnTo>
                  <a:pt x="80" y="586"/>
                </a:lnTo>
                <a:lnTo>
                  <a:pt x="80" y="586"/>
                </a:lnTo>
                <a:lnTo>
                  <a:pt x="78" y="586"/>
                </a:lnTo>
                <a:lnTo>
                  <a:pt x="78" y="588"/>
                </a:lnTo>
                <a:lnTo>
                  <a:pt x="80" y="592"/>
                </a:lnTo>
                <a:lnTo>
                  <a:pt x="82" y="594"/>
                </a:lnTo>
                <a:lnTo>
                  <a:pt x="86" y="598"/>
                </a:lnTo>
                <a:lnTo>
                  <a:pt x="88" y="600"/>
                </a:lnTo>
                <a:lnTo>
                  <a:pt x="92" y="605"/>
                </a:lnTo>
                <a:lnTo>
                  <a:pt x="92" y="607"/>
                </a:lnTo>
                <a:lnTo>
                  <a:pt x="92" y="613"/>
                </a:lnTo>
                <a:lnTo>
                  <a:pt x="92" y="613"/>
                </a:lnTo>
                <a:lnTo>
                  <a:pt x="94" y="615"/>
                </a:lnTo>
                <a:lnTo>
                  <a:pt x="96" y="615"/>
                </a:lnTo>
                <a:lnTo>
                  <a:pt x="96" y="615"/>
                </a:lnTo>
                <a:lnTo>
                  <a:pt x="98" y="615"/>
                </a:lnTo>
                <a:lnTo>
                  <a:pt x="99" y="613"/>
                </a:lnTo>
                <a:lnTo>
                  <a:pt x="103" y="613"/>
                </a:lnTo>
                <a:lnTo>
                  <a:pt x="105" y="613"/>
                </a:lnTo>
                <a:lnTo>
                  <a:pt x="105" y="613"/>
                </a:lnTo>
                <a:lnTo>
                  <a:pt x="107" y="613"/>
                </a:lnTo>
                <a:lnTo>
                  <a:pt x="107" y="609"/>
                </a:lnTo>
                <a:lnTo>
                  <a:pt x="109" y="609"/>
                </a:lnTo>
                <a:lnTo>
                  <a:pt x="109" y="609"/>
                </a:lnTo>
                <a:lnTo>
                  <a:pt x="109" y="609"/>
                </a:lnTo>
                <a:lnTo>
                  <a:pt x="109" y="609"/>
                </a:lnTo>
                <a:lnTo>
                  <a:pt x="111" y="611"/>
                </a:lnTo>
                <a:lnTo>
                  <a:pt x="111" y="611"/>
                </a:lnTo>
                <a:lnTo>
                  <a:pt x="111" y="613"/>
                </a:lnTo>
                <a:lnTo>
                  <a:pt x="111" y="613"/>
                </a:lnTo>
                <a:lnTo>
                  <a:pt x="111" y="613"/>
                </a:lnTo>
                <a:lnTo>
                  <a:pt x="113" y="613"/>
                </a:lnTo>
                <a:lnTo>
                  <a:pt x="115" y="613"/>
                </a:lnTo>
                <a:lnTo>
                  <a:pt x="117" y="615"/>
                </a:lnTo>
                <a:lnTo>
                  <a:pt x="117" y="615"/>
                </a:lnTo>
                <a:lnTo>
                  <a:pt x="117" y="617"/>
                </a:lnTo>
                <a:lnTo>
                  <a:pt x="118" y="620"/>
                </a:lnTo>
                <a:lnTo>
                  <a:pt x="118" y="622"/>
                </a:lnTo>
                <a:lnTo>
                  <a:pt x="120" y="622"/>
                </a:lnTo>
                <a:lnTo>
                  <a:pt x="122" y="624"/>
                </a:lnTo>
                <a:lnTo>
                  <a:pt x="122" y="624"/>
                </a:lnTo>
                <a:lnTo>
                  <a:pt x="124" y="624"/>
                </a:lnTo>
                <a:lnTo>
                  <a:pt x="126" y="624"/>
                </a:lnTo>
                <a:lnTo>
                  <a:pt x="130" y="622"/>
                </a:lnTo>
                <a:lnTo>
                  <a:pt x="134" y="622"/>
                </a:lnTo>
                <a:lnTo>
                  <a:pt x="134" y="620"/>
                </a:lnTo>
                <a:lnTo>
                  <a:pt x="134" y="620"/>
                </a:lnTo>
                <a:lnTo>
                  <a:pt x="134" y="620"/>
                </a:lnTo>
                <a:lnTo>
                  <a:pt x="134" y="619"/>
                </a:lnTo>
                <a:lnTo>
                  <a:pt x="136" y="619"/>
                </a:lnTo>
                <a:lnTo>
                  <a:pt x="136" y="619"/>
                </a:lnTo>
                <a:lnTo>
                  <a:pt x="136" y="619"/>
                </a:lnTo>
                <a:lnTo>
                  <a:pt x="136" y="615"/>
                </a:lnTo>
                <a:lnTo>
                  <a:pt x="138" y="615"/>
                </a:lnTo>
                <a:lnTo>
                  <a:pt x="141" y="611"/>
                </a:lnTo>
                <a:lnTo>
                  <a:pt x="143" y="611"/>
                </a:lnTo>
                <a:lnTo>
                  <a:pt x="143" y="611"/>
                </a:lnTo>
                <a:lnTo>
                  <a:pt x="145" y="611"/>
                </a:lnTo>
                <a:lnTo>
                  <a:pt x="145" y="611"/>
                </a:lnTo>
                <a:lnTo>
                  <a:pt x="145" y="611"/>
                </a:lnTo>
                <a:lnTo>
                  <a:pt x="145" y="613"/>
                </a:lnTo>
                <a:lnTo>
                  <a:pt x="145" y="613"/>
                </a:lnTo>
                <a:lnTo>
                  <a:pt x="145" y="613"/>
                </a:lnTo>
                <a:lnTo>
                  <a:pt x="145" y="615"/>
                </a:lnTo>
                <a:lnTo>
                  <a:pt x="145" y="615"/>
                </a:lnTo>
                <a:lnTo>
                  <a:pt x="145" y="615"/>
                </a:lnTo>
                <a:lnTo>
                  <a:pt x="145" y="615"/>
                </a:lnTo>
                <a:lnTo>
                  <a:pt x="149" y="615"/>
                </a:lnTo>
                <a:lnTo>
                  <a:pt x="151" y="615"/>
                </a:lnTo>
                <a:lnTo>
                  <a:pt x="153" y="613"/>
                </a:lnTo>
                <a:lnTo>
                  <a:pt x="153" y="613"/>
                </a:lnTo>
                <a:lnTo>
                  <a:pt x="155" y="611"/>
                </a:lnTo>
                <a:lnTo>
                  <a:pt x="155" y="611"/>
                </a:lnTo>
                <a:lnTo>
                  <a:pt x="157" y="609"/>
                </a:lnTo>
                <a:lnTo>
                  <a:pt x="158" y="605"/>
                </a:lnTo>
                <a:lnTo>
                  <a:pt x="158" y="603"/>
                </a:lnTo>
                <a:lnTo>
                  <a:pt x="158" y="603"/>
                </a:lnTo>
                <a:lnTo>
                  <a:pt x="158" y="601"/>
                </a:lnTo>
                <a:lnTo>
                  <a:pt x="157" y="601"/>
                </a:lnTo>
                <a:lnTo>
                  <a:pt x="157" y="601"/>
                </a:lnTo>
                <a:lnTo>
                  <a:pt x="158" y="600"/>
                </a:lnTo>
                <a:lnTo>
                  <a:pt x="160" y="598"/>
                </a:lnTo>
                <a:lnTo>
                  <a:pt x="162" y="594"/>
                </a:lnTo>
                <a:lnTo>
                  <a:pt x="162" y="592"/>
                </a:lnTo>
                <a:lnTo>
                  <a:pt x="164" y="590"/>
                </a:lnTo>
                <a:lnTo>
                  <a:pt x="164" y="588"/>
                </a:lnTo>
                <a:lnTo>
                  <a:pt x="164" y="586"/>
                </a:lnTo>
                <a:lnTo>
                  <a:pt x="164" y="584"/>
                </a:lnTo>
                <a:lnTo>
                  <a:pt x="164" y="584"/>
                </a:lnTo>
                <a:lnTo>
                  <a:pt x="164" y="584"/>
                </a:lnTo>
                <a:lnTo>
                  <a:pt x="164" y="584"/>
                </a:lnTo>
                <a:lnTo>
                  <a:pt x="164" y="582"/>
                </a:lnTo>
                <a:lnTo>
                  <a:pt x="162" y="582"/>
                </a:lnTo>
                <a:lnTo>
                  <a:pt x="160" y="582"/>
                </a:lnTo>
                <a:lnTo>
                  <a:pt x="160" y="582"/>
                </a:lnTo>
                <a:lnTo>
                  <a:pt x="160" y="581"/>
                </a:lnTo>
                <a:lnTo>
                  <a:pt x="160" y="581"/>
                </a:lnTo>
                <a:lnTo>
                  <a:pt x="162" y="581"/>
                </a:lnTo>
                <a:lnTo>
                  <a:pt x="162" y="579"/>
                </a:lnTo>
                <a:lnTo>
                  <a:pt x="164" y="579"/>
                </a:lnTo>
                <a:lnTo>
                  <a:pt x="168" y="579"/>
                </a:lnTo>
                <a:lnTo>
                  <a:pt x="168" y="579"/>
                </a:lnTo>
                <a:lnTo>
                  <a:pt x="168" y="577"/>
                </a:lnTo>
                <a:lnTo>
                  <a:pt x="168" y="577"/>
                </a:lnTo>
                <a:lnTo>
                  <a:pt x="168" y="573"/>
                </a:lnTo>
                <a:lnTo>
                  <a:pt x="168" y="569"/>
                </a:lnTo>
                <a:lnTo>
                  <a:pt x="168" y="567"/>
                </a:lnTo>
                <a:lnTo>
                  <a:pt x="168" y="565"/>
                </a:lnTo>
                <a:lnTo>
                  <a:pt x="168" y="565"/>
                </a:lnTo>
                <a:lnTo>
                  <a:pt x="168" y="565"/>
                </a:lnTo>
                <a:lnTo>
                  <a:pt x="168" y="563"/>
                </a:lnTo>
                <a:lnTo>
                  <a:pt x="166" y="563"/>
                </a:lnTo>
                <a:lnTo>
                  <a:pt x="158" y="560"/>
                </a:lnTo>
                <a:lnTo>
                  <a:pt x="158" y="560"/>
                </a:lnTo>
                <a:lnTo>
                  <a:pt x="158" y="560"/>
                </a:lnTo>
                <a:lnTo>
                  <a:pt x="157" y="560"/>
                </a:lnTo>
                <a:lnTo>
                  <a:pt x="157" y="562"/>
                </a:lnTo>
                <a:lnTo>
                  <a:pt x="157" y="562"/>
                </a:lnTo>
                <a:lnTo>
                  <a:pt x="155" y="562"/>
                </a:lnTo>
                <a:lnTo>
                  <a:pt x="155" y="562"/>
                </a:lnTo>
                <a:lnTo>
                  <a:pt x="155" y="562"/>
                </a:lnTo>
                <a:lnTo>
                  <a:pt x="155" y="560"/>
                </a:lnTo>
                <a:lnTo>
                  <a:pt x="155" y="560"/>
                </a:lnTo>
                <a:lnTo>
                  <a:pt x="155" y="558"/>
                </a:lnTo>
                <a:lnTo>
                  <a:pt x="155" y="558"/>
                </a:lnTo>
                <a:lnTo>
                  <a:pt x="155" y="558"/>
                </a:lnTo>
                <a:lnTo>
                  <a:pt x="155" y="556"/>
                </a:lnTo>
                <a:lnTo>
                  <a:pt x="153" y="556"/>
                </a:lnTo>
                <a:lnTo>
                  <a:pt x="153" y="554"/>
                </a:lnTo>
                <a:lnTo>
                  <a:pt x="153" y="552"/>
                </a:lnTo>
                <a:lnTo>
                  <a:pt x="153" y="552"/>
                </a:lnTo>
                <a:lnTo>
                  <a:pt x="153" y="552"/>
                </a:lnTo>
                <a:lnTo>
                  <a:pt x="155" y="552"/>
                </a:lnTo>
                <a:lnTo>
                  <a:pt x="157" y="550"/>
                </a:lnTo>
                <a:lnTo>
                  <a:pt x="157" y="550"/>
                </a:lnTo>
                <a:lnTo>
                  <a:pt x="157" y="550"/>
                </a:lnTo>
                <a:lnTo>
                  <a:pt x="158" y="550"/>
                </a:lnTo>
                <a:lnTo>
                  <a:pt x="158" y="550"/>
                </a:lnTo>
                <a:lnTo>
                  <a:pt x="158" y="550"/>
                </a:lnTo>
                <a:lnTo>
                  <a:pt x="157" y="548"/>
                </a:lnTo>
                <a:lnTo>
                  <a:pt x="157" y="548"/>
                </a:lnTo>
                <a:lnTo>
                  <a:pt x="155" y="548"/>
                </a:lnTo>
                <a:lnTo>
                  <a:pt x="155" y="548"/>
                </a:lnTo>
                <a:lnTo>
                  <a:pt x="155" y="548"/>
                </a:lnTo>
                <a:lnTo>
                  <a:pt x="155" y="546"/>
                </a:lnTo>
                <a:lnTo>
                  <a:pt x="155" y="546"/>
                </a:lnTo>
                <a:lnTo>
                  <a:pt x="155" y="546"/>
                </a:lnTo>
                <a:lnTo>
                  <a:pt x="155" y="544"/>
                </a:lnTo>
                <a:lnTo>
                  <a:pt x="155" y="544"/>
                </a:lnTo>
                <a:lnTo>
                  <a:pt x="153" y="544"/>
                </a:lnTo>
                <a:lnTo>
                  <a:pt x="153" y="544"/>
                </a:lnTo>
                <a:lnTo>
                  <a:pt x="153" y="544"/>
                </a:lnTo>
                <a:lnTo>
                  <a:pt x="151" y="544"/>
                </a:lnTo>
                <a:lnTo>
                  <a:pt x="151" y="544"/>
                </a:lnTo>
                <a:lnTo>
                  <a:pt x="151" y="544"/>
                </a:lnTo>
                <a:lnTo>
                  <a:pt x="151" y="543"/>
                </a:lnTo>
                <a:lnTo>
                  <a:pt x="151" y="543"/>
                </a:lnTo>
                <a:lnTo>
                  <a:pt x="151" y="543"/>
                </a:lnTo>
                <a:lnTo>
                  <a:pt x="151" y="543"/>
                </a:lnTo>
                <a:lnTo>
                  <a:pt x="151" y="541"/>
                </a:lnTo>
                <a:lnTo>
                  <a:pt x="149" y="541"/>
                </a:lnTo>
                <a:lnTo>
                  <a:pt x="149" y="541"/>
                </a:lnTo>
                <a:lnTo>
                  <a:pt x="149" y="541"/>
                </a:lnTo>
                <a:lnTo>
                  <a:pt x="149" y="541"/>
                </a:lnTo>
                <a:lnTo>
                  <a:pt x="149" y="541"/>
                </a:lnTo>
                <a:lnTo>
                  <a:pt x="147" y="543"/>
                </a:lnTo>
                <a:lnTo>
                  <a:pt x="147" y="543"/>
                </a:lnTo>
                <a:lnTo>
                  <a:pt x="147" y="543"/>
                </a:lnTo>
                <a:lnTo>
                  <a:pt x="147" y="543"/>
                </a:lnTo>
                <a:lnTo>
                  <a:pt x="145" y="543"/>
                </a:lnTo>
                <a:lnTo>
                  <a:pt x="145" y="541"/>
                </a:lnTo>
                <a:lnTo>
                  <a:pt x="145" y="541"/>
                </a:lnTo>
                <a:lnTo>
                  <a:pt x="145" y="541"/>
                </a:lnTo>
                <a:lnTo>
                  <a:pt x="147" y="539"/>
                </a:lnTo>
                <a:lnTo>
                  <a:pt x="147" y="537"/>
                </a:lnTo>
                <a:lnTo>
                  <a:pt x="147" y="535"/>
                </a:lnTo>
                <a:lnTo>
                  <a:pt x="149" y="537"/>
                </a:lnTo>
                <a:lnTo>
                  <a:pt x="149" y="537"/>
                </a:lnTo>
                <a:lnTo>
                  <a:pt x="151" y="537"/>
                </a:lnTo>
                <a:lnTo>
                  <a:pt x="151" y="537"/>
                </a:lnTo>
                <a:lnTo>
                  <a:pt x="151" y="537"/>
                </a:lnTo>
                <a:lnTo>
                  <a:pt x="153" y="537"/>
                </a:lnTo>
                <a:lnTo>
                  <a:pt x="153" y="537"/>
                </a:lnTo>
                <a:lnTo>
                  <a:pt x="153" y="537"/>
                </a:lnTo>
                <a:lnTo>
                  <a:pt x="153" y="535"/>
                </a:lnTo>
                <a:lnTo>
                  <a:pt x="153" y="535"/>
                </a:lnTo>
                <a:lnTo>
                  <a:pt x="155" y="533"/>
                </a:lnTo>
                <a:lnTo>
                  <a:pt x="155" y="535"/>
                </a:lnTo>
                <a:lnTo>
                  <a:pt x="155" y="535"/>
                </a:lnTo>
                <a:lnTo>
                  <a:pt x="155" y="535"/>
                </a:lnTo>
                <a:lnTo>
                  <a:pt x="157" y="535"/>
                </a:lnTo>
                <a:lnTo>
                  <a:pt x="157" y="537"/>
                </a:lnTo>
                <a:lnTo>
                  <a:pt x="157" y="537"/>
                </a:lnTo>
                <a:lnTo>
                  <a:pt x="157" y="537"/>
                </a:lnTo>
                <a:lnTo>
                  <a:pt x="158" y="535"/>
                </a:lnTo>
                <a:lnTo>
                  <a:pt x="160" y="533"/>
                </a:lnTo>
                <a:lnTo>
                  <a:pt x="160" y="533"/>
                </a:lnTo>
                <a:lnTo>
                  <a:pt x="160" y="533"/>
                </a:lnTo>
                <a:lnTo>
                  <a:pt x="162" y="533"/>
                </a:lnTo>
                <a:lnTo>
                  <a:pt x="162" y="531"/>
                </a:lnTo>
                <a:lnTo>
                  <a:pt x="162" y="531"/>
                </a:lnTo>
                <a:lnTo>
                  <a:pt x="164" y="531"/>
                </a:lnTo>
                <a:lnTo>
                  <a:pt x="164" y="529"/>
                </a:lnTo>
                <a:lnTo>
                  <a:pt x="164" y="527"/>
                </a:lnTo>
                <a:lnTo>
                  <a:pt x="164" y="525"/>
                </a:lnTo>
                <a:lnTo>
                  <a:pt x="164" y="525"/>
                </a:lnTo>
                <a:lnTo>
                  <a:pt x="166" y="525"/>
                </a:lnTo>
                <a:lnTo>
                  <a:pt x="166" y="527"/>
                </a:lnTo>
                <a:lnTo>
                  <a:pt x="168" y="527"/>
                </a:lnTo>
                <a:lnTo>
                  <a:pt x="170" y="527"/>
                </a:lnTo>
                <a:lnTo>
                  <a:pt x="172" y="527"/>
                </a:lnTo>
                <a:lnTo>
                  <a:pt x="174" y="527"/>
                </a:lnTo>
                <a:lnTo>
                  <a:pt x="174" y="527"/>
                </a:lnTo>
                <a:lnTo>
                  <a:pt x="174" y="529"/>
                </a:lnTo>
                <a:lnTo>
                  <a:pt x="174" y="531"/>
                </a:lnTo>
                <a:lnTo>
                  <a:pt x="174" y="531"/>
                </a:lnTo>
                <a:lnTo>
                  <a:pt x="176" y="533"/>
                </a:lnTo>
                <a:lnTo>
                  <a:pt x="176" y="533"/>
                </a:lnTo>
                <a:lnTo>
                  <a:pt x="176" y="533"/>
                </a:lnTo>
                <a:lnTo>
                  <a:pt x="176" y="533"/>
                </a:lnTo>
                <a:lnTo>
                  <a:pt x="176" y="535"/>
                </a:lnTo>
                <a:lnTo>
                  <a:pt x="176" y="535"/>
                </a:lnTo>
                <a:lnTo>
                  <a:pt x="176" y="535"/>
                </a:lnTo>
                <a:lnTo>
                  <a:pt x="176" y="535"/>
                </a:lnTo>
                <a:lnTo>
                  <a:pt x="176" y="535"/>
                </a:lnTo>
                <a:lnTo>
                  <a:pt x="176" y="535"/>
                </a:lnTo>
                <a:lnTo>
                  <a:pt x="178" y="535"/>
                </a:lnTo>
                <a:lnTo>
                  <a:pt x="178" y="535"/>
                </a:lnTo>
                <a:lnTo>
                  <a:pt x="179" y="535"/>
                </a:lnTo>
                <a:lnTo>
                  <a:pt x="181" y="531"/>
                </a:lnTo>
                <a:lnTo>
                  <a:pt x="183" y="531"/>
                </a:lnTo>
                <a:lnTo>
                  <a:pt x="183" y="531"/>
                </a:lnTo>
                <a:lnTo>
                  <a:pt x="183" y="531"/>
                </a:lnTo>
                <a:lnTo>
                  <a:pt x="185" y="531"/>
                </a:lnTo>
                <a:lnTo>
                  <a:pt x="187" y="529"/>
                </a:lnTo>
                <a:lnTo>
                  <a:pt x="187" y="529"/>
                </a:lnTo>
                <a:lnTo>
                  <a:pt x="187" y="527"/>
                </a:lnTo>
                <a:lnTo>
                  <a:pt x="185" y="525"/>
                </a:lnTo>
                <a:lnTo>
                  <a:pt x="185" y="524"/>
                </a:lnTo>
                <a:lnTo>
                  <a:pt x="187" y="524"/>
                </a:lnTo>
                <a:lnTo>
                  <a:pt x="187" y="524"/>
                </a:lnTo>
                <a:lnTo>
                  <a:pt x="187" y="524"/>
                </a:lnTo>
                <a:lnTo>
                  <a:pt x="189" y="520"/>
                </a:lnTo>
                <a:lnTo>
                  <a:pt x="189" y="520"/>
                </a:lnTo>
                <a:lnTo>
                  <a:pt x="189" y="520"/>
                </a:lnTo>
                <a:lnTo>
                  <a:pt x="191" y="520"/>
                </a:lnTo>
                <a:lnTo>
                  <a:pt x="191" y="520"/>
                </a:lnTo>
                <a:lnTo>
                  <a:pt x="191" y="520"/>
                </a:lnTo>
                <a:lnTo>
                  <a:pt x="193" y="518"/>
                </a:lnTo>
                <a:lnTo>
                  <a:pt x="193" y="518"/>
                </a:lnTo>
                <a:lnTo>
                  <a:pt x="193" y="518"/>
                </a:lnTo>
                <a:lnTo>
                  <a:pt x="193" y="516"/>
                </a:lnTo>
                <a:lnTo>
                  <a:pt x="195" y="516"/>
                </a:lnTo>
                <a:lnTo>
                  <a:pt x="197" y="516"/>
                </a:lnTo>
                <a:lnTo>
                  <a:pt x="198" y="514"/>
                </a:lnTo>
                <a:lnTo>
                  <a:pt x="198" y="514"/>
                </a:lnTo>
                <a:lnTo>
                  <a:pt x="198" y="514"/>
                </a:lnTo>
                <a:lnTo>
                  <a:pt x="200" y="514"/>
                </a:lnTo>
                <a:lnTo>
                  <a:pt x="202" y="516"/>
                </a:lnTo>
                <a:lnTo>
                  <a:pt x="204" y="516"/>
                </a:lnTo>
                <a:lnTo>
                  <a:pt x="204" y="516"/>
                </a:lnTo>
                <a:lnTo>
                  <a:pt x="204" y="514"/>
                </a:lnTo>
                <a:lnTo>
                  <a:pt x="204" y="514"/>
                </a:lnTo>
                <a:lnTo>
                  <a:pt x="204" y="514"/>
                </a:lnTo>
                <a:lnTo>
                  <a:pt x="204" y="514"/>
                </a:lnTo>
                <a:lnTo>
                  <a:pt x="204" y="510"/>
                </a:lnTo>
                <a:lnTo>
                  <a:pt x="204" y="508"/>
                </a:lnTo>
                <a:lnTo>
                  <a:pt x="204" y="508"/>
                </a:lnTo>
                <a:lnTo>
                  <a:pt x="202" y="506"/>
                </a:lnTo>
                <a:lnTo>
                  <a:pt x="202" y="506"/>
                </a:lnTo>
                <a:lnTo>
                  <a:pt x="202" y="506"/>
                </a:lnTo>
                <a:lnTo>
                  <a:pt x="202" y="504"/>
                </a:lnTo>
                <a:lnTo>
                  <a:pt x="204" y="504"/>
                </a:lnTo>
                <a:lnTo>
                  <a:pt x="208" y="504"/>
                </a:lnTo>
                <a:lnTo>
                  <a:pt x="210" y="503"/>
                </a:lnTo>
                <a:lnTo>
                  <a:pt x="210" y="503"/>
                </a:lnTo>
                <a:lnTo>
                  <a:pt x="210" y="503"/>
                </a:lnTo>
                <a:lnTo>
                  <a:pt x="212" y="501"/>
                </a:lnTo>
                <a:lnTo>
                  <a:pt x="212" y="501"/>
                </a:lnTo>
                <a:lnTo>
                  <a:pt x="212" y="499"/>
                </a:lnTo>
                <a:lnTo>
                  <a:pt x="214" y="497"/>
                </a:lnTo>
                <a:lnTo>
                  <a:pt x="214" y="497"/>
                </a:lnTo>
                <a:lnTo>
                  <a:pt x="214" y="497"/>
                </a:lnTo>
                <a:lnTo>
                  <a:pt x="218" y="497"/>
                </a:lnTo>
                <a:lnTo>
                  <a:pt x="221" y="497"/>
                </a:lnTo>
                <a:lnTo>
                  <a:pt x="221" y="497"/>
                </a:lnTo>
                <a:lnTo>
                  <a:pt x="221" y="497"/>
                </a:lnTo>
                <a:lnTo>
                  <a:pt x="223" y="497"/>
                </a:lnTo>
                <a:lnTo>
                  <a:pt x="223" y="499"/>
                </a:lnTo>
                <a:lnTo>
                  <a:pt x="223" y="499"/>
                </a:lnTo>
                <a:lnTo>
                  <a:pt x="223" y="501"/>
                </a:lnTo>
                <a:lnTo>
                  <a:pt x="225" y="501"/>
                </a:lnTo>
                <a:lnTo>
                  <a:pt x="227" y="501"/>
                </a:lnTo>
                <a:lnTo>
                  <a:pt x="227" y="503"/>
                </a:lnTo>
                <a:lnTo>
                  <a:pt x="227" y="503"/>
                </a:lnTo>
                <a:lnTo>
                  <a:pt x="229" y="503"/>
                </a:lnTo>
                <a:lnTo>
                  <a:pt x="229" y="504"/>
                </a:lnTo>
                <a:lnTo>
                  <a:pt x="231" y="504"/>
                </a:lnTo>
                <a:lnTo>
                  <a:pt x="231" y="504"/>
                </a:lnTo>
                <a:lnTo>
                  <a:pt x="233" y="504"/>
                </a:lnTo>
                <a:lnTo>
                  <a:pt x="235" y="504"/>
                </a:lnTo>
                <a:lnTo>
                  <a:pt x="240" y="501"/>
                </a:lnTo>
                <a:lnTo>
                  <a:pt x="240" y="501"/>
                </a:lnTo>
                <a:lnTo>
                  <a:pt x="240" y="499"/>
                </a:lnTo>
                <a:lnTo>
                  <a:pt x="240" y="497"/>
                </a:lnTo>
                <a:lnTo>
                  <a:pt x="240" y="497"/>
                </a:lnTo>
                <a:lnTo>
                  <a:pt x="240" y="497"/>
                </a:lnTo>
                <a:lnTo>
                  <a:pt x="246" y="495"/>
                </a:lnTo>
                <a:lnTo>
                  <a:pt x="248" y="495"/>
                </a:lnTo>
                <a:lnTo>
                  <a:pt x="248" y="495"/>
                </a:lnTo>
                <a:lnTo>
                  <a:pt x="250" y="493"/>
                </a:lnTo>
                <a:lnTo>
                  <a:pt x="252" y="493"/>
                </a:lnTo>
                <a:lnTo>
                  <a:pt x="256" y="493"/>
                </a:lnTo>
                <a:lnTo>
                  <a:pt x="258" y="493"/>
                </a:lnTo>
                <a:lnTo>
                  <a:pt x="258" y="495"/>
                </a:lnTo>
                <a:lnTo>
                  <a:pt x="258" y="495"/>
                </a:lnTo>
                <a:lnTo>
                  <a:pt x="259" y="495"/>
                </a:lnTo>
                <a:lnTo>
                  <a:pt x="259" y="495"/>
                </a:lnTo>
                <a:lnTo>
                  <a:pt x="261" y="495"/>
                </a:lnTo>
                <a:lnTo>
                  <a:pt x="263" y="495"/>
                </a:lnTo>
                <a:lnTo>
                  <a:pt x="265" y="493"/>
                </a:lnTo>
                <a:lnTo>
                  <a:pt x="265" y="493"/>
                </a:lnTo>
                <a:lnTo>
                  <a:pt x="267" y="493"/>
                </a:lnTo>
                <a:lnTo>
                  <a:pt x="267" y="491"/>
                </a:lnTo>
                <a:lnTo>
                  <a:pt x="267" y="491"/>
                </a:lnTo>
                <a:lnTo>
                  <a:pt x="269" y="491"/>
                </a:lnTo>
                <a:lnTo>
                  <a:pt x="269" y="491"/>
                </a:lnTo>
                <a:lnTo>
                  <a:pt x="271" y="493"/>
                </a:lnTo>
                <a:lnTo>
                  <a:pt x="273" y="495"/>
                </a:lnTo>
                <a:lnTo>
                  <a:pt x="275" y="495"/>
                </a:lnTo>
                <a:lnTo>
                  <a:pt x="275" y="495"/>
                </a:lnTo>
                <a:lnTo>
                  <a:pt x="277" y="493"/>
                </a:lnTo>
                <a:lnTo>
                  <a:pt x="277" y="493"/>
                </a:lnTo>
                <a:lnTo>
                  <a:pt x="277" y="493"/>
                </a:lnTo>
                <a:lnTo>
                  <a:pt x="277" y="491"/>
                </a:lnTo>
                <a:lnTo>
                  <a:pt x="277" y="491"/>
                </a:lnTo>
                <a:lnTo>
                  <a:pt x="277" y="489"/>
                </a:lnTo>
                <a:lnTo>
                  <a:pt x="275" y="487"/>
                </a:lnTo>
                <a:lnTo>
                  <a:pt x="275" y="487"/>
                </a:lnTo>
                <a:lnTo>
                  <a:pt x="275" y="485"/>
                </a:lnTo>
                <a:lnTo>
                  <a:pt x="275" y="485"/>
                </a:lnTo>
                <a:lnTo>
                  <a:pt x="277" y="485"/>
                </a:lnTo>
                <a:lnTo>
                  <a:pt x="277" y="484"/>
                </a:lnTo>
                <a:lnTo>
                  <a:pt x="277" y="484"/>
                </a:lnTo>
                <a:lnTo>
                  <a:pt x="277" y="482"/>
                </a:lnTo>
                <a:lnTo>
                  <a:pt x="277" y="480"/>
                </a:lnTo>
                <a:lnTo>
                  <a:pt x="275" y="480"/>
                </a:lnTo>
                <a:lnTo>
                  <a:pt x="275" y="478"/>
                </a:lnTo>
                <a:lnTo>
                  <a:pt x="273" y="478"/>
                </a:lnTo>
                <a:lnTo>
                  <a:pt x="273" y="476"/>
                </a:lnTo>
                <a:lnTo>
                  <a:pt x="273" y="474"/>
                </a:lnTo>
                <a:lnTo>
                  <a:pt x="273" y="474"/>
                </a:lnTo>
                <a:lnTo>
                  <a:pt x="275" y="472"/>
                </a:lnTo>
                <a:lnTo>
                  <a:pt x="275" y="472"/>
                </a:lnTo>
                <a:lnTo>
                  <a:pt x="275" y="470"/>
                </a:lnTo>
                <a:lnTo>
                  <a:pt x="275" y="470"/>
                </a:lnTo>
                <a:lnTo>
                  <a:pt x="275" y="468"/>
                </a:lnTo>
                <a:lnTo>
                  <a:pt x="275" y="466"/>
                </a:lnTo>
                <a:lnTo>
                  <a:pt x="273" y="466"/>
                </a:lnTo>
                <a:lnTo>
                  <a:pt x="273" y="465"/>
                </a:lnTo>
                <a:lnTo>
                  <a:pt x="271" y="465"/>
                </a:lnTo>
                <a:lnTo>
                  <a:pt x="271" y="465"/>
                </a:lnTo>
                <a:lnTo>
                  <a:pt x="271" y="463"/>
                </a:lnTo>
                <a:lnTo>
                  <a:pt x="271" y="461"/>
                </a:lnTo>
                <a:lnTo>
                  <a:pt x="269" y="461"/>
                </a:lnTo>
                <a:lnTo>
                  <a:pt x="269" y="457"/>
                </a:lnTo>
                <a:lnTo>
                  <a:pt x="269" y="455"/>
                </a:lnTo>
                <a:lnTo>
                  <a:pt x="269" y="453"/>
                </a:lnTo>
                <a:lnTo>
                  <a:pt x="271" y="453"/>
                </a:lnTo>
                <a:lnTo>
                  <a:pt x="271" y="451"/>
                </a:lnTo>
                <a:lnTo>
                  <a:pt x="271" y="451"/>
                </a:lnTo>
                <a:lnTo>
                  <a:pt x="273" y="447"/>
                </a:lnTo>
                <a:lnTo>
                  <a:pt x="273" y="447"/>
                </a:lnTo>
                <a:lnTo>
                  <a:pt x="275" y="447"/>
                </a:lnTo>
                <a:lnTo>
                  <a:pt x="275" y="446"/>
                </a:lnTo>
                <a:lnTo>
                  <a:pt x="277" y="446"/>
                </a:lnTo>
                <a:lnTo>
                  <a:pt x="277" y="446"/>
                </a:lnTo>
                <a:lnTo>
                  <a:pt x="279" y="447"/>
                </a:lnTo>
                <a:lnTo>
                  <a:pt x="279" y="449"/>
                </a:lnTo>
                <a:lnTo>
                  <a:pt x="280" y="451"/>
                </a:lnTo>
                <a:lnTo>
                  <a:pt x="282" y="451"/>
                </a:lnTo>
                <a:lnTo>
                  <a:pt x="284" y="451"/>
                </a:lnTo>
                <a:lnTo>
                  <a:pt x="286" y="451"/>
                </a:lnTo>
                <a:lnTo>
                  <a:pt x="286" y="453"/>
                </a:lnTo>
                <a:lnTo>
                  <a:pt x="288" y="453"/>
                </a:lnTo>
                <a:lnTo>
                  <a:pt x="288" y="455"/>
                </a:lnTo>
                <a:lnTo>
                  <a:pt x="288" y="455"/>
                </a:lnTo>
                <a:lnTo>
                  <a:pt x="290" y="455"/>
                </a:lnTo>
                <a:lnTo>
                  <a:pt x="292" y="455"/>
                </a:lnTo>
                <a:lnTo>
                  <a:pt x="292" y="453"/>
                </a:lnTo>
                <a:lnTo>
                  <a:pt x="294" y="451"/>
                </a:lnTo>
                <a:lnTo>
                  <a:pt x="296" y="453"/>
                </a:lnTo>
                <a:lnTo>
                  <a:pt x="298" y="451"/>
                </a:lnTo>
                <a:lnTo>
                  <a:pt x="298" y="453"/>
                </a:lnTo>
                <a:lnTo>
                  <a:pt x="299" y="453"/>
                </a:lnTo>
                <a:lnTo>
                  <a:pt x="299" y="455"/>
                </a:lnTo>
                <a:lnTo>
                  <a:pt x="299" y="457"/>
                </a:lnTo>
                <a:lnTo>
                  <a:pt x="299" y="459"/>
                </a:lnTo>
                <a:lnTo>
                  <a:pt x="301" y="459"/>
                </a:lnTo>
                <a:lnTo>
                  <a:pt x="301" y="459"/>
                </a:lnTo>
                <a:lnTo>
                  <a:pt x="303" y="461"/>
                </a:lnTo>
                <a:lnTo>
                  <a:pt x="303" y="461"/>
                </a:lnTo>
                <a:lnTo>
                  <a:pt x="305" y="459"/>
                </a:lnTo>
                <a:lnTo>
                  <a:pt x="305" y="459"/>
                </a:lnTo>
                <a:lnTo>
                  <a:pt x="309" y="459"/>
                </a:lnTo>
                <a:lnTo>
                  <a:pt x="311" y="459"/>
                </a:lnTo>
                <a:lnTo>
                  <a:pt x="311" y="459"/>
                </a:lnTo>
                <a:lnTo>
                  <a:pt x="313" y="459"/>
                </a:lnTo>
                <a:lnTo>
                  <a:pt x="313" y="459"/>
                </a:lnTo>
                <a:lnTo>
                  <a:pt x="315" y="457"/>
                </a:lnTo>
                <a:lnTo>
                  <a:pt x="319" y="455"/>
                </a:lnTo>
                <a:lnTo>
                  <a:pt x="320" y="455"/>
                </a:lnTo>
                <a:lnTo>
                  <a:pt x="320" y="455"/>
                </a:lnTo>
                <a:lnTo>
                  <a:pt x="322" y="457"/>
                </a:lnTo>
                <a:lnTo>
                  <a:pt x="324" y="457"/>
                </a:lnTo>
                <a:lnTo>
                  <a:pt x="324" y="455"/>
                </a:lnTo>
                <a:lnTo>
                  <a:pt x="326" y="455"/>
                </a:lnTo>
                <a:lnTo>
                  <a:pt x="328" y="455"/>
                </a:lnTo>
                <a:lnTo>
                  <a:pt x="328" y="455"/>
                </a:lnTo>
                <a:lnTo>
                  <a:pt x="330" y="455"/>
                </a:lnTo>
                <a:lnTo>
                  <a:pt x="330" y="455"/>
                </a:lnTo>
                <a:lnTo>
                  <a:pt x="332" y="457"/>
                </a:lnTo>
                <a:lnTo>
                  <a:pt x="334" y="457"/>
                </a:lnTo>
                <a:lnTo>
                  <a:pt x="334" y="457"/>
                </a:lnTo>
                <a:lnTo>
                  <a:pt x="336" y="457"/>
                </a:lnTo>
                <a:lnTo>
                  <a:pt x="338" y="457"/>
                </a:lnTo>
                <a:lnTo>
                  <a:pt x="340" y="459"/>
                </a:lnTo>
                <a:lnTo>
                  <a:pt x="341" y="459"/>
                </a:lnTo>
                <a:lnTo>
                  <a:pt x="341" y="457"/>
                </a:lnTo>
                <a:lnTo>
                  <a:pt x="343" y="457"/>
                </a:lnTo>
                <a:lnTo>
                  <a:pt x="345" y="455"/>
                </a:lnTo>
                <a:lnTo>
                  <a:pt x="345" y="455"/>
                </a:lnTo>
                <a:lnTo>
                  <a:pt x="343" y="453"/>
                </a:lnTo>
                <a:lnTo>
                  <a:pt x="341" y="451"/>
                </a:lnTo>
                <a:lnTo>
                  <a:pt x="341" y="451"/>
                </a:lnTo>
                <a:lnTo>
                  <a:pt x="341" y="449"/>
                </a:lnTo>
                <a:lnTo>
                  <a:pt x="340" y="447"/>
                </a:lnTo>
                <a:lnTo>
                  <a:pt x="340" y="447"/>
                </a:lnTo>
                <a:lnTo>
                  <a:pt x="340" y="446"/>
                </a:lnTo>
                <a:lnTo>
                  <a:pt x="340" y="446"/>
                </a:lnTo>
                <a:lnTo>
                  <a:pt x="340" y="444"/>
                </a:lnTo>
                <a:lnTo>
                  <a:pt x="341" y="444"/>
                </a:lnTo>
                <a:lnTo>
                  <a:pt x="341" y="442"/>
                </a:lnTo>
                <a:lnTo>
                  <a:pt x="341" y="442"/>
                </a:lnTo>
                <a:lnTo>
                  <a:pt x="340" y="440"/>
                </a:lnTo>
                <a:lnTo>
                  <a:pt x="340" y="440"/>
                </a:lnTo>
                <a:lnTo>
                  <a:pt x="341" y="438"/>
                </a:lnTo>
                <a:lnTo>
                  <a:pt x="341" y="438"/>
                </a:lnTo>
                <a:lnTo>
                  <a:pt x="341" y="438"/>
                </a:lnTo>
                <a:lnTo>
                  <a:pt x="340" y="436"/>
                </a:lnTo>
                <a:lnTo>
                  <a:pt x="340" y="434"/>
                </a:lnTo>
                <a:lnTo>
                  <a:pt x="338" y="434"/>
                </a:lnTo>
                <a:lnTo>
                  <a:pt x="338" y="434"/>
                </a:lnTo>
                <a:lnTo>
                  <a:pt x="340" y="432"/>
                </a:lnTo>
                <a:lnTo>
                  <a:pt x="345" y="430"/>
                </a:lnTo>
                <a:lnTo>
                  <a:pt x="347" y="428"/>
                </a:lnTo>
                <a:lnTo>
                  <a:pt x="347" y="428"/>
                </a:lnTo>
                <a:lnTo>
                  <a:pt x="347" y="427"/>
                </a:lnTo>
                <a:lnTo>
                  <a:pt x="349" y="427"/>
                </a:lnTo>
                <a:lnTo>
                  <a:pt x="349" y="427"/>
                </a:lnTo>
                <a:lnTo>
                  <a:pt x="351" y="425"/>
                </a:lnTo>
                <a:lnTo>
                  <a:pt x="353" y="425"/>
                </a:lnTo>
                <a:lnTo>
                  <a:pt x="353" y="425"/>
                </a:lnTo>
                <a:lnTo>
                  <a:pt x="353" y="423"/>
                </a:lnTo>
                <a:lnTo>
                  <a:pt x="353" y="423"/>
                </a:lnTo>
                <a:lnTo>
                  <a:pt x="353" y="423"/>
                </a:lnTo>
                <a:lnTo>
                  <a:pt x="353" y="421"/>
                </a:lnTo>
                <a:lnTo>
                  <a:pt x="353" y="421"/>
                </a:lnTo>
                <a:lnTo>
                  <a:pt x="355" y="421"/>
                </a:lnTo>
                <a:lnTo>
                  <a:pt x="355" y="421"/>
                </a:lnTo>
                <a:lnTo>
                  <a:pt x="357" y="419"/>
                </a:lnTo>
                <a:lnTo>
                  <a:pt x="357" y="419"/>
                </a:lnTo>
                <a:lnTo>
                  <a:pt x="357" y="417"/>
                </a:lnTo>
                <a:lnTo>
                  <a:pt x="359" y="417"/>
                </a:lnTo>
                <a:lnTo>
                  <a:pt x="359" y="417"/>
                </a:lnTo>
                <a:lnTo>
                  <a:pt x="360" y="419"/>
                </a:lnTo>
                <a:lnTo>
                  <a:pt x="362" y="419"/>
                </a:lnTo>
                <a:lnTo>
                  <a:pt x="364" y="417"/>
                </a:lnTo>
                <a:lnTo>
                  <a:pt x="364" y="417"/>
                </a:lnTo>
                <a:lnTo>
                  <a:pt x="364" y="419"/>
                </a:lnTo>
                <a:lnTo>
                  <a:pt x="366" y="421"/>
                </a:lnTo>
                <a:lnTo>
                  <a:pt x="368" y="421"/>
                </a:lnTo>
                <a:lnTo>
                  <a:pt x="368" y="421"/>
                </a:lnTo>
                <a:lnTo>
                  <a:pt x="370" y="423"/>
                </a:lnTo>
                <a:lnTo>
                  <a:pt x="372" y="425"/>
                </a:lnTo>
                <a:lnTo>
                  <a:pt x="374" y="419"/>
                </a:lnTo>
                <a:lnTo>
                  <a:pt x="374" y="417"/>
                </a:lnTo>
                <a:lnTo>
                  <a:pt x="374" y="415"/>
                </a:lnTo>
                <a:lnTo>
                  <a:pt x="376" y="415"/>
                </a:lnTo>
                <a:lnTo>
                  <a:pt x="378" y="413"/>
                </a:lnTo>
                <a:lnTo>
                  <a:pt x="378" y="413"/>
                </a:lnTo>
                <a:lnTo>
                  <a:pt x="380" y="413"/>
                </a:lnTo>
                <a:lnTo>
                  <a:pt x="380" y="413"/>
                </a:lnTo>
                <a:lnTo>
                  <a:pt x="380" y="411"/>
                </a:lnTo>
                <a:lnTo>
                  <a:pt x="380" y="409"/>
                </a:lnTo>
                <a:lnTo>
                  <a:pt x="378" y="407"/>
                </a:lnTo>
                <a:lnTo>
                  <a:pt x="378" y="406"/>
                </a:lnTo>
                <a:lnTo>
                  <a:pt x="380" y="406"/>
                </a:lnTo>
                <a:lnTo>
                  <a:pt x="380" y="406"/>
                </a:lnTo>
                <a:lnTo>
                  <a:pt x="381" y="406"/>
                </a:lnTo>
                <a:lnTo>
                  <a:pt x="385" y="407"/>
                </a:lnTo>
                <a:lnTo>
                  <a:pt x="387" y="407"/>
                </a:lnTo>
                <a:lnTo>
                  <a:pt x="389" y="406"/>
                </a:lnTo>
                <a:lnTo>
                  <a:pt x="389" y="406"/>
                </a:lnTo>
                <a:lnTo>
                  <a:pt x="391" y="402"/>
                </a:lnTo>
                <a:lnTo>
                  <a:pt x="391" y="400"/>
                </a:lnTo>
                <a:lnTo>
                  <a:pt x="391" y="398"/>
                </a:lnTo>
                <a:lnTo>
                  <a:pt x="391" y="396"/>
                </a:lnTo>
                <a:lnTo>
                  <a:pt x="391" y="394"/>
                </a:lnTo>
                <a:lnTo>
                  <a:pt x="391" y="392"/>
                </a:lnTo>
                <a:lnTo>
                  <a:pt x="393" y="388"/>
                </a:lnTo>
                <a:lnTo>
                  <a:pt x="393" y="387"/>
                </a:lnTo>
                <a:lnTo>
                  <a:pt x="393" y="385"/>
                </a:lnTo>
                <a:lnTo>
                  <a:pt x="393" y="381"/>
                </a:lnTo>
                <a:lnTo>
                  <a:pt x="393" y="381"/>
                </a:lnTo>
                <a:lnTo>
                  <a:pt x="395" y="379"/>
                </a:lnTo>
                <a:lnTo>
                  <a:pt x="397" y="377"/>
                </a:lnTo>
                <a:lnTo>
                  <a:pt x="399" y="377"/>
                </a:lnTo>
                <a:lnTo>
                  <a:pt x="402" y="379"/>
                </a:lnTo>
                <a:lnTo>
                  <a:pt x="402" y="379"/>
                </a:lnTo>
                <a:lnTo>
                  <a:pt x="402" y="377"/>
                </a:lnTo>
                <a:lnTo>
                  <a:pt x="404" y="377"/>
                </a:lnTo>
                <a:lnTo>
                  <a:pt x="406" y="377"/>
                </a:lnTo>
                <a:lnTo>
                  <a:pt x="406" y="377"/>
                </a:lnTo>
                <a:lnTo>
                  <a:pt x="408" y="377"/>
                </a:lnTo>
                <a:lnTo>
                  <a:pt x="410" y="377"/>
                </a:lnTo>
                <a:lnTo>
                  <a:pt x="410" y="377"/>
                </a:lnTo>
                <a:lnTo>
                  <a:pt x="410" y="375"/>
                </a:lnTo>
                <a:lnTo>
                  <a:pt x="410" y="373"/>
                </a:lnTo>
                <a:lnTo>
                  <a:pt x="410" y="373"/>
                </a:lnTo>
                <a:lnTo>
                  <a:pt x="412" y="371"/>
                </a:lnTo>
                <a:lnTo>
                  <a:pt x="412" y="371"/>
                </a:lnTo>
                <a:lnTo>
                  <a:pt x="418" y="368"/>
                </a:lnTo>
                <a:lnTo>
                  <a:pt x="421" y="366"/>
                </a:lnTo>
                <a:lnTo>
                  <a:pt x="421" y="366"/>
                </a:lnTo>
                <a:lnTo>
                  <a:pt x="421" y="366"/>
                </a:lnTo>
                <a:lnTo>
                  <a:pt x="423" y="364"/>
                </a:lnTo>
                <a:lnTo>
                  <a:pt x="423" y="364"/>
                </a:lnTo>
                <a:lnTo>
                  <a:pt x="423" y="362"/>
                </a:lnTo>
                <a:lnTo>
                  <a:pt x="423" y="358"/>
                </a:lnTo>
                <a:lnTo>
                  <a:pt x="423" y="356"/>
                </a:lnTo>
                <a:lnTo>
                  <a:pt x="423" y="356"/>
                </a:lnTo>
                <a:lnTo>
                  <a:pt x="427" y="352"/>
                </a:lnTo>
                <a:lnTo>
                  <a:pt x="427" y="350"/>
                </a:lnTo>
                <a:lnTo>
                  <a:pt x="429" y="350"/>
                </a:lnTo>
                <a:lnTo>
                  <a:pt x="429" y="350"/>
                </a:lnTo>
                <a:lnTo>
                  <a:pt x="431" y="350"/>
                </a:lnTo>
                <a:lnTo>
                  <a:pt x="431" y="352"/>
                </a:lnTo>
                <a:lnTo>
                  <a:pt x="433" y="352"/>
                </a:lnTo>
                <a:lnTo>
                  <a:pt x="433" y="354"/>
                </a:lnTo>
                <a:lnTo>
                  <a:pt x="433" y="354"/>
                </a:lnTo>
                <a:lnTo>
                  <a:pt x="433" y="360"/>
                </a:lnTo>
                <a:lnTo>
                  <a:pt x="433" y="360"/>
                </a:lnTo>
                <a:lnTo>
                  <a:pt x="435" y="362"/>
                </a:lnTo>
                <a:lnTo>
                  <a:pt x="435" y="362"/>
                </a:lnTo>
                <a:lnTo>
                  <a:pt x="437" y="362"/>
                </a:lnTo>
                <a:lnTo>
                  <a:pt x="439" y="364"/>
                </a:lnTo>
                <a:lnTo>
                  <a:pt x="441" y="364"/>
                </a:lnTo>
                <a:lnTo>
                  <a:pt x="441" y="366"/>
                </a:lnTo>
                <a:lnTo>
                  <a:pt x="442" y="368"/>
                </a:lnTo>
                <a:lnTo>
                  <a:pt x="442" y="368"/>
                </a:lnTo>
                <a:lnTo>
                  <a:pt x="442" y="368"/>
                </a:lnTo>
                <a:lnTo>
                  <a:pt x="442" y="368"/>
                </a:lnTo>
                <a:lnTo>
                  <a:pt x="444" y="368"/>
                </a:lnTo>
                <a:lnTo>
                  <a:pt x="446" y="368"/>
                </a:lnTo>
                <a:lnTo>
                  <a:pt x="448" y="366"/>
                </a:lnTo>
                <a:lnTo>
                  <a:pt x="448" y="366"/>
                </a:lnTo>
                <a:lnTo>
                  <a:pt x="448" y="366"/>
                </a:lnTo>
                <a:lnTo>
                  <a:pt x="452" y="366"/>
                </a:lnTo>
                <a:lnTo>
                  <a:pt x="454" y="364"/>
                </a:lnTo>
                <a:lnTo>
                  <a:pt x="454" y="362"/>
                </a:lnTo>
                <a:lnTo>
                  <a:pt x="454" y="362"/>
                </a:lnTo>
                <a:lnTo>
                  <a:pt x="452" y="362"/>
                </a:lnTo>
                <a:lnTo>
                  <a:pt x="448" y="358"/>
                </a:lnTo>
                <a:lnTo>
                  <a:pt x="448" y="358"/>
                </a:lnTo>
                <a:lnTo>
                  <a:pt x="448" y="358"/>
                </a:lnTo>
                <a:lnTo>
                  <a:pt x="450" y="356"/>
                </a:lnTo>
                <a:lnTo>
                  <a:pt x="450" y="356"/>
                </a:lnTo>
                <a:lnTo>
                  <a:pt x="452" y="354"/>
                </a:lnTo>
                <a:lnTo>
                  <a:pt x="452" y="354"/>
                </a:lnTo>
                <a:lnTo>
                  <a:pt x="452" y="352"/>
                </a:lnTo>
                <a:lnTo>
                  <a:pt x="452" y="350"/>
                </a:lnTo>
                <a:lnTo>
                  <a:pt x="452" y="350"/>
                </a:lnTo>
                <a:lnTo>
                  <a:pt x="454" y="349"/>
                </a:lnTo>
                <a:lnTo>
                  <a:pt x="454" y="349"/>
                </a:lnTo>
                <a:lnTo>
                  <a:pt x="454" y="349"/>
                </a:lnTo>
                <a:lnTo>
                  <a:pt x="454" y="347"/>
                </a:lnTo>
                <a:lnTo>
                  <a:pt x="454" y="347"/>
                </a:lnTo>
                <a:lnTo>
                  <a:pt x="456" y="345"/>
                </a:lnTo>
                <a:lnTo>
                  <a:pt x="456" y="345"/>
                </a:lnTo>
                <a:lnTo>
                  <a:pt x="456" y="343"/>
                </a:lnTo>
                <a:lnTo>
                  <a:pt x="456" y="343"/>
                </a:lnTo>
                <a:lnTo>
                  <a:pt x="458" y="341"/>
                </a:lnTo>
                <a:lnTo>
                  <a:pt x="458" y="341"/>
                </a:lnTo>
                <a:lnTo>
                  <a:pt x="460" y="341"/>
                </a:lnTo>
                <a:lnTo>
                  <a:pt x="463" y="341"/>
                </a:lnTo>
                <a:lnTo>
                  <a:pt x="463" y="341"/>
                </a:lnTo>
                <a:lnTo>
                  <a:pt x="465" y="341"/>
                </a:lnTo>
                <a:lnTo>
                  <a:pt x="465" y="339"/>
                </a:lnTo>
                <a:lnTo>
                  <a:pt x="465" y="339"/>
                </a:lnTo>
                <a:lnTo>
                  <a:pt x="467" y="337"/>
                </a:lnTo>
                <a:lnTo>
                  <a:pt x="467" y="335"/>
                </a:lnTo>
                <a:lnTo>
                  <a:pt x="467" y="333"/>
                </a:lnTo>
                <a:lnTo>
                  <a:pt x="467" y="331"/>
                </a:lnTo>
                <a:lnTo>
                  <a:pt x="467" y="331"/>
                </a:lnTo>
                <a:lnTo>
                  <a:pt x="467" y="331"/>
                </a:lnTo>
                <a:lnTo>
                  <a:pt x="467" y="330"/>
                </a:lnTo>
                <a:lnTo>
                  <a:pt x="467" y="328"/>
                </a:lnTo>
                <a:lnTo>
                  <a:pt x="469" y="328"/>
                </a:lnTo>
                <a:lnTo>
                  <a:pt x="469" y="328"/>
                </a:lnTo>
                <a:lnTo>
                  <a:pt x="471" y="328"/>
                </a:lnTo>
                <a:lnTo>
                  <a:pt x="473" y="328"/>
                </a:lnTo>
                <a:lnTo>
                  <a:pt x="473" y="328"/>
                </a:lnTo>
                <a:lnTo>
                  <a:pt x="475" y="328"/>
                </a:lnTo>
                <a:lnTo>
                  <a:pt x="475" y="326"/>
                </a:lnTo>
                <a:lnTo>
                  <a:pt x="477" y="320"/>
                </a:lnTo>
                <a:lnTo>
                  <a:pt x="479" y="318"/>
                </a:lnTo>
                <a:lnTo>
                  <a:pt x="479" y="316"/>
                </a:lnTo>
                <a:lnTo>
                  <a:pt x="481" y="316"/>
                </a:lnTo>
                <a:lnTo>
                  <a:pt x="482" y="316"/>
                </a:lnTo>
                <a:lnTo>
                  <a:pt x="482" y="314"/>
                </a:lnTo>
                <a:lnTo>
                  <a:pt x="484" y="314"/>
                </a:lnTo>
                <a:lnTo>
                  <a:pt x="486" y="314"/>
                </a:lnTo>
                <a:lnTo>
                  <a:pt x="486" y="314"/>
                </a:lnTo>
                <a:lnTo>
                  <a:pt x="486" y="312"/>
                </a:lnTo>
                <a:lnTo>
                  <a:pt x="486" y="312"/>
                </a:lnTo>
                <a:lnTo>
                  <a:pt x="486" y="312"/>
                </a:lnTo>
                <a:lnTo>
                  <a:pt x="484" y="310"/>
                </a:lnTo>
                <a:lnTo>
                  <a:pt x="481" y="309"/>
                </a:lnTo>
                <a:lnTo>
                  <a:pt x="481" y="307"/>
                </a:lnTo>
                <a:lnTo>
                  <a:pt x="479" y="307"/>
                </a:lnTo>
                <a:lnTo>
                  <a:pt x="479" y="305"/>
                </a:lnTo>
                <a:lnTo>
                  <a:pt x="479" y="305"/>
                </a:lnTo>
                <a:lnTo>
                  <a:pt x="479" y="303"/>
                </a:lnTo>
                <a:lnTo>
                  <a:pt x="479" y="303"/>
                </a:lnTo>
                <a:lnTo>
                  <a:pt x="479" y="303"/>
                </a:lnTo>
                <a:lnTo>
                  <a:pt x="477" y="303"/>
                </a:lnTo>
                <a:lnTo>
                  <a:pt x="477" y="303"/>
                </a:lnTo>
                <a:lnTo>
                  <a:pt x="477" y="303"/>
                </a:lnTo>
                <a:lnTo>
                  <a:pt x="477" y="303"/>
                </a:lnTo>
                <a:lnTo>
                  <a:pt x="477" y="301"/>
                </a:lnTo>
                <a:lnTo>
                  <a:pt x="477" y="301"/>
                </a:lnTo>
                <a:lnTo>
                  <a:pt x="477" y="301"/>
                </a:lnTo>
                <a:lnTo>
                  <a:pt x="477" y="299"/>
                </a:lnTo>
                <a:lnTo>
                  <a:pt x="475" y="299"/>
                </a:lnTo>
                <a:lnTo>
                  <a:pt x="475" y="299"/>
                </a:lnTo>
                <a:lnTo>
                  <a:pt x="473" y="299"/>
                </a:lnTo>
                <a:lnTo>
                  <a:pt x="473" y="299"/>
                </a:lnTo>
                <a:lnTo>
                  <a:pt x="473" y="299"/>
                </a:lnTo>
                <a:lnTo>
                  <a:pt x="473" y="299"/>
                </a:lnTo>
                <a:lnTo>
                  <a:pt x="473" y="299"/>
                </a:lnTo>
                <a:lnTo>
                  <a:pt x="473" y="297"/>
                </a:lnTo>
                <a:lnTo>
                  <a:pt x="473" y="297"/>
                </a:lnTo>
                <a:lnTo>
                  <a:pt x="471" y="295"/>
                </a:lnTo>
                <a:lnTo>
                  <a:pt x="471" y="293"/>
                </a:lnTo>
                <a:lnTo>
                  <a:pt x="471" y="293"/>
                </a:lnTo>
                <a:lnTo>
                  <a:pt x="471" y="293"/>
                </a:lnTo>
                <a:lnTo>
                  <a:pt x="473" y="291"/>
                </a:lnTo>
                <a:lnTo>
                  <a:pt x="473" y="291"/>
                </a:lnTo>
                <a:lnTo>
                  <a:pt x="475" y="290"/>
                </a:lnTo>
                <a:lnTo>
                  <a:pt x="477" y="288"/>
                </a:lnTo>
                <a:lnTo>
                  <a:pt x="477" y="288"/>
                </a:lnTo>
                <a:lnTo>
                  <a:pt x="477" y="288"/>
                </a:lnTo>
                <a:lnTo>
                  <a:pt x="479" y="288"/>
                </a:lnTo>
                <a:lnTo>
                  <a:pt x="479" y="286"/>
                </a:lnTo>
                <a:lnTo>
                  <a:pt x="479" y="286"/>
                </a:lnTo>
                <a:lnTo>
                  <a:pt x="479" y="286"/>
                </a:lnTo>
                <a:lnTo>
                  <a:pt x="479" y="284"/>
                </a:lnTo>
                <a:lnTo>
                  <a:pt x="479" y="284"/>
                </a:lnTo>
                <a:lnTo>
                  <a:pt x="479" y="282"/>
                </a:lnTo>
                <a:lnTo>
                  <a:pt x="479" y="282"/>
                </a:lnTo>
                <a:lnTo>
                  <a:pt x="481" y="280"/>
                </a:lnTo>
                <a:lnTo>
                  <a:pt x="481" y="276"/>
                </a:lnTo>
                <a:lnTo>
                  <a:pt x="481" y="274"/>
                </a:lnTo>
                <a:lnTo>
                  <a:pt x="482" y="274"/>
                </a:lnTo>
                <a:lnTo>
                  <a:pt x="484" y="272"/>
                </a:lnTo>
                <a:lnTo>
                  <a:pt x="484" y="271"/>
                </a:lnTo>
                <a:lnTo>
                  <a:pt x="484" y="271"/>
                </a:lnTo>
                <a:lnTo>
                  <a:pt x="482" y="271"/>
                </a:lnTo>
                <a:lnTo>
                  <a:pt x="482" y="271"/>
                </a:lnTo>
                <a:lnTo>
                  <a:pt x="482" y="269"/>
                </a:lnTo>
                <a:lnTo>
                  <a:pt x="482" y="269"/>
                </a:lnTo>
                <a:lnTo>
                  <a:pt x="484" y="267"/>
                </a:lnTo>
                <a:lnTo>
                  <a:pt x="484" y="267"/>
                </a:lnTo>
                <a:lnTo>
                  <a:pt x="484" y="267"/>
                </a:lnTo>
                <a:lnTo>
                  <a:pt x="486" y="267"/>
                </a:lnTo>
                <a:lnTo>
                  <a:pt x="486" y="267"/>
                </a:lnTo>
                <a:lnTo>
                  <a:pt x="488" y="267"/>
                </a:lnTo>
                <a:lnTo>
                  <a:pt x="488" y="267"/>
                </a:lnTo>
                <a:lnTo>
                  <a:pt x="490" y="267"/>
                </a:lnTo>
                <a:lnTo>
                  <a:pt x="490" y="267"/>
                </a:lnTo>
                <a:lnTo>
                  <a:pt x="492" y="267"/>
                </a:lnTo>
                <a:lnTo>
                  <a:pt x="494" y="267"/>
                </a:lnTo>
                <a:lnTo>
                  <a:pt x="494" y="267"/>
                </a:lnTo>
                <a:lnTo>
                  <a:pt x="496" y="271"/>
                </a:lnTo>
                <a:lnTo>
                  <a:pt x="496" y="271"/>
                </a:lnTo>
                <a:lnTo>
                  <a:pt x="498" y="272"/>
                </a:lnTo>
                <a:lnTo>
                  <a:pt x="500" y="272"/>
                </a:lnTo>
                <a:lnTo>
                  <a:pt x="500" y="272"/>
                </a:lnTo>
                <a:lnTo>
                  <a:pt x="501" y="272"/>
                </a:lnTo>
                <a:lnTo>
                  <a:pt x="503" y="272"/>
                </a:lnTo>
                <a:lnTo>
                  <a:pt x="503" y="272"/>
                </a:lnTo>
                <a:lnTo>
                  <a:pt x="503" y="272"/>
                </a:lnTo>
                <a:lnTo>
                  <a:pt x="505" y="272"/>
                </a:lnTo>
                <a:lnTo>
                  <a:pt x="505" y="272"/>
                </a:lnTo>
                <a:lnTo>
                  <a:pt x="509" y="272"/>
                </a:lnTo>
                <a:lnTo>
                  <a:pt x="509" y="272"/>
                </a:lnTo>
                <a:lnTo>
                  <a:pt x="511" y="272"/>
                </a:lnTo>
                <a:lnTo>
                  <a:pt x="511" y="271"/>
                </a:lnTo>
                <a:lnTo>
                  <a:pt x="511" y="269"/>
                </a:lnTo>
                <a:lnTo>
                  <a:pt x="511" y="269"/>
                </a:lnTo>
                <a:lnTo>
                  <a:pt x="511" y="263"/>
                </a:lnTo>
                <a:lnTo>
                  <a:pt x="511" y="263"/>
                </a:lnTo>
                <a:lnTo>
                  <a:pt x="511" y="261"/>
                </a:lnTo>
                <a:lnTo>
                  <a:pt x="511" y="261"/>
                </a:lnTo>
                <a:lnTo>
                  <a:pt x="511" y="261"/>
                </a:lnTo>
                <a:lnTo>
                  <a:pt x="511" y="259"/>
                </a:lnTo>
                <a:lnTo>
                  <a:pt x="513" y="257"/>
                </a:lnTo>
                <a:lnTo>
                  <a:pt x="513" y="255"/>
                </a:lnTo>
                <a:lnTo>
                  <a:pt x="515" y="253"/>
                </a:lnTo>
                <a:lnTo>
                  <a:pt x="515" y="253"/>
                </a:lnTo>
                <a:lnTo>
                  <a:pt x="517" y="253"/>
                </a:lnTo>
                <a:lnTo>
                  <a:pt x="521" y="253"/>
                </a:lnTo>
                <a:lnTo>
                  <a:pt x="521" y="252"/>
                </a:lnTo>
                <a:lnTo>
                  <a:pt x="522" y="252"/>
                </a:lnTo>
                <a:lnTo>
                  <a:pt x="522" y="252"/>
                </a:lnTo>
                <a:lnTo>
                  <a:pt x="522" y="250"/>
                </a:lnTo>
                <a:lnTo>
                  <a:pt x="522" y="250"/>
                </a:lnTo>
                <a:lnTo>
                  <a:pt x="522" y="244"/>
                </a:lnTo>
                <a:lnTo>
                  <a:pt x="522" y="242"/>
                </a:lnTo>
                <a:lnTo>
                  <a:pt x="522" y="240"/>
                </a:lnTo>
                <a:lnTo>
                  <a:pt x="524" y="238"/>
                </a:lnTo>
                <a:lnTo>
                  <a:pt x="524" y="236"/>
                </a:lnTo>
                <a:lnTo>
                  <a:pt x="526" y="234"/>
                </a:lnTo>
                <a:lnTo>
                  <a:pt x="526" y="233"/>
                </a:lnTo>
                <a:lnTo>
                  <a:pt x="530" y="231"/>
                </a:lnTo>
                <a:lnTo>
                  <a:pt x="530" y="231"/>
                </a:lnTo>
                <a:lnTo>
                  <a:pt x="530" y="231"/>
                </a:lnTo>
                <a:lnTo>
                  <a:pt x="532" y="229"/>
                </a:lnTo>
                <a:lnTo>
                  <a:pt x="532" y="229"/>
                </a:lnTo>
                <a:lnTo>
                  <a:pt x="532" y="227"/>
                </a:lnTo>
                <a:lnTo>
                  <a:pt x="532" y="227"/>
                </a:lnTo>
                <a:lnTo>
                  <a:pt x="530" y="225"/>
                </a:lnTo>
                <a:lnTo>
                  <a:pt x="530" y="225"/>
                </a:lnTo>
                <a:lnTo>
                  <a:pt x="528" y="225"/>
                </a:lnTo>
                <a:lnTo>
                  <a:pt x="528" y="225"/>
                </a:lnTo>
                <a:lnTo>
                  <a:pt x="524" y="215"/>
                </a:lnTo>
                <a:lnTo>
                  <a:pt x="524" y="213"/>
                </a:lnTo>
                <a:lnTo>
                  <a:pt x="524" y="212"/>
                </a:lnTo>
                <a:lnTo>
                  <a:pt x="528" y="213"/>
                </a:lnTo>
                <a:lnTo>
                  <a:pt x="530" y="213"/>
                </a:lnTo>
                <a:lnTo>
                  <a:pt x="530" y="213"/>
                </a:lnTo>
                <a:lnTo>
                  <a:pt x="530" y="215"/>
                </a:lnTo>
                <a:lnTo>
                  <a:pt x="532" y="217"/>
                </a:lnTo>
                <a:lnTo>
                  <a:pt x="532" y="217"/>
                </a:lnTo>
                <a:lnTo>
                  <a:pt x="532" y="217"/>
                </a:lnTo>
                <a:lnTo>
                  <a:pt x="532" y="217"/>
                </a:lnTo>
                <a:lnTo>
                  <a:pt x="538" y="221"/>
                </a:lnTo>
                <a:lnTo>
                  <a:pt x="540" y="221"/>
                </a:lnTo>
                <a:lnTo>
                  <a:pt x="540" y="219"/>
                </a:lnTo>
                <a:lnTo>
                  <a:pt x="540" y="219"/>
                </a:lnTo>
                <a:lnTo>
                  <a:pt x="540" y="219"/>
                </a:lnTo>
                <a:lnTo>
                  <a:pt x="540" y="219"/>
                </a:lnTo>
                <a:lnTo>
                  <a:pt x="541" y="219"/>
                </a:lnTo>
                <a:lnTo>
                  <a:pt x="541" y="219"/>
                </a:lnTo>
                <a:lnTo>
                  <a:pt x="541" y="217"/>
                </a:lnTo>
                <a:lnTo>
                  <a:pt x="541" y="217"/>
                </a:lnTo>
                <a:lnTo>
                  <a:pt x="543" y="217"/>
                </a:lnTo>
                <a:lnTo>
                  <a:pt x="543" y="217"/>
                </a:lnTo>
                <a:lnTo>
                  <a:pt x="543" y="217"/>
                </a:lnTo>
                <a:lnTo>
                  <a:pt x="545" y="219"/>
                </a:lnTo>
                <a:lnTo>
                  <a:pt x="545" y="219"/>
                </a:lnTo>
                <a:lnTo>
                  <a:pt x="547" y="219"/>
                </a:lnTo>
                <a:lnTo>
                  <a:pt x="547" y="219"/>
                </a:lnTo>
                <a:lnTo>
                  <a:pt x="549" y="219"/>
                </a:lnTo>
                <a:lnTo>
                  <a:pt x="551" y="219"/>
                </a:lnTo>
                <a:lnTo>
                  <a:pt x="557" y="221"/>
                </a:lnTo>
                <a:lnTo>
                  <a:pt x="561" y="223"/>
                </a:lnTo>
                <a:lnTo>
                  <a:pt x="561" y="223"/>
                </a:lnTo>
                <a:lnTo>
                  <a:pt x="562" y="223"/>
                </a:lnTo>
                <a:lnTo>
                  <a:pt x="566" y="223"/>
                </a:lnTo>
                <a:lnTo>
                  <a:pt x="568" y="223"/>
                </a:lnTo>
                <a:lnTo>
                  <a:pt x="570" y="225"/>
                </a:lnTo>
                <a:lnTo>
                  <a:pt x="570" y="225"/>
                </a:lnTo>
                <a:lnTo>
                  <a:pt x="570" y="225"/>
                </a:lnTo>
                <a:lnTo>
                  <a:pt x="572" y="227"/>
                </a:lnTo>
                <a:lnTo>
                  <a:pt x="572" y="227"/>
                </a:lnTo>
                <a:lnTo>
                  <a:pt x="572" y="227"/>
                </a:lnTo>
                <a:lnTo>
                  <a:pt x="572" y="227"/>
                </a:lnTo>
                <a:lnTo>
                  <a:pt x="574" y="234"/>
                </a:lnTo>
                <a:lnTo>
                  <a:pt x="576" y="234"/>
                </a:lnTo>
                <a:lnTo>
                  <a:pt x="576" y="236"/>
                </a:lnTo>
                <a:lnTo>
                  <a:pt x="576" y="236"/>
                </a:lnTo>
                <a:lnTo>
                  <a:pt x="578" y="236"/>
                </a:lnTo>
                <a:lnTo>
                  <a:pt x="580" y="238"/>
                </a:lnTo>
                <a:lnTo>
                  <a:pt x="580" y="238"/>
                </a:lnTo>
                <a:lnTo>
                  <a:pt x="580" y="238"/>
                </a:lnTo>
                <a:lnTo>
                  <a:pt x="580" y="240"/>
                </a:lnTo>
                <a:lnTo>
                  <a:pt x="580" y="240"/>
                </a:lnTo>
                <a:lnTo>
                  <a:pt x="582" y="240"/>
                </a:lnTo>
                <a:lnTo>
                  <a:pt x="583" y="240"/>
                </a:lnTo>
                <a:lnTo>
                  <a:pt x="583" y="242"/>
                </a:lnTo>
                <a:lnTo>
                  <a:pt x="585" y="242"/>
                </a:lnTo>
                <a:lnTo>
                  <a:pt x="585" y="242"/>
                </a:lnTo>
                <a:lnTo>
                  <a:pt x="585" y="242"/>
                </a:lnTo>
                <a:lnTo>
                  <a:pt x="585" y="242"/>
                </a:lnTo>
                <a:lnTo>
                  <a:pt x="587" y="242"/>
                </a:lnTo>
                <a:lnTo>
                  <a:pt x="589" y="242"/>
                </a:lnTo>
                <a:lnTo>
                  <a:pt x="589" y="242"/>
                </a:lnTo>
                <a:lnTo>
                  <a:pt x="591" y="240"/>
                </a:lnTo>
                <a:lnTo>
                  <a:pt x="591" y="238"/>
                </a:lnTo>
                <a:lnTo>
                  <a:pt x="593" y="238"/>
                </a:lnTo>
                <a:lnTo>
                  <a:pt x="593" y="238"/>
                </a:lnTo>
                <a:lnTo>
                  <a:pt x="597" y="236"/>
                </a:lnTo>
                <a:lnTo>
                  <a:pt x="602" y="234"/>
                </a:lnTo>
                <a:lnTo>
                  <a:pt x="602" y="234"/>
                </a:lnTo>
                <a:lnTo>
                  <a:pt x="604" y="234"/>
                </a:lnTo>
                <a:lnTo>
                  <a:pt x="606" y="236"/>
                </a:lnTo>
                <a:lnTo>
                  <a:pt x="606" y="236"/>
                </a:lnTo>
                <a:lnTo>
                  <a:pt x="608" y="236"/>
                </a:lnTo>
                <a:lnTo>
                  <a:pt x="608" y="240"/>
                </a:lnTo>
                <a:lnTo>
                  <a:pt x="610" y="240"/>
                </a:lnTo>
                <a:lnTo>
                  <a:pt x="610" y="240"/>
                </a:lnTo>
                <a:lnTo>
                  <a:pt x="610" y="240"/>
                </a:lnTo>
                <a:lnTo>
                  <a:pt x="620" y="242"/>
                </a:lnTo>
                <a:lnTo>
                  <a:pt x="620" y="242"/>
                </a:lnTo>
                <a:lnTo>
                  <a:pt x="622" y="242"/>
                </a:lnTo>
                <a:lnTo>
                  <a:pt x="622" y="244"/>
                </a:lnTo>
                <a:lnTo>
                  <a:pt x="622" y="246"/>
                </a:lnTo>
                <a:lnTo>
                  <a:pt x="623" y="246"/>
                </a:lnTo>
                <a:lnTo>
                  <a:pt x="623" y="246"/>
                </a:lnTo>
                <a:lnTo>
                  <a:pt x="625" y="246"/>
                </a:lnTo>
                <a:lnTo>
                  <a:pt x="633" y="246"/>
                </a:lnTo>
                <a:lnTo>
                  <a:pt x="633" y="246"/>
                </a:lnTo>
                <a:lnTo>
                  <a:pt x="633" y="246"/>
                </a:lnTo>
                <a:lnTo>
                  <a:pt x="637" y="246"/>
                </a:lnTo>
                <a:lnTo>
                  <a:pt x="637" y="246"/>
                </a:lnTo>
                <a:lnTo>
                  <a:pt x="637" y="248"/>
                </a:lnTo>
                <a:lnTo>
                  <a:pt x="639" y="248"/>
                </a:lnTo>
                <a:lnTo>
                  <a:pt x="639" y="248"/>
                </a:lnTo>
                <a:lnTo>
                  <a:pt x="639" y="248"/>
                </a:lnTo>
                <a:lnTo>
                  <a:pt x="639" y="248"/>
                </a:lnTo>
                <a:lnTo>
                  <a:pt x="641" y="248"/>
                </a:lnTo>
                <a:lnTo>
                  <a:pt x="641" y="248"/>
                </a:lnTo>
                <a:lnTo>
                  <a:pt x="641" y="248"/>
                </a:lnTo>
                <a:lnTo>
                  <a:pt x="642" y="248"/>
                </a:lnTo>
                <a:lnTo>
                  <a:pt x="642" y="248"/>
                </a:lnTo>
                <a:lnTo>
                  <a:pt x="642" y="246"/>
                </a:lnTo>
                <a:lnTo>
                  <a:pt x="642" y="246"/>
                </a:lnTo>
                <a:lnTo>
                  <a:pt x="642" y="244"/>
                </a:lnTo>
                <a:lnTo>
                  <a:pt x="642" y="244"/>
                </a:lnTo>
                <a:lnTo>
                  <a:pt x="644" y="244"/>
                </a:lnTo>
                <a:lnTo>
                  <a:pt x="644" y="242"/>
                </a:lnTo>
                <a:lnTo>
                  <a:pt x="652" y="240"/>
                </a:lnTo>
                <a:lnTo>
                  <a:pt x="652" y="240"/>
                </a:lnTo>
                <a:lnTo>
                  <a:pt x="652" y="240"/>
                </a:lnTo>
                <a:lnTo>
                  <a:pt x="654" y="240"/>
                </a:lnTo>
                <a:lnTo>
                  <a:pt x="660" y="240"/>
                </a:lnTo>
                <a:lnTo>
                  <a:pt x="662" y="242"/>
                </a:lnTo>
                <a:lnTo>
                  <a:pt x="662" y="242"/>
                </a:lnTo>
                <a:lnTo>
                  <a:pt x="663" y="244"/>
                </a:lnTo>
                <a:lnTo>
                  <a:pt x="663" y="246"/>
                </a:lnTo>
                <a:lnTo>
                  <a:pt x="665" y="248"/>
                </a:lnTo>
                <a:lnTo>
                  <a:pt x="665" y="248"/>
                </a:lnTo>
                <a:lnTo>
                  <a:pt x="667" y="248"/>
                </a:lnTo>
                <a:lnTo>
                  <a:pt x="667" y="250"/>
                </a:lnTo>
                <a:lnTo>
                  <a:pt x="667" y="250"/>
                </a:lnTo>
                <a:lnTo>
                  <a:pt x="669" y="250"/>
                </a:lnTo>
                <a:lnTo>
                  <a:pt x="671" y="250"/>
                </a:lnTo>
                <a:lnTo>
                  <a:pt x="671" y="250"/>
                </a:lnTo>
                <a:lnTo>
                  <a:pt x="671" y="250"/>
                </a:lnTo>
                <a:lnTo>
                  <a:pt x="673" y="252"/>
                </a:lnTo>
                <a:lnTo>
                  <a:pt x="673" y="252"/>
                </a:lnTo>
                <a:lnTo>
                  <a:pt x="673" y="253"/>
                </a:lnTo>
                <a:lnTo>
                  <a:pt x="675" y="253"/>
                </a:lnTo>
                <a:lnTo>
                  <a:pt x="675" y="253"/>
                </a:lnTo>
                <a:lnTo>
                  <a:pt x="675" y="255"/>
                </a:lnTo>
                <a:lnTo>
                  <a:pt x="675" y="257"/>
                </a:lnTo>
                <a:lnTo>
                  <a:pt x="675" y="257"/>
                </a:lnTo>
                <a:lnTo>
                  <a:pt x="675" y="259"/>
                </a:lnTo>
                <a:lnTo>
                  <a:pt x="675" y="263"/>
                </a:lnTo>
                <a:lnTo>
                  <a:pt x="675" y="265"/>
                </a:lnTo>
                <a:lnTo>
                  <a:pt x="675" y="265"/>
                </a:lnTo>
                <a:lnTo>
                  <a:pt x="675" y="267"/>
                </a:lnTo>
                <a:lnTo>
                  <a:pt x="675" y="269"/>
                </a:lnTo>
                <a:lnTo>
                  <a:pt x="675" y="271"/>
                </a:lnTo>
                <a:lnTo>
                  <a:pt x="673" y="271"/>
                </a:lnTo>
                <a:lnTo>
                  <a:pt x="673" y="272"/>
                </a:lnTo>
                <a:lnTo>
                  <a:pt x="673" y="272"/>
                </a:lnTo>
                <a:lnTo>
                  <a:pt x="673" y="272"/>
                </a:lnTo>
                <a:lnTo>
                  <a:pt x="673" y="272"/>
                </a:lnTo>
                <a:lnTo>
                  <a:pt x="673" y="274"/>
                </a:lnTo>
                <a:lnTo>
                  <a:pt x="673" y="276"/>
                </a:lnTo>
                <a:lnTo>
                  <a:pt x="673" y="278"/>
                </a:lnTo>
                <a:lnTo>
                  <a:pt x="673" y="280"/>
                </a:lnTo>
                <a:lnTo>
                  <a:pt x="673" y="282"/>
                </a:lnTo>
                <a:lnTo>
                  <a:pt x="671" y="282"/>
                </a:lnTo>
                <a:lnTo>
                  <a:pt x="669" y="286"/>
                </a:lnTo>
                <a:lnTo>
                  <a:pt x="667" y="288"/>
                </a:lnTo>
                <a:lnTo>
                  <a:pt x="665" y="290"/>
                </a:lnTo>
                <a:lnTo>
                  <a:pt x="667" y="293"/>
                </a:lnTo>
                <a:lnTo>
                  <a:pt x="667" y="293"/>
                </a:lnTo>
                <a:lnTo>
                  <a:pt x="673" y="293"/>
                </a:lnTo>
                <a:lnTo>
                  <a:pt x="673" y="295"/>
                </a:lnTo>
                <a:lnTo>
                  <a:pt x="675" y="301"/>
                </a:lnTo>
                <a:lnTo>
                  <a:pt x="675" y="305"/>
                </a:lnTo>
                <a:lnTo>
                  <a:pt x="675" y="309"/>
                </a:lnTo>
                <a:lnTo>
                  <a:pt x="675" y="310"/>
                </a:lnTo>
                <a:lnTo>
                  <a:pt x="675" y="312"/>
                </a:lnTo>
                <a:lnTo>
                  <a:pt x="671" y="314"/>
                </a:lnTo>
                <a:lnTo>
                  <a:pt x="671" y="316"/>
                </a:lnTo>
                <a:lnTo>
                  <a:pt x="677" y="318"/>
                </a:lnTo>
                <a:lnTo>
                  <a:pt x="679" y="320"/>
                </a:lnTo>
                <a:lnTo>
                  <a:pt x="683" y="322"/>
                </a:lnTo>
                <a:lnTo>
                  <a:pt x="684" y="324"/>
                </a:lnTo>
                <a:lnTo>
                  <a:pt x="684" y="324"/>
                </a:lnTo>
                <a:lnTo>
                  <a:pt x="686" y="328"/>
                </a:lnTo>
                <a:lnTo>
                  <a:pt x="686" y="328"/>
                </a:lnTo>
                <a:lnTo>
                  <a:pt x="694" y="328"/>
                </a:lnTo>
                <a:lnTo>
                  <a:pt x="702" y="328"/>
                </a:lnTo>
                <a:lnTo>
                  <a:pt x="702" y="328"/>
                </a:lnTo>
                <a:lnTo>
                  <a:pt x="703" y="326"/>
                </a:lnTo>
                <a:lnTo>
                  <a:pt x="703" y="324"/>
                </a:lnTo>
                <a:lnTo>
                  <a:pt x="703" y="324"/>
                </a:lnTo>
                <a:lnTo>
                  <a:pt x="703" y="322"/>
                </a:lnTo>
                <a:lnTo>
                  <a:pt x="703" y="320"/>
                </a:lnTo>
                <a:lnTo>
                  <a:pt x="703" y="320"/>
                </a:lnTo>
                <a:lnTo>
                  <a:pt x="709" y="316"/>
                </a:lnTo>
                <a:lnTo>
                  <a:pt x="711" y="314"/>
                </a:lnTo>
                <a:lnTo>
                  <a:pt x="711" y="312"/>
                </a:lnTo>
                <a:lnTo>
                  <a:pt x="705" y="307"/>
                </a:lnTo>
                <a:lnTo>
                  <a:pt x="703" y="303"/>
                </a:lnTo>
                <a:lnTo>
                  <a:pt x="703" y="301"/>
                </a:lnTo>
                <a:lnTo>
                  <a:pt x="705" y="297"/>
                </a:lnTo>
                <a:lnTo>
                  <a:pt x="711" y="290"/>
                </a:lnTo>
                <a:lnTo>
                  <a:pt x="713" y="288"/>
                </a:lnTo>
                <a:lnTo>
                  <a:pt x="713" y="286"/>
                </a:lnTo>
                <a:lnTo>
                  <a:pt x="713" y="284"/>
                </a:lnTo>
                <a:lnTo>
                  <a:pt x="715" y="276"/>
                </a:lnTo>
                <a:lnTo>
                  <a:pt x="717" y="274"/>
                </a:lnTo>
                <a:lnTo>
                  <a:pt x="717" y="272"/>
                </a:lnTo>
                <a:lnTo>
                  <a:pt x="719" y="272"/>
                </a:lnTo>
                <a:lnTo>
                  <a:pt x="721" y="272"/>
                </a:lnTo>
                <a:lnTo>
                  <a:pt x="721" y="271"/>
                </a:lnTo>
                <a:lnTo>
                  <a:pt x="723" y="267"/>
                </a:lnTo>
                <a:lnTo>
                  <a:pt x="723" y="267"/>
                </a:lnTo>
                <a:lnTo>
                  <a:pt x="724" y="265"/>
                </a:lnTo>
                <a:lnTo>
                  <a:pt x="726" y="265"/>
                </a:lnTo>
                <a:lnTo>
                  <a:pt x="726" y="265"/>
                </a:lnTo>
                <a:lnTo>
                  <a:pt x="728" y="263"/>
                </a:lnTo>
                <a:lnTo>
                  <a:pt x="728" y="261"/>
                </a:lnTo>
                <a:lnTo>
                  <a:pt x="730" y="261"/>
                </a:lnTo>
                <a:lnTo>
                  <a:pt x="732" y="259"/>
                </a:lnTo>
                <a:lnTo>
                  <a:pt x="734" y="261"/>
                </a:lnTo>
                <a:lnTo>
                  <a:pt x="734" y="265"/>
                </a:lnTo>
                <a:lnTo>
                  <a:pt x="736" y="267"/>
                </a:lnTo>
                <a:lnTo>
                  <a:pt x="738" y="267"/>
                </a:lnTo>
                <a:lnTo>
                  <a:pt x="740" y="267"/>
                </a:lnTo>
                <a:lnTo>
                  <a:pt x="742" y="267"/>
                </a:lnTo>
                <a:lnTo>
                  <a:pt x="743" y="269"/>
                </a:lnTo>
                <a:lnTo>
                  <a:pt x="743" y="271"/>
                </a:lnTo>
                <a:lnTo>
                  <a:pt x="745" y="272"/>
                </a:lnTo>
                <a:lnTo>
                  <a:pt x="745" y="272"/>
                </a:lnTo>
                <a:lnTo>
                  <a:pt x="745" y="272"/>
                </a:lnTo>
                <a:lnTo>
                  <a:pt x="747" y="271"/>
                </a:lnTo>
                <a:lnTo>
                  <a:pt x="747" y="271"/>
                </a:lnTo>
                <a:lnTo>
                  <a:pt x="749" y="269"/>
                </a:lnTo>
                <a:lnTo>
                  <a:pt x="751" y="269"/>
                </a:lnTo>
                <a:lnTo>
                  <a:pt x="755" y="267"/>
                </a:lnTo>
                <a:lnTo>
                  <a:pt x="755" y="265"/>
                </a:lnTo>
                <a:lnTo>
                  <a:pt x="755" y="265"/>
                </a:lnTo>
                <a:lnTo>
                  <a:pt x="755" y="263"/>
                </a:lnTo>
                <a:lnTo>
                  <a:pt x="753" y="261"/>
                </a:lnTo>
                <a:lnTo>
                  <a:pt x="753" y="259"/>
                </a:lnTo>
                <a:lnTo>
                  <a:pt x="753" y="259"/>
                </a:lnTo>
                <a:lnTo>
                  <a:pt x="755" y="259"/>
                </a:lnTo>
                <a:lnTo>
                  <a:pt x="755" y="257"/>
                </a:lnTo>
                <a:lnTo>
                  <a:pt x="757" y="257"/>
                </a:lnTo>
                <a:lnTo>
                  <a:pt x="759" y="257"/>
                </a:lnTo>
                <a:lnTo>
                  <a:pt x="761" y="257"/>
                </a:lnTo>
                <a:lnTo>
                  <a:pt x="761" y="255"/>
                </a:lnTo>
                <a:lnTo>
                  <a:pt x="761" y="253"/>
                </a:lnTo>
                <a:lnTo>
                  <a:pt x="763" y="253"/>
                </a:lnTo>
                <a:lnTo>
                  <a:pt x="761" y="252"/>
                </a:lnTo>
                <a:close/>
              </a:path>
            </a:pathLst>
          </a:custGeo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9" name="TextBox 78">
            <a:extLst>
              <a:ext uri="{FF2B5EF4-FFF2-40B4-BE49-F238E27FC236}">
                <a16:creationId xmlns:a16="http://schemas.microsoft.com/office/drawing/2014/main" id="{23F1A001-C1B4-4450-9241-9B65B0F670CE}"/>
              </a:ext>
            </a:extLst>
          </p:cNvPr>
          <p:cNvSpPr txBox="1"/>
          <p:nvPr/>
        </p:nvSpPr>
        <p:spPr>
          <a:xfrm>
            <a:off x="650240" y="1140529"/>
            <a:ext cx="2825750" cy="492443"/>
          </a:xfrm>
          <a:prstGeom prst="rect">
            <a:avLst/>
          </a:prstGeom>
          <a:noFill/>
        </p:spPr>
        <p:txBody>
          <a:bodyPr wrap="square" lIns="0" tIns="0" rIns="0" bIns="0" rtlCol="0">
            <a:spAutoFit/>
          </a:bodyPr>
          <a:lstStyle/>
          <a:p>
            <a:pPr algn="l"/>
            <a:r>
              <a:rPr lang="en-US" sz="3200" kern="0" dirty="0">
                <a:solidFill>
                  <a:schemeClr val="accent1"/>
                </a:solidFill>
              </a:rPr>
              <a:t>Maharashtra</a:t>
            </a:r>
          </a:p>
        </p:txBody>
      </p:sp>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CAD51CD0-1538-4F59-9235-5156D70F7FEC}"/>
                  </a:ext>
                </a:extLst>
              </p:cNvPr>
              <p:cNvGraphicFramePr>
                <a:graphicFrameLocks noChangeAspect="1"/>
              </p:cNvGraphicFramePr>
              <p:nvPr>
                <p:extLst>
                  <p:ext uri="{D42A27DB-BD31-4B8C-83A1-F6EECF244321}">
                    <p14:modId xmlns:p14="http://schemas.microsoft.com/office/powerpoint/2010/main" val="1485575812"/>
                  </p:ext>
                </p:extLst>
              </p:nvPr>
            </p:nvGraphicFramePr>
            <p:xfrm flipV="1">
              <a:off x="6783215" y="2353416"/>
              <a:ext cx="1256257" cy="706645"/>
            </p:xfrm>
            <a:graphic>
              <a:graphicData uri="http://schemas.microsoft.com/office/powerpoint/2016/slidezoom">
                <pslz:sldZm>
                  <pslz:sldZmObj sldId="356" cId="4141833690">
                    <pslz:zmPr id="{D8516E95-0D1F-4ECF-A96C-2BC57A243107}" returnToParent="0" transitionDur="1000" showBg="0">
                      <p166:blipFill xmlns:p166="http://schemas.microsoft.com/office/powerpoint/2016/6/main">
                        <a:blip r:embed="rId8"/>
                        <a:stretch>
                          <a:fillRect/>
                        </a:stretch>
                      </p166:blipFill>
                      <p166:spPr xmlns:p166="http://schemas.microsoft.com/office/powerpoint/2016/6/main">
                        <a:xfrm flipV="1">
                          <a:off x="0" y="0"/>
                          <a:ext cx="1256257" cy="706645"/>
                        </a:xfrm>
                        <a:prstGeom prst="rect">
                          <a:avLst/>
                        </a:prstGeom>
                        <a:ln>
                          <a:noFill/>
                        </a:ln>
                      </p166:spPr>
                    </pslz:zmPr>
                  </pslz:sldZmObj>
                </pslz:sldZm>
              </a:graphicData>
            </a:graphic>
          </p:graphicFrame>
        </mc:Choice>
        <mc:Fallback xmlns="">
          <p:pic>
            <p:nvPicPr>
              <p:cNvPr id="3" name="Slide Zoom 2">
                <a:hlinkClick r:id="rId9" action="ppaction://hlinksldjump"/>
                <a:extLst>
                  <a:ext uri="{FF2B5EF4-FFF2-40B4-BE49-F238E27FC236}">
                    <a16:creationId xmlns:a16="http://schemas.microsoft.com/office/drawing/2014/main" id="{CAD51CD0-1538-4F59-9235-5156D70F7FEC}"/>
                  </a:ext>
                </a:extLst>
              </p:cNvPr>
              <p:cNvPicPr>
                <a:picLocks noGrp="1" noRot="1" noChangeAspect="1" noMove="1" noResize="1" noEditPoints="1" noAdjustHandles="1" noChangeArrowheads="1" noChangeShapeType="1"/>
              </p:cNvPicPr>
              <p:nvPr/>
            </p:nvPicPr>
            <p:blipFill>
              <a:blip r:embed="rId10"/>
              <a:stretch>
                <a:fillRect/>
              </a:stretch>
            </p:blipFill>
            <p:spPr>
              <a:xfrm flipV="1">
                <a:off x="6783215" y="2353416"/>
                <a:ext cx="1256257" cy="706645"/>
              </a:xfrm>
              <a:prstGeom prst="rect">
                <a:avLst/>
              </a:prstGeom>
              <a:ln>
                <a:noFill/>
              </a:ln>
            </p:spPr>
          </p:pic>
        </mc:Fallback>
      </mc:AlternateContent>
      <p:pic>
        <p:nvPicPr>
          <p:cNvPr id="7" name="Graphic 6" descr="Pin">
            <a:extLst>
              <a:ext uri="{FF2B5EF4-FFF2-40B4-BE49-F238E27FC236}">
                <a16:creationId xmlns:a16="http://schemas.microsoft.com/office/drawing/2014/main" id="{2A438802-FFEC-427E-B290-E8BE0BF8E36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218888">
            <a:off x="7138006" y="2353689"/>
            <a:ext cx="350805" cy="350805"/>
          </a:xfrm>
          <a:prstGeom prst="rect">
            <a:avLst/>
          </a:prstGeom>
          <a:effectLst>
            <a:outerShdw blurRad="76200" dir="13500000" sy="23000" kx="1200000" algn="br" rotWithShape="0">
              <a:prstClr val="black">
                <a:alpha val="20000"/>
              </a:prstClr>
            </a:outerShdw>
          </a:effectLst>
        </p:spPr>
      </p:pic>
      <p:sp>
        <p:nvSpPr>
          <p:cNvPr id="8" name="TextBox 7">
            <a:extLst>
              <a:ext uri="{FF2B5EF4-FFF2-40B4-BE49-F238E27FC236}">
                <a16:creationId xmlns:a16="http://schemas.microsoft.com/office/drawing/2014/main" id="{664477E6-1F73-4841-8DE8-3F5FCE2640E2}"/>
              </a:ext>
            </a:extLst>
          </p:cNvPr>
          <p:cNvSpPr txBox="1"/>
          <p:nvPr/>
        </p:nvSpPr>
        <p:spPr>
          <a:xfrm>
            <a:off x="5557050" y="1754978"/>
            <a:ext cx="1371492" cy="253916"/>
          </a:xfrm>
          <a:prstGeom prst="rect">
            <a:avLst/>
          </a:prstGeom>
          <a:noFill/>
        </p:spPr>
        <p:txBody>
          <a:bodyPr wrap="square" rtlCol="0">
            <a:spAutoFit/>
          </a:bodyPr>
          <a:lstStyle/>
          <a:p>
            <a:pPr algn="ctr"/>
            <a:r>
              <a:rPr lang="en-US" sz="1050" b="1" dirty="0">
                <a:latin typeface="Century Gothic" panose="020B0502020202020204" pitchFamily="34" charset="0"/>
              </a:rPr>
              <a:t>THANE</a:t>
            </a:r>
          </a:p>
        </p:txBody>
      </p:sp>
      <p:sp>
        <p:nvSpPr>
          <p:cNvPr id="9" name="Freeform: Shape 8">
            <a:extLst>
              <a:ext uri="{FF2B5EF4-FFF2-40B4-BE49-F238E27FC236}">
                <a16:creationId xmlns:a16="http://schemas.microsoft.com/office/drawing/2014/main" id="{C0BD2214-D75C-46C9-BE01-F7CD761D9E52}"/>
              </a:ext>
            </a:extLst>
          </p:cNvPr>
          <p:cNvSpPr/>
          <p:nvPr/>
        </p:nvSpPr>
        <p:spPr>
          <a:xfrm rot="20606122">
            <a:off x="6852776" y="1814723"/>
            <a:ext cx="350265" cy="667196"/>
          </a:xfrm>
          <a:custGeom>
            <a:avLst/>
            <a:gdLst>
              <a:gd name="connsiteX0" fmla="*/ 362857 w 362857"/>
              <a:gd name="connsiteY0" fmla="*/ 769257 h 769257"/>
              <a:gd name="connsiteX1" fmla="*/ 319314 w 362857"/>
              <a:gd name="connsiteY1" fmla="*/ 174171 h 769257"/>
              <a:gd name="connsiteX2" fmla="*/ 0 w 362857"/>
              <a:gd name="connsiteY2" fmla="*/ 0 h 769257"/>
            </a:gdLst>
            <a:ahLst/>
            <a:cxnLst>
              <a:cxn ang="0">
                <a:pos x="connsiteX0" y="connsiteY0"/>
              </a:cxn>
              <a:cxn ang="0">
                <a:pos x="connsiteX1" y="connsiteY1"/>
              </a:cxn>
              <a:cxn ang="0">
                <a:pos x="connsiteX2" y="connsiteY2"/>
              </a:cxn>
            </a:cxnLst>
            <a:rect l="l" t="t" r="r" b="b"/>
            <a:pathLst>
              <a:path w="362857" h="769257">
                <a:moveTo>
                  <a:pt x="362857" y="769257"/>
                </a:moveTo>
                <a:lnTo>
                  <a:pt x="319314" y="174171"/>
                </a:lnTo>
                <a:lnTo>
                  <a:pt x="0" y="0"/>
                </a:lnTo>
              </a:path>
            </a:pathLst>
          </a:custGeom>
          <a:noFill/>
          <a:ln>
            <a:solidFill>
              <a:schemeClr val="tx1">
                <a:lumMod val="65000"/>
                <a:lumOff val="35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1312206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14:presetBounceEnd="62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62000">
                                          <p:cBhvr additive="base">
                                            <p:cTn id="7" dur="500" fill="hold"/>
                                            <p:tgtEl>
                                              <p:spTgt spid="7"/>
                                            </p:tgtEl>
                                            <p:attrNameLst>
                                              <p:attrName>ppt_x</p:attrName>
                                            </p:attrNameLst>
                                          </p:cBhvr>
                                          <p:tavLst>
                                            <p:tav tm="0">
                                              <p:val>
                                                <p:strVal val="#ppt_x"/>
                                              </p:val>
                                            </p:tav>
                                            <p:tav tm="100000">
                                              <p:val>
                                                <p:strVal val="#ppt_x"/>
                                              </p:val>
                                            </p:tav>
                                          </p:tavLst>
                                        </p:anim>
                                        <p:anim calcmode="lin" valueType="num" p14:bounceEnd="62000">
                                          <p:cBhvr additive="base">
                                            <p:cTn id="8" dur="50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 calcmode="lin" valueType="num">
                                          <p:cBhvr additive="base">
                                            <p:cTn id="11" dur="500" fill="hold"/>
                                            <p:tgtEl>
                                              <p:spTgt spid="79"/>
                                            </p:tgtEl>
                                            <p:attrNameLst>
                                              <p:attrName>ppt_x</p:attrName>
                                            </p:attrNameLst>
                                          </p:cBhvr>
                                          <p:tavLst>
                                            <p:tav tm="0">
                                              <p:val>
                                                <p:strVal val="0-#ppt_w/2"/>
                                              </p:val>
                                            </p:tav>
                                            <p:tav tm="100000">
                                              <p:val>
                                                <p:strVal val="#ppt_x"/>
                                              </p:val>
                                            </p:tav>
                                          </p:tavLst>
                                        </p:anim>
                                        <p:anim calcmode="lin" valueType="num">
                                          <p:cBhvr additive="base">
                                            <p:cTn id="12" dur="500" fill="hold"/>
                                            <p:tgtEl>
                                              <p:spTgt spid="7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2" presetClass="entr" presetSubtype="4"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down)">
                                          <p:cBhvr>
                                            <p:cTn id="16" dur="500"/>
                                            <p:tgtEl>
                                              <p:spTgt spid="9"/>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 grpId="0"/>
          <p:bldP spid="9"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 calcmode="lin" valueType="num">
                                          <p:cBhvr additive="base">
                                            <p:cTn id="11" dur="500" fill="hold"/>
                                            <p:tgtEl>
                                              <p:spTgt spid="79"/>
                                            </p:tgtEl>
                                            <p:attrNameLst>
                                              <p:attrName>ppt_x</p:attrName>
                                            </p:attrNameLst>
                                          </p:cBhvr>
                                          <p:tavLst>
                                            <p:tav tm="0">
                                              <p:val>
                                                <p:strVal val="0-#ppt_w/2"/>
                                              </p:val>
                                            </p:tav>
                                            <p:tav tm="100000">
                                              <p:val>
                                                <p:strVal val="#ppt_x"/>
                                              </p:val>
                                            </p:tav>
                                          </p:tavLst>
                                        </p:anim>
                                        <p:anim calcmode="lin" valueType="num">
                                          <p:cBhvr additive="base">
                                            <p:cTn id="12" dur="500" fill="hold"/>
                                            <p:tgtEl>
                                              <p:spTgt spid="7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2" presetClass="entr" presetSubtype="4"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down)">
                                          <p:cBhvr>
                                            <p:cTn id="16" dur="500"/>
                                            <p:tgtEl>
                                              <p:spTgt spid="9"/>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 grpId="0"/>
          <p:bldP spid="9" grpId="0" animBg="1"/>
        </p:bldLst>
      </p:timing>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387AD61A-5DFF-4DC9-9471-D43FE9AB72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57717" y="1160145"/>
            <a:ext cx="5495925" cy="4171950"/>
          </a:xfrm>
          <a:prstGeom prst="rect">
            <a:avLst/>
          </a:prstGeom>
          <a:ln>
            <a:noFill/>
          </a:ln>
        </p:spPr>
      </p:pic>
    </p:spTree>
    <p:custDataLst>
      <p:tags r:id="rId2"/>
    </p:custDataLst>
    <p:extLst>
      <p:ext uri="{BB962C8B-B14F-4D97-AF65-F5344CB8AC3E}">
        <p14:creationId xmlns:p14="http://schemas.microsoft.com/office/powerpoint/2010/main" val="41418336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5">
            <a:extLst>
              <a:ext uri="{FF2B5EF4-FFF2-40B4-BE49-F238E27FC236}">
                <a16:creationId xmlns:a16="http://schemas.microsoft.com/office/drawing/2014/main" id="{8AB589DE-9D0D-44AB-B851-3C5D247296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Box 6">
            <a:extLst>
              <a:ext uri="{FF2B5EF4-FFF2-40B4-BE49-F238E27FC236}">
                <a16:creationId xmlns:a16="http://schemas.microsoft.com/office/drawing/2014/main" id="{C179E1FE-758B-4263-82E0-0B50FE423B43}"/>
              </a:ext>
            </a:extLst>
          </p:cNvPr>
          <p:cNvSpPr txBox="1"/>
          <p:nvPr/>
        </p:nvSpPr>
        <p:spPr>
          <a:xfrm>
            <a:off x="3807460" y="5998606"/>
            <a:ext cx="5194300" cy="369332"/>
          </a:xfrm>
          <a:prstGeom prst="rect">
            <a:avLst/>
          </a:prstGeom>
          <a:noFill/>
        </p:spPr>
        <p:txBody>
          <a:bodyPr wrap="square" rtlCol="0">
            <a:spAutoFit/>
          </a:bodyPr>
          <a:lstStyle/>
          <a:p>
            <a:r>
              <a:rPr lang="en-US" dirty="0">
                <a:solidFill>
                  <a:schemeClr val="bg1"/>
                </a:solidFill>
              </a:rPr>
              <a:t>200 TONS PER DAY C AND  D WASTE RECYCLE</a:t>
            </a:r>
          </a:p>
        </p:txBody>
      </p:sp>
      <p:sp>
        <p:nvSpPr>
          <p:cNvPr id="2" name="TextBox 1">
            <a:extLst>
              <a:ext uri="{FF2B5EF4-FFF2-40B4-BE49-F238E27FC236}">
                <a16:creationId xmlns:a16="http://schemas.microsoft.com/office/drawing/2014/main" id="{D00F936D-7246-4150-9B75-2EE6D60BF80E}"/>
              </a:ext>
            </a:extLst>
          </p:cNvPr>
          <p:cNvSpPr txBox="1"/>
          <p:nvPr/>
        </p:nvSpPr>
        <p:spPr>
          <a:xfrm>
            <a:off x="3028335" y="274618"/>
            <a:ext cx="6756688" cy="430887"/>
          </a:xfrm>
          <a:prstGeom prst="rect">
            <a:avLst/>
          </a:prstGeom>
          <a:noFill/>
        </p:spPr>
        <p:txBody>
          <a:bodyPr wrap="square" lIns="0" tIns="0" rIns="0" bIns="0" rtlCol="0">
            <a:spAutoFit/>
            <a:scene3d>
              <a:camera prst="orthographicFront"/>
              <a:lightRig rig="soft" dir="t">
                <a:rot lat="0" lon="0" rev="15600000"/>
              </a:lightRig>
            </a:scene3d>
            <a:sp3d extrusionH="57150" prstMaterial="softEdge">
              <a:bevelT w="25400" h="38100"/>
            </a:sp3d>
          </a:bodyPr>
          <a:lstStyle/>
          <a:p>
            <a:r>
              <a:rPr lang="en-US" sz="2800" b="1" kern="0" dirty="0">
                <a:ln/>
                <a:solidFill>
                  <a:schemeClr val="accent4"/>
                </a:solidFill>
              </a:rPr>
              <a:t>THANE C &amp; D WASTE RECYCLING PLANT</a:t>
            </a:r>
          </a:p>
        </p:txBody>
      </p:sp>
    </p:spTree>
    <p:custDataLst>
      <p:tags r:id="rId2"/>
    </p:custDataLst>
    <p:extLst>
      <p:ext uri="{BB962C8B-B14F-4D97-AF65-F5344CB8AC3E}">
        <p14:creationId xmlns:p14="http://schemas.microsoft.com/office/powerpoint/2010/main" val="3637403124"/>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F222A8-AF2A-4292-8A95-0C3AD37A109D}"/>
              </a:ext>
            </a:extLst>
          </p:cNvPr>
          <p:cNvSpPr/>
          <p:nvPr/>
        </p:nvSpPr>
        <p:spPr>
          <a:xfrm>
            <a:off x="6096000" y="0"/>
            <a:ext cx="5734929" cy="6858000"/>
          </a:xfrm>
          <a:prstGeom prst="rect">
            <a:avLst/>
          </a:prstGeom>
          <a:blipFill>
            <a:blip r:embed="rId2"/>
            <a:stretch>
              <a:fillRect/>
            </a:stretch>
          </a:blipFill>
          <a:ln>
            <a:noFill/>
          </a:ln>
          <a:effectLst>
            <a:outerShdw blurRad="50800" dist="762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AEE5042A-E067-4FB7-BCFF-00BB33BFEDEC}"/>
              </a:ext>
            </a:extLst>
          </p:cNvPr>
          <p:cNvGrpSpPr/>
          <p:nvPr/>
        </p:nvGrpSpPr>
        <p:grpSpPr>
          <a:xfrm>
            <a:off x="5805714" y="119550"/>
            <a:ext cx="580573" cy="386869"/>
            <a:chOff x="5805714" y="609691"/>
            <a:chExt cx="580573" cy="386869"/>
          </a:xfrm>
        </p:grpSpPr>
        <p:sp>
          <p:nvSpPr>
            <p:cNvPr id="5" name="Rectangle 4">
              <a:extLst>
                <a:ext uri="{FF2B5EF4-FFF2-40B4-BE49-F238E27FC236}">
                  <a16:creationId xmlns:a16="http://schemas.microsoft.com/office/drawing/2014/main" id="{9ECC8D50-758B-45D1-9832-058DA749338C}"/>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FC783E55-1922-4926-8D97-EC60526709F7}"/>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8" name="Group 77">
            <a:extLst>
              <a:ext uri="{FF2B5EF4-FFF2-40B4-BE49-F238E27FC236}">
                <a16:creationId xmlns:a16="http://schemas.microsoft.com/office/drawing/2014/main" id="{E48E30C9-A74F-4C52-AD04-FC9A5CBD8258}"/>
              </a:ext>
            </a:extLst>
          </p:cNvPr>
          <p:cNvGrpSpPr/>
          <p:nvPr/>
        </p:nvGrpSpPr>
        <p:grpSpPr>
          <a:xfrm>
            <a:off x="5805714" y="430573"/>
            <a:ext cx="580573" cy="386869"/>
            <a:chOff x="5805714" y="609691"/>
            <a:chExt cx="580573" cy="386869"/>
          </a:xfrm>
        </p:grpSpPr>
        <p:sp>
          <p:nvSpPr>
            <p:cNvPr id="79" name="Rectangle 78">
              <a:extLst>
                <a:ext uri="{FF2B5EF4-FFF2-40B4-BE49-F238E27FC236}">
                  <a16:creationId xmlns:a16="http://schemas.microsoft.com/office/drawing/2014/main" id="{9D80A7DB-810E-4588-BE25-E9F7C34D3DB1}"/>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Arc 79">
              <a:extLst>
                <a:ext uri="{FF2B5EF4-FFF2-40B4-BE49-F238E27FC236}">
                  <a16:creationId xmlns:a16="http://schemas.microsoft.com/office/drawing/2014/main" id="{0CEE252C-3F6B-425D-A974-8C322FD62AA8}"/>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BDE4CAF1-67FB-4A00-A957-F84932EF37EA}"/>
              </a:ext>
            </a:extLst>
          </p:cNvPr>
          <p:cNvGrpSpPr/>
          <p:nvPr/>
        </p:nvGrpSpPr>
        <p:grpSpPr>
          <a:xfrm>
            <a:off x="5805714" y="741596"/>
            <a:ext cx="580573" cy="386869"/>
            <a:chOff x="5805714" y="609691"/>
            <a:chExt cx="580573" cy="386869"/>
          </a:xfrm>
        </p:grpSpPr>
        <p:sp>
          <p:nvSpPr>
            <p:cNvPr id="82" name="Rectangle 81">
              <a:extLst>
                <a:ext uri="{FF2B5EF4-FFF2-40B4-BE49-F238E27FC236}">
                  <a16:creationId xmlns:a16="http://schemas.microsoft.com/office/drawing/2014/main" id="{74C944AF-D50A-425E-A441-BD46E8CB9783}"/>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Arc 82">
              <a:extLst>
                <a:ext uri="{FF2B5EF4-FFF2-40B4-BE49-F238E27FC236}">
                  <a16:creationId xmlns:a16="http://schemas.microsoft.com/office/drawing/2014/main" id="{AE95EC9D-DB78-417E-AF31-C543DE84C1EE}"/>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 name="Group 83">
            <a:extLst>
              <a:ext uri="{FF2B5EF4-FFF2-40B4-BE49-F238E27FC236}">
                <a16:creationId xmlns:a16="http://schemas.microsoft.com/office/drawing/2014/main" id="{EC3E0684-8AE8-4214-BF7B-4AAB6B86F600}"/>
              </a:ext>
            </a:extLst>
          </p:cNvPr>
          <p:cNvGrpSpPr/>
          <p:nvPr/>
        </p:nvGrpSpPr>
        <p:grpSpPr>
          <a:xfrm>
            <a:off x="5805714" y="1052619"/>
            <a:ext cx="580573" cy="386869"/>
            <a:chOff x="5805714" y="609691"/>
            <a:chExt cx="580573" cy="386869"/>
          </a:xfrm>
        </p:grpSpPr>
        <p:sp>
          <p:nvSpPr>
            <p:cNvPr id="85" name="Rectangle 84">
              <a:extLst>
                <a:ext uri="{FF2B5EF4-FFF2-40B4-BE49-F238E27FC236}">
                  <a16:creationId xmlns:a16="http://schemas.microsoft.com/office/drawing/2014/main" id="{CF8E04A3-B6B4-4F3C-BB6B-AF9929DDA237}"/>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Arc 85">
              <a:extLst>
                <a:ext uri="{FF2B5EF4-FFF2-40B4-BE49-F238E27FC236}">
                  <a16:creationId xmlns:a16="http://schemas.microsoft.com/office/drawing/2014/main" id="{18A95974-DAB2-4BF8-9192-96278D1744CD}"/>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7" name="Group 86">
            <a:extLst>
              <a:ext uri="{FF2B5EF4-FFF2-40B4-BE49-F238E27FC236}">
                <a16:creationId xmlns:a16="http://schemas.microsoft.com/office/drawing/2014/main" id="{C97BDBFC-6DCF-4D05-9235-AF24FD08B7BA}"/>
              </a:ext>
            </a:extLst>
          </p:cNvPr>
          <p:cNvGrpSpPr/>
          <p:nvPr/>
        </p:nvGrpSpPr>
        <p:grpSpPr>
          <a:xfrm>
            <a:off x="5805714" y="1363642"/>
            <a:ext cx="580573" cy="386869"/>
            <a:chOff x="5805714" y="609691"/>
            <a:chExt cx="580573" cy="386869"/>
          </a:xfrm>
        </p:grpSpPr>
        <p:sp>
          <p:nvSpPr>
            <p:cNvPr id="88" name="Rectangle 87">
              <a:extLst>
                <a:ext uri="{FF2B5EF4-FFF2-40B4-BE49-F238E27FC236}">
                  <a16:creationId xmlns:a16="http://schemas.microsoft.com/office/drawing/2014/main" id="{4AB8CE96-3DF3-4063-9F27-D4DB07BB75EF}"/>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Arc 88">
              <a:extLst>
                <a:ext uri="{FF2B5EF4-FFF2-40B4-BE49-F238E27FC236}">
                  <a16:creationId xmlns:a16="http://schemas.microsoft.com/office/drawing/2014/main" id="{309BD817-14B6-4AA7-A1F6-6EAEFBC3A86F}"/>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C6951FED-2BD7-4859-B333-5B1CAEF8AB8D}"/>
              </a:ext>
            </a:extLst>
          </p:cNvPr>
          <p:cNvGrpSpPr/>
          <p:nvPr/>
        </p:nvGrpSpPr>
        <p:grpSpPr>
          <a:xfrm>
            <a:off x="5805714" y="1674665"/>
            <a:ext cx="580573" cy="386869"/>
            <a:chOff x="5805714" y="609691"/>
            <a:chExt cx="580573" cy="386869"/>
          </a:xfrm>
        </p:grpSpPr>
        <p:sp>
          <p:nvSpPr>
            <p:cNvPr id="91" name="Rectangle 90">
              <a:extLst>
                <a:ext uri="{FF2B5EF4-FFF2-40B4-BE49-F238E27FC236}">
                  <a16:creationId xmlns:a16="http://schemas.microsoft.com/office/drawing/2014/main" id="{FE30C63D-F045-40E9-8C54-26DA5BDA0F44}"/>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Arc 91">
              <a:extLst>
                <a:ext uri="{FF2B5EF4-FFF2-40B4-BE49-F238E27FC236}">
                  <a16:creationId xmlns:a16="http://schemas.microsoft.com/office/drawing/2014/main" id="{434A2720-2A66-40B1-AC7E-5C244C6E6EB9}"/>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3" name="Group 92">
            <a:extLst>
              <a:ext uri="{FF2B5EF4-FFF2-40B4-BE49-F238E27FC236}">
                <a16:creationId xmlns:a16="http://schemas.microsoft.com/office/drawing/2014/main" id="{3253887B-E245-4C89-84BB-C89576187B4D}"/>
              </a:ext>
            </a:extLst>
          </p:cNvPr>
          <p:cNvGrpSpPr/>
          <p:nvPr/>
        </p:nvGrpSpPr>
        <p:grpSpPr>
          <a:xfrm>
            <a:off x="5805714" y="1985688"/>
            <a:ext cx="580573" cy="386869"/>
            <a:chOff x="5805714" y="609691"/>
            <a:chExt cx="580573" cy="386869"/>
          </a:xfrm>
        </p:grpSpPr>
        <p:sp>
          <p:nvSpPr>
            <p:cNvPr id="94" name="Rectangle 93">
              <a:extLst>
                <a:ext uri="{FF2B5EF4-FFF2-40B4-BE49-F238E27FC236}">
                  <a16:creationId xmlns:a16="http://schemas.microsoft.com/office/drawing/2014/main" id="{C2935527-C9EF-4950-89BB-EB1207B25EAD}"/>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Arc 94">
              <a:extLst>
                <a:ext uri="{FF2B5EF4-FFF2-40B4-BE49-F238E27FC236}">
                  <a16:creationId xmlns:a16="http://schemas.microsoft.com/office/drawing/2014/main" id="{B885AD0D-2A97-4761-A7E2-81AE7730FF98}"/>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6" name="Group 95">
            <a:extLst>
              <a:ext uri="{FF2B5EF4-FFF2-40B4-BE49-F238E27FC236}">
                <a16:creationId xmlns:a16="http://schemas.microsoft.com/office/drawing/2014/main" id="{B20895E6-FBAD-4249-90F9-43369FD2080F}"/>
              </a:ext>
            </a:extLst>
          </p:cNvPr>
          <p:cNvGrpSpPr/>
          <p:nvPr/>
        </p:nvGrpSpPr>
        <p:grpSpPr>
          <a:xfrm>
            <a:off x="5805714" y="2296711"/>
            <a:ext cx="580573" cy="386869"/>
            <a:chOff x="5805714" y="609691"/>
            <a:chExt cx="580573" cy="386869"/>
          </a:xfrm>
        </p:grpSpPr>
        <p:sp>
          <p:nvSpPr>
            <p:cNvPr id="97" name="Rectangle 96">
              <a:extLst>
                <a:ext uri="{FF2B5EF4-FFF2-40B4-BE49-F238E27FC236}">
                  <a16:creationId xmlns:a16="http://schemas.microsoft.com/office/drawing/2014/main" id="{416F99E9-E132-4AB6-9501-719E390B2951}"/>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Arc 97">
              <a:extLst>
                <a:ext uri="{FF2B5EF4-FFF2-40B4-BE49-F238E27FC236}">
                  <a16:creationId xmlns:a16="http://schemas.microsoft.com/office/drawing/2014/main" id="{7BF41422-E1EF-4A49-906D-7C9E43200378}"/>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9" name="Group 98">
            <a:extLst>
              <a:ext uri="{FF2B5EF4-FFF2-40B4-BE49-F238E27FC236}">
                <a16:creationId xmlns:a16="http://schemas.microsoft.com/office/drawing/2014/main" id="{3A6C8FCE-3906-4A51-8C51-53A21458A79D}"/>
              </a:ext>
            </a:extLst>
          </p:cNvPr>
          <p:cNvGrpSpPr/>
          <p:nvPr/>
        </p:nvGrpSpPr>
        <p:grpSpPr>
          <a:xfrm>
            <a:off x="5805714" y="2607734"/>
            <a:ext cx="580573" cy="386869"/>
            <a:chOff x="5805714" y="609691"/>
            <a:chExt cx="580573" cy="386869"/>
          </a:xfrm>
        </p:grpSpPr>
        <p:sp>
          <p:nvSpPr>
            <p:cNvPr id="100" name="Rectangle 99">
              <a:extLst>
                <a:ext uri="{FF2B5EF4-FFF2-40B4-BE49-F238E27FC236}">
                  <a16:creationId xmlns:a16="http://schemas.microsoft.com/office/drawing/2014/main" id="{01B7306C-C82A-4CBC-8810-B196E2B85FD9}"/>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Arc 100">
              <a:extLst>
                <a:ext uri="{FF2B5EF4-FFF2-40B4-BE49-F238E27FC236}">
                  <a16:creationId xmlns:a16="http://schemas.microsoft.com/office/drawing/2014/main" id="{4309EB4B-A1C1-41B8-9E71-43E4632DE81A}"/>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2" name="Group 101">
            <a:extLst>
              <a:ext uri="{FF2B5EF4-FFF2-40B4-BE49-F238E27FC236}">
                <a16:creationId xmlns:a16="http://schemas.microsoft.com/office/drawing/2014/main" id="{C74B4894-B5D2-4362-964C-D4DC0546060A}"/>
              </a:ext>
            </a:extLst>
          </p:cNvPr>
          <p:cNvGrpSpPr/>
          <p:nvPr/>
        </p:nvGrpSpPr>
        <p:grpSpPr>
          <a:xfrm>
            <a:off x="5805714" y="2918757"/>
            <a:ext cx="580573" cy="386869"/>
            <a:chOff x="5805714" y="609691"/>
            <a:chExt cx="580573" cy="386869"/>
          </a:xfrm>
        </p:grpSpPr>
        <p:sp>
          <p:nvSpPr>
            <p:cNvPr id="103" name="Rectangle 102">
              <a:extLst>
                <a:ext uri="{FF2B5EF4-FFF2-40B4-BE49-F238E27FC236}">
                  <a16:creationId xmlns:a16="http://schemas.microsoft.com/office/drawing/2014/main" id="{DA95D981-4D5B-4F4F-8A82-69838938508F}"/>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Arc 103">
              <a:extLst>
                <a:ext uri="{FF2B5EF4-FFF2-40B4-BE49-F238E27FC236}">
                  <a16:creationId xmlns:a16="http://schemas.microsoft.com/office/drawing/2014/main" id="{E4822634-A39A-4B0D-8399-883328FCA1EE}"/>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5" name="Group 104">
            <a:extLst>
              <a:ext uri="{FF2B5EF4-FFF2-40B4-BE49-F238E27FC236}">
                <a16:creationId xmlns:a16="http://schemas.microsoft.com/office/drawing/2014/main" id="{AC0C8900-7AAE-4DAD-9853-250BA8E46217}"/>
              </a:ext>
            </a:extLst>
          </p:cNvPr>
          <p:cNvGrpSpPr/>
          <p:nvPr/>
        </p:nvGrpSpPr>
        <p:grpSpPr>
          <a:xfrm>
            <a:off x="5805714" y="3229780"/>
            <a:ext cx="580573" cy="386869"/>
            <a:chOff x="5805714" y="609691"/>
            <a:chExt cx="580573" cy="386869"/>
          </a:xfrm>
        </p:grpSpPr>
        <p:sp>
          <p:nvSpPr>
            <p:cNvPr id="106" name="Rectangle 105">
              <a:extLst>
                <a:ext uri="{FF2B5EF4-FFF2-40B4-BE49-F238E27FC236}">
                  <a16:creationId xmlns:a16="http://schemas.microsoft.com/office/drawing/2014/main" id="{8F16C3F5-5111-4385-95DB-684995C5DA9E}"/>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Arc 106">
              <a:extLst>
                <a:ext uri="{FF2B5EF4-FFF2-40B4-BE49-F238E27FC236}">
                  <a16:creationId xmlns:a16="http://schemas.microsoft.com/office/drawing/2014/main" id="{C8E4EC42-A513-472E-AE69-66EF8F71937C}"/>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8" name="Group 107">
            <a:extLst>
              <a:ext uri="{FF2B5EF4-FFF2-40B4-BE49-F238E27FC236}">
                <a16:creationId xmlns:a16="http://schemas.microsoft.com/office/drawing/2014/main" id="{B9DF2A69-06AC-4DC9-B6C7-9A1B9D012585}"/>
              </a:ext>
            </a:extLst>
          </p:cNvPr>
          <p:cNvGrpSpPr/>
          <p:nvPr/>
        </p:nvGrpSpPr>
        <p:grpSpPr>
          <a:xfrm>
            <a:off x="5805714" y="3540803"/>
            <a:ext cx="580573" cy="386869"/>
            <a:chOff x="5805714" y="609691"/>
            <a:chExt cx="580573" cy="386869"/>
          </a:xfrm>
        </p:grpSpPr>
        <p:sp>
          <p:nvSpPr>
            <p:cNvPr id="109" name="Rectangle 108">
              <a:extLst>
                <a:ext uri="{FF2B5EF4-FFF2-40B4-BE49-F238E27FC236}">
                  <a16:creationId xmlns:a16="http://schemas.microsoft.com/office/drawing/2014/main" id="{66D59475-186E-4F7A-A501-ABEDCC08DC98}"/>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Arc 109">
              <a:extLst>
                <a:ext uri="{FF2B5EF4-FFF2-40B4-BE49-F238E27FC236}">
                  <a16:creationId xmlns:a16="http://schemas.microsoft.com/office/drawing/2014/main" id="{55C929AA-C5D4-4A29-94FC-BF99C03F9430}"/>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26F5DDE8-77F1-4A19-9A73-FA16AD387091}"/>
              </a:ext>
            </a:extLst>
          </p:cNvPr>
          <p:cNvGrpSpPr/>
          <p:nvPr/>
        </p:nvGrpSpPr>
        <p:grpSpPr>
          <a:xfrm>
            <a:off x="5805714" y="3851826"/>
            <a:ext cx="580573" cy="386869"/>
            <a:chOff x="5805714" y="609691"/>
            <a:chExt cx="580573" cy="386869"/>
          </a:xfrm>
        </p:grpSpPr>
        <p:sp>
          <p:nvSpPr>
            <p:cNvPr id="112" name="Rectangle 111">
              <a:extLst>
                <a:ext uri="{FF2B5EF4-FFF2-40B4-BE49-F238E27FC236}">
                  <a16:creationId xmlns:a16="http://schemas.microsoft.com/office/drawing/2014/main" id="{3975D25C-1E30-46E2-BA99-3037ADE31704}"/>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Arc 112">
              <a:extLst>
                <a:ext uri="{FF2B5EF4-FFF2-40B4-BE49-F238E27FC236}">
                  <a16:creationId xmlns:a16="http://schemas.microsoft.com/office/drawing/2014/main" id="{5489E9B8-DC06-4350-B467-61A9DA0B02A7}"/>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0375CE18-5EC1-4881-8142-DC1BC91AD094}"/>
              </a:ext>
            </a:extLst>
          </p:cNvPr>
          <p:cNvGrpSpPr/>
          <p:nvPr/>
        </p:nvGrpSpPr>
        <p:grpSpPr>
          <a:xfrm>
            <a:off x="5805714" y="4162849"/>
            <a:ext cx="580573" cy="386869"/>
            <a:chOff x="5805714" y="609691"/>
            <a:chExt cx="580573" cy="386869"/>
          </a:xfrm>
        </p:grpSpPr>
        <p:sp>
          <p:nvSpPr>
            <p:cNvPr id="115" name="Rectangle 114">
              <a:extLst>
                <a:ext uri="{FF2B5EF4-FFF2-40B4-BE49-F238E27FC236}">
                  <a16:creationId xmlns:a16="http://schemas.microsoft.com/office/drawing/2014/main" id="{10A76D25-919A-40D9-9554-EFE2D3956BE4}"/>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Arc 115">
              <a:extLst>
                <a:ext uri="{FF2B5EF4-FFF2-40B4-BE49-F238E27FC236}">
                  <a16:creationId xmlns:a16="http://schemas.microsoft.com/office/drawing/2014/main" id="{F541D253-66CC-4C59-909C-302800ABEEFC}"/>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D86A99F9-8CBA-4BBB-88F7-14582E27C64C}"/>
              </a:ext>
            </a:extLst>
          </p:cNvPr>
          <p:cNvGrpSpPr/>
          <p:nvPr/>
        </p:nvGrpSpPr>
        <p:grpSpPr>
          <a:xfrm>
            <a:off x="5805714" y="4473872"/>
            <a:ext cx="580573" cy="386869"/>
            <a:chOff x="5805714" y="609691"/>
            <a:chExt cx="580573" cy="386869"/>
          </a:xfrm>
        </p:grpSpPr>
        <p:sp>
          <p:nvSpPr>
            <p:cNvPr id="118" name="Rectangle 117">
              <a:extLst>
                <a:ext uri="{FF2B5EF4-FFF2-40B4-BE49-F238E27FC236}">
                  <a16:creationId xmlns:a16="http://schemas.microsoft.com/office/drawing/2014/main" id="{16259704-CA38-4525-8489-D1FECD12BDBC}"/>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Arc 118">
              <a:extLst>
                <a:ext uri="{FF2B5EF4-FFF2-40B4-BE49-F238E27FC236}">
                  <a16:creationId xmlns:a16="http://schemas.microsoft.com/office/drawing/2014/main" id="{40F4FCA1-5992-49D0-8CE6-8488CF6BAF04}"/>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0" name="Group 119">
            <a:extLst>
              <a:ext uri="{FF2B5EF4-FFF2-40B4-BE49-F238E27FC236}">
                <a16:creationId xmlns:a16="http://schemas.microsoft.com/office/drawing/2014/main" id="{F5C59377-7214-4209-BA16-86D5D1DAE2B0}"/>
              </a:ext>
            </a:extLst>
          </p:cNvPr>
          <p:cNvGrpSpPr/>
          <p:nvPr/>
        </p:nvGrpSpPr>
        <p:grpSpPr>
          <a:xfrm>
            <a:off x="5805714" y="4784895"/>
            <a:ext cx="580573" cy="386869"/>
            <a:chOff x="5805714" y="609691"/>
            <a:chExt cx="580573" cy="386869"/>
          </a:xfrm>
        </p:grpSpPr>
        <p:sp>
          <p:nvSpPr>
            <p:cNvPr id="121" name="Rectangle 120">
              <a:extLst>
                <a:ext uri="{FF2B5EF4-FFF2-40B4-BE49-F238E27FC236}">
                  <a16:creationId xmlns:a16="http://schemas.microsoft.com/office/drawing/2014/main" id="{959A5D35-C7AE-458F-BBB5-71CD3A3F97F8}"/>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Arc 121">
              <a:extLst>
                <a:ext uri="{FF2B5EF4-FFF2-40B4-BE49-F238E27FC236}">
                  <a16:creationId xmlns:a16="http://schemas.microsoft.com/office/drawing/2014/main" id="{F490A229-65A6-4DFF-870F-4B92A114A66A}"/>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3" name="Group 122">
            <a:extLst>
              <a:ext uri="{FF2B5EF4-FFF2-40B4-BE49-F238E27FC236}">
                <a16:creationId xmlns:a16="http://schemas.microsoft.com/office/drawing/2014/main" id="{9EC6FFFF-2006-4366-8566-0113AD9F036A}"/>
              </a:ext>
            </a:extLst>
          </p:cNvPr>
          <p:cNvGrpSpPr/>
          <p:nvPr/>
        </p:nvGrpSpPr>
        <p:grpSpPr>
          <a:xfrm>
            <a:off x="5805714" y="5095918"/>
            <a:ext cx="580573" cy="386869"/>
            <a:chOff x="5805714" y="609691"/>
            <a:chExt cx="580573" cy="386869"/>
          </a:xfrm>
        </p:grpSpPr>
        <p:sp>
          <p:nvSpPr>
            <p:cNvPr id="124" name="Rectangle 123">
              <a:extLst>
                <a:ext uri="{FF2B5EF4-FFF2-40B4-BE49-F238E27FC236}">
                  <a16:creationId xmlns:a16="http://schemas.microsoft.com/office/drawing/2014/main" id="{595E399E-0521-4D5B-914F-29C3ADDF2B72}"/>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Arc 124">
              <a:extLst>
                <a:ext uri="{FF2B5EF4-FFF2-40B4-BE49-F238E27FC236}">
                  <a16:creationId xmlns:a16="http://schemas.microsoft.com/office/drawing/2014/main" id="{14739334-2472-4756-B880-7780C40DA407}"/>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6" name="Group 125">
            <a:extLst>
              <a:ext uri="{FF2B5EF4-FFF2-40B4-BE49-F238E27FC236}">
                <a16:creationId xmlns:a16="http://schemas.microsoft.com/office/drawing/2014/main" id="{6D7FEFCF-F5E2-48A4-8DA2-466E3FA530E8}"/>
              </a:ext>
            </a:extLst>
          </p:cNvPr>
          <p:cNvGrpSpPr/>
          <p:nvPr/>
        </p:nvGrpSpPr>
        <p:grpSpPr>
          <a:xfrm>
            <a:off x="5805714" y="5406941"/>
            <a:ext cx="580573" cy="386869"/>
            <a:chOff x="5805714" y="609691"/>
            <a:chExt cx="580573" cy="386869"/>
          </a:xfrm>
        </p:grpSpPr>
        <p:sp>
          <p:nvSpPr>
            <p:cNvPr id="127" name="Rectangle 126">
              <a:extLst>
                <a:ext uri="{FF2B5EF4-FFF2-40B4-BE49-F238E27FC236}">
                  <a16:creationId xmlns:a16="http://schemas.microsoft.com/office/drawing/2014/main" id="{5B8C7798-2FB8-447C-BA5C-ECB75C74E5AD}"/>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Arc 127">
              <a:extLst>
                <a:ext uri="{FF2B5EF4-FFF2-40B4-BE49-F238E27FC236}">
                  <a16:creationId xmlns:a16="http://schemas.microsoft.com/office/drawing/2014/main" id="{DDFE7CA2-AC7D-4CF0-A779-1F7EC6161969}"/>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9" name="Group 128">
            <a:extLst>
              <a:ext uri="{FF2B5EF4-FFF2-40B4-BE49-F238E27FC236}">
                <a16:creationId xmlns:a16="http://schemas.microsoft.com/office/drawing/2014/main" id="{EF6B5FAD-EB1F-43DC-8B99-11CAD21D64C9}"/>
              </a:ext>
            </a:extLst>
          </p:cNvPr>
          <p:cNvGrpSpPr/>
          <p:nvPr/>
        </p:nvGrpSpPr>
        <p:grpSpPr>
          <a:xfrm>
            <a:off x="5805714" y="5717964"/>
            <a:ext cx="580573" cy="386869"/>
            <a:chOff x="5805714" y="609691"/>
            <a:chExt cx="580573" cy="386869"/>
          </a:xfrm>
        </p:grpSpPr>
        <p:sp>
          <p:nvSpPr>
            <p:cNvPr id="130" name="Rectangle 129">
              <a:extLst>
                <a:ext uri="{FF2B5EF4-FFF2-40B4-BE49-F238E27FC236}">
                  <a16:creationId xmlns:a16="http://schemas.microsoft.com/office/drawing/2014/main" id="{B817890A-729D-4FBB-8EF7-DAFD6F73427B}"/>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Arc 130">
              <a:extLst>
                <a:ext uri="{FF2B5EF4-FFF2-40B4-BE49-F238E27FC236}">
                  <a16:creationId xmlns:a16="http://schemas.microsoft.com/office/drawing/2014/main" id="{EAD6132E-2435-4771-A3CC-CCE94E7A9600}"/>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Group 131">
            <a:extLst>
              <a:ext uri="{FF2B5EF4-FFF2-40B4-BE49-F238E27FC236}">
                <a16:creationId xmlns:a16="http://schemas.microsoft.com/office/drawing/2014/main" id="{2B7006E1-B188-46BA-BAA5-15A960905F4C}"/>
              </a:ext>
            </a:extLst>
          </p:cNvPr>
          <p:cNvGrpSpPr/>
          <p:nvPr/>
        </p:nvGrpSpPr>
        <p:grpSpPr>
          <a:xfrm>
            <a:off x="5805714" y="6028987"/>
            <a:ext cx="580573" cy="386869"/>
            <a:chOff x="5805714" y="609691"/>
            <a:chExt cx="580573" cy="386869"/>
          </a:xfrm>
        </p:grpSpPr>
        <p:sp>
          <p:nvSpPr>
            <p:cNvPr id="133" name="Rectangle 132">
              <a:extLst>
                <a:ext uri="{FF2B5EF4-FFF2-40B4-BE49-F238E27FC236}">
                  <a16:creationId xmlns:a16="http://schemas.microsoft.com/office/drawing/2014/main" id="{D01250CF-AFA1-4A19-B3C7-7F163609380B}"/>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c 133">
              <a:extLst>
                <a:ext uri="{FF2B5EF4-FFF2-40B4-BE49-F238E27FC236}">
                  <a16:creationId xmlns:a16="http://schemas.microsoft.com/office/drawing/2014/main" id="{1014BA5C-C370-44EB-84DA-2D69E36CE6C3}"/>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Group 134">
            <a:extLst>
              <a:ext uri="{FF2B5EF4-FFF2-40B4-BE49-F238E27FC236}">
                <a16:creationId xmlns:a16="http://schemas.microsoft.com/office/drawing/2014/main" id="{AD8CB7E5-EBC4-4791-B93B-D0B41B862B83}"/>
              </a:ext>
            </a:extLst>
          </p:cNvPr>
          <p:cNvGrpSpPr/>
          <p:nvPr/>
        </p:nvGrpSpPr>
        <p:grpSpPr>
          <a:xfrm>
            <a:off x="5805714" y="6340004"/>
            <a:ext cx="580573" cy="386869"/>
            <a:chOff x="5805714" y="609691"/>
            <a:chExt cx="580573" cy="386869"/>
          </a:xfrm>
        </p:grpSpPr>
        <p:sp>
          <p:nvSpPr>
            <p:cNvPr id="136" name="Rectangle 135">
              <a:extLst>
                <a:ext uri="{FF2B5EF4-FFF2-40B4-BE49-F238E27FC236}">
                  <a16:creationId xmlns:a16="http://schemas.microsoft.com/office/drawing/2014/main" id="{CF456FF3-391C-4C8E-A128-A413BDBBB225}"/>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c 136">
              <a:extLst>
                <a:ext uri="{FF2B5EF4-FFF2-40B4-BE49-F238E27FC236}">
                  <a16:creationId xmlns:a16="http://schemas.microsoft.com/office/drawing/2014/main" id="{8838FE2A-04D7-44E3-97C3-54338832CB9A}"/>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38" name="TextBox 137">
            <a:extLst>
              <a:ext uri="{FF2B5EF4-FFF2-40B4-BE49-F238E27FC236}">
                <a16:creationId xmlns:a16="http://schemas.microsoft.com/office/drawing/2014/main" id="{A92F286C-434D-41FA-B624-1519DC144791}"/>
              </a:ext>
            </a:extLst>
          </p:cNvPr>
          <p:cNvSpPr txBox="1"/>
          <p:nvPr/>
        </p:nvSpPr>
        <p:spPr>
          <a:xfrm>
            <a:off x="6902821" y="2441810"/>
            <a:ext cx="4411574" cy="1107996"/>
          </a:xfrm>
          <a:prstGeom prst="rect">
            <a:avLst/>
          </a:prstGeom>
          <a:noFill/>
        </p:spPr>
        <p:txBody>
          <a:bodyPr wrap="square" rtlCol="0">
            <a:spAutoFit/>
            <a:scene3d>
              <a:camera prst="orthographicFront"/>
              <a:lightRig rig="threePt" dir="t"/>
            </a:scene3d>
            <a:sp3d extrusionH="57150">
              <a:bevelT h="25400" prst="softRound"/>
            </a:sp3d>
          </a:bodyPr>
          <a:lstStyle/>
          <a:p>
            <a:pPr algn="ctr"/>
            <a:r>
              <a:rPr lang="en-US" sz="6600" b="1" dirty="0">
                <a:ln w="0"/>
                <a:gradFill flip="none" rotWithShape="1">
                  <a:gsLst>
                    <a:gs pos="0">
                      <a:sysClr val="windowText" lastClr="000000">
                        <a:tint val="66000"/>
                        <a:satMod val="160000"/>
                      </a:sysClr>
                    </a:gs>
                    <a:gs pos="50000">
                      <a:sysClr val="windowText" lastClr="000000">
                        <a:tint val="44500"/>
                        <a:satMod val="160000"/>
                      </a:sysClr>
                    </a:gs>
                    <a:gs pos="100000">
                      <a:sysClr val="windowText" lastClr="000000">
                        <a:tint val="23500"/>
                        <a:satMod val="160000"/>
                      </a:sysClr>
                    </a:gs>
                  </a:gsLst>
                  <a:path path="circle">
                    <a:fillToRect l="100000" b="100000"/>
                  </a:path>
                  <a:tileRect t="-100000" r="-100000"/>
                </a:gradFill>
                <a:effectLst>
                  <a:outerShdw blurRad="38100" dist="19050" dir="2700000" algn="tl" rotWithShape="0">
                    <a:schemeClr val="dk1">
                      <a:alpha val="40000"/>
                    </a:schemeClr>
                  </a:outerShdw>
                </a:effectLst>
                <a:latin typeface="Oswald" panose="02000503000000000000" pitchFamily="2" charset="0"/>
              </a:rPr>
              <a:t>FACTS</a:t>
            </a:r>
          </a:p>
        </p:txBody>
      </p:sp>
    </p:spTree>
    <p:extLst>
      <p:ext uri="{BB962C8B-B14F-4D97-AF65-F5344CB8AC3E}">
        <p14:creationId xmlns:p14="http://schemas.microsoft.com/office/powerpoint/2010/main" val="281896225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C03955BB-E41C-4E77-BB48-325360470229}"/>
              </a:ext>
            </a:extLst>
          </p:cNvPr>
          <p:cNvSpPr/>
          <p:nvPr/>
        </p:nvSpPr>
        <p:spPr>
          <a:xfrm>
            <a:off x="275044" y="-5786"/>
            <a:ext cx="5681417" cy="6858000"/>
          </a:xfrm>
          <a:prstGeom prst="rect">
            <a:avLst/>
          </a:prstGeom>
          <a:blipFill>
            <a:blip r:embed="rId2"/>
            <a:stretch>
              <a:fillRect/>
            </a:stretch>
          </a:blipFill>
          <a:ln>
            <a:noFill/>
          </a:ln>
          <a:effectLst>
            <a:outerShdw blurRad="50800" dist="889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3F222A8-AF2A-4292-8A95-0C3AD37A109D}"/>
              </a:ext>
            </a:extLst>
          </p:cNvPr>
          <p:cNvSpPr/>
          <p:nvPr/>
        </p:nvSpPr>
        <p:spPr>
          <a:xfrm>
            <a:off x="6096000" y="0"/>
            <a:ext cx="5660571" cy="6858000"/>
          </a:xfrm>
          <a:prstGeom prst="rect">
            <a:avLst/>
          </a:prstGeom>
          <a:blipFill>
            <a:blip r:embed="rId2"/>
            <a:stretch>
              <a:fillRect/>
            </a:stretch>
          </a:blipFill>
          <a:ln>
            <a:noFill/>
          </a:ln>
          <a:effectLst>
            <a:outerShdw blurRad="50800" dist="762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92E12EE0-D677-4B3E-B6CE-0E062AA8ADF2}"/>
              </a:ext>
            </a:extLst>
          </p:cNvPr>
          <p:cNvGrpSpPr/>
          <p:nvPr/>
        </p:nvGrpSpPr>
        <p:grpSpPr>
          <a:xfrm>
            <a:off x="6096000" y="119550"/>
            <a:ext cx="5574535" cy="6778315"/>
            <a:chOff x="6096000" y="119550"/>
            <a:chExt cx="5574535" cy="6778315"/>
          </a:xfrm>
        </p:grpSpPr>
        <p:sp>
          <p:nvSpPr>
            <p:cNvPr id="18" name="Rectangle 17">
              <a:extLst>
                <a:ext uri="{FF2B5EF4-FFF2-40B4-BE49-F238E27FC236}">
                  <a16:creationId xmlns:a16="http://schemas.microsoft.com/office/drawing/2014/main" id="{89A7C9A0-1A85-4F30-A93E-652DADAEA768}"/>
                </a:ext>
              </a:extLst>
            </p:cNvPr>
            <p:cNvSpPr/>
            <p:nvPr/>
          </p:nvSpPr>
          <p:spPr>
            <a:xfrm>
              <a:off x="11148331" y="4069452"/>
              <a:ext cx="522204" cy="2657736"/>
            </a:xfrm>
            <a:prstGeom prst="rect">
              <a:avLst/>
            </a:prstGeom>
            <a:solidFill>
              <a:srgbClr val="FFC000"/>
            </a:solidFill>
            <a:ln>
              <a:no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9" name="Freeform: Shape 158">
              <a:extLst>
                <a:ext uri="{FF2B5EF4-FFF2-40B4-BE49-F238E27FC236}">
                  <a16:creationId xmlns:a16="http://schemas.microsoft.com/office/drawing/2014/main" id="{844EE657-B388-4FBA-B129-7B78DAC63F27}"/>
                </a:ext>
              </a:extLst>
            </p:cNvPr>
            <p:cNvSpPr/>
            <p:nvPr/>
          </p:nvSpPr>
          <p:spPr>
            <a:xfrm>
              <a:off x="6128872" y="119550"/>
              <a:ext cx="5395162" cy="6607323"/>
            </a:xfrm>
            <a:custGeom>
              <a:avLst/>
              <a:gdLst>
                <a:gd name="connsiteX0" fmla="*/ 0 w 5395162"/>
                <a:gd name="connsiteY0" fmla="*/ 0 h 6607323"/>
                <a:gd name="connsiteX1" fmla="*/ 5395162 w 5395162"/>
                <a:gd name="connsiteY1" fmla="*/ 0 h 6607323"/>
                <a:gd name="connsiteX2" fmla="*/ 5395162 w 5395162"/>
                <a:gd name="connsiteY2" fmla="*/ 3949902 h 6607323"/>
                <a:gd name="connsiteX3" fmla="*/ 5230980 w 5395162"/>
                <a:gd name="connsiteY3" fmla="*/ 3949902 h 6607323"/>
                <a:gd name="connsiteX4" fmla="*/ 5032614 w 5395162"/>
                <a:gd name="connsiteY4" fmla="*/ 4148268 h 6607323"/>
                <a:gd name="connsiteX5" fmla="*/ 5032614 w 5395162"/>
                <a:gd name="connsiteY5" fmla="*/ 6607209 h 6607323"/>
                <a:gd name="connsiteX6" fmla="*/ 5032625 w 5395162"/>
                <a:gd name="connsiteY6" fmla="*/ 6607323 h 6607323"/>
                <a:gd name="connsiteX7" fmla="*/ 0 w 5395162"/>
                <a:gd name="connsiteY7" fmla="*/ 6607323 h 660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5162" h="6607323">
                  <a:moveTo>
                    <a:pt x="0" y="0"/>
                  </a:moveTo>
                  <a:lnTo>
                    <a:pt x="5395162" y="0"/>
                  </a:lnTo>
                  <a:lnTo>
                    <a:pt x="5395162" y="3949902"/>
                  </a:lnTo>
                  <a:lnTo>
                    <a:pt x="5230980" y="3949902"/>
                  </a:lnTo>
                  <a:cubicBezTo>
                    <a:pt x="5121425" y="3949902"/>
                    <a:pt x="5032614" y="4038713"/>
                    <a:pt x="5032614" y="4148268"/>
                  </a:cubicBezTo>
                  <a:lnTo>
                    <a:pt x="5032614" y="6607209"/>
                  </a:lnTo>
                  <a:lnTo>
                    <a:pt x="5032625" y="6607323"/>
                  </a:lnTo>
                  <a:lnTo>
                    <a:pt x="0" y="6607323"/>
                  </a:lnTo>
                  <a:close/>
                </a:path>
              </a:pathLst>
            </a:custGeom>
            <a:solidFill>
              <a:srgbClr val="FDFDFD"/>
            </a:solidFill>
            <a:ln>
              <a:no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6A4BE4DF-D2F4-4379-A9D6-80E52AFF4147}"/>
                </a:ext>
              </a:extLst>
            </p:cNvPr>
            <p:cNvCxnSpPr>
              <a:cxnSpLocks/>
            </p:cNvCxnSpPr>
            <p:nvPr/>
          </p:nvCxnSpPr>
          <p:spPr>
            <a:xfrm>
              <a:off x="6096000" y="909390"/>
              <a:ext cx="5428034"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00D995D0-D410-41F6-8F5B-85BB1BCC534A}"/>
                </a:ext>
              </a:extLst>
            </p:cNvPr>
            <p:cNvCxnSpPr>
              <a:cxnSpLocks/>
            </p:cNvCxnSpPr>
            <p:nvPr/>
          </p:nvCxnSpPr>
          <p:spPr>
            <a:xfrm>
              <a:off x="6126481" y="137418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E30CE9D1-00A8-4698-B82F-870B637B8B3D}"/>
                </a:ext>
              </a:extLst>
            </p:cNvPr>
            <p:cNvCxnSpPr>
              <a:cxnSpLocks/>
            </p:cNvCxnSpPr>
            <p:nvPr/>
          </p:nvCxnSpPr>
          <p:spPr>
            <a:xfrm>
              <a:off x="6126481" y="1864456"/>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77200768-9471-4E20-BAD8-29771E263599}"/>
                </a:ext>
              </a:extLst>
            </p:cNvPr>
            <p:cNvCxnSpPr>
              <a:cxnSpLocks/>
            </p:cNvCxnSpPr>
            <p:nvPr/>
          </p:nvCxnSpPr>
          <p:spPr>
            <a:xfrm>
              <a:off x="6126481" y="2354732"/>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1C5E669C-7F9D-4702-B466-E8B7969A0437}"/>
                </a:ext>
              </a:extLst>
            </p:cNvPr>
            <p:cNvCxnSpPr>
              <a:cxnSpLocks/>
            </p:cNvCxnSpPr>
            <p:nvPr/>
          </p:nvCxnSpPr>
          <p:spPr>
            <a:xfrm>
              <a:off x="6126481" y="2845008"/>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5C55975-239A-4E3C-9DA9-A1C1F43A5592}"/>
                </a:ext>
              </a:extLst>
            </p:cNvPr>
            <p:cNvCxnSpPr>
              <a:cxnSpLocks/>
            </p:cNvCxnSpPr>
            <p:nvPr/>
          </p:nvCxnSpPr>
          <p:spPr>
            <a:xfrm>
              <a:off x="6126481" y="3335284"/>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7CFC89B-3A0C-4489-9C24-1AF2539BC25F}"/>
                </a:ext>
              </a:extLst>
            </p:cNvPr>
            <p:cNvCxnSpPr>
              <a:cxnSpLocks/>
            </p:cNvCxnSpPr>
            <p:nvPr/>
          </p:nvCxnSpPr>
          <p:spPr>
            <a:xfrm>
              <a:off x="6126481" y="382556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48207E8D-9C84-4381-A43C-9C1AD7BD9C0A}"/>
                </a:ext>
              </a:extLst>
            </p:cNvPr>
            <p:cNvCxnSpPr>
              <a:cxnSpLocks/>
            </p:cNvCxnSpPr>
            <p:nvPr/>
          </p:nvCxnSpPr>
          <p:spPr>
            <a:xfrm>
              <a:off x="6126481" y="4315836"/>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27CEB030-6CD3-430F-8BC2-0652DA5FF667}"/>
                </a:ext>
              </a:extLst>
            </p:cNvPr>
            <p:cNvCxnSpPr>
              <a:cxnSpLocks/>
            </p:cNvCxnSpPr>
            <p:nvPr/>
          </p:nvCxnSpPr>
          <p:spPr>
            <a:xfrm>
              <a:off x="6126481" y="4806112"/>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4DB8F0E0-E44F-45C3-9FAF-C3DA3FC751DB}"/>
                </a:ext>
              </a:extLst>
            </p:cNvPr>
            <p:cNvCxnSpPr>
              <a:cxnSpLocks/>
            </p:cNvCxnSpPr>
            <p:nvPr/>
          </p:nvCxnSpPr>
          <p:spPr>
            <a:xfrm>
              <a:off x="6126481" y="5296388"/>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E3479BD0-F83D-44B4-81C9-71C0B635AC7B}"/>
                </a:ext>
              </a:extLst>
            </p:cNvPr>
            <p:cNvCxnSpPr>
              <a:cxnSpLocks/>
            </p:cNvCxnSpPr>
            <p:nvPr/>
          </p:nvCxnSpPr>
          <p:spPr>
            <a:xfrm>
              <a:off x="6126481" y="5786664"/>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F216DE1B-38AB-4EC3-ACC7-17E6C1D4A349}"/>
                </a:ext>
              </a:extLst>
            </p:cNvPr>
            <p:cNvCxnSpPr>
              <a:cxnSpLocks/>
            </p:cNvCxnSpPr>
            <p:nvPr/>
          </p:nvCxnSpPr>
          <p:spPr>
            <a:xfrm>
              <a:off x="6126481" y="6276940"/>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4AF6244-7532-4141-B434-8E2F38097B0C}"/>
                </a:ext>
              </a:extLst>
            </p:cNvPr>
            <p:cNvSpPr txBox="1"/>
            <p:nvPr/>
          </p:nvSpPr>
          <p:spPr>
            <a:xfrm>
              <a:off x="11176000" y="5595360"/>
              <a:ext cx="461665" cy="1302505"/>
            </a:xfrm>
            <a:prstGeom prst="rect">
              <a:avLst/>
            </a:prstGeom>
            <a:noFill/>
          </p:spPr>
          <p:txBody>
            <a:bodyPr vert="vert270" wrap="square" rtlCol="0">
              <a:spAutoFit/>
            </a:bodyPr>
            <a:lstStyle/>
            <a:p>
              <a:pPr algn="ctr"/>
              <a:r>
                <a:rPr lang="en-US" b="1" dirty="0"/>
                <a:t>PAGE 01</a:t>
              </a:r>
            </a:p>
          </p:txBody>
        </p:sp>
      </p:grpSp>
      <p:grpSp>
        <p:nvGrpSpPr>
          <p:cNvPr id="3" name="Group 2">
            <a:extLst>
              <a:ext uri="{FF2B5EF4-FFF2-40B4-BE49-F238E27FC236}">
                <a16:creationId xmlns:a16="http://schemas.microsoft.com/office/drawing/2014/main" id="{0F1A4B53-3DA8-4B08-87F6-99E2B5780CCB}"/>
              </a:ext>
            </a:extLst>
          </p:cNvPr>
          <p:cNvGrpSpPr/>
          <p:nvPr/>
        </p:nvGrpSpPr>
        <p:grpSpPr>
          <a:xfrm>
            <a:off x="5604611" y="119550"/>
            <a:ext cx="812157" cy="6607323"/>
            <a:chOff x="5604611" y="119550"/>
            <a:chExt cx="812157" cy="6607323"/>
          </a:xfrm>
        </p:grpSpPr>
        <p:sp>
          <p:nvSpPr>
            <p:cNvPr id="67" name="Rectangle 66">
              <a:extLst>
                <a:ext uri="{FF2B5EF4-FFF2-40B4-BE49-F238E27FC236}">
                  <a16:creationId xmlns:a16="http://schemas.microsoft.com/office/drawing/2014/main" id="{D119F2DB-0E38-4A31-831F-2BAF295D2A25}"/>
                </a:ext>
              </a:extLst>
            </p:cNvPr>
            <p:cNvSpPr/>
            <p:nvPr/>
          </p:nvSpPr>
          <p:spPr>
            <a:xfrm>
              <a:off x="5635694" y="202535"/>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0" name="Group 9">
              <a:extLst>
                <a:ext uri="{FF2B5EF4-FFF2-40B4-BE49-F238E27FC236}">
                  <a16:creationId xmlns:a16="http://schemas.microsoft.com/office/drawing/2014/main" id="{AEE5042A-E067-4FB7-BCFF-00BB33BFEDEC}"/>
                </a:ext>
              </a:extLst>
            </p:cNvPr>
            <p:cNvGrpSpPr/>
            <p:nvPr/>
          </p:nvGrpSpPr>
          <p:grpSpPr>
            <a:xfrm>
              <a:off x="5805714" y="119550"/>
              <a:ext cx="580573" cy="386869"/>
              <a:chOff x="5805714" y="609691"/>
              <a:chExt cx="580573" cy="386869"/>
            </a:xfrm>
          </p:grpSpPr>
          <p:sp>
            <p:nvSpPr>
              <p:cNvPr id="5" name="Rectangle 4">
                <a:extLst>
                  <a:ext uri="{FF2B5EF4-FFF2-40B4-BE49-F238E27FC236}">
                    <a16:creationId xmlns:a16="http://schemas.microsoft.com/office/drawing/2014/main" id="{9ECC8D50-758B-45D1-9832-058DA749338C}"/>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FC783E55-1922-4926-8D97-EC60526709F7}"/>
                  </a:ext>
                </a:extLst>
              </p:cNvPr>
              <p:cNvSpPr/>
              <p:nvPr/>
            </p:nvSpPr>
            <p:spPr>
              <a:xfrm>
                <a:off x="5805714" y="609691"/>
                <a:ext cx="410553" cy="386869"/>
              </a:xfrm>
              <a:prstGeom prst="arc">
                <a:avLst>
                  <a:gd name="adj1" fmla="val 10333954"/>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8" name="Rectangle 67">
              <a:extLst>
                <a:ext uri="{FF2B5EF4-FFF2-40B4-BE49-F238E27FC236}">
                  <a16:creationId xmlns:a16="http://schemas.microsoft.com/office/drawing/2014/main" id="{FCB92E0C-F05E-4602-8A6C-A561815032EC}"/>
                </a:ext>
              </a:extLst>
            </p:cNvPr>
            <p:cNvSpPr/>
            <p:nvPr/>
          </p:nvSpPr>
          <p:spPr>
            <a:xfrm>
              <a:off x="5632035" y="503041"/>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8" name="Group 77">
              <a:extLst>
                <a:ext uri="{FF2B5EF4-FFF2-40B4-BE49-F238E27FC236}">
                  <a16:creationId xmlns:a16="http://schemas.microsoft.com/office/drawing/2014/main" id="{E48E30C9-A74F-4C52-AD04-FC9A5CBD8258}"/>
                </a:ext>
              </a:extLst>
            </p:cNvPr>
            <p:cNvGrpSpPr/>
            <p:nvPr/>
          </p:nvGrpSpPr>
          <p:grpSpPr>
            <a:xfrm>
              <a:off x="5805714" y="430573"/>
              <a:ext cx="580573" cy="386869"/>
              <a:chOff x="5805714" y="609691"/>
              <a:chExt cx="580573" cy="386869"/>
            </a:xfrm>
          </p:grpSpPr>
          <p:sp>
            <p:nvSpPr>
              <p:cNvPr id="79" name="Rectangle 78">
                <a:extLst>
                  <a:ext uri="{FF2B5EF4-FFF2-40B4-BE49-F238E27FC236}">
                    <a16:creationId xmlns:a16="http://schemas.microsoft.com/office/drawing/2014/main" id="{9D80A7DB-810E-4588-BE25-E9F7C34D3DB1}"/>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Arc 79">
                <a:extLst>
                  <a:ext uri="{FF2B5EF4-FFF2-40B4-BE49-F238E27FC236}">
                    <a16:creationId xmlns:a16="http://schemas.microsoft.com/office/drawing/2014/main" id="{0CEE252C-3F6B-425D-A974-8C322FD62AA8}"/>
                  </a:ext>
                </a:extLst>
              </p:cNvPr>
              <p:cNvSpPr/>
              <p:nvPr/>
            </p:nvSpPr>
            <p:spPr>
              <a:xfrm>
                <a:off x="5805714" y="609691"/>
                <a:ext cx="410553" cy="386869"/>
              </a:xfrm>
              <a:prstGeom prst="arc">
                <a:avLst>
                  <a:gd name="adj1" fmla="val 10604954"/>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9" name="Rectangle 68">
              <a:extLst>
                <a:ext uri="{FF2B5EF4-FFF2-40B4-BE49-F238E27FC236}">
                  <a16:creationId xmlns:a16="http://schemas.microsoft.com/office/drawing/2014/main" id="{A4620A41-830E-412F-B7F4-82B17531460F}"/>
                </a:ext>
              </a:extLst>
            </p:cNvPr>
            <p:cNvSpPr/>
            <p:nvPr/>
          </p:nvSpPr>
          <p:spPr>
            <a:xfrm>
              <a:off x="5635694" y="817487"/>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0" name="Rectangle 69">
              <a:extLst>
                <a:ext uri="{FF2B5EF4-FFF2-40B4-BE49-F238E27FC236}">
                  <a16:creationId xmlns:a16="http://schemas.microsoft.com/office/drawing/2014/main" id="{B8C591D4-C50C-4B67-805A-961945693BE6}"/>
                </a:ext>
              </a:extLst>
            </p:cNvPr>
            <p:cNvSpPr/>
            <p:nvPr/>
          </p:nvSpPr>
          <p:spPr>
            <a:xfrm>
              <a:off x="5636493" y="1123923"/>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Rectangle 70">
              <a:extLst>
                <a:ext uri="{FF2B5EF4-FFF2-40B4-BE49-F238E27FC236}">
                  <a16:creationId xmlns:a16="http://schemas.microsoft.com/office/drawing/2014/main" id="{461F08B5-15BF-4C63-B54C-7D2001EDCAD3}"/>
                </a:ext>
              </a:extLst>
            </p:cNvPr>
            <p:cNvSpPr/>
            <p:nvPr/>
          </p:nvSpPr>
          <p:spPr>
            <a:xfrm>
              <a:off x="5633303" y="1440825"/>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2" name="Rectangle 71">
              <a:extLst>
                <a:ext uri="{FF2B5EF4-FFF2-40B4-BE49-F238E27FC236}">
                  <a16:creationId xmlns:a16="http://schemas.microsoft.com/office/drawing/2014/main" id="{D12C5631-8C0A-4256-BD3E-88D081A7321B}"/>
                </a:ext>
              </a:extLst>
            </p:cNvPr>
            <p:cNvSpPr/>
            <p:nvPr/>
          </p:nvSpPr>
          <p:spPr>
            <a:xfrm>
              <a:off x="5641689" y="1742385"/>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3" name="Rectangle 72">
              <a:extLst>
                <a:ext uri="{FF2B5EF4-FFF2-40B4-BE49-F238E27FC236}">
                  <a16:creationId xmlns:a16="http://schemas.microsoft.com/office/drawing/2014/main" id="{D3030D9B-44CF-4F4E-A86E-18A79322376D}"/>
                </a:ext>
              </a:extLst>
            </p:cNvPr>
            <p:cNvSpPr/>
            <p:nvPr/>
          </p:nvSpPr>
          <p:spPr>
            <a:xfrm>
              <a:off x="5626130" y="2064953"/>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4" name="Rectangle 73">
              <a:extLst>
                <a:ext uri="{FF2B5EF4-FFF2-40B4-BE49-F238E27FC236}">
                  <a16:creationId xmlns:a16="http://schemas.microsoft.com/office/drawing/2014/main" id="{0E9F8D11-58D9-4493-A410-DACB43B5E48F}"/>
                </a:ext>
              </a:extLst>
            </p:cNvPr>
            <p:cNvSpPr/>
            <p:nvPr/>
          </p:nvSpPr>
          <p:spPr>
            <a:xfrm>
              <a:off x="5626130" y="2372116"/>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5" name="Rectangle 74">
              <a:extLst>
                <a:ext uri="{FF2B5EF4-FFF2-40B4-BE49-F238E27FC236}">
                  <a16:creationId xmlns:a16="http://schemas.microsoft.com/office/drawing/2014/main" id="{880FA994-AF36-4890-A98D-4750B71B3C59}"/>
                </a:ext>
              </a:extLst>
            </p:cNvPr>
            <p:cNvSpPr/>
            <p:nvPr/>
          </p:nvSpPr>
          <p:spPr>
            <a:xfrm>
              <a:off x="5633303" y="2684520"/>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Rectangle 75">
              <a:extLst>
                <a:ext uri="{FF2B5EF4-FFF2-40B4-BE49-F238E27FC236}">
                  <a16:creationId xmlns:a16="http://schemas.microsoft.com/office/drawing/2014/main" id="{9E5C2FB6-992A-4537-B467-2FCB0FDBDB9F}"/>
                </a:ext>
              </a:extLst>
            </p:cNvPr>
            <p:cNvSpPr/>
            <p:nvPr/>
          </p:nvSpPr>
          <p:spPr>
            <a:xfrm>
              <a:off x="5633303" y="2985986"/>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 name="Rectangle 76">
              <a:extLst>
                <a:ext uri="{FF2B5EF4-FFF2-40B4-BE49-F238E27FC236}">
                  <a16:creationId xmlns:a16="http://schemas.microsoft.com/office/drawing/2014/main" id="{73193785-12A4-408F-9E7C-27DDBEAFA7BD}"/>
                </a:ext>
              </a:extLst>
            </p:cNvPr>
            <p:cNvSpPr/>
            <p:nvPr/>
          </p:nvSpPr>
          <p:spPr>
            <a:xfrm>
              <a:off x="5626130" y="3308187"/>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8" name="Rectangle 137">
              <a:extLst>
                <a:ext uri="{FF2B5EF4-FFF2-40B4-BE49-F238E27FC236}">
                  <a16:creationId xmlns:a16="http://schemas.microsoft.com/office/drawing/2014/main" id="{FF68EA0C-3323-4279-9322-583E0496C340}"/>
                </a:ext>
              </a:extLst>
            </p:cNvPr>
            <p:cNvSpPr/>
            <p:nvPr/>
          </p:nvSpPr>
          <p:spPr>
            <a:xfrm>
              <a:off x="5618957" y="3615100"/>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9" name="Rectangle 138">
              <a:extLst>
                <a:ext uri="{FF2B5EF4-FFF2-40B4-BE49-F238E27FC236}">
                  <a16:creationId xmlns:a16="http://schemas.microsoft.com/office/drawing/2014/main" id="{DA8F7F98-A2C1-4622-86E7-4F2038831BBE}"/>
                </a:ext>
              </a:extLst>
            </p:cNvPr>
            <p:cNvSpPr/>
            <p:nvPr/>
          </p:nvSpPr>
          <p:spPr>
            <a:xfrm>
              <a:off x="5604611" y="3927247"/>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0" name="Rectangle 139">
              <a:extLst>
                <a:ext uri="{FF2B5EF4-FFF2-40B4-BE49-F238E27FC236}">
                  <a16:creationId xmlns:a16="http://schemas.microsoft.com/office/drawing/2014/main" id="{0A05E640-BFCE-401E-8E58-B95F9FAC8DFA}"/>
                </a:ext>
              </a:extLst>
            </p:cNvPr>
            <p:cNvSpPr/>
            <p:nvPr/>
          </p:nvSpPr>
          <p:spPr>
            <a:xfrm>
              <a:off x="5611784" y="4239143"/>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1" name="Rectangle 140">
              <a:extLst>
                <a:ext uri="{FF2B5EF4-FFF2-40B4-BE49-F238E27FC236}">
                  <a16:creationId xmlns:a16="http://schemas.microsoft.com/office/drawing/2014/main" id="{E054FE0A-3727-4A81-B405-7B2AD3CF46C1}"/>
                </a:ext>
              </a:extLst>
            </p:cNvPr>
            <p:cNvSpPr/>
            <p:nvPr/>
          </p:nvSpPr>
          <p:spPr>
            <a:xfrm>
              <a:off x="5604611" y="4546182"/>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2" name="Rectangle 141">
              <a:extLst>
                <a:ext uri="{FF2B5EF4-FFF2-40B4-BE49-F238E27FC236}">
                  <a16:creationId xmlns:a16="http://schemas.microsoft.com/office/drawing/2014/main" id="{181F776C-2AF8-48ED-A45F-6043E45954BF}"/>
                </a:ext>
              </a:extLst>
            </p:cNvPr>
            <p:cNvSpPr/>
            <p:nvPr/>
          </p:nvSpPr>
          <p:spPr>
            <a:xfrm>
              <a:off x="5609779" y="4857467"/>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3" name="Rectangle 142">
              <a:extLst>
                <a:ext uri="{FF2B5EF4-FFF2-40B4-BE49-F238E27FC236}">
                  <a16:creationId xmlns:a16="http://schemas.microsoft.com/office/drawing/2014/main" id="{F411B93B-64DC-40ED-8351-A38502F83EC2}"/>
                </a:ext>
              </a:extLst>
            </p:cNvPr>
            <p:cNvSpPr/>
            <p:nvPr/>
          </p:nvSpPr>
          <p:spPr>
            <a:xfrm>
              <a:off x="5618957" y="5171895"/>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4" name="Rectangle 143">
              <a:extLst>
                <a:ext uri="{FF2B5EF4-FFF2-40B4-BE49-F238E27FC236}">
                  <a16:creationId xmlns:a16="http://schemas.microsoft.com/office/drawing/2014/main" id="{6D4EF766-AAA1-4FD1-9EB8-BC7CCAF80F4C}"/>
                </a:ext>
              </a:extLst>
            </p:cNvPr>
            <p:cNvSpPr/>
            <p:nvPr/>
          </p:nvSpPr>
          <p:spPr>
            <a:xfrm>
              <a:off x="5611784" y="5503140"/>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5" name="Rectangle 144">
              <a:extLst>
                <a:ext uri="{FF2B5EF4-FFF2-40B4-BE49-F238E27FC236}">
                  <a16:creationId xmlns:a16="http://schemas.microsoft.com/office/drawing/2014/main" id="{CA3BC80A-A5C7-4031-AE04-E1DBB065F990}"/>
                </a:ext>
              </a:extLst>
            </p:cNvPr>
            <p:cNvSpPr/>
            <p:nvPr/>
          </p:nvSpPr>
          <p:spPr>
            <a:xfrm>
              <a:off x="5604611" y="5797854"/>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6" name="Rectangle 145">
              <a:extLst>
                <a:ext uri="{FF2B5EF4-FFF2-40B4-BE49-F238E27FC236}">
                  <a16:creationId xmlns:a16="http://schemas.microsoft.com/office/drawing/2014/main" id="{B2C4E260-0390-4C3C-B29D-AB4732D5F312}"/>
                </a:ext>
              </a:extLst>
            </p:cNvPr>
            <p:cNvSpPr/>
            <p:nvPr/>
          </p:nvSpPr>
          <p:spPr>
            <a:xfrm>
              <a:off x="5604611" y="6097210"/>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7" name="Rectangle 146">
              <a:extLst>
                <a:ext uri="{FF2B5EF4-FFF2-40B4-BE49-F238E27FC236}">
                  <a16:creationId xmlns:a16="http://schemas.microsoft.com/office/drawing/2014/main" id="{9CF30D03-0768-4F4A-876B-4064ADC4B962}"/>
                </a:ext>
              </a:extLst>
            </p:cNvPr>
            <p:cNvSpPr/>
            <p:nvPr/>
          </p:nvSpPr>
          <p:spPr>
            <a:xfrm>
              <a:off x="5611784" y="6412576"/>
              <a:ext cx="259806" cy="145054"/>
            </a:xfrm>
            <a:prstGeom prst="rect">
              <a:avLst/>
            </a:prstGeom>
            <a:solidFill>
              <a:schemeClr val="bg1">
                <a:lumMod val="95000"/>
              </a:schemeClr>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81" name="Group 80">
              <a:extLst>
                <a:ext uri="{FF2B5EF4-FFF2-40B4-BE49-F238E27FC236}">
                  <a16:creationId xmlns:a16="http://schemas.microsoft.com/office/drawing/2014/main" id="{BDE4CAF1-67FB-4A00-A957-F84932EF37EA}"/>
                </a:ext>
              </a:extLst>
            </p:cNvPr>
            <p:cNvGrpSpPr/>
            <p:nvPr/>
          </p:nvGrpSpPr>
          <p:grpSpPr>
            <a:xfrm>
              <a:off x="5805714" y="741596"/>
              <a:ext cx="580573" cy="386869"/>
              <a:chOff x="5805714" y="609691"/>
              <a:chExt cx="580573" cy="386869"/>
            </a:xfrm>
          </p:grpSpPr>
          <p:sp>
            <p:nvSpPr>
              <p:cNvPr id="82" name="Rectangle 81">
                <a:extLst>
                  <a:ext uri="{FF2B5EF4-FFF2-40B4-BE49-F238E27FC236}">
                    <a16:creationId xmlns:a16="http://schemas.microsoft.com/office/drawing/2014/main" id="{74C944AF-D50A-425E-A441-BD46E8CB9783}"/>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Arc 82">
                <a:extLst>
                  <a:ext uri="{FF2B5EF4-FFF2-40B4-BE49-F238E27FC236}">
                    <a16:creationId xmlns:a16="http://schemas.microsoft.com/office/drawing/2014/main" id="{AE95EC9D-DB78-417E-AF31-C543DE84C1EE}"/>
                  </a:ext>
                </a:extLst>
              </p:cNvPr>
              <p:cNvSpPr/>
              <p:nvPr/>
            </p:nvSpPr>
            <p:spPr>
              <a:xfrm>
                <a:off x="5805714" y="609691"/>
                <a:ext cx="410553" cy="386869"/>
              </a:xfrm>
              <a:prstGeom prst="arc">
                <a:avLst>
                  <a:gd name="adj1" fmla="val 107575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 name="Group 83">
              <a:extLst>
                <a:ext uri="{FF2B5EF4-FFF2-40B4-BE49-F238E27FC236}">
                  <a16:creationId xmlns:a16="http://schemas.microsoft.com/office/drawing/2014/main" id="{EC3E0684-8AE8-4214-BF7B-4AAB6B86F600}"/>
                </a:ext>
              </a:extLst>
            </p:cNvPr>
            <p:cNvGrpSpPr/>
            <p:nvPr/>
          </p:nvGrpSpPr>
          <p:grpSpPr>
            <a:xfrm>
              <a:off x="5805714" y="1052619"/>
              <a:ext cx="580573" cy="386869"/>
              <a:chOff x="5805714" y="609691"/>
              <a:chExt cx="580573" cy="386869"/>
            </a:xfrm>
          </p:grpSpPr>
          <p:sp>
            <p:nvSpPr>
              <p:cNvPr id="85" name="Rectangle 84">
                <a:extLst>
                  <a:ext uri="{FF2B5EF4-FFF2-40B4-BE49-F238E27FC236}">
                    <a16:creationId xmlns:a16="http://schemas.microsoft.com/office/drawing/2014/main" id="{CF8E04A3-B6B4-4F3C-BB6B-AF9929DDA237}"/>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Arc 85">
                <a:extLst>
                  <a:ext uri="{FF2B5EF4-FFF2-40B4-BE49-F238E27FC236}">
                    <a16:creationId xmlns:a16="http://schemas.microsoft.com/office/drawing/2014/main" id="{18A95974-DAB2-4BF8-9192-96278D1744CD}"/>
                  </a:ext>
                </a:extLst>
              </p:cNvPr>
              <p:cNvSpPr/>
              <p:nvPr/>
            </p:nvSpPr>
            <p:spPr>
              <a:xfrm>
                <a:off x="5805714" y="609691"/>
                <a:ext cx="410553" cy="386869"/>
              </a:xfrm>
              <a:prstGeom prst="arc">
                <a:avLst>
                  <a:gd name="adj1" fmla="val 1083048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7" name="Group 86">
              <a:extLst>
                <a:ext uri="{FF2B5EF4-FFF2-40B4-BE49-F238E27FC236}">
                  <a16:creationId xmlns:a16="http://schemas.microsoft.com/office/drawing/2014/main" id="{C97BDBFC-6DCF-4D05-9235-AF24FD08B7BA}"/>
                </a:ext>
              </a:extLst>
            </p:cNvPr>
            <p:cNvGrpSpPr/>
            <p:nvPr/>
          </p:nvGrpSpPr>
          <p:grpSpPr>
            <a:xfrm>
              <a:off x="5805714" y="1363642"/>
              <a:ext cx="580573" cy="386869"/>
              <a:chOff x="5805714" y="609691"/>
              <a:chExt cx="580573" cy="386869"/>
            </a:xfrm>
          </p:grpSpPr>
          <p:sp>
            <p:nvSpPr>
              <p:cNvPr id="88" name="Rectangle 87">
                <a:extLst>
                  <a:ext uri="{FF2B5EF4-FFF2-40B4-BE49-F238E27FC236}">
                    <a16:creationId xmlns:a16="http://schemas.microsoft.com/office/drawing/2014/main" id="{4AB8CE96-3DF3-4063-9F27-D4DB07BB75EF}"/>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Arc 88">
                <a:extLst>
                  <a:ext uri="{FF2B5EF4-FFF2-40B4-BE49-F238E27FC236}">
                    <a16:creationId xmlns:a16="http://schemas.microsoft.com/office/drawing/2014/main" id="{309BD817-14B6-4AA7-A1F6-6EAEFBC3A86F}"/>
                  </a:ext>
                </a:extLst>
              </p:cNvPr>
              <p:cNvSpPr/>
              <p:nvPr/>
            </p:nvSpPr>
            <p:spPr>
              <a:xfrm>
                <a:off x="5805714" y="609691"/>
                <a:ext cx="410553" cy="386869"/>
              </a:xfrm>
              <a:prstGeom prst="arc">
                <a:avLst>
                  <a:gd name="adj1" fmla="val 10809658"/>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C6951FED-2BD7-4859-B333-5B1CAEF8AB8D}"/>
                </a:ext>
              </a:extLst>
            </p:cNvPr>
            <p:cNvGrpSpPr/>
            <p:nvPr/>
          </p:nvGrpSpPr>
          <p:grpSpPr>
            <a:xfrm>
              <a:off x="5805714" y="1674665"/>
              <a:ext cx="580573" cy="386869"/>
              <a:chOff x="5805714" y="609691"/>
              <a:chExt cx="580573" cy="386869"/>
            </a:xfrm>
          </p:grpSpPr>
          <p:sp>
            <p:nvSpPr>
              <p:cNvPr id="91" name="Rectangle 90">
                <a:extLst>
                  <a:ext uri="{FF2B5EF4-FFF2-40B4-BE49-F238E27FC236}">
                    <a16:creationId xmlns:a16="http://schemas.microsoft.com/office/drawing/2014/main" id="{FE30C63D-F045-40E9-8C54-26DA5BDA0F4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Arc 91">
                <a:extLst>
                  <a:ext uri="{FF2B5EF4-FFF2-40B4-BE49-F238E27FC236}">
                    <a16:creationId xmlns:a16="http://schemas.microsoft.com/office/drawing/2014/main" id="{434A2720-2A66-40B1-AC7E-5C244C6E6EB9}"/>
                  </a:ext>
                </a:extLst>
              </p:cNvPr>
              <p:cNvSpPr/>
              <p:nvPr/>
            </p:nvSpPr>
            <p:spPr>
              <a:xfrm>
                <a:off x="5805714" y="609691"/>
                <a:ext cx="410553" cy="386869"/>
              </a:xfrm>
              <a:prstGeom prst="arc">
                <a:avLst>
                  <a:gd name="adj1" fmla="val 1087571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93" name="Group 92">
              <a:extLst>
                <a:ext uri="{FF2B5EF4-FFF2-40B4-BE49-F238E27FC236}">
                  <a16:creationId xmlns:a16="http://schemas.microsoft.com/office/drawing/2014/main" id="{3253887B-E245-4C89-84BB-C89576187B4D}"/>
                </a:ext>
              </a:extLst>
            </p:cNvPr>
            <p:cNvGrpSpPr/>
            <p:nvPr/>
          </p:nvGrpSpPr>
          <p:grpSpPr>
            <a:xfrm>
              <a:off x="5805714" y="1985688"/>
              <a:ext cx="580573" cy="386869"/>
              <a:chOff x="5805714" y="609691"/>
              <a:chExt cx="580573" cy="386869"/>
            </a:xfrm>
          </p:grpSpPr>
          <p:sp>
            <p:nvSpPr>
              <p:cNvPr id="94" name="Rectangle 93">
                <a:extLst>
                  <a:ext uri="{FF2B5EF4-FFF2-40B4-BE49-F238E27FC236}">
                    <a16:creationId xmlns:a16="http://schemas.microsoft.com/office/drawing/2014/main" id="{C2935527-C9EF-4950-89BB-EB1207B25EAD}"/>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Arc 94">
                <a:extLst>
                  <a:ext uri="{FF2B5EF4-FFF2-40B4-BE49-F238E27FC236}">
                    <a16:creationId xmlns:a16="http://schemas.microsoft.com/office/drawing/2014/main" id="{B885AD0D-2A97-4761-A7E2-81AE7730FF98}"/>
                  </a:ext>
                </a:extLst>
              </p:cNvPr>
              <p:cNvSpPr/>
              <p:nvPr/>
            </p:nvSpPr>
            <p:spPr>
              <a:xfrm>
                <a:off x="5805714" y="609691"/>
                <a:ext cx="410553" cy="386869"/>
              </a:xfrm>
              <a:prstGeom prst="arc">
                <a:avLst>
                  <a:gd name="adj1" fmla="val 1078249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6" name="Group 95">
              <a:extLst>
                <a:ext uri="{FF2B5EF4-FFF2-40B4-BE49-F238E27FC236}">
                  <a16:creationId xmlns:a16="http://schemas.microsoft.com/office/drawing/2014/main" id="{B20895E6-FBAD-4249-90F9-43369FD2080F}"/>
                </a:ext>
              </a:extLst>
            </p:cNvPr>
            <p:cNvGrpSpPr/>
            <p:nvPr/>
          </p:nvGrpSpPr>
          <p:grpSpPr>
            <a:xfrm>
              <a:off x="5805714" y="2296711"/>
              <a:ext cx="580573" cy="386869"/>
              <a:chOff x="5805714" y="609691"/>
              <a:chExt cx="580573" cy="386869"/>
            </a:xfrm>
          </p:grpSpPr>
          <p:sp>
            <p:nvSpPr>
              <p:cNvPr id="97" name="Rectangle 96">
                <a:extLst>
                  <a:ext uri="{FF2B5EF4-FFF2-40B4-BE49-F238E27FC236}">
                    <a16:creationId xmlns:a16="http://schemas.microsoft.com/office/drawing/2014/main" id="{416F99E9-E132-4AB6-9501-719E390B2951}"/>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Arc 97">
                <a:extLst>
                  <a:ext uri="{FF2B5EF4-FFF2-40B4-BE49-F238E27FC236}">
                    <a16:creationId xmlns:a16="http://schemas.microsoft.com/office/drawing/2014/main" id="{7BF41422-E1EF-4A49-906D-7C9E43200378}"/>
                  </a:ext>
                </a:extLst>
              </p:cNvPr>
              <p:cNvSpPr/>
              <p:nvPr/>
            </p:nvSpPr>
            <p:spPr>
              <a:xfrm>
                <a:off x="5805714" y="609691"/>
                <a:ext cx="410553" cy="386869"/>
              </a:xfrm>
              <a:prstGeom prst="arc">
                <a:avLst>
                  <a:gd name="adj1" fmla="val 1083791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9" name="Group 98">
              <a:extLst>
                <a:ext uri="{FF2B5EF4-FFF2-40B4-BE49-F238E27FC236}">
                  <a16:creationId xmlns:a16="http://schemas.microsoft.com/office/drawing/2014/main" id="{3A6C8FCE-3906-4A51-8C51-53A21458A79D}"/>
                </a:ext>
              </a:extLst>
            </p:cNvPr>
            <p:cNvGrpSpPr/>
            <p:nvPr/>
          </p:nvGrpSpPr>
          <p:grpSpPr>
            <a:xfrm>
              <a:off x="5805714" y="2607734"/>
              <a:ext cx="580573" cy="386869"/>
              <a:chOff x="5805714" y="609691"/>
              <a:chExt cx="580573" cy="386869"/>
            </a:xfrm>
          </p:grpSpPr>
          <p:sp>
            <p:nvSpPr>
              <p:cNvPr id="100" name="Rectangle 99">
                <a:extLst>
                  <a:ext uri="{FF2B5EF4-FFF2-40B4-BE49-F238E27FC236}">
                    <a16:creationId xmlns:a16="http://schemas.microsoft.com/office/drawing/2014/main" id="{01B7306C-C82A-4CBC-8810-B196E2B85FD9}"/>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Arc 100">
                <a:extLst>
                  <a:ext uri="{FF2B5EF4-FFF2-40B4-BE49-F238E27FC236}">
                    <a16:creationId xmlns:a16="http://schemas.microsoft.com/office/drawing/2014/main" id="{4309EB4B-A1C1-41B8-9E71-43E4632DE81A}"/>
                  </a:ext>
                </a:extLst>
              </p:cNvPr>
              <p:cNvSpPr/>
              <p:nvPr/>
            </p:nvSpPr>
            <p:spPr>
              <a:xfrm>
                <a:off x="5805714" y="609691"/>
                <a:ext cx="410553" cy="386869"/>
              </a:xfrm>
              <a:prstGeom prst="arc">
                <a:avLst>
                  <a:gd name="adj1" fmla="val 10817170"/>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2" name="Group 101">
              <a:extLst>
                <a:ext uri="{FF2B5EF4-FFF2-40B4-BE49-F238E27FC236}">
                  <a16:creationId xmlns:a16="http://schemas.microsoft.com/office/drawing/2014/main" id="{C74B4894-B5D2-4362-964C-D4DC0546060A}"/>
                </a:ext>
              </a:extLst>
            </p:cNvPr>
            <p:cNvGrpSpPr/>
            <p:nvPr/>
          </p:nvGrpSpPr>
          <p:grpSpPr>
            <a:xfrm>
              <a:off x="5805714" y="2918757"/>
              <a:ext cx="580573" cy="386869"/>
              <a:chOff x="5805714" y="609691"/>
              <a:chExt cx="580573" cy="386869"/>
            </a:xfrm>
          </p:grpSpPr>
          <p:sp>
            <p:nvSpPr>
              <p:cNvPr id="103" name="Rectangle 102">
                <a:extLst>
                  <a:ext uri="{FF2B5EF4-FFF2-40B4-BE49-F238E27FC236}">
                    <a16:creationId xmlns:a16="http://schemas.microsoft.com/office/drawing/2014/main" id="{DA95D981-4D5B-4F4F-8A82-69838938508F}"/>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Arc 103">
                <a:extLst>
                  <a:ext uri="{FF2B5EF4-FFF2-40B4-BE49-F238E27FC236}">
                    <a16:creationId xmlns:a16="http://schemas.microsoft.com/office/drawing/2014/main" id="{E4822634-A39A-4B0D-8399-883328FCA1EE}"/>
                  </a:ext>
                </a:extLst>
              </p:cNvPr>
              <p:cNvSpPr/>
              <p:nvPr/>
            </p:nvSpPr>
            <p:spPr>
              <a:xfrm>
                <a:off x="5805714" y="609691"/>
                <a:ext cx="410553" cy="386869"/>
              </a:xfrm>
              <a:prstGeom prst="arc">
                <a:avLst>
                  <a:gd name="adj1" fmla="val 1122047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5" name="Group 104">
              <a:extLst>
                <a:ext uri="{FF2B5EF4-FFF2-40B4-BE49-F238E27FC236}">
                  <a16:creationId xmlns:a16="http://schemas.microsoft.com/office/drawing/2014/main" id="{AC0C8900-7AAE-4DAD-9853-250BA8E46217}"/>
                </a:ext>
              </a:extLst>
            </p:cNvPr>
            <p:cNvGrpSpPr/>
            <p:nvPr/>
          </p:nvGrpSpPr>
          <p:grpSpPr>
            <a:xfrm>
              <a:off x="5805714" y="3229780"/>
              <a:ext cx="580573" cy="386869"/>
              <a:chOff x="5805714" y="609691"/>
              <a:chExt cx="580573" cy="386869"/>
            </a:xfrm>
          </p:grpSpPr>
          <p:sp>
            <p:nvSpPr>
              <p:cNvPr id="106" name="Rectangle 105">
                <a:extLst>
                  <a:ext uri="{FF2B5EF4-FFF2-40B4-BE49-F238E27FC236}">
                    <a16:creationId xmlns:a16="http://schemas.microsoft.com/office/drawing/2014/main" id="{8F16C3F5-5111-4385-95DB-684995C5DA9E}"/>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Arc 106">
                <a:extLst>
                  <a:ext uri="{FF2B5EF4-FFF2-40B4-BE49-F238E27FC236}">
                    <a16:creationId xmlns:a16="http://schemas.microsoft.com/office/drawing/2014/main" id="{C8E4EC42-A513-472E-AE69-66EF8F71937C}"/>
                  </a:ext>
                </a:extLst>
              </p:cNvPr>
              <p:cNvSpPr/>
              <p:nvPr/>
            </p:nvSpPr>
            <p:spPr>
              <a:xfrm>
                <a:off x="5805714" y="609691"/>
                <a:ext cx="410553" cy="386869"/>
              </a:xfrm>
              <a:prstGeom prst="arc">
                <a:avLst>
                  <a:gd name="adj1" fmla="val 1064800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8" name="Group 107">
              <a:extLst>
                <a:ext uri="{FF2B5EF4-FFF2-40B4-BE49-F238E27FC236}">
                  <a16:creationId xmlns:a16="http://schemas.microsoft.com/office/drawing/2014/main" id="{B9DF2A69-06AC-4DC9-B6C7-9A1B9D012585}"/>
                </a:ext>
              </a:extLst>
            </p:cNvPr>
            <p:cNvGrpSpPr/>
            <p:nvPr/>
          </p:nvGrpSpPr>
          <p:grpSpPr>
            <a:xfrm>
              <a:off x="5805714" y="3540803"/>
              <a:ext cx="580573" cy="386869"/>
              <a:chOff x="5805714" y="609691"/>
              <a:chExt cx="580573" cy="386869"/>
            </a:xfrm>
          </p:grpSpPr>
          <p:sp>
            <p:nvSpPr>
              <p:cNvPr id="109" name="Rectangle 108">
                <a:extLst>
                  <a:ext uri="{FF2B5EF4-FFF2-40B4-BE49-F238E27FC236}">
                    <a16:creationId xmlns:a16="http://schemas.microsoft.com/office/drawing/2014/main" id="{66D59475-186E-4F7A-A501-ABEDCC08DC98}"/>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Arc 109">
                <a:extLst>
                  <a:ext uri="{FF2B5EF4-FFF2-40B4-BE49-F238E27FC236}">
                    <a16:creationId xmlns:a16="http://schemas.microsoft.com/office/drawing/2014/main" id="{55C929AA-C5D4-4A29-94FC-BF99C03F9430}"/>
                  </a:ext>
                </a:extLst>
              </p:cNvPr>
              <p:cNvSpPr/>
              <p:nvPr/>
            </p:nvSpPr>
            <p:spPr>
              <a:xfrm>
                <a:off x="5805714" y="609691"/>
                <a:ext cx="410553" cy="386869"/>
              </a:xfrm>
              <a:prstGeom prst="arc">
                <a:avLst>
                  <a:gd name="adj1" fmla="val 1090146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26F5DDE8-77F1-4A19-9A73-FA16AD387091}"/>
                </a:ext>
              </a:extLst>
            </p:cNvPr>
            <p:cNvGrpSpPr/>
            <p:nvPr/>
          </p:nvGrpSpPr>
          <p:grpSpPr>
            <a:xfrm>
              <a:off x="5805714" y="3851826"/>
              <a:ext cx="580573" cy="386869"/>
              <a:chOff x="5805714" y="609691"/>
              <a:chExt cx="580573" cy="386869"/>
            </a:xfrm>
          </p:grpSpPr>
          <p:sp>
            <p:nvSpPr>
              <p:cNvPr id="112" name="Rectangle 111">
                <a:extLst>
                  <a:ext uri="{FF2B5EF4-FFF2-40B4-BE49-F238E27FC236}">
                    <a16:creationId xmlns:a16="http://schemas.microsoft.com/office/drawing/2014/main" id="{3975D25C-1E30-46E2-BA99-3037ADE3170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Arc 112">
                <a:extLst>
                  <a:ext uri="{FF2B5EF4-FFF2-40B4-BE49-F238E27FC236}">
                    <a16:creationId xmlns:a16="http://schemas.microsoft.com/office/drawing/2014/main" id="{5489E9B8-DC06-4350-B467-61A9DA0B02A7}"/>
                  </a:ext>
                </a:extLst>
              </p:cNvPr>
              <p:cNvSpPr/>
              <p:nvPr/>
            </p:nvSpPr>
            <p:spPr>
              <a:xfrm>
                <a:off x="5805714" y="609691"/>
                <a:ext cx="410553" cy="386869"/>
              </a:xfrm>
              <a:prstGeom prst="arc">
                <a:avLst>
                  <a:gd name="adj1" fmla="val 11023282"/>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0375CE18-5EC1-4881-8142-DC1BC91AD094}"/>
                </a:ext>
              </a:extLst>
            </p:cNvPr>
            <p:cNvGrpSpPr/>
            <p:nvPr/>
          </p:nvGrpSpPr>
          <p:grpSpPr>
            <a:xfrm>
              <a:off x="5805714" y="4162849"/>
              <a:ext cx="580573" cy="386869"/>
              <a:chOff x="5805714" y="609691"/>
              <a:chExt cx="580573" cy="386869"/>
            </a:xfrm>
          </p:grpSpPr>
          <p:sp>
            <p:nvSpPr>
              <p:cNvPr id="115" name="Rectangle 114">
                <a:extLst>
                  <a:ext uri="{FF2B5EF4-FFF2-40B4-BE49-F238E27FC236}">
                    <a16:creationId xmlns:a16="http://schemas.microsoft.com/office/drawing/2014/main" id="{10A76D25-919A-40D9-9554-EFE2D3956BE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Arc 115">
                <a:extLst>
                  <a:ext uri="{FF2B5EF4-FFF2-40B4-BE49-F238E27FC236}">
                    <a16:creationId xmlns:a16="http://schemas.microsoft.com/office/drawing/2014/main" id="{F541D253-66CC-4C59-909C-302800ABEEFC}"/>
                  </a:ext>
                </a:extLst>
              </p:cNvPr>
              <p:cNvSpPr/>
              <p:nvPr/>
            </p:nvSpPr>
            <p:spPr>
              <a:xfrm>
                <a:off x="5805714" y="609691"/>
                <a:ext cx="410553" cy="386869"/>
              </a:xfrm>
              <a:prstGeom prst="arc">
                <a:avLst>
                  <a:gd name="adj1" fmla="val 11168103"/>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D86A99F9-8CBA-4BBB-88F7-14582E27C64C}"/>
                </a:ext>
              </a:extLst>
            </p:cNvPr>
            <p:cNvGrpSpPr/>
            <p:nvPr/>
          </p:nvGrpSpPr>
          <p:grpSpPr>
            <a:xfrm>
              <a:off x="5805714" y="4473872"/>
              <a:ext cx="580573" cy="386869"/>
              <a:chOff x="5805714" y="609691"/>
              <a:chExt cx="580573" cy="386869"/>
            </a:xfrm>
          </p:grpSpPr>
          <p:sp>
            <p:nvSpPr>
              <p:cNvPr id="118" name="Rectangle 117">
                <a:extLst>
                  <a:ext uri="{FF2B5EF4-FFF2-40B4-BE49-F238E27FC236}">
                    <a16:creationId xmlns:a16="http://schemas.microsoft.com/office/drawing/2014/main" id="{16259704-CA38-4525-8489-D1FECD12BDBC}"/>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Arc 118">
                <a:extLst>
                  <a:ext uri="{FF2B5EF4-FFF2-40B4-BE49-F238E27FC236}">
                    <a16:creationId xmlns:a16="http://schemas.microsoft.com/office/drawing/2014/main" id="{40F4FCA1-5992-49D0-8CE6-8488CF6BAF04}"/>
                  </a:ext>
                </a:extLst>
              </p:cNvPr>
              <p:cNvSpPr/>
              <p:nvPr/>
            </p:nvSpPr>
            <p:spPr>
              <a:xfrm>
                <a:off x="5805714" y="609691"/>
                <a:ext cx="410553" cy="386869"/>
              </a:xfrm>
              <a:prstGeom prst="arc">
                <a:avLst>
                  <a:gd name="adj1" fmla="val 11188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0" name="Group 119">
              <a:extLst>
                <a:ext uri="{FF2B5EF4-FFF2-40B4-BE49-F238E27FC236}">
                  <a16:creationId xmlns:a16="http://schemas.microsoft.com/office/drawing/2014/main" id="{F5C59377-7214-4209-BA16-86D5D1DAE2B0}"/>
                </a:ext>
              </a:extLst>
            </p:cNvPr>
            <p:cNvGrpSpPr/>
            <p:nvPr/>
          </p:nvGrpSpPr>
          <p:grpSpPr>
            <a:xfrm>
              <a:off x="5805714" y="4784895"/>
              <a:ext cx="580573" cy="386869"/>
              <a:chOff x="5805714" y="609691"/>
              <a:chExt cx="580573" cy="386869"/>
            </a:xfrm>
          </p:grpSpPr>
          <p:sp>
            <p:nvSpPr>
              <p:cNvPr id="121" name="Rectangle 120">
                <a:extLst>
                  <a:ext uri="{FF2B5EF4-FFF2-40B4-BE49-F238E27FC236}">
                    <a16:creationId xmlns:a16="http://schemas.microsoft.com/office/drawing/2014/main" id="{959A5D35-C7AE-458F-BBB5-71CD3A3F97F8}"/>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Arc 121">
                <a:extLst>
                  <a:ext uri="{FF2B5EF4-FFF2-40B4-BE49-F238E27FC236}">
                    <a16:creationId xmlns:a16="http://schemas.microsoft.com/office/drawing/2014/main" id="{F490A229-65A6-4DFF-870F-4B92A114A66A}"/>
                  </a:ext>
                </a:extLst>
              </p:cNvPr>
              <p:cNvSpPr/>
              <p:nvPr/>
            </p:nvSpPr>
            <p:spPr>
              <a:xfrm>
                <a:off x="5805714" y="609691"/>
                <a:ext cx="410553" cy="386869"/>
              </a:xfrm>
              <a:prstGeom prst="arc">
                <a:avLst>
                  <a:gd name="adj1" fmla="val 11146438"/>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3" name="Group 122">
              <a:extLst>
                <a:ext uri="{FF2B5EF4-FFF2-40B4-BE49-F238E27FC236}">
                  <a16:creationId xmlns:a16="http://schemas.microsoft.com/office/drawing/2014/main" id="{9EC6FFFF-2006-4366-8566-0113AD9F036A}"/>
                </a:ext>
              </a:extLst>
            </p:cNvPr>
            <p:cNvGrpSpPr/>
            <p:nvPr/>
          </p:nvGrpSpPr>
          <p:grpSpPr>
            <a:xfrm>
              <a:off x="5805714" y="5095918"/>
              <a:ext cx="580573" cy="386869"/>
              <a:chOff x="5805714" y="609691"/>
              <a:chExt cx="580573" cy="386869"/>
            </a:xfrm>
          </p:grpSpPr>
          <p:sp>
            <p:nvSpPr>
              <p:cNvPr id="124" name="Rectangle 123">
                <a:extLst>
                  <a:ext uri="{FF2B5EF4-FFF2-40B4-BE49-F238E27FC236}">
                    <a16:creationId xmlns:a16="http://schemas.microsoft.com/office/drawing/2014/main" id="{595E399E-0521-4D5B-914F-29C3ADDF2B72}"/>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Arc 124">
                <a:extLst>
                  <a:ext uri="{FF2B5EF4-FFF2-40B4-BE49-F238E27FC236}">
                    <a16:creationId xmlns:a16="http://schemas.microsoft.com/office/drawing/2014/main" id="{14739334-2472-4756-B880-7780C40DA407}"/>
                  </a:ext>
                </a:extLst>
              </p:cNvPr>
              <p:cNvSpPr/>
              <p:nvPr/>
            </p:nvSpPr>
            <p:spPr>
              <a:xfrm>
                <a:off x="5805714" y="609691"/>
                <a:ext cx="410553" cy="386869"/>
              </a:xfrm>
              <a:prstGeom prst="arc">
                <a:avLst>
                  <a:gd name="adj1" fmla="val 1112251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6" name="Group 125">
              <a:extLst>
                <a:ext uri="{FF2B5EF4-FFF2-40B4-BE49-F238E27FC236}">
                  <a16:creationId xmlns:a16="http://schemas.microsoft.com/office/drawing/2014/main" id="{6D7FEFCF-F5E2-48A4-8DA2-466E3FA530E8}"/>
                </a:ext>
              </a:extLst>
            </p:cNvPr>
            <p:cNvGrpSpPr/>
            <p:nvPr/>
          </p:nvGrpSpPr>
          <p:grpSpPr>
            <a:xfrm>
              <a:off x="5805714" y="5406941"/>
              <a:ext cx="580573" cy="386869"/>
              <a:chOff x="5805714" y="609691"/>
              <a:chExt cx="580573" cy="386869"/>
            </a:xfrm>
          </p:grpSpPr>
          <p:sp>
            <p:nvSpPr>
              <p:cNvPr id="127" name="Rectangle 126">
                <a:extLst>
                  <a:ext uri="{FF2B5EF4-FFF2-40B4-BE49-F238E27FC236}">
                    <a16:creationId xmlns:a16="http://schemas.microsoft.com/office/drawing/2014/main" id="{5B8C7798-2FB8-447C-BA5C-ECB75C74E5AD}"/>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Arc 127">
                <a:extLst>
                  <a:ext uri="{FF2B5EF4-FFF2-40B4-BE49-F238E27FC236}">
                    <a16:creationId xmlns:a16="http://schemas.microsoft.com/office/drawing/2014/main" id="{DDFE7CA2-AC7D-4CF0-A779-1F7EC6161969}"/>
                  </a:ext>
                </a:extLst>
              </p:cNvPr>
              <p:cNvSpPr/>
              <p:nvPr/>
            </p:nvSpPr>
            <p:spPr>
              <a:xfrm>
                <a:off x="5805714" y="609691"/>
                <a:ext cx="410553" cy="386869"/>
              </a:xfrm>
              <a:prstGeom prst="arc">
                <a:avLst>
                  <a:gd name="adj1" fmla="val 1087916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9" name="Group 128">
              <a:extLst>
                <a:ext uri="{FF2B5EF4-FFF2-40B4-BE49-F238E27FC236}">
                  <a16:creationId xmlns:a16="http://schemas.microsoft.com/office/drawing/2014/main" id="{EF6B5FAD-EB1F-43DC-8B99-11CAD21D64C9}"/>
                </a:ext>
              </a:extLst>
            </p:cNvPr>
            <p:cNvGrpSpPr/>
            <p:nvPr/>
          </p:nvGrpSpPr>
          <p:grpSpPr>
            <a:xfrm>
              <a:off x="5805714" y="5717964"/>
              <a:ext cx="611054" cy="386869"/>
              <a:chOff x="5805714" y="609691"/>
              <a:chExt cx="611054" cy="386869"/>
            </a:xfrm>
          </p:grpSpPr>
          <p:sp>
            <p:nvSpPr>
              <p:cNvPr id="130" name="Rectangle 129">
                <a:extLst>
                  <a:ext uri="{FF2B5EF4-FFF2-40B4-BE49-F238E27FC236}">
                    <a16:creationId xmlns:a16="http://schemas.microsoft.com/office/drawing/2014/main" id="{B817890A-729D-4FBB-8EF7-DAFD6F73427B}"/>
                  </a:ext>
                </a:extLst>
              </p:cNvPr>
              <p:cNvSpPr/>
              <p:nvPr/>
            </p:nvSpPr>
            <p:spPr>
              <a:xfrm>
                <a:off x="6156962" y="666847"/>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Arc 130">
                <a:extLst>
                  <a:ext uri="{FF2B5EF4-FFF2-40B4-BE49-F238E27FC236}">
                    <a16:creationId xmlns:a16="http://schemas.microsoft.com/office/drawing/2014/main" id="{EAD6132E-2435-4771-A3CC-CCE94E7A9600}"/>
                  </a:ext>
                </a:extLst>
              </p:cNvPr>
              <p:cNvSpPr/>
              <p:nvPr/>
            </p:nvSpPr>
            <p:spPr>
              <a:xfrm>
                <a:off x="5805714" y="609691"/>
                <a:ext cx="410553" cy="386869"/>
              </a:xfrm>
              <a:prstGeom prst="arc">
                <a:avLst>
                  <a:gd name="adj1" fmla="val 1099240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Group 131">
              <a:extLst>
                <a:ext uri="{FF2B5EF4-FFF2-40B4-BE49-F238E27FC236}">
                  <a16:creationId xmlns:a16="http://schemas.microsoft.com/office/drawing/2014/main" id="{2B7006E1-B188-46BA-BAA5-15A960905F4C}"/>
                </a:ext>
              </a:extLst>
            </p:cNvPr>
            <p:cNvGrpSpPr/>
            <p:nvPr/>
          </p:nvGrpSpPr>
          <p:grpSpPr>
            <a:xfrm>
              <a:off x="5805714" y="6028987"/>
              <a:ext cx="580573" cy="386869"/>
              <a:chOff x="5805714" y="609691"/>
              <a:chExt cx="580573" cy="386869"/>
            </a:xfrm>
          </p:grpSpPr>
          <p:sp>
            <p:nvSpPr>
              <p:cNvPr id="133" name="Rectangle 132">
                <a:extLst>
                  <a:ext uri="{FF2B5EF4-FFF2-40B4-BE49-F238E27FC236}">
                    <a16:creationId xmlns:a16="http://schemas.microsoft.com/office/drawing/2014/main" id="{D01250CF-AFA1-4A19-B3C7-7F163609380B}"/>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c 133">
                <a:extLst>
                  <a:ext uri="{FF2B5EF4-FFF2-40B4-BE49-F238E27FC236}">
                    <a16:creationId xmlns:a16="http://schemas.microsoft.com/office/drawing/2014/main" id="{1014BA5C-C370-44EB-84DA-2D69E36CE6C3}"/>
                  </a:ext>
                </a:extLst>
              </p:cNvPr>
              <p:cNvSpPr/>
              <p:nvPr/>
            </p:nvSpPr>
            <p:spPr>
              <a:xfrm>
                <a:off x="5805714" y="609691"/>
                <a:ext cx="410553" cy="386869"/>
              </a:xfrm>
              <a:prstGeom prst="arc">
                <a:avLst>
                  <a:gd name="adj1" fmla="val 11197210"/>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Group 134">
              <a:extLst>
                <a:ext uri="{FF2B5EF4-FFF2-40B4-BE49-F238E27FC236}">
                  <a16:creationId xmlns:a16="http://schemas.microsoft.com/office/drawing/2014/main" id="{AD8CB7E5-EBC4-4791-B93B-D0B41B862B83}"/>
                </a:ext>
              </a:extLst>
            </p:cNvPr>
            <p:cNvGrpSpPr/>
            <p:nvPr/>
          </p:nvGrpSpPr>
          <p:grpSpPr>
            <a:xfrm>
              <a:off x="5805714" y="6340004"/>
              <a:ext cx="580573" cy="386869"/>
              <a:chOff x="5805714" y="609691"/>
              <a:chExt cx="580573" cy="386869"/>
            </a:xfrm>
          </p:grpSpPr>
          <p:sp>
            <p:nvSpPr>
              <p:cNvPr id="136" name="Rectangle 135">
                <a:extLst>
                  <a:ext uri="{FF2B5EF4-FFF2-40B4-BE49-F238E27FC236}">
                    <a16:creationId xmlns:a16="http://schemas.microsoft.com/office/drawing/2014/main" id="{CF456FF3-391C-4C8E-A128-A413BDBBB225}"/>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c 136">
                <a:extLst>
                  <a:ext uri="{FF2B5EF4-FFF2-40B4-BE49-F238E27FC236}">
                    <a16:creationId xmlns:a16="http://schemas.microsoft.com/office/drawing/2014/main" id="{8838FE2A-04D7-44E3-97C3-54338832CB9A}"/>
                  </a:ext>
                </a:extLst>
              </p:cNvPr>
              <p:cNvSpPr/>
              <p:nvPr/>
            </p:nvSpPr>
            <p:spPr>
              <a:xfrm>
                <a:off x="5805714" y="609691"/>
                <a:ext cx="410553" cy="386869"/>
              </a:xfrm>
              <a:prstGeom prst="arc">
                <a:avLst>
                  <a:gd name="adj1" fmla="val 1112980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21" name="TextBox 20">
            <a:extLst>
              <a:ext uri="{FF2B5EF4-FFF2-40B4-BE49-F238E27FC236}">
                <a16:creationId xmlns:a16="http://schemas.microsoft.com/office/drawing/2014/main" id="{A965834C-80E1-4270-9F5A-A3582A7BB7F7}"/>
              </a:ext>
            </a:extLst>
          </p:cNvPr>
          <p:cNvSpPr txBox="1"/>
          <p:nvPr/>
        </p:nvSpPr>
        <p:spPr>
          <a:xfrm>
            <a:off x="6416768" y="430573"/>
            <a:ext cx="2278250" cy="461665"/>
          </a:xfrm>
          <a:prstGeom prst="rect">
            <a:avLst/>
          </a:prstGeom>
          <a:noFill/>
        </p:spPr>
        <p:txBody>
          <a:bodyPr wrap="square" rtlCol="0">
            <a:spAutoFit/>
          </a:bodyPr>
          <a:lstStyle/>
          <a:p>
            <a:r>
              <a:rPr lang="en-US" sz="2400" dirty="0">
                <a:latin typeface="Hand Of Sean" panose="02000500000000000000" pitchFamily="2" charset="-128"/>
                <a:ea typeface="Hand Of Sean" panose="02000500000000000000" pitchFamily="2" charset="-128"/>
              </a:rPr>
              <a:t>Topic 1</a:t>
            </a:r>
          </a:p>
        </p:txBody>
      </p:sp>
      <p:sp>
        <p:nvSpPr>
          <p:cNvPr id="22" name="TextBox 21">
            <a:extLst>
              <a:ext uri="{FF2B5EF4-FFF2-40B4-BE49-F238E27FC236}">
                <a16:creationId xmlns:a16="http://schemas.microsoft.com/office/drawing/2014/main" id="{77554162-8FC4-47E5-A14D-FAA80F7E6F08}"/>
              </a:ext>
            </a:extLst>
          </p:cNvPr>
          <p:cNvSpPr txBox="1"/>
          <p:nvPr/>
        </p:nvSpPr>
        <p:spPr>
          <a:xfrm>
            <a:off x="6525826" y="1206858"/>
            <a:ext cx="4963748" cy="2704587"/>
          </a:xfrm>
          <a:prstGeom prst="rect">
            <a:avLst/>
          </a:prstGeom>
          <a:noFill/>
        </p:spPr>
        <p:txBody>
          <a:bodyPr wrap="square" rtlCol="0">
            <a:spAutoFit/>
          </a:bodyPr>
          <a:lstStyle/>
          <a:p>
            <a:pPr>
              <a:lnSpc>
                <a:spcPct val="250000"/>
              </a:lnSpc>
            </a:pPr>
            <a:r>
              <a:rPr lang="en-US" sz="1400" dirty="0">
                <a:latin typeface="Hand Of Sean" panose="02000500000000000000" pitchFamily="2" charset="-128"/>
                <a:ea typeface="Hand Of Sean" panose="02000500000000000000" pitchFamily="2" charset="-128"/>
              </a:rPr>
              <a:t>Lorem ipsum dolor sit amet, consectetuer adipiscing elit. Maecenas porttitor congue massa. Fusce posuere, magna sed pulvinar ultricies, purus lectus malesuada libero, sit amet commodo magna eros quis urna.</a:t>
            </a:r>
          </a:p>
          <a:p>
            <a:pPr>
              <a:lnSpc>
                <a:spcPct val="250000"/>
              </a:lnSpc>
            </a:pPr>
            <a:endParaRPr lang="en-US" sz="1400" dirty="0">
              <a:latin typeface="Hand Of Sean" panose="02000500000000000000" pitchFamily="2" charset="-128"/>
              <a:ea typeface="Hand Of Sean" panose="02000500000000000000" pitchFamily="2" charset="-128"/>
            </a:endParaRPr>
          </a:p>
        </p:txBody>
      </p:sp>
      <p:sp>
        <p:nvSpPr>
          <p:cNvPr id="8" name="TextBox 7">
            <a:extLst>
              <a:ext uri="{FF2B5EF4-FFF2-40B4-BE49-F238E27FC236}">
                <a16:creationId xmlns:a16="http://schemas.microsoft.com/office/drawing/2014/main" id="{4EC4A7FD-C53D-4EE0-A6F5-07E698E38663}"/>
              </a:ext>
            </a:extLst>
          </p:cNvPr>
          <p:cNvSpPr txBox="1"/>
          <p:nvPr/>
        </p:nvSpPr>
        <p:spPr>
          <a:xfrm>
            <a:off x="6600409" y="493622"/>
            <a:ext cx="4369462" cy="830997"/>
          </a:xfrm>
          <a:prstGeom prst="rect">
            <a:avLst/>
          </a:prstGeom>
          <a:noFill/>
        </p:spPr>
        <p:txBody>
          <a:bodyPr wrap="square" rtlCol="0">
            <a:spAutoFit/>
            <a:scene3d>
              <a:camera prst="orthographicFront"/>
              <a:lightRig rig="soft" dir="t">
                <a:rot lat="0" lon="0" rev="15600000"/>
              </a:lightRig>
            </a:scene3d>
            <a:sp3d extrusionH="57150" prstMaterial="softEdge">
              <a:bevelT w="25400" h="38100"/>
            </a:sp3d>
          </a:bodyPr>
          <a:lstStyle/>
          <a:p>
            <a:r>
              <a:rPr lang="en-US" sz="2400" b="1" dirty="0">
                <a:ln/>
                <a:solidFill>
                  <a:schemeClr val="accent4"/>
                </a:solidFill>
              </a:rPr>
              <a:t>Origin Of C &amp; D waste Recycling</a:t>
            </a:r>
          </a:p>
        </p:txBody>
      </p:sp>
      <p:sp>
        <p:nvSpPr>
          <p:cNvPr id="162" name="TextBox 161">
            <a:extLst>
              <a:ext uri="{FF2B5EF4-FFF2-40B4-BE49-F238E27FC236}">
                <a16:creationId xmlns:a16="http://schemas.microsoft.com/office/drawing/2014/main" id="{D606A581-F6B6-4CB1-BCC0-C4BD47B149D4}"/>
              </a:ext>
            </a:extLst>
          </p:cNvPr>
          <p:cNvSpPr txBox="1"/>
          <p:nvPr/>
        </p:nvSpPr>
        <p:spPr>
          <a:xfrm>
            <a:off x="6395851" y="1698638"/>
            <a:ext cx="4963748" cy="4317144"/>
          </a:xfrm>
          <a:prstGeom prst="rect">
            <a:avLst/>
          </a:prstGeom>
          <a:noFill/>
        </p:spPr>
        <p:txBody>
          <a:bodyPr wrap="square" rtlCol="0">
            <a:spAutoFit/>
          </a:bodyPr>
          <a:lstStyle/>
          <a:p>
            <a:pPr>
              <a:lnSpc>
                <a:spcPct val="250000"/>
              </a:lnSpc>
            </a:pPr>
            <a:r>
              <a:rPr lang="en-US" sz="1400" b="1" dirty="0">
                <a:solidFill>
                  <a:schemeClr val="bg1"/>
                </a:solidFill>
              </a:rPr>
              <a:t>In some regions of USA and Europe, where resources for concrete are scarce, recycling of C&amp;DW was first introduced in early 1970s. In 1980s, due to the scarcity of landfills and the growing awareness of the pollution </a:t>
            </a:r>
          </a:p>
          <a:p>
            <a:pPr>
              <a:lnSpc>
                <a:spcPct val="250000"/>
              </a:lnSpc>
            </a:pPr>
            <a:r>
              <a:rPr lang="en-US" sz="1400" b="1" dirty="0">
                <a:solidFill>
                  <a:schemeClr val="bg1"/>
                </a:solidFill>
              </a:rPr>
              <a:t>and resource potential of C&amp;D Waste was known.</a:t>
            </a:r>
          </a:p>
          <a:p>
            <a:pPr>
              <a:lnSpc>
                <a:spcPct val="250000"/>
              </a:lnSpc>
            </a:pPr>
            <a:endParaRPr lang="en-US" sz="1400" dirty="0">
              <a:solidFill>
                <a:schemeClr val="bg1"/>
              </a:solidFill>
            </a:endParaRPr>
          </a:p>
          <a:p>
            <a:pPr>
              <a:lnSpc>
                <a:spcPct val="250000"/>
              </a:lnSpc>
            </a:pPr>
            <a:endParaRPr lang="en-US" sz="1400" dirty="0">
              <a:solidFill>
                <a:srgbClr val="0070C0"/>
              </a:solidFill>
              <a:latin typeface="Hand Of Sean" panose="02000500000000000000" pitchFamily="2" charset="-128"/>
              <a:ea typeface="Hand Of Sean" panose="02000500000000000000" pitchFamily="2" charset="-128"/>
            </a:endParaRPr>
          </a:p>
          <a:p>
            <a:pPr>
              <a:lnSpc>
                <a:spcPct val="250000"/>
              </a:lnSpc>
            </a:pPr>
            <a:endParaRPr lang="en-US" sz="1400" dirty="0">
              <a:solidFill>
                <a:srgbClr val="0070C0"/>
              </a:solidFill>
              <a:latin typeface="Hand Of Sean" panose="02000500000000000000" pitchFamily="2" charset="-128"/>
              <a:ea typeface="Hand Of Sean" panose="02000500000000000000" pitchFamily="2" charset="-128"/>
            </a:endParaRPr>
          </a:p>
        </p:txBody>
      </p:sp>
    </p:spTree>
    <p:extLst>
      <p:ext uri="{BB962C8B-B14F-4D97-AF65-F5344CB8AC3E}">
        <p14:creationId xmlns:p14="http://schemas.microsoft.com/office/powerpoint/2010/main" val="54505784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C03955BB-E41C-4E77-BB48-325360470229}"/>
              </a:ext>
            </a:extLst>
          </p:cNvPr>
          <p:cNvSpPr/>
          <p:nvPr/>
        </p:nvSpPr>
        <p:spPr>
          <a:xfrm>
            <a:off x="275044" y="-5786"/>
            <a:ext cx="5681417" cy="6858000"/>
          </a:xfrm>
          <a:prstGeom prst="rect">
            <a:avLst/>
          </a:prstGeom>
          <a:blipFill>
            <a:blip r:embed="rId2"/>
            <a:stretch>
              <a:fillRect/>
            </a:stretch>
          </a:blipFill>
          <a:ln>
            <a:noFill/>
          </a:ln>
          <a:effectLst>
            <a:outerShdw blurRad="50800" dist="889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3F222A8-AF2A-4292-8A95-0C3AD37A109D}"/>
              </a:ext>
            </a:extLst>
          </p:cNvPr>
          <p:cNvSpPr/>
          <p:nvPr/>
        </p:nvSpPr>
        <p:spPr>
          <a:xfrm>
            <a:off x="6096000" y="0"/>
            <a:ext cx="5660571" cy="6858000"/>
          </a:xfrm>
          <a:prstGeom prst="rect">
            <a:avLst/>
          </a:prstGeom>
          <a:blipFill>
            <a:blip r:embed="rId2"/>
            <a:stretch>
              <a:fillRect/>
            </a:stretch>
          </a:blipFill>
          <a:ln>
            <a:noFill/>
          </a:ln>
          <a:effectLst>
            <a:outerShdw blurRad="50800" dist="762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0" name="Group 189">
            <a:extLst>
              <a:ext uri="{FF2B5EF4-FFF2-40B4-BE49-F238E27FC236}">
                <a16:creationId xmlns:a16="http://schemas.microsoft.com/office/drawing/2014/main" id="{B1C4F1B1-18D1-4F24-A7B4-A913BFFF45E6}"/>
              </a:ext>
            </a:extLst>
          </p:cNvPr>
          <p:cNvGrpSpPr/>
          <p:nvPr/>
        </p:nvGrpSpPr>
        <p:grpSpPr>
          <a:xfrm>
            <a:off x="6096000" y="119550"/>
            <a:ext cx="5574535" cy="6778315"/>
            <a:chOff x="6096000" y="119550"/>
            <a:chExt cx="5574535" cy="6778315"/>
          </a:xfrm>
        </p:grpSpPr>
        <p:sp>
          <p:nvSpPr>
            <p:cNvPr id="191" name="Rectangle 190">
              <a:extLst>
                <a:ext uri="{FF2B5EF4-FFF2-40B4-BE49-F238E27FC236}">
                  <a16:creationId xmlns:a16="http://schemas.microsoft.com/office/drawing/2014/main" id="{479DEB60-7570-45B4-8336-36827F8A3ED2}"/>
                </a:ext>
              </a:extLst>
            </p:cNvPr>
            <p:cNvSpPr/>
            <p:nvPr/>
          </p:nvSpPr>
          <p:spPr>
            <a:xfrm>
              <a:off x="11148331" y="4069452"/>
              <a:ext cx="522204" cy="2657736"/>
            </a:xfrm>
            <a:prstGeom prst="rect">
              <a:avLst/>
            </a:prstGeom>
            <a:solidFill>
              <a:srgbClr val="FF3399"/>
            </a:solidFill>
            <a:ln>
              <a:no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2" name="Freeform: Shape 191">
              <a:extLst>
                <a:ext uri="{FF2B5EF4-FFF2-40B4-BE49-F238E27FC236}">
                  <a16:creationId xmlns:a16="http://schemas.microsoft.com/office/drawing/2014/main" id="{1F0B4A1C-B94A-47CE-AED1-2D2A4BE4CFF9}"/>
                </a:ext>
              </a:extLst>
            </p:cNvPr>
            <p:cNvSpPr/>
            <p:nvPr/>
          </p:nvSpPr>
          <p:spPr>
            <a:xfrm>
              <a:off x="6128872" y="119550"/>
              <a:ext cx="5395162" cy="6607323"/>
            </a:xfrm>
            <a:custGeom>
              <a:avLst/>
              <a:gdLst>
                <a:gd name="connsiteX0" fmla="*/ 0 w 5395162"/>
                <a:gd name="connsiteY0" fmla="*/ 0 h 6607323"/>
                <a:gd name="connsiteX1" fmla="*/ 5395162 w 5395162"/>
                <a:gd name="connsiteY1" fmla="*/ 0 h 6607323"/>
                <a:gd name="connsiteX2" fmla="*/ 5395162 w 5395162"/>
                <a:gd name="connsiteY2" fmla="*/ 3949902 h 6607323"/>
                <a:gd name="connsiteX3" fmla="*/ 5230980 w 5395162"/>
                <a:gd name="connsiteY3" fmla="*/ 3949902 h 6607323"/>
                <a:gd name="connsiteX4" fmla="*/ 5032614 w 5395162"/>
                <a:gd name="connsiteY4" fmla="*/ 4148268 h 6607323"/>
                <a:gd name="connsiteX5" fmla="*/ 5032614 w 5395162"/>
                <a:gd name="connsiteY5" fmla="*/ 6607209 h 6607323"/>
                <a:gd name="connsiteX6" fmla="*/ 5032625 w 5395162"/>
                <a:gd name="connsiteY6" fmla="*/ 6607323 h 6607323"/>
                <a:gd name="connsiteX7" fmla="*/ 0 w 5395162"/>
                <a:gd name="connsiteY7" fmla="*/ 6607323 h 660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5162" h="6607323">
                  <a:moveTo>
                    <a:pt x="0" y="0"/>
                  </a:moveTo>
                  <a:lnTo>
                    <a:pt x="5395162" y="0"/>
                  </a:lnTo>
                  <a:lnTo>
                    <a:pt x="5395162" y="3949902"/>
                  </a:lnTo>
                  <a:lnTo>
                    <a:pt x="5230980" y="3949902"/>
                  </a:lnTo>
                  <a:cubicBezTo>
                    <a:pt x="5121425" y="3949902"/>
                    <a:pt x="5032614" y="4038713"/>
                    <a:pt x="5032614" y="4148268"/>
                  </a:cubicBezTo>
                  <a:lnTo>
                    <a:pt x="5032614" y="6607209"/>
                  </a:lnTo>
                  <a:lnTo>
                    <a:pt x="5032625" y="6607323"/>
                  </a:lnTo>
                  <a:lnTo>
                    <a:pt x="0" y="6607323"/>
                  </a:lnTo>
                  <a:close/>
                </a:path>
              </a:pathLst>
            </a:custGeom>
            <a:solidFill>
              <a:srgbClr val="FDFDFD"/>
            </a:solidFill>
            <a:ln>
              <a:no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3" name="Straight Connector 192">
              <a:extLst>
                <a:ext uri="{FF2B5EF4-FFF2-40B4-BE49-F238E27FC236}">
                  <a16:creationId xmlns:a16="http://schemas.microsoft.com/office/drawing/2014/main" id="{59162A81-0D26-49D5-9C3D-AF1145F70A57}"/>
                </a:ext>
              </a:extLst>
            </p:cNvPr>
            <p:cNvCxnSpPr>
              <a:cxnSpLocks/>
            </p:cNvCxnSpPr>
            <p:nvPr/>
          </p:nvCxnSpPr>
          <p:spPr>
            <a:xfrm>
              <a:off x="6096000" y="909390"/>
              <a:ext cx="5428034"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DC12B9C-03BA-4147-9B14-30D86730F24B}"/>
                </a:ext>
              </a:extLst>
            </p:cNvPr>
            <p:cNvCxnSpPr>
              <a:cxnSpLocks/>
            </p:cNvCxnSpPr>
            <p:nvPr/>
          </p:nvCxnSpPr>
          <p:spPr>
            <a:xfrm>
              <a:off x="6126481" y="137418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DCDD4C6-51F4-4E17-AD53-489FD1F39D5F}"/>
                </a:ext>
              </a:extLst>
            </p:cNvPr>
            <p:cNvCxnSpPr>
              <a:cxnSpLocks/>
            </p:cNvCxnSpPr>
            <p:nvPr/>
          </p:nvCxnSpPr>
          <p:spPr>
            <a:xfrm>
              <a:off x="6126481" y="1864456"/>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22656D87-BB85-4C46-9209-8C9140CFF071}"/>
                </a:ext>
              </a:extLst>
            </p:cNvPr>
            <p:cNvCxnSpPr>
              <a:cxnSpLocks/>
            </p:cNvCxnSpPr>
            <p:nvPr/>
          </p:nvCxnSpPr>
          <p:spPr>
            <a:xfrm>
              <a:off x="6126481" y="2354732"/>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B8516F6C-3E8F-41F1-85A7-8235F4B1C824}"/>
                </a:ext>
              </a:extLst>
            </p:cNvPr>
            <p:cNvCxnSpPr>
              <a:cxnSpLocks/>
            </p:cNvCxnSpPr>
            <p:nvPr/>
          </p:nvCxnSpPr>
          <p:spPr>
            <a:xfrm>
              <a:off x="6126481" y="2845008"/>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989266B4-BC34-4ABF-A425-A7DC3F37E571}"/>
                </a:ext>
              </a:extLst>
            </p:cNvPr>
            <p:cNvCxnSpPr>
              <a:cxnSpLocks/>
            </p:cNvCxnSpPr>
            <p:nvPr/>
          </p:nvCxnSpPr>
          <p:spPr>
            <a:xfrm>
              <a:off x="6126481" y="3335284"/>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6FBF9DB6-3F78-4FB6-A1C7-279765773246}"/>
                </a:ext>
              </a:extLst>
            </p:cNvPr>
            <p:cNvCxnSpPr>
              <a:cxnSpLocks/>
            </p:cNvCxnSpPr>
            <p:nvPr/>
          </p:nvCxnSpPr>
          <p:spPr>
            <a:xfrm>
              <a:off x="6126481" y="382556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7FF3BCF-0219-48EC-8281-6991C30C1636}"/>
                </a:ext>
              </a:extLst>
            </p:cNvPr>
            <p:cNvCxnSpPr>
              <a:cxnSpLocks/>
            </p:cNvCxnSpPr>
            <p:nvPr/>
          </p:nvCxnSpPr>
          <p:spPr>
            <a:xfrm>
              <a:off x="6126481" y="4315836"/>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66E6F99E-140E-42F7-9CD9-520ABBCB79FF}"/>
                </a:ext>
              </a:extLst>
            </p:cNvPr>
            <p:cNvCxnSpPr>
              <a:cxnSpLocks/>
            </p:cNvCxnSpPr>
            <p:nvPr/>
          </p:nvCxnSpPr>
          <p:spPr>
            <a:xfrm>
              <a:off x="6126481" y="4806112"/>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FD4DA134-0BBC-4EEA-B046-D144F8362963}"/>
                </a:ext>
              </a:extLst>
            </p:cNvPr>
            <p:cNvCxnSpPr>
              <a:cxnSpLocks/>
            </p:cNvCxnSpPr>
            <p:nvPr/>
          </p:nvCxnSpPr>
          <p:spPr>
            <a:xfrm>
              <a:off x="6126481" y="5296388"/>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D81023F8-3930-4E86-AADD-C34248F41F99}"/>
                </a:ext>
              </a:extLst>
            </p:cNvPr>
            <p:cNvCxnSpPr>
              <a:cxnSpLocks/>
            </p:cNvCxnSpPr>
            <p:nvPr/>
          </p:nvCxnSpPr>
          <p:spPr>
            <a:xfrm>
              <a:off x="6126481" y="5786664"/>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AB4022E9-383B-473B-A517-D6A80C1B6F12}"/>
                </a:ext>
              </a:extLst>
            </p:cNvPr>
            <p:cNvCxnSpPr>
              <a:cxnSpLocks/>
            </p:cNvCxnSpPr>
            <p:nvPr/>
          </p:nvCxnSpPr>
          <p:spPr>
            <a:xfrm>
              <a:off x="6126481" y="6276940"/>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B1FBF4D5-CE44-480D-BC29-B88EB2D96005}"/>
                </a:ext>
              </a:extLst>
            </p:cNvPr>
            <p:cNvSpPr txBox="1"/>
            <p:nvPr/>
          </p:nvSpPr>
          <p:spPr>
            <a:xfrm>
              <a:off x="11176000" y="5595360"/>
              <a:ext cx="461665" cy="1302505"/>
            </a:xfrm>
            <a:prstGeom prst="rect">
              <a:avLst/>
            </a:prstGeom>
            <a:noFill/>
          </p:spPr>
          <p:txBody>
            <a:bodyPr vert="vert270" wrap="square" rtlCol="0">
              <a:spAutoFit/>
            </a:bodyPr>
            <a:lstStyle/>
            <a:p>
              <a:pPr algn="ctr"/>
              <a:r>
                <a:rPr lang="en-US" b="1" dirty="0">
                  <a:solidFill>
                    <a:schemeClr val="bg1"/>
                  </a:solidFill>
                </a:rPr>
                <a:t>PAGE 03</a:t>
              </a:r>
            </a:p>
          </p:txBody>
        </p:sp>
      </p:grpSp>
      <p:grpSp>
        <p:nvGrpSpPr>
          <p:cNvPr id="174" name="Group 173">
            <a:extLst>
              <a:ext uri="{FF2B5EF4-FFF2-40B4-BE49-F238E27FC236}">
                <a16:creationId xmlns:a16="http://schemas.microsoft.com/office/drawing/2014/main" id="{4D3EC6F6-41B8-42EA-9450-9660D30297B3}"/>
              </a:ext>
            </a:extLst>
          </p:cNvPr>
          <p:cNvGrpSpPr/>
          <p:nvPr/>
        </p:nvGrpSpPr>
        <p:grpSpPr>
          <a:xfrm flipH="1">
            <a:off x="351445" y="89189"/>
            <a:ext cx="5574535" cy="6778315"/>
            <a:chOff x="6096000" y="119550"/>
            <a:chExt cx="5574535" cy="6778315"/>
          </a:xfrm>
        </p:grpSpPr>
        <p:sp>
          <p:nvSpPr>
            <p:cNvPr id="175" name="Rectangle 174">
              <a:extLst>
                <a:ext uri="{FF2B5EF4-FFF2-40B4-BE49-F238E27FC236}">
                  <a16:creationId xmlns:a16="http://schemas.microsoft.com/office/drawing/2014/main" id="{BC45525F-CA64-4D1D-A75E-E6290B229999}"/>
                </a:ext>
              </a:extLst>
            </p:cNvPr>
            <p:cNvSpPr/>
            <p:nvPr/>
          </p:nvSpPr>
          <p:spPr>
            <a:xfrm>
              <a:off x="11148331" y="4069452"/>
              <a:ext cx="522204" cy="2657736"/>
            </a:xfrm>
            <a:prstGeom prst="rect">
              <a:avLst/>
            </a:prstGeom>
            <a:solidFill>
              <a:srgbClr val="CC00FF"/>
            </a:solidFill>
            <a:ln>
              <a:noFill/>
            </a:ln>
            <a:effectLst>
              <a:outerShdw blurRad="50800" dist="635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6" name="Freeform: Shape 175">
              <a:extLst>
                <a:ext uri="{FF2B5EF4-FFF2-40B4-BE49-F238E27FC236}">
                  <a16:creationId xmlns:a16="http://schemas.microsoft.com/office/drawing/2014/main" id="{4CCDAA36-0014-487F-9FC8-FB18AD79A536}"/>
                </a:ext>
              </a:extLst>
            </p:cNvPr>
            <p:cNvSpPr/>
            <p:nvPr/>
          </p:nvSpPr>
          <p:spPr>
            <a:xfrm>
              <a:off x="6128872" y="119550"/>
              <a:ext cx="5395162" cy="6607323"/>
            </a:xfrm>
            <a:custGeom>
              <a:avLst/>
              <a:gdLst>
                <a:gd name="connsiteX0" fmla="*/ 0 w 5395162"/>
                <a:gd name="connsiteY0" fmla="*/ 0 h 6607323"/>
                <a:gd name="connsiteX1" fmla="*/ 5395162 w 5395162"/>
                <a:gd name="connsiteY1" fmla="*/ 0 h 6607323"/>
                <a:gd name="connsiteX2" fmla="*/ 5395162 w 5395162"/>
                <a:gd name="connsiteY2" fmla="*/ 3949902 h 6607323"/>
                <a:gd name="connsiteX3" fmla="*/ 5230980 w 5395162"/>
                <a:gd name="connsiteY3" fmla="*/ 3949902 h 6607323"/>
                <a:gd name="connsiteX4" fmla="*/ 5032614 w 5395162"/>
                <a:gd name="connsiteY4" fmla="*/ 4148268 h 6607323"/>
                <a:gd name="connsiteX5" fmla="*/ 5032614 w 5395162"/>
                <a:gd name="connsiteY5" fmla="*/ 6607209 h 6607323"/>
                <a:gd name="connsiteX6" fmla="*/ 5032625 w 5395162"/>
                <a:gd name="connsiteY6" fmla="*/ 6607323 h 6607323"/>
                <a:gd name="connsiteX7" fmla="*/ 0 w 5395162"/>
                <a:gd name="connsiteY7" fmla="*/ 6607323 h 660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5162" h="6607323">
                  <a:moveTo>
                    <a:pt x="0" y="0"/>
                  </a:moveTo>
                  <a:lnTo>
                    <a:pt x="5395162" y="0"/>
                  </a:lnTo>
                  <a:lnTo>
                    <a:pt x="5395162" y="3949902"/>
                  </a:lnTo>
                  <a:lnTo>
                    <a:pt x="5230980" y="3949902"/>
                  </a:lnTo>
                  <a:cubicBezTo>
                    <a:pt x="5121425" y="3949902"/>
                    <a:pt x="5032614" y="4038713"/>
                    <a:pt x="5032614" y="4148268"/>
                  </a:cubicBezTo>
                  <a:lnTo>
                    <a:pt x="5032614" y="6607209"/>
                  </a:lnTo>
                  <a:lnTo>
                    <a:pt x="5032625" y="6607323"/>
                  </a:lnTo>
                  <a:lnTo>
                    <a:pt x="0" y="6607323"/>
                  </a:lnTo>
                  <a:close/>
                </a:path>
              </a:pathLst>
            </a:custGeom>
            <a:solidFill>
              <a:srgbClr val="FDFDFD"/>
            </a:solidFill>
            <a:ln>
              <a:noFill/>
            </a:ln>
            <a:effectLst>
              <a:outerShdw blurRad="50800" dist="762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7" name="Straight Connector 176">
              <a:extLst>
                <a:ext uri="{FF2B5EF4-FFF2-40B4-BE49-F238E27FC236}">
                  <a16:creationId xmlns:a16="http://schemas.microsoft.com/office/drawing/2014/main" id="{0B012414-9764-48F5-B4C3-0A5037F0BBA5}"/>
                </a:ext>
              </a:extLst>
            </p:cNvPr>
            <p:cNvCxnSpPr>
              <a:cxnSpLocks/>
            </p:cNvCxnSpPr>
            <p:nvPr/>
          </p:nvCxnSpPr>
          <p:spPr>
            <a:xfrm>
              <a:off x="6096000" y="909390"/>
              <a:ext cx="5428034"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DF96C4D-F51B-418E-8313-05C072401FE4}"/>
                </a:ext>
              </a:extLst>
            </p:cNvPr>
            <p:cNvCxnSpPr>
              <a:cxnSpLocks/>
            </p:cNvCxnSpPr>
            <p:nvPr/>
          </p:nvCxnSpPr>
          <p:spPr>
            <a:xfrm>
              <a:off x="6126481" y="137418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6F483CB6-CDC5-4A02-B30E-322036DDF0A0}"/>
                </a:ext>
              </a:extLst>
            </p:cNvPr>
            <p:cNvCxnSpPr>
              <a:cxnSpLocks/>
            </p:cNvCxnSpPr>
            <p:nvPr/>
          </p:nvCxnSpPr>
          <p:spPr>
            <a:xfrm>
              <a:off x="6126481" y="1864456"/>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3494356-E55D-4653-AB9F-7E1E2BF06D76}"/>
                </a:ext>
              </a:extLst>
            </p:cNvPr>
            <p:cNvCxnSpPr>
              <a:cxnSpLocks/>
            </p:cNvCxnSpPr>
            <p:nvPr/>
          </p:nvCxnSpPr>
          <p:spPr>
            <a:xfrm>
              <a:off x="6126481" y="2354732"/>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8C8F38DD-49EA-469F-9EDB-E9462B811FC0}"/>
                </a:ext>
              </a:extLst>
            </p:cNvPr>
            <p:cNvCxnSpPr>
              <a:cxnSpLocks/>
            </p:cNvCxnSpPr>
            <p:nvPr/>
          </p:nvCxnSpPr>
          <p:spPr>
            <a:xfrm>
              <a:off x="6126481" y="2845008"/>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BB0A9595-A092-4E25-932A-2B7A43E3DF75}"/>
                </a:ext>
              </a:extLst>
            </p:cNvPr>
            <p:cNvCxnSpPr>
              <a:cxnSpLocks/>
            </p:cNvCxnSpPr>
            <p:nvPr/>
          </p:nvCxnSpPr>
          <p:spPr>
            <a:xfrm>
              <a:off x="6126481" y="3335284"/>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D2DB5BD7-B26C-4609-AADA-D1F73B39D441}"/>
                </a:ext>
              </a:extLst>
            </p:cNvPr>
            <p:cNvCxnSpPr>
              <a:cxnSpLocks/>
            </p:cNvCxnSpPr>
            <p:nvPr/>
          </p:nvCxnSpPr>
          <p:spPr>
            <a:xfrm>
              <a:off x="6126481" y="382556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5992E529-F71B-461A-B57E-330E3C813F2E}"/>
                </a:ext>
              </a:extLst>
            </p:cNvPr>
            <p:cNvCxnSpPr>
              <a:cxnSpLocks/>
            </p:cNvCxnSpPr>
            <p:nvPr/>
          </p:nvCxnSpPr>
          <p:spPr>
            <a:xfrm>
              <a:off x="6126481" y="4315836"/>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4CEBAD4-44F2-4C60-80AE-1704869E5043}"/>
                </a:ext>
              </a:extLst>
            </p:cNvPr>
            <p:cNvCxnSpPr>
              <a:cxnSpLocks/>
            </p:cNvCxnSpPr>
            <p:nvPr/>
          </p:nvCxnSpPr>
          <p:spPr>
            <a:xfrm>
              <a:off x="6126481" y="4806112"/>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6B6DA8F-39DA-425E-B4FF-5A599863202A}"/>
                </a:ext>
              </a:extLst>
            </p:cNvPr>
            <p:cNvCxnSpPr>
              <a:cxnSpLocks/>
            </p:cNvCxnSpPr>
            <p:nvPr/>
          </p:nvCxnSpPr>
          <p:spPr>
            <a:xfrm>
              <a:off x="6126481" y="5296388"/>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7CBD5B22-00BF-4EDD-976C-E876BF6A92CB}"/>
                </a:ext>
              </a:extLst>
            </p:cNvPr>
            <p:cNvCxnSpPr>
              <a:cxnSpLocks/>
            </p:cNvCxnSpPr>
            <p:nvPr/>
          </p:nvCxnSpPr>
          <p:spPr>
            <a:xfrm>
              <a:off x="6126481" y="5786664"/>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D0984BC2-397F-487F-B4C3-639E88CD5B95}"/>
                </a:ext>
              </a:extLst>
            </p:cNvPr>
            <p:cNvCxnSpPr>
              <a:cxnSpLocks/>
            </p:cNvCxnSpPr>
            <p:nvPr/>
          </p:nvCxnSpPr>
          <p:spPr>
            <a:xfrm>
              <a:off x="6126481" y="6276940"/>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028D77CE-26CC-48A3-92E2-0D112FD9E9FA}"/>
                </a:ext>
              </a:extLst>
            </p:cNvPr>
            <p:cNvSpPr txBox="1"/>
            <p:nvPr/>
          </p:nvSpPr>
          <p:spPr>
            <a:xfrm>
              <a:off x="11176000" y="5595360"/>
              <a:ext cx="461665" cy="1302505"/>
            </a:xfrm>
            <a:prstGeom prst="rect">
              <a:avLst/>
            </a:prstGeom>
            <a:noFill/>
          </p:spPr>
          <p:txBody>
            <a:bodyPr vert="vert270" wrap="square" rtlCol="0">
              <a:spAutoFit/>
            </a:bodyPr>
            <a:lstStyle/>
            <a:p>
              <a:pPr algn="ctr"/>
              <a:r>
                <a:rPr lang="en-US" b="1" dirty="0">
                  <a:solidFill>
                    <a:schemeClr val="bg1"/>
                  </a:solidFill>
                </a:rPr>
                <a:t>PAGE 02</a:t>
              </a:r>
            </a:p>
          </p:txBody>
        </p:sp>
      </p:grpSp>
      <p:grpSp>
        <p:nvGrpSpPr>
          <p:cNvPr id="3" name="Group 2">
            <a:extLst>
              <a:ext uri="{FF2B5EF4-FFF2-40B4-BE49-F238E27FC236}">
                <a16:creationId xmlns:a16="http://schemas.microsoft.com/office/drawing/2014/main" id="{0F1A4B53-3DA8-4B08-87F6-99E2B5780CCB}"/>
              </a:ext>
            </a:extLst>
          </p:cNvPr>
          <p:cNvGrpSpPr/>
          <p:nvPr/>
        </p:nvGrpSpPr>
        <p:grpSpPr>
          <a:xfrm>
            <a:off x="5604611" y="119550"/>
            <a:ext cx="781676" cy="6607323"/>
            <a:chOff x="5604611" y="119550"/>
            <a:chExt cx="781676" cy="6607323"/>
          </a:xfrm>
        </p:grpSpPr>
        <p:sp>
          <p:nvSpPr>
            <p:cNvPr id="67" name="Rectangle 66">
              <a:extLst>
                <a:ext uri="{FF2B5EF4-FFF2-40B4-BE49-F238E27FC236}">
                  <a16:creationId xmlns:a16="http://schemas.microsoft.com/office/drawing/2014/main" id="{D119F2DB-0E38-4A31-831F-2BAF295D2A25}"/>
                </a:ext>
              </a:extLst>
            </p:cNvPr>
            <p:cNvSpPr/>
            <p:nvPr/>
          </p:nvSpPr>
          <p:spPr>
            <a:xfrm>
              <a:off x="5635694" y="20253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0" name="Group 9">
              <a:extLst>
                <a:ext uri="{FF2B5EF4-FFF2-40B4-BE49-F238E27FC236}">
                  <a16:creationId xmlns:a16="http://schemas.microsoft.com/office/drawing/2014/main" id="{AEE5042A-E067-4FB7-BCFF-00BB33BFEDEC}"/>
                </a:ext>
              </a:extLst>
            </p:cNvPr>
            <p:cNvGrpSpPr/>
            <p:nvPr/>
          </p:nvGrpSpPr>
          <p:grpSpPr>
            <a:xfrm>
              <a:off x="5805714" y="119550"/>
              <a:ext cx="580573" cy="386869"/>
              <a:chOff x="5805714" y="609691"/>
              <a:chExt cx="580573" cy="386869"/>
            </a:xfrm>
          </p:grpSpPr>
          <p:sp>
            <p:nvSpPr>
              <p:cNvPr id="5" name="Rectangle 4">
                <a:extLst>
                  <a:ext uri="{FF2B5EF4-FFF2-40B4-BE49-F238E27FC236}">
                    <a16:creationId xmlns:a16="http://schemas.microsoft.com/office/drawing/2014/main" id="{9ECC8D50-758B-45D1-9832-058DA749338C}"/>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FC783E55-1922-4926-8D97-EC60526709F7}"/>
                  </a:ext>
                </a:extLst>
              </p:cNvPr>
              <p:cNvSpPr/>
              <p:nvPr/>
            </p:nvSpPr>
            <p:spPr>
              <a:xfrm>
                <a:off x="5805714" y="609691"/>
                <a:ext cx="410553" cy="386869"/>
              </a:xfrm>
              <a:prstGeom prst="arc">
                <a:avLst>
                  <a:gd name="adj1" fmla="val 10333954"/>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8" name="Rectangle 67">
              <a:extLst>
                <a:ext uri="{FF2B5EF4-FFF2-40B4-BE49-F238E27FC236}">
                  <a16:creationId xmlns:a16="http://schemas.microsoft.com/office/drawing/2014/main" id="{FCB92E0C-F05E-4602-8A6C-A561815032EC}"/>
                </a:ext>
              </a:extLst>
            </p:cNvPr>
            <p:cNvSpPr/>
            <p:nvPr/>
          </p:nvSpPr>
          <p:spPr>
            <a:xfrm>
              <a:off x="5632035" y="503041"/>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8" name="Group 77">
              <a:extLst>
                <a:ext uri="{FF2B5EF4-FFF2-40B4-BE49-F238E27FC236}">
                  <a16:creationId xmlns:a16="http://schemas.microsoft.com/office/drawing/2014/main" id="{E48E30C9-A74F-4C52-AD04-FC9A5CBD8258}"/>
                </a:ext>
              </a:extLst>
            </p:cNvPr>
            <p:cNvGrpSpPr/>
            <p:nvPr/>
          </p:nvGrpSpPr>
          <p:grpSpPr>
            <a:xfrm>
              <a:off x="5805714" y="430573"/>
              <a:ext cx="580573" cy="386869"/>
              <a:chOff x="5805714" y="609691"/>
              <a:chExt cx="580573" cy="386869"/>
            </a:xfrm>
          </p:grpSpPr>
          <p:sp>
            <p:nvSpPr>
              <p:cNvPr id="79" name="Rectangle 78">
                <a:extLst>
                  <a:ext uri="{FF2B5EF4-FFF2-40B4-BE49-F238E27FC236}">
                    <a16:creationId xmlns:a16="http://schemas.microsoft.com/office/drawing/2014/main" id="{9D80A7DB-810E-4588-BE25-E9F7C34D3DB1}"/>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Arc 79">
                <a:extLst>
                  <a:ext uri="{FF2B5EF4-FFF2-40B4-BE49-F238E27FC236}">
                    <a16:creationId xmlns:a16="http://schemas.microsoft.com/office/drawing/2014/main" id="{0CEE252C-3F6B-425D-A974-8C322FD62AA8}"/>
                  </a:ext>
                </a:extLst>
              </p:cNvPr>
              <p:cNvSpPr/>
              <p:nvPr/>
            </p:nvSpPr>
            <p:spPr>
              <a:xfrm>
                <a:off x="5805714" y="609691"/>
                <a:ext cx="410553" cy="386869"/>
              </a:xfrm>
              <a:prstGeom prst="arc">
                <a:avLst>
                  <a:gd name="adj1" fmla="val 10604954"/>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9" name="Rectangle 68">
              <a:extLst>
                <a:ext uri="{FF2B5EF4-FFF2-40B4-BE49-F238E27FC236}">
                  <a16:creationId xmlns:a16="http://schemas.microsoft.com/office/drawing/2014/main" id="{A4620A41-830E-412F-B7F4-82B17531460F}"/>
                </a:ext>
              </a:extLst>
            </p:cNvPr>
            <p:cNvSpPr/>
            <p:nvPr/>
          </p:nvSpPr>
          <p:spPr>
            <a:xfrm>
              <a:off x="5635694" y="81748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0" name="Rectangle 69">
              <a:extLst>
                <a:ext uri="{FF2B5EF4-FFF2-40B4-BE49-F238E27FC236}">
                  <a16:creationId xmlns:a16="http://schemas.microsoft.com/office/drawing/2014/main" id="{B8C591D4-C50C-4B67-805A-961945693BE6}"/>
                </a:ext>
              </a:extLst>
            </p:cNvPr>
            <p:cNvSpPr/>
            <p:nvPr/>
          </p:nvSpPr>
          <p:spPr>
            <a:xfrm>
              <a:off x="5636493" y="1123923"/>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Rectangle 70">
              <a:extLst>
                <a:ext uri="{FF2B5EF4-FFF2-40B4-BE49-F238E27FC236}">
                  <a16:creationId xmlns:a16="http://schemas.microsoft.com/office/drawing/2014/main" id="{461F08B5-15BF-4C63-B54C-7D2001EDCAD3}"/>
                </a:ext>
              </a:extLst>
            </p:cNvPr>
            <p:cNvSpPr/>
            <p:nvPr/>
          </p:nvSpPr>
          <p:spPr>
            <a:xfrm>
              <a:off x="5633303" y="144082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2" name="Rectangle 71">
              <a:extLst>
                <a:ext uri="{FF2B5EF4-FFF2-40B4-BE49-F238E27FC236}">
                  <a16:creationId xmlns:a16="http://schemas.microsoft.com/office/drawing/2014/main" id="{D12C5631-8C0A-4256-BD3E-88D081A7321B}"/>
                </a:ext>
              </a:extLst>
            </p:cNvPr>
            <p:cNvSpPr/>
            <p:nvPr/>
          </p:nvSpPr>
          <p:spPr>
            <a:xfrm>
              <a:off x="5641689" y="174238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3" name="Rectangle 72">
              <a:extLst>
                <a:ext uri="{FF2B5EF4-FFF2-40B4-BE49-F238E27FC236}">
                  <a16:creationId xmlns:a16="http://schemas.microsoft.com/office/drawing/2014/main" id="{D3030D9B-44CF-4F4E-A86E-18A79322376D}"/>
                </a:ext>
              </a:extLst>
            </p:cNvPr>
            <p:cNvSpPr/>
            <p:nvPr/>
          </p:nvSpPr>
          <p:spPr>
            <a:xfrm>
              <a:off x="5626130" y="2064953"/>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4" name="Rectangle 73">
              <a:extLst>
                <a:ext uri="{FF2B5EF4-FFF2-40B4-BE49-F238E27FC236}">
                  <a16:creationId xmlns:a16="http://schemas.microsoft.com/office/drawing/2014/main" id="{0E9F8D11-58D9-4493-A410-DACB43B5E48F}"/>
                </a:ext>
              </a:extLst>
            </p:cNvPr>
            <p:cNvSpPr/>
            <p:nvPr/>
          </p:nvSpPr>
          <p:spPr>
            <a:xfrm>
              <a:off x="5626130" y="2372116"/>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5" name="Rectangle 74">
              <a:extLst>
                <a:ext uri="{FF2B5EF4-FFF2-40B4-BE49-F238E27FC236}">
                  <a16:creationId xmlns:a16="http://schemas.microsoft.com/office/drawing/2014/main" id="{880FA994-AF36-4890-A98D-4750B71B3C59}"/>
                </a:ext>
              </a:extLst>
            </p:cNvPr>
            <p:cNvSpPr/>
            <p:nvPr/>
          </p:nvSpPr>
          <p:spPr>
            <a:xfrm>
              <a:off x="5633303" y="268452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Rectangle 75">
              <a:extLst>
                <a:ext uri="{FF2B5EF4-FFF2-40B4-BE49-F238E27FC236}">
                  <a16:creationId xmlns:a16="http://schemas.microsoft.com/office/drawing/2014/main" id="{9E5C2FB6-992A-4537-B467-2FCB0FDBDB9F}"/>
                </a:ext>
              </a:extLst>
            </p:cNvPr>
            <p:cNvSpPr/>
            <p:nvPr/>
          </p:nvSpPr>
          <p:spPr>
            <a:xfrm>
              <a:off x="5633303" y="2985986"/>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 name="Rectangle 76">
              <a:extLst>
                <a:ext uri="{FF2B5EF4-FFF2-40B4-BE49-F238E27FC236}">
                  <a16:creationId xmlns:a16="http://schemas.microsoft.com/office/drawing/2014/main" id="{73193785-12A4-408F-9E7C-27DDBEAFA7BD}"/>
                </a:ext>
              </a:extLst>
            </p:cNvPr>
            <p:cNvSpPr/>
            <p:nvPr/>
          </p:nvSpPr>
          <p:spPr>
            <a:xfrm>
              <a:off x="5626130" y="330818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8" name="Rectangle 137">
              <a:extLst>
                <a:ext uri="{FF2B5EF4-FFF2-40B4-BE49-F238E27FC236}">
                  <a16:creationId xmlns:a16="http://schemas.microsoft.com/office/drawing/2014/main" id="{FF68EA0C-3323-4279-9322-583E0496C340}"/>
                </a:ext>
              </a:extLst>
            </p:cNvPr>
            <p:cNvSpPr/>
            <p:nvPr/>
          </p:nvSpPr>
          <p:spPr>
            <a:xfrm>
              <a:off x="5618957" y="361510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9" name="Rectangle 138">
              <a:extLst>
                <a:ext uri="{FF2B5EF4-FFF2-40B4-BE49-F238E27FC236}">
                  <a16:creationId xmlns:a16="http://schemas.microsoft.com/office/drawing/2014/main" id="{DA8F7F98-A2C1-4622-86E7-4F2038831BBE}"/>
                </a:ext>
              </a:extLst>
            </p:cNvPr>
            <p:cNvSpPr/>
            <p:nvPr/>
          </p:nvSpPr>
          <p:spPr>
            <a:xfrm>
              <a:off x="5604611" y="392724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0" name="Rectangle 139">
              <a:extLst>
                <a:ext uri="{FF2B5EF4-FFF2-40B4-BE49-F238E27FC236}">
                  <a16:creationId xmlns:a16="http://schemas.microsoft.com/office/drawing/2014/main" id="{0A05E640-BFCE-401E-8E58-B95F9FAC8DFA}"/>
                </a:ext>
              </a:extLst>
            </p:cNvPr>
            <p:cNvSpPr/>
            <p:nvPr/>
          </p:nvSpPr>
          <p:spPr>
            <a:xfrm>
              <a:off x="5611784" y="4239143"/>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1" name="Rectangle 140">
              <a:extLst>
                <a:ext uri="{FF2B5EF4-FFF2-40B4-BE49-F238E27FC236}">
                  <a16:creationId xmlns:a16="http://schemas.microsoft.com/office/drawing/2014/main" id="{E054FE0A-3727-4A81-B405-7B2AD3CF46C1}"/>
                </a:ext>
              </a:extLst>
            </p:cNvPr>
            <p:cNvSpPr/>
            <p:nvPr/>
          </p:nvSpPr>
          <p:spPr>
            <a:xfrm>
              <a:off x="5604611" y="4546182"/>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2" name="Rectangle 141">
              <a:extLst>
                <a:ext uri="{FF2B5EF4-FFF2-40B4-BE49-F238E27FC236}">
                  <a16:creationId xmlns:a16="http://schemas.microsoft.com/office/drawing/2014/main" id="{181F776C-2AF8-48ED-A45F-6043E45954BF}"/>
                </a:ext>
              </a:extLst>
            </p:cNvPr>
            <p:cNvSpPr/>
            <p:nvPr/>
          </p:nvSpPr>
          <p:spPr>
            <a:xfrm>
              <a:off x="5609779" y="485746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3" name="Rectangle 142">
              <a:extLst>
                <a:ext uri="{FF2B5EF4-FFF2-40B4-BE49-F238E27FC236}">
                  <a16:creationId xmlns:a16="http://schemas.microsoft.com/office/drawing/2014/main" id="{F411B93B-64DC-40ED-8351-A38502F83EC2}"/>
                </a:ext>
              </a:extLst>
            </p:cNvPr>
            <p:cNvSpPr/>
            <p:nvPr/>
          </p:nvSpPr>
          <p:spPr>
            <a:xfrm>
              <a:off x="5618957" y="517189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4" name="Rectangle 143">
              <a:extLst>
                <a:ext uri="{FF2B5EF4-FFF2-40B4-BE49-F238E27FC236}">
                  <a16:creationId xmlns:a16="http://schemas.microsoft.com/office/drawing/2014/main" id="{6D4EF766-AAA1-4FD1-9EB8-BC7CCAF80F4C}"/>
                </a:ext>
              </a:extLst>
            </p:cNvPr>
            <p:cNvSpPr/>
            <p:nvPr/>
          </p:nvSpPr>
          <p:spPr>
            <a:xfrm>
              <a:off x="5611784" y="550314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5" name="Rectangle 144">
              <a:extLst>
                <a:ext uri="{FF2B5EF4-FFF2-40B4-BE49-F238E27FC236}">
                  <a16:creationId xmlns:a16="http://schemas.microsoft.com/office/drawing/2014/main" id="{CA3BC80A-A5C7-4031-AE04-E1DBB065F990}"/>
                </a:ext>
              </a:extLst>
            </p:cNvPr>
            <p:cNvSpPr/>
            <p:nvPr/>
          </p:nvSpPr>
          <p:spPr>
            <a:xfrm>
              <a:off x="5604611" y="5797854"/>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6" name="Rectangle 145">
              <a:extLst>
                <a:ext uri="{FF2B5EF4-FFF2-40B4-BE49-F238E27FC236}">
                  <a16:creationId xmlns:a16="http://schemas.microsoft.com/office/drawing/2014/main" id="{B2C4E260-0390-4C3C-B29D-AB4732D5F312}"/>
                </a:ext>
              </a:extLst>
            </p:cNvPr>
            <p:cNvSpPr/>
            <p:nvPr/>
          </p:nvSpPr>
          <p:spPr>
            <a:xfrm>
              <a:off x="5604611" y="609721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7" name="Rectangle 146">
              <a:extLst>
                <a:ext uri="{FF2B5EF4-FFF2-40B4-BE49-F238E27FC236}">
                  <a16:creationId xmlns:a16="http://schemas.microsoft.com/office/drawing/2014/main" id="{9CF30D03-0768-4F4A-876B-4064ADC4B962}"/>
                </a:ext>
              </a:extLst>
            </p:cNvPr>
            <p:cNvSpPr/>
            <p:nvPr/>
          </p:nvSpPr>
          <p:spPr>
            <a:xfrm>
              <a:off x="5611784" y="6412576"/>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81" name="Group 80">
              <a:extLst>
                <a:ext uri="{FF2B5EF4-FFF2-40B4-BE49-F238E27FC236}">
                  <a16:creationId xmlns:a16="http://schemas.microsoft.com/office/drawing/2014/main" id="{BDE4CAF1-67FB-4A00-A957-F84932EF37EA}"/>
                </a:ext>
              </a:extLst>
            </p:cNvPr>
            <p:cNvGrpSpPr/>
            <p:nvPr/>
          </p:nvGrpSpPr>
          <p:grpSpPr>
            <a:xfrm>
              <a:off x="5805714" y="741596"/>
              <a:ext cx="580573" cy="386869"/>
              <a:chOff x="5805714" y="609691"/>
              <a:chExt cx="580573" cy="386869"/>
            </a:xfrm>
          </p:grpSpPr>
          <p:sp>
            <p:nvSpPr>
              <p:cNvPr id="82" name="Rectangle 81">
                <a:extLst>
                  <a:ext uri="{FF2B5EF4-FFF2-40B4-BE49-F238E27FC236}">
                    <a16:creationId xmlns:a16="http://schemas.microsoft.com/office/drawing/2014/main" id="{74C944AF-D50A-425E-A441-BD46E8CB9783}"/>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Arc 82">
                <a:extLst>
                  <a:ext uri="{FF2B5EF4-FFF2-40B4-BE49-F238E27FC236}">
                    <a16:creationId xmlns:a16="http://schemas.microsoft.com/office/drawing/2014/main" id="{AE95EC9D-DB78-417E-AF31-C543DE84C1EE}"/>
                  </a:ext>
                </a:extLst>
              </p:cNvPr>
              <p:cNvSpPr/>
              <p:nvPr/>
            </p:nvSpPr>
            <p:spPr>
              <a:xfrm>
                <a:off x="5805714" y="609691"/>
                <a:ext cx="410553" cy="386869"/>
              </a:xfrm>
              <a:prstGeom prst="arc">
                <a:avLst>
                  <a:gd name="adj1" fmla="val 107575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 name="Group 83">
              <a:extLst>
                <a:ext uri="{FF2B5EF4-FFF2-40B4-BE49-F238E27FC236}">
                  <a16:creationId xmlns:a16="http://schemas.microsoft.com/office/drawing/2014/main" id="{EC3E0684-8AE8-4214-BF7B-4AAB6B86F600}"/>
                </a:ext>
              </a:extLst>
            </p:cNvPr>
            <p:cNvGrpSpPr/>
            <p:nvPr/>
          </p:nvGrpSpPr>
          <p:grpSpPr>
            <a:xfrm>
              <a:off x="5805714" y="1052619"/>
              <a:ext cx="580573" cy="386869"/>
              <a:chOff x="5805714" y="609691"/>
              <a:chExt cx="580573" cy="386869"/>
            </a:xfrm>
          </p:grpSpPr>
          <p:sp>
            <p:nvSpPr>
              <p:cNvPr id="85" name="Rectangle 84">
                <a:extLst>
                  <a:ext uri="{FF2B5EF4-FFF2-40B4-BE49-F238E27FC236}">
                    <a16:creationId xmlns:a16="http://schemas.microsoft.com/office/drawing/2014/main" id="{CF8E04A3-B6B4-4F3C-BB6B-AF9929DDA237}"/>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Arc 85">
                <a:extLst>
                  <a:ext uri="{FF2B5EF4-FFF2-40B4-BE49-F238E27FC236}">
                    <a16:creationId xmlns:a16="http://schemas.microsoft.com/office/drawing/2014/main" id="{18A95974-DAB2-4BF8-9192-96278D1744CD}"/>
                  </a:ext>
                </a:extLst>
              </p:cNvPr>
              <p:cNvSpPr/>
              <p:nvPr/>
            </p:nvSpPr>
            <p:spPr>
              <a:xfrm>
                <a:off x="5805714" y="609691"/>
                <a:ext cx="410553" cy="386869"/>
              </a:xfrm>
              <a:prstGeom prst="arc">
                <a:avLst>
                  <a:gd name="adj1" fmla="val 1083048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7" name="Group 86">
              <a:extLst>
                <a:ext uri="{FF2B5EF4-FFF2-40B4-BE49-F238E27FC236}">
                  <a16:creationId xmlns:a16="http://schemas.microsoft.com/office/drawing/2014/main" id="{C97BDBFC-6DCF-4D05-9235-AF24FD08B7BA}"/>
                </a:ext>
              </a:extLst>
            </p:cNvPr>
            <p:cNvGrpSpPr/>
            <p:nvPr/>
          </p:nvGrpSpPr>
          <p:grpSpPr>
            <a:xfrm>
              <a:off x="5805714" y="1363642"/>
              <a:ext cx="580573" cy="386869"/>
              <a:chOff x="5805714" y="609691"/>
              <a:chExt cx="580573" cy="386869"/>
            </a:xfrm>
          </p:grpSpPr>
          <p:sp>
            <p:nvSpPr>
              <p:cNvPr id="88" name="Rectangle 87">
                <a:extLst>
                  <a:ext uri="{FF2B5EF4-FFF2-40B4-BE49-F238E27FC236}">
                    <a16:creationId xmlns:a16="http://schemas.microsoft.com/office/drawing/2014/main" id="{4AB8CE96-3DF3-4063-9F27-D4DB07BB75EF}"/>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Arc 88">
                <a:extLst>
                  <a:ext uri="{FF2B5EF4-FFF2-40B4-BE49-F238E27FC236}">
                    <a16:creationId xmlns:a16="http://schemas.microsoft.com/office/drawing/2014/main" id="{309BD817-14B6-4AA7-A1F6-6EAEFBC3A86F}"/>
                  </a:ext>
                </a:extLst>
              </p:cNvPr>
              <p:cNvSpPr/>
              <p:nvPr/>
            </p:nvSpPr>
            <p:spPr>
              <a:xfrm>
                <a:off x="5805714" y="609691"/>
                <a:ext cx="410553" cy="386869"/>
              </a:xfrm>
              <a:prstGeom prst="arc">
                <a:avLst>
                  <a:gd name="adj1" fmla="val 10809658"/>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C6951FED-2BD7-4859-B333-5B1CAEF8AB8D}"/>
                </a:ext>
              </a:extLst>
            </p:cNvPr>
            <p:cNvGrpSpPr/>
            <p:nvPr/>
          </p:nvGrpSpPr>
          <p:grpSpPr>
            <a:xfrm>
              <a:off x="5805714" y="1674665"/>
              <a:ext cx="580573" cy="386869"/>
              <a:chOff x="5805714" y="609691"/>
              <a:chExt cx="580573" cy="386869"/>
            </a:xfrm>
          </p:grpSpPr>
          <p:sp>
            <p:nvSpPr>
              <p:cNvPr id="91" name="Rectangle 90">
                <a:extLst>
                  <a:ext uri="{FF2B5EF4-FFF2-40B4-BE49-F238E27FC236}">
                    <a16:creationId xmlns:a16="http://schemas.microsoft.com/office/drawing/2014/main" id="{FE30C63D-F045-40E9-8C54-26DA5BDA0F4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Arc 91">
                <a:extLst>
                  <a:ext uri="{FF2B5EF4-FFF2-40B4-BE49-F238E27FC236}">
                    <a16:creationId xmlns:a16="http://schemas.microsoft.com/office/drawing/2014/main" id="{434A2720-2A66-40B1-AC7E-5C244C6E6EB9}"/>
                  </a:ext>
                </a:extLst>
              </p:cNvPr>
              <p:cNvSpPr/>
              <p:nvPr/>
            </p:nvSpPr>
            <p:spPr>
              <a:xfrm>
                <a:off x="5805714" y="609691"/>
                <a:ext cx="410553" cy="386869"/>
              </a:xfrm>
              <a:prstGeom prst="arc">
                <a:avLst>
                  <a:gd name="adj1" fmla="val 1087571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93" name="Group 92">
              <a:extLst>
                <a:ext uri="{FF2B5EF4-FFF2-40B4-BE49-F238E27FC236}">
                  <a16:creationId xmlns:a16="http://schemas.microsoft.com/office/drawing/2014/main" id="{3253887B-E245-4C89-84BB-C89576187B4D}"/>
                </a:ext>
              </a:extLst>
            </p:cNvPr>
            <p:cNvGrpSpPr/>
            <p:nvPr/>
          </p:nvGrpSpPr>
          <p:grpSpPr>
            <a:xfrm>
              <a:off x="5805714" y="1985688"/>
              <a:ext cx="580573" cy="386869"/>
              <a:chOff x="5805714" y="609691"/>
              <a:chExt cx="580573" cy="386869"/>
            </a:xfrm>
          </p:grpSpPr>
          <p:sp>
            <p:nvSpPr>
              <p:cNvPr id="94" name="Rectangle 93">
                <a:extLst>
                  <a:ext uri="{FF2B5EF4-FFF2-40B4-BE49-F238E27FC236}">
                    <a16:creationId xmlns:a16="http://schemas.microsoft.com/office/drawing/2014/main" id="{C2935527-C9EF-4950-89BB-EB1207B25EAD}"/>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Arc 94">
                <a:extLst>
                  <a:ext uri="{FF2B5EF4-FFF2-40B4-BE49-F238E27FC236}">
                    <a16:creationId xmlns:a16="http://schemas.microsoft.com/office/drawing/2014/main" id="{B885AD0D-2A97-4761-A7E2-81AE7730FF98}"/>
                  </a:ext>
                </a:extLst>
              </p:cNvPr>
              <p:cNvSpPr/>
              <p:nvPr/>
            </p:nvSpPr>
            <p:spPr>
              <a:xfrm>
                <a:off x="5805714" y="609691"/>
                <a:ext cx="410553" cy="386869"/>
              </a:xfrm>
              <a:prstGeom prst="arc">
                <a:avLst>
                  <a:gd name="adj1" fmla="val 1078249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6" name="Group 95">
              <a:extLst>
                <a:ext uri="{FF2B5EF4-FFF2-40B4-BE49-F238E27FC236}">
                  <a16:creationId xmlns:a16="http://schemas.microsoft.com/office/drawing/2014/main" id="{B20895E6-FBAD-4249-90F9-43369FD2080F}"/>
                </a:ext>
              </a:extLst>
            </p:cNvPr>
            <p:cNvGrpSpPr/>
            <p:nvPr/>
          </p:nvGrpSpPr>
          <p:grpSpPr>
            <a:xfrm>
              <a:off x="5805714" y="2296711"/>
              <a:ext cx="580573" cy="386869"/>
              <a:chOff x="5805714" y="609691"/>
              <a:chExt cx="580573" cy="386869"/>
            </a:xfrm>
          </p:grpSpPr>
          <p:sp>
            <p:nvSpPr>
              <p:cNvPr id="97" name="Rectangle 96">
                <a:extLst>
                  <a:ext uri="{FF2B5EF4-FFF2-40B4-BE49-F238E27FC236}">
                    <a16:creationId xmlns:a16="http://schemas.microsoft.com/office/drawing/2014/main" id="{416F99E9-E132-4AB6-9501-719E390B2951}"/>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Arc 97">
                <a:extLst>
                  <a:ext uri="{FF2B5EF4-FFF2-40B4-BE49-F238E27FC236}">
                    <a16:creationId xmlns:a16="http://schemas.microsoft.com/office/drawing/2014/main" id="{7BF41422-E1EF-4A49-906D-7C9E43200378}"/>
                  </a:ext>
                </a:extLst>
              </p:cNvPr>
              <p:cNvSpPr/>
              <p:nvPr/>
            </p:nvSpPr>
            <p:spPr>
              <a:xfrm>
                <a:off x="5805714" y="609691"/>
                <a:ext cx="410553" cy="386869"/>
              </a:xfrm>
              <a:prstGeom prst="arc">
                <a:avLst>
                  <a:gd name="adj1" fmla="val 1083791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9" name="Group 98">
              <a:extLst>
                <a:ext uri="{FF2B5EF4-FFF2-40B4-BE49-F238E27FC236}">
                  <a16:creationId xmlns:a16="http://schemas.microsoft.com/office/drawing/2014/main" id="{3A6C8FCE-3906-4A51-8C51-53A21458A79D}"/>
                </a:ext>
              </a:extLst>
            </p:cNvPr>
            <p:cNvGrpSpPr/>
            <p:nvPr/>
          </p:nvGrpSpPr>
          <p:grpSpPr>
            <a:xfrm>
              <a:off x="5805714" y="2607734"/>
              <a:ext cx="580573" cy="386869"/>
              <a:chOff x="5805714" y="609691"/>
              <a:chExt cx="580573" cy="386869"/>
            </a:xfrm>
          </p:grpSpPr>
          <p:sp>
            <p:nvSpPr>
              <p:cNvPr id="100" name="Rectangle 99">
                <a:extLst>
                  <a:ext uri="{FF2B5EF4-FFF2-40B4-BE49-F238E27FC236}">
                    <a16:creationId xmlns:a16="http://schemas.microsoft.com/office/drawing/2014/main" id="{01B7306C-C82A-4CBC-8810-B196E2B85FD9}"/>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Arc 100">
                <a:extLst>
                  <a:ext uri="{FF2B5EF4-FFF2-40B4-BE49-F238E27FC236}">
                    <a16:creationId xmlns:a16="http://schemas.microsoft.com/office/drawing/2014/main" id="{4309EB4B-A1C1-41B8-9E71-43E4632DE81A}"/>
                  </a:ext>
                </a:extLst>
              </p:cNvPr>
              <p:cNvSpPr/>
              <p:nvPr/>
            </p:nvSpPr>
            <p:spPr>
              <a:xfrm>
                <a:off x="5805714" y="609691"/>
                <a:ext cx="410553" cy="386869"/>
              </a:xfrm>
              <a:prstGeom prst="arc">
                <a:avLst>
                  <a:gd name="adj1" fmla="val 10817170"/>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2" name="Group 101">
              <a:extLst>
                <a:ext uri="{FF2B5EF4-FFF2-40B4-BE49-F238E27FC236}">
                  <a16:creationId xmlns:a16="http://schemas.microsoft.com/office/drawing/2014/main" id="{C74B4894-B5D2-4362-964C-D4DC0546060A}"/>
                </a:ext>
              </a:extLst>
            </p:cNvPr>
            <p:cNvGrpSpPr/>
            <p:nvPr/>
          </p:nvGrpSpPr>
          <p:grpSpPr>
            <a:xfrm>
              <a:off x="5805714" y="2918757"/>
              <a:ext cx="580573" cy="386869"/>
              <a:chOff x="5805714" y="609691"/>
              <a:chExt cx="580573" cy="386869"/>
            </a:xfrm>
          </p:grpSpPr>
          <p:sp>
            <p:nvSpPr>
              <p:cNvPr id="103" name="Rectangle 102">
                <a:extLst>
                  <a:ext uri="{FF2B5EF4-FFF2-40B4-BE49-F238E27FC236}">
                    <a16:creationId xmlns:a16="http://schemas.microsoft.com/office/drawing/2014/main" id="{DA95D981-4D5B-4F4F-8A82-69838938508F}"/>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Arc 103">
                <a:extLst>
                  <a:ext uri="{FF2B5EF4-FFF2-40B4-BE49-F238E27FC236}">
                    <a16:creationId xmlns:a16="http://schemas.microsoft.com/office/drawing/2014/main" id="{E4822634-A39A-4B0D-8399-883328FCA1EE}"/>
                  </a:ext>
                </a:extLst>
              </p:cNvPr>
              <p:cNvSpPr/>
              <p:nvPr/>
            </p:nvSpPr>
            <p:spPr>
              <a:xfrm>
                <a:off x="5805714" y="609691"/>
                <a:ext cx="410553" cy="386869"/>
              </a:xfrm>
              <a:prstGeom prst="arc">
                <a:avLst>
                  <a:gd name="adj1" fmla="val 1122047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5" name="Group 104">
              <a:extLst>
                <a:ext uri="{FF2B5EF4-FFF2-40B4-BE49-F238E27FC236}">
                  <a16:creationId xmlns:a16="http://schemas.microsoft.com/office/drawing/2014/main" id="{AC0C8900-7AAE-4DAD-9853-250BA8E46217}"/>
                </a:ext>
              </a:extLst>
            </p:cNvPr>
            <p:cNvGrpSpPr/>
            <p:nvPr/>
          </p:nvGrpSpPr>
          <p:grpSpPr>
            <a:xfrm>
              <a:off x="5805714" y="3229780"/>
              <a:ext cx="580573" cy="386869"/>
              <a:chOff x="5805714" y="609691"/>
              <a:chExt cx="580573" cy="386869"/>
            </a:xfrm>
          </p:grpSpPr>
          <p:sp>
            <p:nvSpPr>
              <p:cNvPr id="106" name="Rectangle 105">
                <a:extLst>
                  <a:ext uri="{FF2B5EF4-FFF2-40B4-BE49-F238E27FC236}">
                    <a16:creationId xmlns:a16="http://schemas.microsoft.com/office/drawing/2014/main" id="{8F16C3F5-5111-4385-95DB-684995C5DA9E}"/>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Arc 106">
                <a:extLst>
                  <a:ext uri="{FF2B5EF4-FFF2-40B4-BE49-F238E27FC236}">
                    <a16:creationId xmlns:a16="http://schemas.microsoft.com/office/drawing/2014/main" id="{C8E4EC42-A513-472E-AE69-66EF8F71937C}"/>
                  </a:ext>
                </a:extLst>
              </p:cNvPr>
              <p:cNvSpPr/>
              <p:nvPr/>
            </p:nvSpPr>
            <p:spPr>
              <a:xfrm>
                <a:off x="5805714" y="609691"/>
                <a:ext cx="410553" cy="386869"/>
              </a:xfrm>
              <a:prstGeom prst="arc">
                <a:avLst>
                  <a:gd name="adj1" fmla="val 1064800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8" name="Group 107">
              <a:extLst>
                <a:ext uri="{FF2B5EF4-FFF2-40B4-BE49-F238E27FC236}">
                  <a16:creationId xmlns:a16="http://schemas.microsoft.com/office/drawing/2014/main" id="{B9DF2A69-06AC-4DC9-B6C7-9A1B9D012585}"/>
                </a:ext>
              </a:extLst>
            </p:cNvPr>
            <p:cNvGrpSpPr/>
            <p:nvPr/>
          </p:nvGrpSpPr>
          <p:grpSpPr>
            <a:xfrm>
              <a:off x="5805714" y="3540803"/>
              <a:ext cx="580573" cy="386869"/>
              <a:chOff x="5805714" y="609691"/>
              <a:chExt cx="580573" cy="386869"/>
            </a:xfrm>
          </p:grpSpPr>
          <p:sp>
            <p:nvSpPr>
              <p:cNvPr id="109" name="Rectangle 108">
                <a:extLst>
                  <a:ext uri="{FF2B5EF4-FFF2-40B4-BE49-F238E27FC236}">
                    <a16:creationId xmlns:a16="http://schemas.microsoft.com/office/drawing/2014/main" id="{66D59475-186E-4F7A-A501-ABEDCC08DC98}"/>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Arc 109">
                <a:extLst>
                  <a:ext uri="{FF2B5EF4-FFF2-40B4-BE49-F238E27FC236}">
                    <a16:creationId xmlns:a16="http://schemas.microsoft.com/office/drawing/2014/main" id="{55C929AA-C5D4-4A29-94FC-BF99C03F9430}"/>
                  </a:ext>
                </a:extLst>
              </p:cNvPr>
              <p:cNvSpPr/>
              <p:nvPr/>
            </p:nvSpPr>
            <p:spPr>
              <a:xfrm>
                <a:off x="5805714" y="609691"/>
                <a:ext cx="410553" cy="386869"/>
              </a:xfrm>
              <a:prstGeom prst="arc">
                <a:avLst>
                  <a:gd name="adj1" fmla="val 1090146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26F5DDE8-77F1-4A19-9A73-FA16AD387091}"/>
                </a:ext>
              </a:extLst>
            </p:cNvPr>
            <p:cNvGrpSpPr/>
            <p:nvPr/>
          </p:nvGrpSpPr>
          <p:grpSpPr>
            <a:xfrm>
              <a:off x="5805714" y="3851826"/>
              <a:ext cx="580573" cy="386869"/>
              <a:chOff x="5805714" y="609691"/>
              <a:chExt cx="580573" cy="386869"/>
            </a:xfrm>
          </p:grpSpPr>
          <p:sp>
            <p:nvSpPr>
              <p:cNvPr id="112" name="Rectangle 111">
                <a:extLst>
                  <a:ext uri="{FF2B5EF4-FFF2-40B4-BE49-F238E27FC236}">
                    <a16:creationId xmlns:a16="http://schemas.microsoft.com/office/drawing/2014/main" id="{3975D25C-1E30-46E2-BA99-3037ADE3170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Arc 112">
                <a:extLst>
                  <a:ext uri="{FF2B5EF4-FFF2-40B4-BE49-F238E27FC236}">
                    <a16:creationId xmlns:a16="http://schemas.microsoft.com/office/drawing/2014/main" id="{5489E9B8-DC06-4350-B467-61A9DA0B02A7}"/>
                  </a:ext>
                </a:extLst>
              </p:cNvPr>
              <p:cNvSpPr/>
              <p:nvPr/>
            </p:nvSpPr>
            <p:spPr>
              <a:xfrm>
                <a:off x="5805714" y="609691"/>
                <a:ext cx="410553" cy="386869"/>
              </a:xfrm>
              <a:prstGeom prst="arc">
                <a:avLst>
                  <a:gd name="adj1" fmla="val 11023282"/>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0375CE18-5EC1-4881-8142-DC1BC91AD094}"/>
                </a:ext>
              </a:extLst>
            </p:cNvPr>
            <p:cNvGrpSpPr/>
            <p:nvPr/>
          </p:nvGrpSpPr>
          <p:grpSpPr>
            <a:xfrm>
              <a:off x="5805714" y="4162849"/>
              <a:ext cx="580573" cy="386869"/>
              <a:chOff x="5805714" y="609691"/>
              <a:chExt cx="580573" cy="386869"/>
            </a:xfrm>
          </p:grpSpPr>
          <p:sp>
            <p:nvSpPr>
              <p:cNvPr id="115" name="Rectangle 114">
                <a:extLst>
                  <a:ext uri="{FF2B5EF4-FFF2-40B4-BE49-F238E27FC236}">
                    <a16:creationId xmlns:a16="http://schemas.microsoft.com/office/drawing/2014/main" id="{10A76D25-919A-40D9-9554-EFE2D3956BE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Arc 115">
                <a:extLst>
                  <a:ext uri="{FF2B5EF4-FFF2-40B4-BE49-F238E27FC236}">
                    <a16:creationId xmlns:a16="http://schemas.microsoft.com/office/drawing/2014/main" id="{F541D253-66CC-4C59-909C-302800ABEEFC}"/>
                  </a:ext>
                </a:extLst>
              </p:cNvPr>
              <p:cNvSpPr/>
              <p:nvPr/>
            </p:nvSpPr>
            <p:spPr>
              <a:xfrm>
                <a:off x="5805714" y="609691"/>
                <a:ext cx="410553" cy="386869"/>
              </a:xfrm>
              <a:prstGeom prst="arc">
                <a:avLst>
                  <a:gd name="adj1" fmla="val 11168103"/>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D86A99F9-8CBA-4BBB-88F7-14582E27C64C}"/>
                </a:ext>
              </a:extLst>
            </p:cNvPr>
            <p:cNvGrpSpPr/>
            <p:nvPr/>
          </p:nvGrpSpPr>
          <p:grpSpPr>
            <a:xfrm>
              <a:off x="5805714" y="4473872"/>
              <a:ext cx="580573" cy="386869"/>
              <a:chOff x="5805714" y="609691"/>
              <a:chExt cx="580573" cy="386869"/>
            </a:xfrm>
          </p:grpSpPr>
          <p:sp>
            <p:nvSpPr>
              <p:cNvPr id="118" name="Rectangle 117">
                <a:extLst>
                  <a:ext uri="{FF2B5EF4-FFF2-40B4-BE49-F238E27FC236}">
                    <a16:creationId xmlns:a16="http://schemas.microsoft.com/office/drawing/2014/main" id="{16259704-CA38-4525-8489-D1FECD12BDBC}"/>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Arc 118">
                <a:extLst>
                  <a:ext uri="{FF2B5EF4-FFF2-40B4-BE49-F238E27FC236}">
                    <a16:creationId xmlns:a16="http://schemas.microsoft.com/office/drawing/2014/main" id="{40F4FCA1-5992-49D0-8CE6-8488CF6BAF04}"/>
                  </a:ext>
                </a:extLst>
              </p:cNvPr>
              <p:cNvSpPr/>
              <p:nvPr/>
            </p:nvSpPr>
            <p:spPr>
              <a:xfrm>
                <a:off x="5805714" y="609691"/>
                <a:ext cx="410553" cy="386869"/>
              </a:xfrm>
              <a:prstGeom prst="arc">
                <a:avLst>
                  <a:gd name="adj1" fmla="val 11188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0" name="Group 119">
              <a:extLst>
                <a:ext uri="{FF2B5EF4-FFF2-40B4-BE49-F238E27FC236}">
                  <a16:creationId xmlns:a16="http://schemas.microsoft.com/office/drawing/2014/main" id="{F5C59377-7214-4209-BA16-86D5D1DAE2B0}"/>
                </a:ext>
              </a:extLst>
            </p:cNvPr>
            <p:cNvGrpSpPr/>
            <p:nvPr/>
          </p:nvGrpSpPr>
          <p:grpSpPr>
            <a:xfrm>
              <a:off x="5805714" y="4784895"/>
              <a:ext cx="580573" cy="386869"/>
              <a:chOff x="5805714" y="609691"/>
              <a:chExt cx="580573" cy="386869"/>
            </a:xfrm>
          </p:grpSpPr>
          <p:sp>
            <p:nvSpPr>
              <p:cNvPr id="121" name="Rectangle 120">
                <a:extLst>
                  <a:ext uri="{FF2B5EF4-FFF2-40B4-BE49-F238E27FC236}">
                    <a16:creationId xmlns:a16="http://schemas.microsoft.com/office/drawing/2014/main" id="{959A5D35-C7AE-458F-BBB5-71CD3A3F97F8}"/>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Arc 121">
                <a:extLst>
                  <a:ext uri="{FF2B5EF4-FFF2-40B4-BE49-F238E27FC236}">
                    <a16:creationId xmlns:a16="http://schemas.microsoft.com/office/drawing/2014/main" id="{F490A229-65A6-4DFF-870F-4B92A114A66A}"/>
                  </a:ext>
                </a:extLst>
              </p:cNvPr>
              <p:cNvSpPr/>
              <p:nvPr/>
            </p:nvSpPr>
            <p:spPr>
              <a:xfrm>
                <a:off x="5805714" y="609691"/>
                <a:ext cx="410553" cy="386869"/>
              </a:xfrm>
              <a:prstGeom prst="arc">
                <a:avLst>
                  <a:gd name="adj1" fmla="val 11146438"/>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3" name="Group 122">
              <a:extLst>
                <a:ext uri="{FF2B5EF4-FFF2-40B4-BE49-F238E27FC236}">
                  <a16:creationId xmlns:a16="http://schemas.microsoft.com/office/drawing/2014/main" id="{9EC6FFFF-2006-4366-8566-0113AD9F036A}"/>
                </a:ext>
              </a:extLst>
            </p:cNvPr>
            <p:cNvGrpSpPr/>
            <p:nvPr/>
          </p:nvGrpSpPr>
          <p:grpSpPr>
            <a:xfrm>
              <a:off x="5805714" y="5095918"/>
              <a:ext cx="580573" cy="386869"/>
              <a:chOff x="5805714" y="609691"/>
              <a:chExt cx="580573" cy="386869"/>
            </a:xfrm>
          </p:grpSpPr>
          <p:sp>
            <p:nvSpPr>
              <p:cNvPr id="124" name="Rectangle 123">
                <a:extLst>
                  <a:ext uri="{FF2B5EF4-FFF2-40B4-BE49-F238E27FC236}">
                    <a16:creationId xmlns:a16="http://schemas.microsoft.com/office/drawing/2014/main" id="{595E399E-0521-4D5B-914F-29C3ADDF2B72}"/>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Arc 124">
                <a:extLst>
                  <a:ext uri="{FF2B5EF4-FFF2-40B4-BE49-F238E27FC236}">
                    <a16:creationId xmlns:a16="http://schemas.microsoft.com/office/drawing/2014/main" id="{14739334-2472-4756-B880-7780C40DA407}"/>
                  </a:ext>
                </a:extLst>
              </p:cNvPr>
              <p:cNvSpPr/>
              <p:nvPr/>
            </p:nvSpPr>
            <p:spPr>
              <a:xfrm>
                <a:off x="5805714" y="609691"/>
                <a:ext cx="410553" cy="386869"/>
              </a:xfrm>
              <a:prstGeom prst="arc">
                <a:avLst>
                  <a:gd name="adj1" fmla="val 1112251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6" name="Group 125">
              <a:extLst>
                <a:ext uri="{FF2B5EF4-FFF2-40B4-BE49-F238E27FC236}">
                  <a16:creationId xmlns:a16="http://schemas.microsoft.com/office/drawing/2014/main" id="{6D7FEFCF-F5E2-48A4-8DA2-466E3FA530E8}"/>
                </a:ext>
              </a:extLst>
            </p:cNvPr>
            <p:cNvGrpSpPr/>
            <p:nvPr/>
          </p:nvGrpSpPr>
          <p:grpSpPr>
            <a:xfrm>
              <a:off x="5805714" y="5406941"/>
              <a:ext cx="580573" cy="386869"/>
              <a:chOff x="5805714" y="609691"/>
              <a:chExt cx="580573" cy="386869"/>
            </a:xfrm>
          </p:grpSpPr>
          <p:sp>
            <p:nvSpPr>
              <p:cNvPr id="127" name="Rectangle 126">
                <a:extLst>
                  <a:ext uri="{FF2B5EF4-FFF2-40B4-BE49-F238E27FC236}">
                    <a16:creationId xmlns:a16="http://schemas.microsoft.com/office/drawing/2014/main" id="{5B8C7798-2FB8-447C-BA5C-ECB75C74E5AD}"/>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Arc 127">
                <a:extLst>
                  <a:ext uri="{FF2B5EF4-FFF2-40B4-BE49-F238E27FC236}">
                    <a16:creationId xmlns:a16="http://schemas.microsoft.com/office/drawing/2014/main" id="{DDFE7CA2-AC7D-4CF0-A779-1F7EC6161969}"/>
                  </a:ext>
                </a:extLst>
              </p:cNvPr>
              <p:cNvSpPr/>
              <p:nvPr/>
            </p:nvSpPr>
            <p:spPr>
              <a:xfrm>
                <a:off x="5805714" y="609691"/>
                <a:ext cx="410553" cy="386869"/>
              </a:xfrm>
              <a:prstGeom prst="arc">
                <a:avLst>
                  <a:gd name="adj1" fmla="val 1087916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9" name="Group 128">
              <a:extLst>
                <a:ext uri="{FF2B5EF4-FFF2-40B4-BE49-F238E27FC236}">
                  <a16:creationId xmlns:a16="http://schemas.microsoft.com/office/drawing/2014/main" id="{EF6B5FAD-EB1F-43DC-8B99-11CAD21D64C9}"/>
                </a:ext>
              </a:extLst>
            </p:cNvPr>
            <p:cNvGrpSpPr/>
            <p:nvPr/>
          </p:nvGrpSpPr>
          <p:grpSpPr>
            <a:xfrm>
              <a:off x="5805714" y="5717964"/>
              <a:ext cx="580573" cy="386869"/>
              <a:chOff x="5805714" y="609691"/>
              <a:chExt cx="580573" cy="386869"/>
            </a:xfrm>
          </p:grpSpPr>
          <p:sp>
            <p:nvSpPr>
              <p:cNvPr id="130" name="Rectangle 129">
                <a:extLst>
                  <a:ext uri="{FF2B5EF4-FFF2-40B4-BE49-F238E27FC236}">
                    <a16:creationId xmlns:a16="http://schemas.microsoft.com/office/drawing/2014/main" id="{B817890A-729D-4FBB-8EF7-DAFD6F73427B}"/>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Arc 130">
                <a:extLst>
                  <a:ext uri="{FF2B5EF4-FFF2-40B4-BE49-F238E27FC236}">
                    <a16:creationId xmlns:a16="http://schemas.microsoft.com/office/drawing/2014/main" id="{EAD6132E-2435-4771-A3CC-CCE94E7A9600}"/>
                  </a:ext>
                </a:extLst>
              </p:cNvPr>
              <p:cNvSpPr/>
              <p:nvPr/>
            </p:nvSpPr>
            <p:spPr>
              <a:xfrm>
                <a:off x="5805714" y="609691"/>
                <a:ext cx="410553" cy="386869"/>
              </a:xfrm>
              <a:prstGeom prst="arc">
                <a:avLst>
                  <a:gd name="adj1" fmla="val 1099240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Group 131">
              <a:extLst>
                <a:ext uri="{FF2B5EF4-FFF2-40B4-BE49-F238E27FC236}">
                  <a16:creationId xmlns:a16="http://schemas.microsoft.com/office/drawing/2014/main" id="{2B7006E1-B188-46BA-BAA5-15A960905F4C}"/>
                </a:ext>
              </a:extLst>
            </p:cNvPr>
            <p:cNvGrpSpPr/>
            <p:nvPr/>
          </p:nvGrpSpPr>
          <p:grpSpPr>
            <a:xfrm>
              <a:off x="5805714" y="6028987"/>
              <a:ext cx="580573" cy="386869"/>
              <a:chOff x="5805714" y="609691"/>
              <a:chExt cx="580573" cy="386869"/>
            </a:xfrm>
          </p:grpSpPr>
          <p:sp>
            <p:nvSpPr>
              <p:cNvPr id="133" name="Rectangle 132">
                <a:extLst>
                  <a:ext uri="{FF2B5EF4-FFF2-40B4-BE49-F238E27FC236}">
                    <a16:creationId xmlns:a16="http://schemas.microsoft.com/office/drawing/2014/main" id="{D01250CF-AFA1-4A19-B3C7-7F163609380B}"/>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c 133">
                <a:extLst>
                  <a:ext uri="{FF2B5EF4-FFF2-40B4-BE49-F238E27FC236}">
                    <a16:creationId xmlns:a16="http://schemas.microsoft.com/office/drawing/2014/main" id="{1014BA5C-C370-44EB-84DA-2D69E36CE6C3}"/>
                  </a:ext>
                </a:extLst>
              </p:cNvPr>
              <p:cNvSpPr/>
              <p:nvPr/>
            </p:nvSpPr>
            <p:spPr>
              <a:xfrm>
                <a:off x="5805714" y="609691"/>
                <a:ext cx="410553" cy="386869"/>
              </a:xfrm>
              <a:prstGeom prst="arc">
                <a:avLst>
                  <a:gd name="adj1" fmla="val 11197210"/>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Group 134">
              <a:extLst>
                <a:ext uri="{FF2B5EF4-FFF2-40B4-BE49-F238E27FC236}">
                  <a16:creationId xmlns:a16="http://schemas.microsoft.com/office/drawing/2014/main" id="{AD8CB7E5-EBC4-4791-B93B-D0B41B862B83}"/>
                </a:ext>
              </a:extLst>
            </p:cNvPr>
            <p:cNvGrpSpPr/>
            <p:nvPr/>
          </p:nvGrpSpPr>
          <p:grpSpPr>
            <a:xfrm>
              <a:off x="5805714" y="6340004"/>
              <a:ext cx="580573" cy="386869"/>
              <a:chOff x="5805714" y="609691"/>
              <a:chExt cx="580573" cy="386869"/>
            </a:xfrm>
          </p:grpSpPr>
          <p:sp>
            <p:nvSpPr>
              <p:cNvPr id="136" name="Rectangle 135">
                <a:extLst>
                  <a:ext uri="{FF2B5EF4-FFF2-40B4-BE49-F238E27FC236}">
                    <a16:creationId xmlns:a16="http://schemas.microsoft.com/office/drawing/2014/main" id="{CF456FF3-391C-4C8E-A128-A413BDBBB225}"/>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c 136">
                <a:extLst>
                  <a:ext uri="{FF2B5EF4-FFF2-40B4-BE49-F238E27FC236}">
                    <a16:creationId xmlns:a16="http://schemas.microsoft.com/office/drawing/2014/main" id="{8838FE2A-04D7-44E3-97C3-54338832CB9A}"/>
                  </a:ext>
                </a:extLst>
              </p:cNvPr>
              <p:cNvSpPr/>
              <p:nvPr/>
            </p:nvSpPr>
            <p:spPr>
              <a:xfrm>
                <a:off x="5805714" y="609691"/>
                <a:ext cx="410553" cy="386869"/>
              </a:xfrm>
              <a:prstGeom prst="arc">
                <a:avLst>
                  <a:gd name="adj1" fmla="val 1112980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pic>
        <p:nvPicPr>
          <p:cNvPr id="150" name="Picture 149">
            <a:extLst>
              <a:ext uri="{FF2B5EF4-FFF2-40B4-BE49-F238E27FC236}">
                <a16:creationId xmlns:a16="http://schemas.microsoft.com/office/drawing/2014/main" id="{BFBF549F-7DA0-4A6F-AEE0-FCB6B73BDB93}"/>
              </a:ext>
            </a:extLst>
          </p:cNvPr>
          <p:cNvPicPr>
            <a:picLocks noChangeAspect="1"/>
          </p:cNvPicPr>
          <p:nvPr/>
        </p:nvPicPr>
        <p:blipFill rotWithShape="1">
          <a:blip r:embed="rId3">
            <a:extLst>
              <a:ext uri="{28A0092B-C50C-407E-A947-70E740481C1C}">
                <a14:useLocalDpi xmlns:a14="http://schemas.microsoft.com/office/drawing/2010/main" val="0"/>
              </a:ext>
            </a:extLst>
          </a:blip>
          <a:srcRect l="-118" r="-1110"/>
          <a:stretch/>
        </p:blipFill>
        <p:spPr>
          <a:xfrm>
            <a:off x="1026089" y="1650796"/>
            <a:ext cx="4385318" cy="3303111"/>
          </a:xfrm>
          <a:prstGeom prst="rect">
            <a:avLst/>
          </a:prstGeom>
          <a:ln>
            <a:noFill/>
          </a:ln>
        </p:spPr>
      </p:pic>
      <p:sp>
        <p:nvSpPr>
          <p:cNvPr id="151" name="TextBox 150">
            <a:extLst>
              <a:ext uri="{FF2B5EF4-FFF2-40B4-BE49-F238E27FC236}">
                <a16:creationId xmlns:a16="http://schemas.microsoft.com/office/drawing/2014/main" id="{60530E8E-A8C0-431B-B57F-E1B42D3BA64D}"/>
              </a:ext>
            </a:extLst>
          </p:cNvPr>
          <p:cNvSpPr txBox="1"/>
          <p:nvPr/>
        </p:nvSpPr>
        <p:spPr>
          <a:xfrm>
            <a:off x="1026089" y="493622"/>
            <a:ext cx="4369462" cy="830997"/>
          </a:xfrm>
          <a:prstGeom prst="rect">
            <a:avLst/>
          </a:prstGeom>
          <a:noFill/>
        </p:spPr>
        <p:txBody>
          <a:bodyPr wrap="square" rtlCol="0">
            <a:spAutoFit/>
            <a:scene3d>
              <a:camera prst="orthographicFront"/>
              <a:lightRig rig="soft" dir="t">
                <a:rot lat="0" lon="0" rev="15600000"/>
              </a:lightRig>
            </a:scene3d>
            <a:sp3d extrusionH="57150" prstMaterial="softEdge">
              <a:bevelT w="25400" h="38100"/>
            </a:sp3d>
          </a:bodyPr>
          <a:lstStyle/>
          <a:p>
            <a:r>
              <a:rPr lang="en-US" sz="2400" b="1" dirty="0" err="1">
                <a:ln/>
                <a:solidFill>
                  <a:schemeClr val="accent4"/>
                </a:solidFill>
              </a:rPr>
              <a:t>Indias</a:t>
            </a:r>
            <a:r>
              <a:rPr lang="en-US" sz="2400" b="1" dirty="0">
                <a:ln/>
                <a:solidFill>
                  <a:schemeClr val="accent4"/>
                </a:solidFill>
              </a:rPr>
              <a:t> First C and D Waste Recycle Plant</a:t>
            </a:r>
          </a:p>
        </p:txBody>
      </p:sp>
      <p:sp>
        <p:nvSpPr>
          <p:cNvPr id="152" name="TextBox 151">
            <a:extLst>
              <a:ext uri="{FF2B5EF4-FFF2-40B4-BE49-F238E27FC236}">
                <a16:creationId xmlns:a16="http://schemas.microsoft.com/office/drawing/2014/main" id="{F17F90DE-4592-4CE6-86FC-68F90689D341}"/>
              </a:ext>
            </a:extLst>
          </p:cNvPr>
          <p:cNvSpPr txBox="1"/>
          <p:nvPr/>
        </p:nvSpPr>
        <p:spPr>
          <a:xfrm>
            <a:off x="1194203" y="5367374"/>
            <a:ext cx="4082988" cy="369332"/>
          </a:xfrm>
          <a:prstGeom prst="rect">
            <a:avLst/>
          </a:prstGeom>
          <a:noFill/>
        </p:spPr>
        <p:txBody>
          <a:bodyPr wrap="square" rtlCol="0">
            <a:spAutoFit/>
          </a:bodyPr>
          <a:lstStyle/>
          <a:p>
            <a:r>
              <a:rPr lang="de-DE" altLang="de-DE" spc="300" dirty="0">
                <a:solidFill>
                  <a:srgbClr val="FF0000"/>
                </a:solidFill>
              </a:rPr>
              <a:t>Burari Plant (New Delhi)</a:t>
            </a:r>
          </a:p>
        </p:txBody>
      </p:sp>
      <p:sp>
        <p:nvSpPr>
          <p:cNvPr id="154" name="TextBox 153">
            <a:extLst>
              <a:ext uri="{FF2B5EF4-FFF2-40B4-BE49-F238E27FC236}">
                <a16:creationId xmlns:a16="http://schemas.microsoft.com/office/drawing/2014/main" id="{203A0D87-3F8E-4559-89DC-4B6B937EE6B3}"/>
              </a:ext>
            </a:extLst>
          </p:cNvPr>
          <p:cNvSpPr txBox="1"/>
          <p:nvPr/>
        </p:nvSpPr>
        <p:spPr>
          <a:xfrm>
            <a:off x="6380292" y="776091"/>
            <a:ext cx="4963748" cy="1559145"/>
          </a:xfrm>
          <a:prstGeom prst="rect">
            <a:avLst/>
          </a:prstGeom>
          <a:noFill/>
        </p:spPr>
        <p:txBody>
          <a:bodyPr wrap="square" rtlCol="0">
            <a:spAutoFit/>
          </a:bodyPr>
          <a:lstStyle/>
          <a:p>
            <a:pPr>
              <a:lnSpc>
                <a:spcPct val="250000"/>
              </a:lnSpc>
            </a:pPr>
            <a:r>
              <a:rPr lang="en-US" sz="1400" b="1" dirty="0">
                <a:solidFill>
                  <a:schemeClr val="bg1"/>
                </a:solidFill>
              </a:rPr>
              <a:t>The Plant At </a:t>
            </a:r>
            <a:r>
              <a:rPr lang="en-US" sz="1400" b="1" dirty="0" err="1">
                <a:solidFill>
                  <a:schemeClr val="bg1"/>
                </a:solidFill>
              </a:rPr>
              <a:t>Burari</a:t>
            </a:r>
            <a:r>
              <a:rPr lang="en-US" sz="1400" b="1" dirty="0">
                <a:solidFill>
                  <a:schemeClr val="bg1"/>
                </a:solidFill>
              </a:rPr>
              <a:t> Will Help Ease The Pressure Of The 5000 Tons Of C&amp;D Waste That Delhi Generates Per Day.</a:t>
            </a:r>
          </a:p>
          <a:p>
            <a:pPr>
              <a:lnSpc>
                <a:spcPct val="250000"/>
              </a:lnSpc>
            </a:pPr>
            <a:endParaRPr lang="en-US" sz="1200" dirty="0">
              <a:solidFill>
                <a:srgbClr val="0070C0"/>
              </a:solidFill>
              <a:latin typeface="Hand Of Sean" panose="02000500000000000000" pitchFamily="2" charset="-128"/>
              <a:ea typeface="Hand Of Sean" panose="02000500000000000000" pitchFamily="2" charset="-128"/>
            </a:endParaRPr>
          </a:p>
        </p:txBody>
      </p:sp>
    </p:spTree>
    <p:extLst>
      <p:ext uri="{BB962C8B-B14F-4D97-AF65-F5344CB8AC3E}">
        <p14:creationId xmlns:p14="http://schemas.microsoft.com/office/powerpoint/2010/main" val="237495426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3"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62657" y="696164"/>
            <a:ext cx="2385781" cy="615553"/>
          </a:xfrm>
          <a:prstGeom prst="rect">
            <a:avLst/>
          </a:prstGeom>
          <a:noFill/>
        </p:spPr>
        <p:txBody>
          <a:bodyPr wrap="none" lIns="0" tIns="0" rIns="0" bIns="0" numCol="1" rtlCol="0">
            <a:spAutoFit/>
          </a:bodyPr>
          <a:lstStyle/>
          <a:p>
            <a:r>
              <a:rPr lang="de-DE" altLang="de-DE" sz="4000" spc="300" dirty="0"/>
              <a:t>Concrete</a:t>
            </a:r>
          </a:p>
        </p:txBody>
      </p:sp>
      <p:sp>
        <p:nvSpPr>
          <p:cNvPr id="8" name="TextBox 7">
            <a:extLst>
              <a:ext uri="{FF2B5EF4-FFF2-40B4-BE49-F238E27FC236}">
                <a16:creationId xmlns:a16="http://schemas.microsoft.com/office/drawing/2014/main" id="{C9A73559-491A-4614-A844-496762024E0B}"/>
              </a:ext>
            </a:extLst>
          </p:cNvPr>
          <p:cNvSpPr txBox="1"/>
          <p:nvPr/>
        </p:nvSpPr>
        <p:spPr>
          <a:xfrm>
            <a:off x="595214" y="1869168"/>
            <a:ext cx="6056086" cy="2954655"/>
          </a:xfrm>
          <a:prstGeom prst="rect">
            <a:avLst/>
          </a:prstGeom>
          <a:noFill/>
        </p:spPr>
        <p:txBody>
          <a:bodyPr wrap="square" lIns="0" tIns="0" rIns="0" bIns="0" numCol="1" rtlCol="0">
            <a:spAutoFit/>
          </a:bodyPr>
          <a:lstStyle/>
          <a:p>
            <a:r>
              <a:rPr lang="en-US" sz="2400" dirty="0"/>
              <a:t>Concrete wastes can be generated due to demolition of existing structures and testing of concrete samples etc. commonly recycling measures of concrete wastes are used crushed concrete as aggregate. The crushed concrete aggregate has been used as a replacement to natural aggregate in new concrete.</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53303" y="1831831"/>
            <a:ext cx="4441372" cy="4194880"/>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999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64649" y="1831831"/>
            <a:ext cx="4476626" cy="4194880"/>
          </a:xfrm>
          <a:prstGeom prst="ellipse">
            <a:avLst/>
          </a:prstGeom>
          <a:ln>
            <a:solidFill>
              <a:schemeClr val="bg2"/>
            </a:solidFill>
          </a:ln>
        </p:spPr>
      </p:pic>
      <p:sp>
        <p:nvSpPr>
          <p:cNvPr id="17" name="!!Oval 8">
            <a:extLst>
              <a:ext uri="{FF2B5EF4-FFF2-40B4-BE49-F238E27FC236}">
                <a16:creationId xmlns:a16="http://schemas.microsoft.com/office/drawing/2014/main" id="{8BF0DA5B-4937-4182-8483-31B12B78C832}"/>
              </a:ext>
            </a:extLst>
          </p:cNvPr>
          <p:cNvSpPr/>
          <p:nvPr/>
        </p:nvSpPr>
        <p:spPr>
          <a:xfrm>
            <a:off x="231225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3" name="!!Oval 17">
            <a:extLst>
              <a:ext uri="{FF2B5EF4-FFF2-40B4-BE49-F238E27FC236}">
                <a16:creationId xmlns:a16="http://schemas.microsoft.com/office/drawing/2014/main" id="{2D5B680D-5E09-4AFB-B2E1-9A52A8026684}"/>
              </a:ext>
            </a:extLst>
          </p:cNvPr>
          <p:cNvSpPr/>
          <p:nvPr/>
        </p:nvSpPr>
        <p:spPr>
          <a:xfrm>
            <a:off x="266338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2"/>
    </p:custDataLst>
    <p:extLst>
      <p:ext uri="{BB962C8B-B14F-4D97-AF65-F5344CB8AC3E}">
        <p14:creationId xmlns:p14="http://schemas.microsoft.com/office/powerpoint/2010/main" val="3257447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a:extLst>
              <a:ext uri="{FF2B5EF4-FFF2-40B4-BE49-F238E27FC236}">
                <a16:creationId xmlns:a16="http://schemas.microsoft.com/office/drawing/2014/main" id="{55C089E3-40F2-48EE-94AD-97A50E3AC6F8}"/>
              </a:ext>
            </a:extLst>
          </p:cNvPr>
          <p:cNvSpPr/>
          <p:nvPr/>
        </p:nvSpPr>
        <p:spPr>
          <a:xfrm>
            <a:off x="6096000" y="0"/>
            <a:ext cx="5660571" cy="6858000"/>
          </a:xfrm>
          <a:prstGeom prst="rect">
            <a:avLst/>
          </a:prstGeom>
          <a:blipFill>
            <a:blip r:embed="rId2"/>
            <a:stretch>
              <a:fillRect/>
            </a:stretch>
          </a:blipFill>
          <a:ln>
            <a:noFill/>
          </a:ln>
          <a:effectLst>
            <a:outerShdw blurRad="50800" dist="762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C03955BB-E41C-4E77-BB48-325360470229}"/>
              </a:ext>
            </a:extLst>
          </p:cNvPr>
          <p:cNvSpPr/>
          <p:nvPr/>
        </p:nvSpPr>
        <p:spPr>
          <a:xfrm>
            <a:off x="275044" y="-5786"/>
            <a:ext cx="5681417" cy="6858000"/>
          </a:xfrm>
          <a:prstGeom prst="rect">
            <a:avLst/>
          </a:prstGeom>
          <a:blipFill>
            <a:blip r:embed="rId2"/>
            <a:stretch>
              <a:fillRect/>
            </a:stretch>
          </a:blipFill>
          <a:ln>
            <a:noFill/>
          </a:ln>
          <a:effectLst>
            <a:outerShdw blurRad="50800" dist="889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0" name="Group 189">
            <a:extLst>
              <a:ext uri="{FF2B5EF4-FFF2-40B4-BE49-F238E27FC236}">
                <a16:creationId xmlns:a16="http://schemas.microsoft.com/office/drawing/2014/main" id="{B1C4F1B1-18D1-4F24-A7B4-A913BFFF45E6}"/>
              </a:ext>
            </a:extLst>
          </p:cNvPr>
          <p:cNvGrpSpPr/>
          <p:nvPr/>
        </p:nvGrpSpPr>
        <p:grpSpPr>
          <a:xfrm>
            <a:off x="6096000" y="119550"/>
            <a:ext cx="5574535" cy="6778315"/>
            <a:chOff x="6096000" y="119550"/>
            <a:chExt cx="5574535" cy="6778315"/>
          </a:xfrm>
        </p:grpSpPr>
        <p:sp>
          <p:nvSpPr>
            <p:cNvPr id="191" name="Rectangle 190">
              <a:extLst>
                <a:ext uri="{FF2B5EF4-FFF2-40B4-BE49-F238E27FC236}">
                  <a16:creationId xmlns:a16="http://schemas.microsoft.com/office/drawing/2014/main" id="{479DEB60-7570-45B4-8336-36827F8A3ED2}"/>
                </a:ext>
              </a:extLst>
            </p:cNvPr>
            <p:cNvSpPr/>
            <p:nvPr/>
          </p:nvSpPr>
          <p:spPr>
            <a:xfrm>
              <a:off x="11148331" y="4069452"/>
              <a:ext cx="522204" cy="2657736"/>
            </a:xfrm>
            <a:prstGeom prst="rect">
              <a:avLst/>
            </a:prstGeom>
            <a:solidFill>
              <a:srgbClr val="FFCC00"/>
            </a:solidFill>
            <a:ln>
              <a:no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2" name="Freeform: Shape 191">
              <a:extLst>
                <a:ext uri="{FF2B5EF4-FFF2-40B4-BE49-F238E27FC236}">
                  <a16:creationId xmlns:a16="http://schemas.microsoft.com/office/drawing/2014/main" id="{1F0B4A1C-B94A-47CE-AED1-2D2A4BE4CFF9}"/>
                </a:ext>
              </a:extLst>
            </p:cNvPr>
            <p:cNvSpPr/>
            <p:nvPr/>
          </p:nvSpPr>
          <p:spPr>
            <a:xfrm>
              <a:off x="6128872" y="119550"/>
              <a:ext cx="5395162" cy="6607323"/>
            </a:xfrm>
            <a:custGeom>
              <a:avLst/>
              <a:gdLst>
                <a:gd name="connsiteX0" fmla="*/ 0 w 5395162"/>
                <a:gd name="connsiteY0" fmla="*/ 0 h 6607323"/>
                <a:gd name="connsiteX1" fmla="*/ 5395162 w 5395162"/>
                <a:gd name="connsiteY1" fmla="*/ 0 h 6607323"/>
                <a:gd name="connsiteX2" fmla="*/ 5395162 w 5395162"/>
                <a:gd name="connsiteY2" fmla="*/ 3949902 h 6607323"/>
                <a:gd name="connsiteX3" fmla="*/ 5230980 w 5395162"/>
                <a:gd name="connsiteY3" fmla="*/ 3949902 h 6607323"/>
                <a:gd name="connsiteX4" fmla="*/ 5032614 w 5395162"/>
                <a:gd name="connsiteY4" fmla="*/ 4148268 h 6607323"/>
                <a:gd name="connsiteX5" fmla="*/ 5032614 w 5395162"/>
                <a:gd name="connsiteY5" fmla="*/ 6607209 h 6607323"/>
                <a:gd name="connsiteX6" fmla="*/ 5032625 w 5395162"/>
                <a:gd name="connsiteY6" fmla="*/ 6607323 h 6607323"/>
                <a:gd name="connsiteX7" fmla="*/ 0 w 5395162"/>
                <a:gd name="connsiteY7" fmla="*/ 6607323 h 660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5162" h="6607323">
                  <a:moveTo>
                    <a:pt x="0" y="0"/>
                  </a:moveTo>
                  <a:lnTo>
                    <a:pt x="5395162" y="0"/>
                  </a:lnTo>
                  <a:lnTo>
                    <a:pt x="5395162" y="3949902"/>
                  </a:lnTo>
                  <a:lnTo>
                    <a:pt x="5230980" y="3949902"/>
                  </a:lnTo>
                  <a:cubicBezTo>
                    <a:pt x="5121425" y="3949902"/>
                    <a:pt x="5032614" y="4038713"/>
                    <a:pt x="5032614" y="4148268"/>
                  </a:cubicBezTo>
                  <a:lnTo>
                    <a:pt x="5032614" y="6607209"/>
                  </a:lnTo>
                  <a:lnTo>
                    <a:pt x="5032625" y="6607323"/>
                  </a:lnTo>
                  <a:lnTo>
                    <a:pt x="0" y="6607323"/>
                  </a:lnTo>
                  <a:close/>
                </a:path>
              </a:pathLst>
            </a:custGeom>
            <a:solidFill>
              <a:srgbClr val="FDFDFD"/>
            </a:solidFill>
            <a:ln>
              <a:no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3" name="Straight Connector 192">
              <a:extLst>
                <a:ext uri="{FF2B5EF4-FFF2-40B4-BE49-F238E27FC236}">
                  <a16:creationId xmlns:a16="http://schemas.microsoft.com/office/drawing/2014/main" id="{59162A81-0D26-49D5-9C3D-AF1145F70A57}"/>
                </a:ext>
              </a:extLst>
            </p:cNvPr>
            <p:cNvCxnSpPr>
              <a:cxnSpLocks/>
            </p:cNvCxnSpPr>
            <p:nvPr/>
          </p:nvCxnSpPr>
          <p:spPr>
            <a:xfrm>
              <a:off x="6096000" y="909390"/>
              <a:ext cx="5428034"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DC12B9C-03BA-4147-9B14-30D86730F24B}"/>
                </a:ext>
              </a:extLst>
            </p:cNvPr>
            <p:cNvCxnSpPr>
              <a:cxnSpLocks/>
            </p:cNvCxnSpPr>
            <p:nvPr/>
          </p:nvCxnSpPr>
          <p:spPr>
            <a:xfrm>
              <a:off x="6126481" y="137418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DCDD4C6-51F4-4E17-AD53-489FD1F39D5F}"/>
                </a:ext>
              </a:extLst>
            </p:cNvPr>
            <p:cNvCxnSpPr>
              <a:cxnSpLocks/>
            </p:cNvCxnSpPr>
            <p:nvPr/>
          </p:nvCxnSpPr>
          <p:spPr>
            <a:xfrm>
              <a:off x="6126481" y="1864456"/>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22656D87-BB85-4C46-9209-8C9140CFF071}"/>
                </a:ext>
              </a:extLst>
            </p:cNvPr>
            <p:cNvCxnSpPr>
              <a:cxnSpLocks/>
            </p:cNvCxnSpPr>
            <p:nvPr/>
          </p:nvCxnSpPr>
          <p:spPr>
            <a:xfrm>
              <a:off x="6126481" y="2354732"/>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B8516F6C-3E8F-41F1-85A7-8235F4B1C824}"/>
                </a:ext>
              </a:extLst>
            </p:cNvPr>
            <p:cNvCxnSpPr>
              <a:cxnSpLocks/>
            </p:cNvCxnSpPr>
            <p:nvPr/>
          </p:nvCxnSpPr>
          <p:spPr>
            <a:xfrm>
              <a:off x="6126481" y="2845008"/>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989266B4-BC34-4ABF-A425-A7DC3F37E571}"/>
                </a:ext>
              </a:extLst>
            </p:cNvPr>
            <p:cNvCxnSpPr>
              <a:cxnSpLocks/>
            </p:cNvCxnSpPr>
            <p:nvPr/>
          </p:nvCxnSpPr>
          <p:spPr>
            <a:xfrm>
              <a:off x="6126481" y="3335284"/>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6FBF9DB6-3F78-4FB6-A1C7-279765773246}"/>
                </a:ext>
              </a:extLst>
            </p:cNvPr>
            <p:cNvCxnSpPr>
              <a:cxnSpLocks/>
            </p:cNvCxnSpPr>
            <p:nvPr/>
          </p:nvCxnSpPr>
          <p:spPr>
            <a:xfrm>
              <a:off x="6126481" y="382556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7FF3BCF-0219-48EC-8281-6991C30C1636}"/>
                </a:ext>
              </a:extLst>
            </p:cNvPr>
            <p:cNvCxnSpPr>
              <a:cxnSpLocks/>
            </p:cNvCxnSpPr>
            <p:nvPr/>
          </p:nvCxnSpPr>
          <p:spPr>
            <a:xfrm>
              <a:off x="6126481" y="4315836"/>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66E6F99E-140E-42F7-9CD9-520ABBCB79FF}"/>
                </a:ext>
              </a:extLst>
            </p:cNvPr>
            <p:cNvCxnSpPr>
              <a:cxnSpLocks/>
            </p:cNvCxnSpPr>
            <p:nvPr/>
          </p:nvCxnSpPr>
          <p:spPr>
            <a:xfrm>
              <a:off x="6126481" y="4806112"/>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FD4DA134-0BBC-4EEA-B046-D144F8362963}"/>
                </a:ext>
              </a:extLst>
            </p:cNvPr>
            <p:cNvCxnSpPr>
              <a:cxnSpLocks/>
            </p:cNvCxnSpPr>
            <p:nvPr/>
          </p:nvCxnSpPr>
          <p:spPr>
            <a:xfrm>
              <a:off x="6126481" y="5296388"/>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D81023F8-3930-4E86-AADD-C34248F41F99}"/>
                </a:ext>
              </a:extLst>
            </p:cNvPr>
            <p:cNvCxnSpPr>
              <a:cxnSpLocks/>
            </p:cNvCxnSpPr>
            <p:nvPr/>
          </p:nvCxnSpPr>
          <p:spPr>
            <a:xfrm>
              <a:off x="6126481" y="5786664"/>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AB4022E9-383B-473B-A517-D6A80C1B6F12}"/>
                </a:ext>
              </a:extLst>
            </p:cNvPr>
            <p:cNvCxnSpPr>
              <a:cxnSpLocks/>
            </p:cNvCxnSpPr>
            <p:nvPr/>
          </p:nvCxnSpPr>
          <p:spPr>
            <a:xfrm>
              <a:off x="6126481" y="6276940"/>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B1FBF4D5-CE44-480D-BC29-B88EB2D96005}"/>
                </a:ext>
              </a:extLst>
            </p:cNvPr>
            <p:cNvSpPr txBox="1"/>
            <p:nvPr/>
          </p:nvSpPr>
          <p:spPr>
            <a:xfrm>
              <a:off x="11176000" y="5595360"/>
              <a:ext cx="461665" cy="1302505"/>
            </a:xfrm>
            <a:prstGeom prst="rect">
              <a:avLst/>
            </a:prstGeom>
            <a:noFill/>
          </p:spPr>
          <p:txBody>
            <a:bodyPr vert="vert270" wrap="square" rtlCol="0">
              <a:spAutoFit/>
            </a:bodyPr>
            <a:lstStyle/>
            <a:p>
              <a:pPr algn="ctr"/>
              <a:r>
                <a:rPr lang="en-US" b="1" dirty="0"/>
                <a:t>PAGE 05</a:t>
              </a:r>
            </a:p>
          </p:txBody>
        </p:sp>
      </p:grpSp>
      <p:grpSp>
        <p:nvGrpSpPr>
          <p:cNvPr id="174" name="Group 173">
            <a:extLst>
              <a:ext uri="{FF2B5EF4-FFF2-40B4-BE49-F238E27FC236}">
                <a16:creationId xmlns:a16="http://schemas.microsoft.com/office/drawing/2014/main" id="{4D3EC6F6-41B8-42EA-9450-9660D30297B3}"/>
              </a:ext>
            </a:extLst>
          </p:cNvPr>
          <p:cNvGrpSpPr/>
          <p:nvPr/>
        </p:nvGrpSpPr>
        <p:grpSpPr>
          <a:xfrm flipH="1">
            <a:off x="351445" y="89189"/>
            <a:ext cx="5574535" cy="6778315"/>
            <a:chOff x="6096000" y="119550"/>
            <a:chExt cx="5574535" cy="6778315"/>
          </a:xfrm>
        </p:grpSpPr>
        <p:sp>
          <p:nvSpPr>
            <p:cNvPr id="175" name="Rectangle 174">
              <a:extLst>
                <a:ext uri="{FF2B5EF4-FFF2-40B4-BE49-F238E27FC236}">
                  <a16:creationId xmlns:a16="http://schemas.microsoft.com/office/drawing/2014/main" id="{BC45525F-CA64-4D1D-A75E-E6290B229999}"/>
                </a:ext>
              </a:extLst>
            </p:cNvPr>
            <p:cNvSpPr/>
            <p:nvPr/>
          </p:nvSpPr>
          <p:spPr>
            <a:xfrm>
              <a:off x="11148331" y="4069452"/>
              <a:ext cx="522204" cy="2657736"/>
            </a:xfrm>
            <a:prstGeom prst="rect">
              <a:avLst/>
            </a:prstGeom>
            <a:solidFill>
              <a:srgbClr val="FF0066"/>
            </a:solidFill>
            <a:ln>
              <a:noFill/>
            </a:ln>
            <a:effectLst>
              <a:outerShdw blurRad="50800" dist="635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6" name="Freeform: Shape 175">
              <a:extLst>
                <a:ext uri="{FF2B5EF4-FFF2-40B4-BE49-F238E27FC236}">
                  <a16:creationId xmlns:a16="http://schemas.microsoft.com/office/drawing/2014/main" id="{4CCDAA36-0014-487F-9FC8-FB18AD79A536}"/>
                </a:ext>
              </a:extLst>
            </p:cNvPr>
            <p:cNvSpPr/>
            <p:nvPr/>
          </p:nvSpPr>
          <p:spPr>
            <a:xfrm>
              <a:off x="6128872" y="119550"/>
              <a:ext cx="5395162" cy="6607323"/>
            </a:xfrm>
            <a:custGeom>
              <a:avLst/>
              <a:gdLst>
                <a:gd name="connsiteX0" fmla="*/ 0 w 5395162"/>
                <a:gd name="connsiteY0" fmla="*/ 0 h 6607323"/>
                <a:gd name="connsiteX1" fmla="*/ 5395162 w 5395162"/>
                <a:gd name="connsiteY1" fmla="*/ 0 h 6607323"/>
                <a:gd name="connsiteX2" fmla="*/ 5395162 w 5395162"/>
                <a:gd name="connsiteY2" fmla="*/ 3949902 h 6607323"/>
                <a:gd name="connsiteX3" fmla="*/ 5230980 w 5395162"/>
                <a:gd name="connsiteY3" fmla="*/ 3949902 h 6607323"/>
                <a:gd name="connsiteX4" fmla="*/ 5032614 w 5395162"/>
                <a:gd name="connsiteY4" fmla="*/ 4148268 h 6607323"/>
                <a:gd name="connsiteX5" fmla="*/ 5032614 w 5395162"/>
                <a:gd name="connsiteY5" fmla="*/ 6607209 h 6607323"/>
                <a:gd name="connsiteX6" fmla="*/ 5032625 w 5395162"/>
                <a:gd name="connsiteY6" fmla="*/ 6607323 h 6607323"/>
                <a:gd name="connsiteX7" fmla="*/ 0 w 5395162"/>
                <a:gd name="connsiteY7" fmla="*/ 6607323 h 660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5162" h="6607323">
                  <a:moveTo>
                    <a:pt x="0" y="0"/>
                  </a:moveTo>
                  <a:lnTo>
                    <a:pt x="5395162" y="0"/>
                  </a:lnTo>
                  <a:lnTo>
                    <a:pt x="5395162" y="3949902"/>
                  </a:lnTo>
                  <a:lnTo>
                    <a:pt x="5230980" y="3949902"/>
                  </a:lnTo>
                  <a:cubicBezTo>
                    <a:pt x="5121425" y="3949902"/>
                    <a:pt x="5032614" y="4038713"/>
                    <a:pt x="5032614" y="4148268"/>
                  </a:cubicBezTo>
                  <a:lnTo>
                    <a:pt x="5032614" y="6607209"/>
                  </a:lnTo>
                  <a:lnTo>
                    <a:pt x="5032625" y="6607323"/>
                  </a:lnTo>
                  <a:lnTo>
                    <a:pt x="0" y="6607323"/>
                  </a:lnTo>
                  <a:close/>
                </a:path>
              </a:pathLst>
            </a:custGeom>
            <a:solidFill>
              <a:srgbClr val="FDFDFD"/>
            </a:solidFill>
            <a:ln>
              <a:noFill/>
            </a:ln>
            <a:effectLst>
              <a:outerShdw blurRad="50800" dist="762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7" name="Straight Connector 176">
              <a:extLst>
                <a:ext uri="{FF2B5EF4-FFF2-40B4-BE49-F238E27FC236}">
                  <a16:creationId xmlns:a16="http://schemas.microsoft.com/office/drawing/2014/main" id="{0B012414-9764-48F5-B4C3-0A5037F0BBA5}"/>
                </a:ext>
              </a:extLst>
            </p:cNvPr>
            <p:cNvCxnSpPr>
              <a:cxnSpLocks/>
            </p:cNvCxnSpPr>
            <p:nvPr/>
          </p:nvCxnSpPr>
          <p:spPr>
            <a:xfrm>
              <a:off x="6096000" y="909390"/>
              <a:ext cx="5428034"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DF96C4D-F51B-418E-8313-05C072401FE4}"/>
                </a:ext>
              </a:extLst>
            </p:cNvPr>
            <p:cNvCxnSpPr>
              <a:cxnSpLocks/>
            </p:cNvCxnSpPr>
            <p:nvPr/>
          </p:nvCxnSpPr>
          <p:spPr>
            <a:xfrm>
              <a:off x="6126481" y="137418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6F483CB6-CDC5-4A02-B30E-322036DDF0A0}"/>
                </a:ext>
              </a:extLst>
            </p:cNvPr>
            <p:cNvCxnSpPr>
              <a:cxnSpLocks/>
            </p:cNvCxnSpPr>
            <p:nvPr/>
          </p:nvCxnSpPr>
          <p:spPr>
            <a:xfrm>
              <a:off x="6126481" y="1864456"/>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3494356-E55D-4653-AB9F-7E1E2BF06D76}"/>
                </a:ext>
              </a:extLst>
            </p:cNvPr>
            <p:cNvCxnSpPr>
              <a:cxnSpLocks/>
            </p:cNvCxnSpPr>
            <p:nvPr/>
          </p:nvCxnSpPr>
          <p:spPr>
            <a:xfrm>
              <a:off x="6126481" y="2354732"/>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8C8F38DD-49EA-469F-9EDB-E9462B811FC0}"/>
                </a:ext>
              </a:extLst>
            </p:cNvPr>
            <p:cNvCxnSpPr>
              <a:cxnSpLocks/>
            </p:cNvCxnSpPr>
            <p:nvPr/>
          </p:nvCxnSpPr>
          <p:spPr>
            <a:xfrm>
              <a:off x="6126481" y="2845008"/>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BB0A9595-A092-4E25-932A-2B7A43E3DF75}"/>
                </a:ext>
              </a:extLst>
            </p:cNvPr>
            <p:cNvCxnSpPr>
              <a:cxnSpLocks/>
            </p:cNvCxnSpPr>
            <p:nvPr/>
          </p:nvCxnSpPr>
          <p:spPr>
            <a:xfrm>
              <a:off x="6126481" y="3335284"/>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D2DB5BD7-B26C-4609-AADA-D1F73B39D441}"/>
                </a:ext>
              </a:extLst>
            </p:cNvPr>
            <p:cNvCxnSpPr>
              <a:cxnSpLocks/>
            </p:cNvCxnSpPr>
            <p:nvPr/>
          </p:nvCxnSpPr>
          <p:spPr>
            <a:xfrm>
              <a:off x="6126481" y="382556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5992E529-F71B-461A-B57E-330E3C813F2E}"/>
                </a:ext>
              </a:extLst>
            </p:cNvPr>
            <p:cNvCxnSpPr>
              <a:cxnSpLocks/>
            </p:cNvCxnSpPr>
            <p:nvPr/>
          </p:nvCxnSpPr>
          <p:spPr>
            <a:xfrm>
              <a:off x="6126481" y="4315836"/>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4CEBAD4-44F2-4C60-80AE-1704869E5043}"/>
                </a:ext>
              </a:extLst>
            </p:cNvPr>
            <p:cNvCxnSpPr>
              <a:cxnSpLocks/>
            </p:cNvCxnSpPr>
            <p:nvPr/>
          </p:nvCxnSpPr>
          <p:spPr>
            <a:xfrm>
              <a:off x="6126481" y="4806112"/>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6B6DA8F-39DA-425E-B4FF-5A599863202A}"/>
                </a:ext>
              </a:extLst>
            </p:cNvPr>
            <p:cNvCxnSpPr>
              <a:cxnSpLocks/>
            </p:cNvCxnSpPr>
            <p:nvPr/>
          </p:nvCxnSpPr>
          <p:spPr>
            <a:xfrm>
              <a:off x="6126481" y="5296388"/>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7CBD5B22-00BF-4EDD-976C-E876BF6A92CB}"/>
                </a:ext>
              </a:extLst>
            </p:cNvPr>
            <p:cNvCxnSpPr>
              <a:cxnSpLocks/>
            </p:cNvCxnSpPr>
            <p:nvPr/>
          </p:nvCxnSpPr>
          <p:spPr>
            <a:xfrm>
              <a:off x="6126481" y="5786664"/>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D0984BC2-397F-487F-B4C3-639E88CD5B95}"/>
                </a:ext>
              </a:extLst>
            </p:cNvPr>
            <p:cNvCxnSpPr>
              <a:cxnSpLocks/>
            </p:cNvCxnSpPr>
            <p:nvPr/>
          </p:nvCxnSpPr>
          <p:spPr>
            <a:xfrm>
              <a:off x="6126481" y="6276940"/>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028D77CE-26CC-48A3-92E2-0D112FD9E9FA}"/>
                </a:ext>
              </a:extLst>
            </p:cNvPr>
            <p:cNvSpPr txBox="1"/>
            <p:nvPr/>
          </p:nvSpPr>
          <p:spPr>
            <a:xfrm>
              <a:off x="11176000" y="5595360"/>
              <a:ext cx="461665" cy="1302505"/>
            </a:xfrm>
            <a:prstGeom prst="rect">
              <a:avLst/>
            </a:prstGeom>
            <a:noFill/>
          </p:spPr>
          <p:txBody>
            <a:bodyPr vert="vert270" wrap="square" rtlCol="0">
              <a:spAutoFit/>
            </a:bodyPr>
            <a:lstStyle/>
            <a:p>
              <a:pPr algn="ctr"/>
              <a:r>
                <a:rPr lang="en-US" b="1" dirty="0">
                  <a:solidFill>
                    <a:schemeClr val="bg1"/>
                  </a:solidFill>
                </a:rPr>
                <a:t>PAGE 04</a:t>
              </a:r>
            </a:p>
          </p:txBody>
        </p:sp>
      </p:grpSp>
      <p:grpSp>
        <p:nvGrpSpPr>
          <p:cNvPr id="3" name="Group 2">
            <a:extLst>
              <a:ext uri="{FF2B5EF4-FFF2-40B4-BE49-F238E27FC236}">
                <a16:creationId xmlns:a16="http://schemas.microsoft.com/office/drawing/2014/main" id="{0F1A4B53-3DA8-4B08-87F6-99E2B5780CCB}"/>
              </a:ext>
            </a:extLst>
          </p:cNvPr>
          <p:cNvGrpSpPr/>
          <p:nvPr/>
        </p:nvGrpSpPr>
        <p:grpSpPr>
          <a:xfrm>
            <a:off x="5604611" y="119550"/>
            <a:ext cx="781676" cy="6607323"/>
            <a:chOff x="5604611" y="119550"/>
            <a:chExt cx="781676" cy="6607323"/>
          </a:xfrm>
        </p:grpSpPr>
        <p:sp>
          <p:nvSpPr>
            <p:cNvPr id="67" name="Rectangle 66">
              <a:extLst>
                <a:ext uri="{FF2B5EF4-FFF2-40B4-BE49-F238E27FC236}">
                  <a16:creationId xmlns:a16="http://schemas.microsoft.com/office/drawing/2014/main" id="{D119F2DB-0E38-4A31-831F-2BAF295D2A25}"/>
                </a:ext>
              </a:extLst>
            </p:cNvPr>
            <p:cNvSpPr/>
            <p:nvPr/>
          </p:nvSpPr>
          <p:spPr>
            <a:xfrm>
              <a:off x="5635694" y="20253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0" name="Group 9">
              <a:extLst>
                <a:ext uri="{FF2B5EF4-FFF2-40B4-BE49-F238E27FC236}">
                  <a16:creationId xmlns:a16="http://schemas.microsoft.com/office/drawing/2014/main" id="{AEE5042A-E067-4FB7-BCFF-00BB33BFEDEC}"/>
                </a:ext>
              </a:extLst>
            </p:cNvPr>
            <p:cNvGrpSpPr/>
            <p:nvPr/>
          </p:nvGrpSpPr>
          <p:grpSpPr>
            <a:xfrm>
              <a:off x="5805714" y="119550"/>
              <a:ext cx="580573" cy="386869"/>
              <a:chOff x="5805714" y="609691"/>
              <a:chExt cx="580573" cy="386869"/>
            </a:xfrm>
          </p:grpSpPr>
          <p:sp>
            <p:nvSpPr>
              <p:cNvPr id="5" name="Rectangle 4">
                <a:extLst>
                  <a:ext uri="{FF2B5EF4-FFF2-40B4-BE49-F238E27FC236}">
                    <a16:creationId xmlns:a16="http://schemas.microsoft.com/office/drawing/2014/main" id="{9ECC8D50-758B-45D1-9832-058DA749338C}"/>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FC783E55-1922-4926-8D97-EC60526709F7}"/>
                  </a:ext>
                </a:extLst>
              </p:cNvPr>
              <p:cNvSpPr/>
              <p:nvPr/>
            </p:nvSpPr>
            <p:spPr>
              <a:xfrm>
                <a:off x="5805714" y="609691"/>
                <a:ext cx="410553" cy="386869"/>
              </a:xfrm>
              <a:prstGeom prst="arc">
                <a:avLst>
                  <a:gd name="adj1" fmla="val 10333954"/>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8" name="Rectangle 67">
              <a:extLst>
                <a:ext uri="{FF2B5EF4-FFF2-40B4-BE49-F238E27FC236}">
                  <a16:creationId xmlns:a16="http://schemas.microsoft.com/office/drawing/2014/main" id="{FCB92E0C-F05E-4602-8A6C-A561815032EC}"/>
                </a:ext>
              </a:extLst>
            </p:cNvPr>
            <p:cNvSpPr/>
            <p:nvPr/>
          </p:nvSpPr>
          <p:spPr>
            <a:xfrm>
              <a:off x="5632035" y="503041"/>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8" name="Group 77">
              <a:extLst>
                <a:ext uri="{FF2B5EF4-FFF2-40B4-BE49-F238E27FC236}">
                  <a16:creationId xmlns:a16="http://schemas.microsoft.com/office/drawing/2014/main" id="{E48E30C9-A74F-4C52-AD04-FC9A5CBD8258}"/>
                </a:ext>
              </a:extLst>
            </p:cNvPr>
            <p:cNvGrpSpPr/>
            <p:nvPr/>
          </p:nvGrpSpPr>
          <p:grpSpPr>
            <a:xfrm>
              <a:off x="5805714" y="430573"/>
              <a:ext cx="580573" cy="386869"/>
              <a:chOff x="5805714" y="609691"/>
              <a:chExt cx="580573" cy="386869"/>
            </a:xfrm>
          </p:grpSpPr>
          <p:sp>
            <p:nvSpPr>
              <p:cNvPr id="79" name="Rectangle 78">
                <a:extLst>
                  <a:ext uri="{FF2B5EF4-FFF2-40B4-BE49-F238E27FC236}">
                    <a16:creationId xmlns:a16="http://schemas.microsoft.com/office/drawing/2014/main" id="{9D80A7DB-810E-4588-BE25-E9F7C34D3DB1}"/>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Arc 79">
                <a:extLst>
                  <a:ext uri="{FF2B5EF4-FFF2-40B4-BE49-F238E27FC236}">
                    <a16:creationId xmlns:a16="http://schemas.microsoft.com/office/drawing/2014/main" id="{0CEE252C-3F6B-425D-A974-8C322FD62AA8}"/>
                  </a:ext>
                </a:extLst>
              </p:cNvPr>
              <p:cNvSpPr/>
              <p:nvPr/>
            </p:nvSpPr>
            <p:spPr>
              <a:xfrm>
                <a:off x="5805714" y="609691"/>
                <a:ext cx="410553" cy="386869"/>
              </a:xfrm>
              <a:prstGeom prst="arc">
                <a:avLst>
                  <a:gd name="adj1" fmla="val 10604954"/>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9" name="Rectangle 68">
              <a:extLst>
                <a:ext uri="{FF2B5EF4-FFF2-40B4-BE49-F238E27FC236}">
                  <a16:creationId xmlns:a16="http://schemas.microsoft.com/office/drawing/2014/main" id="{A4620A41-830E-412F-B7F4-82B17531460F}"/>
                </a:ext>
              </a:extLst>
            </p:cNvPr>
            <p:cNvSpPr/>
            <p:nvPr/>
          </p:nvSpPr>
          <p:spPr>
            <a:xfrm>
              <a:off x="5635694" y="81748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0" name="Rectangle 69">
              <a:extLst>
                <a:ext uri="{FF2B5EF4-FFF2-40B4-BE49-F238E27FC236}">
                  <a16:creationId xmlns:a16="http://schemas.microsoft.com/office/drawing/2014/main" id="{B8C591D4-C50C-4B67-805A-961945693BE6}"/>
                </a:ext>
              </a:extLst>
            </p:cNvPr>
            <p:cNvSpPr/>
            <p:nvPr/>
          </p:nvSpPr>
          <p:spPr>
            <a:xfrm>
              <a:off x="5636493" y="1123923"/>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Rectangle 70">
              <a:extLst>
                <a:ext uri="{FF2B5EF4-FFF2-40B4-BE49-F238E27FC236}">
                  <a16:creationId xmlns:a16="http://schemas.microsoft.com/office/drawing/2014/main" id="{461F08B5-15BF-4C63-B54C-7D2001EDCAD3}"/>
                </a:ext>
              </a:extLst>
            </p:cNvPr>
            <p:cNvSpPr/>
            <p:nvPr/>
          </p:nvSpPr>
          <p:spPr>
            <a:xfrm>
              <a:off x="5633303" y="144082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2" name="Rectangle 71">
              <a:extLst>
                <a:ext uri="{FF2B5EF4-FFF2-40B4-BE49-F238E27FC236}">
                  <a16:creationId xmlns:a16="http://schemas.microsoft.com/office/drawing/2014/main" id="{D12C5631-8C0A-4256-BD3E-88D081A7321B}"/>
                </a:ext>
              </a:extLst>
            </p:cNvPr>
            <p:cNvSpPr/>
            <p:nvPr/>
          </p:nvSpPr>
          <p:spPr>
            <a:xfrm>
              <a:off x="5641689" y="174238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3" name="Rectangle 72">
              <a:extLst>
                <a:ext uri="{FF2B5EF4-FFF2-40B4-BE49-F238E27FC236}">
                  <a16:creationId xmlns:a16="http://schemas.microsoft.com/office/drawing/2014/main" id="{D3030D9B-44CF-4F4E-A86E-18A79322376D}"/>
                </a:ext>
              </a:extLst>
            </p:cNvPr>
            <p:cNvSpPr/>
            <p:nvPr/>
          </p:nvSpPr>
          <p:spPr>
            <a:xfrm>
              <a:off x="5626130" y="2064953"/>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4" name="Rectangle 73">
              <a:extLst>
                <a:ext uri="{FF2B5EF4-FFF2-40B4-BE49-F238E27FC236}">
                  <a16:creationId xmlns:a16="http://schemas.microsoft.com/office/drawing/2014/main" id="{0E9F8D11-58D9-4493-A410-DACB43B5E48F}"/>
                </a:ext>
              </a:extLst>
            </p:cNvPr>
            <p:cNvSpPr/>
            <p:nvPr/>
          </p:nvSpPr>
          <p:spPr>
            <a:xfrm>
              <a:off x="5626130" y="2372116"/>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5" name="Rectangle 74">
              <a:extLst>
                <a:ext uri="{FF2B5EF4-FFF2-40B4-BE49-F238E27FC236}">
                  <a16:creationId xmlns:a16="http://schemas.microsoft.com/office/drawing/2014/main" id="{880FA994-AF36-4890-A98D-4750B71B3C59}"/>
                </a:ext>
              </a:extLst>
            </p:cNvPr>
            <p:cNvSpPr/>
            <p:nvPr/>
          </p:nvSpPr>
          <p:spPr>
            <a:xfrm>
              <a:off x="5633303" y="268452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Rectangle 75">
              <a:extLst>
                <a:ext uri="{FF2B5EF4-FFF2-40B4-BE49-F238E27FC236}">
                  <a16:creationId xmlns:a16="http://schemas.microsoft.com/office/drawing/2014/main" id="{9E5C2FB6-992A-4537-B467-2FCB0FDBDB9F}"/>
                </a:ext>
              </a:extLst>
            </p:cNvPr>
            <p:cNvSpPr/>
            <p:nvPr/>
          </p:nvSpPr>
          <p:spPr>
            <a:xfrm>
              <a:off x="5633303" y="2985986"/>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 name="Rectangle 76">
              <a:extLst>
                <a:ext uri="{FF2B5EF4-FFF2-40B4-BE49-F238E27FC236}">
                  <a16:creationId xmlns:a16="http://schemas.microsoft.com/office/drawing/2014/main" id="{73193785-12A4-408F-9E7C-27DDBEAFA7BD}"/>
                </a:ext>
              </a:extLst>
            </p:cNvPr>
            <p:cNvSpPr/>
            <p:nvPr/>
          </p:nvSpPr>
          <p:spPr>
            <a:xfrm>
              <a:off x="5626130" y="330818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8" name="Rectangle 137">
              <a:extLst>
                <a:ext uri="{FF2B5EF4-FFF2-40B4-BE49-F238E27FC236}">
                  <a16:creationId xmlns:a16="http://schemas.microsoft.com/office/drawing/2014/main" id="{FF68EA0C-3323-4279-9322-583E0496C340}"/>
                </a:ext>
              </a:extLst>
            </p:cNvPr>
            <p:cNvSpPr/>
            <p:nvPr/>
          </p:nvSpPr>
          <p:spPr>
            <a:xfrm>
              <a:off x="5618957" y="361510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9" name="Rectangle 138">
              <a:extLst>
                <a:ext uri="{FF2B5EF4-FFF2-40B4-BE49-F238E27FC236}">
                  <a16:creationId xmlns:a16="http://schemas.microsoft.com/office/drawing/2014/main" id="{DA8F7F98-A2C1-4622-86E7-4F2038831BBE}"/>
                </a:ext>
              </a:extLst>
            </p:cNvPr>
            <p:cNvSpPr/>
            <p:nvPr/>
          </p:nvSpPr>
          <p:spPr>
            <a:xfrm>
              <a:off x="5604611" y="392724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0" name="Rectangle 139">
              <a:extLst>
                <a:ext uri="{FF2B5EF4-FFF2-40B4-BE49-F238E27FC236}">
                  <a16:creationId xmlns:a16="http://schemas.microsoft.com/office/drawing/2014/main" id="{0A05E640-BFCE-401E-8E58-B95F9FAC8DFA}"/>
                </a:ext>
              </a:extLst>
            </p:cNvPr>
            <p:cNvSpPr/>
            <p:nvPr/>
          </p:nvSpPr>
          <p:spPr>
            <a:xfrm>
              <a:off x="5611784" y="4239143"/>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1" name="Rectangle 140">
              <a:extLst>
                <a:ext uri="{FF2B5EF4-FFF2-40B4-BE49-F238E27FC236}">
                  <a16:creationId xmlns:a16="http://schemas.microsoft.com/office/drawing/2014/main" id="{E054FE0A-3727-4A81-B405-7B2AD3CF46C1}"/>
                </a:ext>
              </a:extLst>
            </p:cNvPr>
            <p:cNvSpPr/>
            <p:nvPr/>
          </p:nvSpPr>
          <p:spPr>
            <a:xfrm>
              <a:off x="5604611" y="4546182"/>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2" name="Rectangle 141">
              <a:extLst>
                <a:ext uri="{FF2B5EF4-FFF2-40B4-BE49-F238E27FC236}">
                  <a16:creationId xmlns:a16="http://schemas.microsoft.com/office/drawing/2014/main" id="{181F776C-2AF8-48ED-A45F-6043E45954BF}"/>
                </a:ext>
              </a:extLst>
            </p:cNvPr>
            <p:cNvSpPr/>
            <p:nvPr/>
          </p:nvSpPr>
          <p:spPr>
            <a:xfrm>
              <a:off x="5609779" y="485746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3" name="Rectangle 142">
              <a:extLst>
                <a:ext uri="{FF2B5EF4-FFF2-40B4-BE49-F238E27FC236}">
                  <a16:creationId xmlns:a16="http://schemas.microsoft.com/office/drawing/2014/main" id="{F411B93B-64DC-40ED-8351-A38502F83EC2}"/>
                </a:ext>
              </a:extLst>
            </p:cNvPr>
            <p:cNvSpPr/>
            <p:nvPr/>
          </p:nvSpPr>
          <p:spPr>
            <a:xfrm>
              <a:off x="5618957" y="517189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4" name="Rectangle 143">
              <a:extLst>
                <a:ext uri="{FF2B5EF4-FFF2-40B4-BE49-F238E27FC236}">
                  <a16:creationId xmlns:a16="http://schemas.microsoft.com/office/drawing/2014/main" id="{6D4EF766-AAA1-4FD1-9EB8-BC7CCAF80F4C}"/>
                </a:ext>
              </a:extLst>
            </p:cNvPr>
            <p:cNvSpPr/>
            <p:nvPr/>
          </p:nvSpPr>
          <p:spPr>
            <a:xfrm>
              <a:off x="5611784" y="550314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5" name="Rectangle 144">
              <a:extLst>
                <a:ext uri="{FF2B5EF4-FFF2-40B4-BE49-F238E27FC236}">
                  <a16:creationId xmlns:a16="http://schemas.microsoft.com/office/drawing/2014/main" id="{CA3BC80A-A5C7-4031-AE04-E1DBB065F990}"/>
                </a:ext>
              </a:extLst>
            </p:cNvPr>
            <p:cNvSpPr/>
            <p:nvPr/>
          </p:nvSpPr>
          <p:spPr>
            <a:xfrm>
              <a:off x="5604611" y="5797854"/>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6" name="Rectangle 145">
              <a:extLst>
                <a:ext uri="{FF2B5EF4-FFF2-40B4-BE49-F238E27FC236}">
                  <a16:creationId xmlns:a16="http://schemas.microsoft.com/office/drawing/2014/main" id="{B2C4E260-0390-4C3C-B29D-AB4732D5F312}"/>
                </a:ext>
              </a:extLst>
            </p:cNvPr>
            <p:cNvSpPr/>
            <p:nvPr/>
          </p:nvSpPr>
          <p:spPr>
            <a:xfrm>
              <a:off x="5604611" y="609721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7" name="Rectangle 146">
              <a:extLst>
                <a:ext uri="{FF2B5EF4-FFF2-40B4-BE49-F238E27FC236}">
                  <a16:creationId xmlns:a16="http://schemas.microsoft.com/office/drawing/2014/main" id="{9CF30D03-0768-4F4A-876B-4064ADC4B962}"/>
                </a:ext>
              </a:extLst>
            </p:cNvPr>
            <p:cNvSpPr/>
            <p:nvPr/>
          </p:nvSpPr>
          <p:spPr>
            <a:xfrm>
              <a:off x="5611784" y="6412576"/>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81" name="Group 80">
              <a:extLst>
                <a:ext uri="{FF2B5EF4-FFF2-40B4-BE49-F238E27FC236}">
                  <a16:creationId xmlns:a16="http://schemas.microsoft.com/office/drawing/2014/main" id="{BDE4CAF1-67FB-4A00-A957-F84932EF37EA}"/>
                </a:ext>
              </a:extLst>
            </p:cNvPr>
            <p:cNvGrpSpPr/>
            <p:nvPr/>
          </p:nvGrpSpPr>
          <p:grpSpPr>
            <a:xfrm>
              <a:off x="5805714" y="741596"/>
              <a:ext cx="580573" cy="386869"/>
              <a:chOff x="5805714" y="609691"/>
              <a:chExt cx="580573" cy="386869"/>
            </a:xfrm>
          </p:grpSpPr>
          <p:sp>
            <p:nvSpPr>
              <p:cNvPr id="82" name="Rectangle 81">
                <a:extLst>
                  <a:ext uri="{FF2B5EF4-FFF2-40B4-BE49-F238E27FC236}">
                    <a16:creationId xmlns:a16="http://schemas.microsoft.com/office/drawing/2014/main" id="{74C944AF-D50A-425E-A441-BD46E8CB9783}"/>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Arc 82">
                <a:extLst>
                  <a:ext uri="{FF2B5EF4-FFF2-40B4-BE49-F238E27FC236}">
                    <a16:creationId xmlns:a16="http://schemas.microsoft.com/office/drawing/2014/main" id="{AE95EC9D-DB78-417E-AF31-C543DE84C1EE}"/>
                  </a:ext>
                </a:extLst>
              </p:cNvPr>
              <p:cNvSpPr/>
              <p:nvPr/>
            </p:nvSpPr>
            <p:spPr>
              <a:xfrm>
                <a:off x="5805714" y="609691"/>
                <a:ext cx="410553" cy="386869"/>
              </a:xfrm>
              <a:prstGeom prst="arc">
                <a:avLst>
                  <a:gd name="adj1" fmla="val 107575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 name="Group 83">
              <a:extLst>
                <a:ext uri="{FF2B5EF4-FFF2-40B4-BE49-F238E27FC236}">
                  <a16:creationId xmlns:a16="http://schemas.microsoft.com/office/drawing/2014/main" id="{EC3E0684-8AE8-4214-BF7B-4AAB6B86F600}"/>
                </a:ext>
              </a:extLst>
            </p:cNvPr>
            <p:cNvGrpSpPr/>
            <p:nvPr/>
          </p:nvGrpSpPr>
          <p:grpSpPr>
            <a:xfrm>
              <a:off x="5805714" y="1052619"/>
              <a:ext cx="580573" cy="386869"/>
              <a:chOff x="5805714" y="609691"/>
              <a:chExt cx="580573" cy="386869"/>
            </a:xfrm>
          </p:grpSpPr>
          <p:sp>
            <p:nvSpPr>
              <p:cNvPr id="85" name="Rectangle 84">
                <a:extLst>
                  <a:ext uri="{FF2B5EF4-FFF2-40B4-BE49-F238E27FC236}">
                    <a16:creationId xmlns:a16="http://schemas.microsoft.com/office/drawing/2014/main" id="{CF8E04A3-B6B4-4F3C-BB6B-AF9929DDA237}"/>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Arc 85">
                <a:extLst>
                  <a:ext uri="{FF2B5EF4-FFF2-40B4-BE49-F238E27FC236}">
                    <a16:creationId xmlns:a16="http://schemas.microsoft.com/office/drawing/2014/main" id="{18A95974-DAB2-4BF8-9192-96278D1744CD}"/>
                  </a:ext>
                </a:extLst>
              </p:cNvPr>
              <p:cNvSpPr/>
              <p:nvPr/>
            </p:nvSpPr>
            <p:spPr>
              <a:xfrm>
                <a:off x="5805714" y="609691"/>
                <a:ext cx="410553" cy="386869"/>
              </a:xfrm>
              <a:prstGeom prst="arc">
                <a:avLst>
                  <a:gd name="adj1" fmla="val 1083048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7" name="Group 86">
              <a:extLst>
                <a:ext uri="{FF2B5EF4-FFF2-40B4-BE49-F238E27FC236}">
                  <a16:creationId xmlns:a16="http://schemas.microsoft.com/office/drawing/2014/main" id="{C97BDBFC-6DCF-4D05-9235-AF24FD08B7BA}"/>
                </a:ext>
              </a:extLst>
            </p:cNvPr>
            <p:cNvGrpSpPr/>
            <p:nvPr/>
          </p:nvGrpSpPr>
          <p:grpSpPr>
            <a:xfrm>
              <a:off x="5805714" y="1363642"/>
              <a:ext cx="580573" cy="386869"/>
              <a:chOff x="5805714" y="609691"/>
              <a:chExt cx="580573" cy="386869"/>
            </a:xfrm>
          </p:grpSpPr>
          <p:sp>
            <p:nvSpPr>
              <p:cNvPr id="88" name="Rectangle 87">
                <a:extLst>
                  <a:ext uri="{FF2B5EF4-FFF2-40B4-BE49-F238E27FC236}">
                    <a16:creationId xmlns:a16="http://schemas.microsoft.com/office/drawing/2014/main" id="{4AB8CE96-3DF3-4063-9F27-D4DB07BB75EF}"/>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Arc 88">
                <a:extLst>
                  <a:ext uri="{FF2B5EF4-FFF2-40B4-BE49-F238E27FC236}">
                    <a16:creationId xmlns:a16="http://schemas.microsoft.com/office/drawing/2014/main" id="{309BD817-14B6-4AA7-A1F6-6EAEFBC3A86F}"/>
                  </a:ext>
                </a:extLst>
              </p:cNvPr>
              <p:cNvSpPr/>
              <p:nvPr/>
            </p:nvSpPr>
            <p:spPr>
              <a:xfrm>
                <a:off x="5805714" y="609691"/>
                <a:ext cx="410553" cy="386869"/>
              </a:xfrm>
              <a:prstGeom prst="arc">
                <a:avLst>
                  <a:gd name="adj1" fmla="val 10809658"/>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C6951FED-2BD7-4859-B333-5B1CAEF8AB8D}"/>
                </a:ext>
              </a:extLst>
            </p:cNvPr>
            <p:cNvGrpSpPr/>
            <p:nvPr/>
          </p:nvGrpSpPr>
          <p:grpSpPr>
            <a:xfrm>
              <a:off x="5805714" y="1674665"/>
              <a:ext cx="580573" cy="386869"/>
              <a:chOff x="5805714" y="609691"/>
              <a:chExt cx="580573" cy="386869"/>
            </a:xfrm>
          </p:grpSpPr>
          <p:sp>
            <p:nvSpPr>
              <p:cNvPr id="91" name="Rectangle 90">
                <a:extLst>
                  <a:ext uri="{FF2B5EF4-FFF2-40B4-BE49-F238E27FC236}">
                    <a16:creationId xmlns:a16="http://schemas.microsoft.com/office/drawing/2014/main" id="{FE30C63D-F045-40E9-8C54-26DA5BDA0F4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Arc 91">
                <a:extLst>
                  <a:ext uri="{FF2B5EF4-FFF2-40B4-BE49-F238E27FC236}">
                    <a16:creationId xmlns:a16="http://schemas.microsoft.com/office/drawing/2014/main" id="{434A2720-2A66-40B1-AC7E-5C244C6E6EB9}"/>
                  </a:ext>
                </a:extLst>
              </p:cNvPr>
              <p:cNvSpPr/>
              <p:nvPr/>
            </p:nvSpPr>
            <p:spPr>
              <a:xfrm>
                <a:off x="5805714" y="609691"/>
                <a:ext cx="410553" cy="386869"/>
              </a:xfrm>
              <a:prstGeom prst="arc">
                <a:avLst>
                  <a:gd name="adj1" fmla="val 1087571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93" name="Group 92">
              <a:extLst>
                <a:ext uri="{FF2B5EF4-FFF2-40B4-BE49-F238E27FC236}">
                  <a16:creationId xmlns:a16="http://schemas.microsoft.com/office/drawing/2014/main" id="{3253887B-E245-4C89-84BB-C89576187B4D}"/>
                </a:ext>
              </a:extLst>
            </p:cNvPr>
            <p:cNvGrpSpPr/>
            <p:nvPr/>
          </p:nvGrpSpPr>
          <p:grpSpPr>
            <a:xfrm>
              <a:off x="5805714" y="1985688"/>
              <a:ext cx="580573" cy="386869"/>
              <a:chOff x="5805714" y="609691"/>
              <a:chExt cx="580573" cy="386869"/>
            </a:xfrm>
          </p:grpSpPr>
          <p:sp>
            <p:nvSpPr>
              <p:cNvPr id="94" name="Rectangle 93">
                <a:extLst>
                  <a:ext uri="{FF2B5EF4-FFF2-40B4-BE49-F238E27FC236}">
                    <a16:creationId xmlns:a16="http://schemas.microsoft.com/office/drawing/2014/main" id="{C2935527-C9EF-4950-89BB-EB1207B25EAD}"/>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Arc 94">
                <a:extLst>
                  <a:ext uri="{FF2B5EF4-FFF2-40B4-BE49-F238E27FC236}">
                    <a16:creationId xmlns:a16="http://schemas.microsoft.com/office/drawing/2014/main" id="{B885AD0D-2A97-4761-A7E2-81AE7730FF98}"/>
                  </a:ext>
                </a:extLst>
              </p:cNvPr>
              <p:cNvSpPr/>
              <p:nvPr/>
            </p:nvSpPr>
            <p:spPr>
              <a:xfrm>
                <a:off x="5805714" y="609691"/>
                <a:ext cx="410553" cy="386869"/>
              </a:xfrm>
              <a:prstGeom prst="arc">
                <a:avLst>
                  <a:gd name="adj1" fmla="val 1078249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6" name="Group 95">
              <a:extLst>
                <a:ext uri="{FF2B5EF4-FFF2-40B4-BE49-F238E27FC236}">
                  <a16:creationId xmlns:a16="http://schemas.microsoft.com/office/drawing/2014/main" id="{B20895E6-FBAD-4249-90F9-43369FD2080F}"/>
                </a:ext>
              </a:extLst>
            </p:cNvPr>
            <p:cNvGrpSpPr/>
            <p:nvPr/>
          </p:nvGrpSpPr>
          <p:grpSpPr>
            <a:xfrm>
              <a:off x="5805714" y="2296711"/>
              <a:ext cx="580573" cy="386869"/>
              <a:chOff x="5805714" y="609691"/>
              <a:chExt cx="580573" cy="386869"/>
            </a:xfrm>
          </p:grpSpPr>
          <p:sp>
            <p:nvSpPr>
              <p:cNvPr id="97" name="Rectangle 96">
                <a:extLst>
                  <a:ext uri="{FF2B5EF4-FFF2-40B4-BE49-F238E27FC236}">
                    <a16:creationId xmlns:a16="http://schemas.microsoft.com/office/drawing/2014/main" id="{416F99E9-E132-4AB6-9501-719E390B2951}"/>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Arc 97">
                <a:extLst>
                  <a:ext uri="{FF2B5EF4-FFF2-40B4-BE49-F238E27FC236}">
                    <a16:creationId xmlns:a16="http://schemas.microsoft.com/office/drawing/2014/main" id="{7BF41422-E1EF-4A49-906D-7C9E43200378}"/>
                  </a:ext>
                </a:extLst>
              </p:cNvPr>
              <p:cNvSpPr/>
              <p:nvPr/>
            </p:nvSpPr>
            <p:spPr>
              <a:xfrm>
                <a:off x="5805714" y="609691"/>
                <a:ext cx="410553" cy="386869"/>
              </a:xfrm>
              <a:prstGeom prst="arc">
                <a:avLst>
                  <a:gd name="adj1" fmla="val 1083791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9" name="Group 98">
              <a:extLst>
                <a:ext uri="{FF2B5EF4-FFF2-40B4-BE49-F238E27FC236}">
                  <a16:creationId xmlns:a16="http://schemas.microsoft.com/office/drawing/2014/main" id="{3A6C8FCE-3906-4A51-8C51-53A21458A79D}"/>
                </a:ext>
              </a:extLst>
            </p:cNvPr>
            <p:cNvGrpSpPr/>
            <p:nvPr/>
          </p:nvGrpSpPr>
          <p:grpSpPr>
            <a:xfrm>
              <a:off x="5805714" y="2607734"/>
              <a:ext cx="580573" cy="386869"/>
              <a:chOff x="5805714" y="609691"/>
              <a:chExt cx="580573" cy="386869"/>
            </a:xfrm>
          </p:grpSpPr>
          <p:sp>
            <p:nvSpPr>
              <p:cNvPr id="100" name="Rectangle 99">
                <a:extLst>
                  <a:ext uri="{FF2B5EF4-FFF2-40B4-BE49-F238E27FC236}">
                    <a16:creationId xmlns:a16="http://schemas.microsoft.com/office/drawing/2014/main" id="{01B7306C-C82A-4CBC-8810-B196E2B85FD9}"/>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Arc 100">
                <a:extLst>
                  <a:ext uri="{FF2B5EF4-FFF2-40B4-BE49-F238E27FC236}">
                    <a16:creationId xmlns:a16="http://schemas.microsoft.com/office/drawing/2014/main" id="{4309EB4B-A1C1-41B8-9E71-43E4632DE81A}"/>
                  </a:ext>
                </a:extLst>
              </p:cNvPr>
              <p:cNvSpPr/>
              <p:nvPr/>
            </p:nvSpPr>
            <p:spPr>
              <a:xfrm>
                <a:off x="5805714" y="609691"/>
                <a:ext cx="410553" cy="386869"/>
              </a:xfrm>
              <a:prstGeom prst="arc">
                <a:avLst>
                  <a:gd name="adj1" fmla="val 10817170"/>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2" name="Group 101">
              <a:extLst>
                <a:ext uri="{FF2B5EF4-FFF2-40B4-BE49-F238E27FC236}">
                  <a16:creationId xmlns:a16="http://schemas.microsoft.com/office/drawing/2014/main" id="{C74B4894-B5D2-4362-964C-D4DC0546060A}"/>
                </a:ext>
              </a:extLst>
            </p:cNvPr>
            <p:cNvGrpSpPr/>
            <p:nvPr/>
          </p:nvGrpSpPr>
          <p:grpSpPr>
            <a:xfrm>
              <a:off x="5805714" y="2918757"/>
              <a:ext cx="580573" cy="386869"/>
              <a:chOff x="5805714" y="609691"/>
              <a:chExt cx="580573" cy="386869"/>
            </a:xfrm>
          </p:grpSpPr>
          <p:sp>
            <p:nvSpPr>
              <p:cNvPr id="103" name="Rectangle 102">
                <a:extLst>
                  <a:ext uri="{FF2B5EF4-FFF2-40B4-BE49-F238E27FC236}">
                    <a16:creationId xmlns:a16="http://schemas.microsoft.com/office/drawing/2014/main" id="{DA95D981-4D5B-4F4F-8A82-69838938508F}"/>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Arc 103">
                <a:extLst>
                  <a:ext uri="{FF2B5EF4-FFF2-40B4-BE49-F238E27FC236}">
                    <a16:creationId xmlns:a16="http://schemas.microsoft.com/office/drawing/2014/main" id="{E4822634-A39A-4B0D-8399-883328FCA1EE}"/>
                  </a:ext>
                </a:extLst>
              </p:cNvPr>
              <p:cNvSpPr/>
              <p:nvPr/>
            </p:nvSpPr>
            <p:spPr>
              <a:xfrm>
                <a:off x="5805714" y="609691"/>
                <a:ext cx="410553" cy="386869"/>
              </a:xfrm>
              <a:prstGeom prst="arc">
                <a:avLst>
                  <a:gd name="adj1" fmla="val 1122047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5" name="Group 104">
              <a:extLst>
                <a:ext uri="{FF2B5EF4-FFF2-40B4-BE49-F238E27FC236}">
                  <a16:creationId xmlns:a16="http://schemas.microsoft.com/office/drawing/2014/main" id="{AC0C8900-7AAE-4DAD-9853-250BA8E46217}"/>
                </a:ext>
              </a:extLst>
            </p:cNvPr>
            <p:cNvGrpSpPr/>
            <p:nvPr/>
          </p:nvGrpSpPr>
          <p:grpSpPr>
            <a:xfrm>
              <a:off x="5805714" y="3229780"/>
              <a:ext cx="580573" cy="386869"/>
              <a:chOff x="5805714" y="609691"/>
              <a:chExt cx="580573" cy="386869"/>
            </a:xfrm>
          </p:grpSpPr>
          <p:sp>
            <p:nvSpPr>
              <p:cNvPr id="106" name="Rectangle 105">
                <a:extLst>
                  <a:ext uri="{FF2B5EF4-FFF2-40B4-BE49-F238E27FC236}">
                    <a16:creationId xmlns:a16="http://schemas.microsoft.com/office/drawing/2014/main" id="{8F16C3F5-5111-4385-95DB-684995C5DA9E}"/>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Arc 106">
                <a:extLst>
                  <a:ext uri="{FF2B5EF4-FFF2-40B4-BE49-F238E27FC236}">
                    <a16:creationId xmlns:a16="http://schemas.microsoft.com/office/drawing/2014/main" id="{C8E4EC42-A513-472E-AE69-66EF8F71937C}"/>
                  </a:ext>
                </a:extLst>
              </p:cNvPr>
              <p:cNvSpPr/>
              <p:nvPr/>
            </p:nvSpPr>
            <p:spPr>
              <a:xfrm>
                <a:off x="5805714" y="609691"/>
                <a:ext cx="410553" cy="386869"/>
              </a:xfrm>
              <a:prstGeom prst="arc">
                <a:avLst>
                  <a:gd name="adj1" fmla="val 1064800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8" name="Group 107">
              <a:extLst>
                <a:ext uri="{FF2B5EF4-FFF2-40B4-BE49-F238E27FC236}">
                  <a16:creationId xmlns:a16="http://schemas.microsoft.com/office/drawing/2014/main" id="{B9DF2A69-06AC-4DC9-B6C7-9A1B9D012585}"/>
                </a:ext>
              </a:extLst>
            </p:cNvPr>
            <p:cNvGrpSpPr/>
            <p:nvPr/>
          </p:nvGrpSpPr>
          <p:grpSpPr>
            <a:xfrm>
              <a:off x="5805714" y="3540803"/>
              <a:ext cx="580573" cy="386869"/>
              <a:chOff x="5805714" y="609691"/>
              <a:chExt cx="580573" cy="386869"/>
            </a:xfrm>
          </p:grpSpPr>
          <p:sp>
            <p:nvSpPr>
              <p:cNvPr id="109" name="Rectangle 108">
                <a:extLst>
                  <a:ext uri="{FF2B5EF4-FFF2-40B4-BE49-F238E27FC236}">
                    <a16:creationId xmlns:a16="http://schemas.microsoft.com/office/drawing/2014/main" id="{66D59475-186E-4F7A-A501-ABEDCC08DC98}"/>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Arc 109">
                <a:extLst>
                  <a:ext uri="{FF2B5EF4-FFF2-40B4-BE49-F238E27FC236}">
                    <a16:creationId xmlns:a16="http://schemas.microsoft.com/office/drawing/2014/main" id="{55C929AA-C5D4-4A29-94FC-BF99C03F9430}"/>
                  </a:ext>
                </a:extLst>
              </p:cNvPr>
              <p:cNvSpPr/>
              <p:nvPr/>
            </p:nvSpPr>
            <p:spPr>
              <a:xfrm>
                <a:off x="5805714" y="609691"/>
                <a:ext cx="410553" cy="386869"/>
              </a:xfrm>
              <a:prstGeom prst="arc">
                <a:avLst>
                  <a:gd name="adj1" fmla="val 1090146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26F5DDE8-77F1-4A19-9A73-FA16AD387091}"/>
                </a:ext>
              </a:extLst>
            </p:cNvPr>
            <p:cNvGrpSpPr/>
            <p:nvPr/>
          </p:nvGrpSpPr>
          <p:grpSpPr>
            <a:xfrm>
              <a:off x="5805714" y="3851826"/>
              <a:ext cx="580573" cy="386869"/>
              <a:chOff x="5805714" y="609691"/>
              <a:chExt cx="580573" cy="386869"/>
            </a:xfrm>
          </p:grpSpPr>
          <p:sp>
            <p:nvSpPr>
              <p:cNvPr id="112" name="Rectangle 111">
                <a:extLst>
                  <a:ext uri="{FF2B5EF4-FFF2-40B4-BE49-F238E27FC236}">
                    <a16:creationId xmlns:a16="http://schemas.microsoft.com/office/drawing/2014/main" id="{3975D25C-1E30-46E2-BA99-3037ADE3170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Arc 112">
                <a:extLst>
                  <a:ext uri="{FF2B5EF4-FFF2-40B4-BE49-F238E27FC236}">
                    <a16:creationId xmlns:a16="http://schemas.microsoft.com/office/drawing/2014/main" id="{5489E9B8-DC06-4350-B467-61A9DA0B02A7}"/>
                  </a:ext>
                </a:extLst>
              </p:cNvPr>
              <p:cNvSpPr/>
              <p:nvPr/>
            </p:nvSpPr>
            <p:spPr>
              <a:xfrm>
                <a:off x="5805714" y="609691"/>
                <a:ext cx="410553" cy="386869"/>
              </a:xfrm>
              <a:prstGeom prst="arc">
                <a:avLst>
                  <a:gd name="adj1" fmla="val 11023282"/>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0375CE18-5EC1-4881-8142-DC1BC91AD094}"/>
                </a:ext>
              </a:extLst>
            </p:cNvPr>
            <p:cNvGrpSpPr/>
            <p:nvPr/>
          </p:nvGrpSpPr>
          <p:grpSpPr>
            <a:xfrm>
              <a:off x="5805714" y="4162849"/>
              <a:ext cx="580573" cy="386869"/>
              <a:chOff x="5805714" y="609691"/>
              <a:chExt cx="580573" cy="386869"/>
            </a:xfrm>
          </p:grpSpPr>
          <p:sp>
            <p:nvSpPr>
              <p:cNvPr id="115" name="Rectangle 114">
                <a:extLst>
                  <a:ext uri="{FF2B5EF4-FFF2-40B4-BE49-F238E27FC236}">
                    <a16:creationId xmlns:a16="http://schemas.microsoft.com/office/drawing/2014/main" id="{10A76D25-919A-40D9-9554-EFE2D3956BE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Arc 115">
                <a:extLst>
                  <a:ext uri="{FF2B5EF4-FFF2-40B4-BE49-F238E27FC236}">
                    <a16:creationId xmlns:a16="http://schemas.microsoft.com/office/drawing/2014/main" id="{F541D253-66CC-4C59-909C-302800ABEEFC}"/>
                  </a:ext>
                </a:extLst>
              </p:cNvPr>
              <p:cNvSpPr/>
              <p:nvPr/>
            </p:nvSpPr>
            <p:spPr>
              <a:xfrm>
                <a:off x="5805714" y="609691"/>
                <a:ext cx="410553" cy="386869"/>
              </a:xfrm>
              <a:prstGeom prst="arc">
                <a:avLst>
                  <a:gd name="adj1" fmla="val 11168103"/>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D86A99F9-8CBA-4BBB-88F7-14582E27C64C}"/>
                </a:ext>
              </a:extLst>
            </p:cNvPr>
            <p:cNvGrpSpPr/>
            <p:nvPr/>
          </p:nvGrpSpPr>
          <p:grpSpPr>
            <a:xfrm>
              <a:off x="5805714" y="4473872"/>
              <a:ext cx="580573" cy="386869"/>
              <a:chOff x="5805714" y="609691"/>
              <a:chExt cx="580573" cy="386869"/>
            </a:xfrm>
          </p:grpSpPr>
          <p:sp>
            <p:nvSpPr>
              <p:cNvPr id="118" name="Rectangle 117">
                <a:extLst>
                  <a:ext uri="{FF2B5EF4-FFF2-40B4-BE49-F238E27FC236}">
                    <a16:creationId xmlns:a16="http://schemas.microsoft.com/office/drawing/2014/main" id="{16259704-CA38-4525-8489-D1FECD12BDBC}"/>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Arc 118">
                <a:extLst>
                  <a:ext uri="{FF2B5EF4-FFF2-40B4-BE49-F238E27FC236}">
                    <a16:creationId xmlns:a16="http://schemas.microsoft.com/office/drawing/2014/main" id="{40F4FCA1-5992-49D0-8CE6-8488CF6BAF04}"/>
                  </a:ext>
                </a:extLst>
              </p:cNvPr>
              <p:cNvSpPr/>
              <p:nvPr/>
            </p:nvSpPr>
            <p:spPr>
              <a:xfrm>
                <a:off x="5805714" y="609691"/>
                <a:ext cx="410553" cy="386869"/>
              </a:xfrm>
              <a:prstGeom prst="arc">
                <a:avLst>
                  <a:gd name="adj1" fmla="val 11188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0" name="Group 119">
              <a:extLst>
                <a:ext uri="{FF2B5EF4-FFF2-40B4-BE49-F238E27FC236}">
                  <a16:creationId xmlns:a16="http://schemas.microsoft.com/office/drawing/2014/main" id="{F5C59377-7214-4209-BA16-86D5D1DAE2B0}"/>
                </a:ext>
              </a:extLst>
            </p:cNvPr>
            <p:cNvGrpSpPr/>
            <p:nvPr/>
          </p:nvGrpSpPr>
          <p:grpSpPr>
            <a:xfrm>
              <a:off x="5805714" y="4784895"/>
              <a:ext cx="580573" cy="386869"/>
              <a:chOff x="5805714" y="609691"/>
              <a:chExt cx="580573" cy="386869"/>
            </a:xfrm>
          </p:grpSpPr>
          <p:sp>
            <p:nvSpPr>
              <p:cNvPr id="121" name="Rectangle 120">
                <a:extLst>
                  <a:ext uri="{FF2B5EF4-FFF2-40B4-BE49-F238E27FC236}">
                    <a16:creationId xmlns:a16="http://schemas.microsoft.com/office/drawing/2014/main" id="{959A5D35-C7AE-458F-BBB5-71CD3A3F97F8}"/>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Arc 121">
                <a:extLst>
                  <a:ext uri="{FF2B5EF4-FFF2-40B4-BE49-F238E27FC236}">
                    <a16:creationId xmlns:a16="http://schemas.microsoft.com/office/drawing/2014/main" id="{F490A229-65A6-4DFF-870F-4B92A114A66A}"/>
                  </a:ext>
                </a:extLst>
              </p:cNvPr>
              <p:cNvSpPr/>
              <p:nvPr/>
            </p:nvSpPr>
            <p:spPr>
              <a:xfrm>
                <a:off x="5805714" y="609691"/>
                <a:ext cx="410553" cy="386869"/>
              </a:xfrm>
              <a:prstGeom prst="arc">
                <a:avLst>
                  <a:gd name="adj1" fmla="val 11146438"/>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3" name="Group 122">
              <a:extLst>
                <a:ext uri="{FF2B5EF4-FFF2-40B4-BE49-F238E27FC236}">
                  <a16:creationId xmlns:a16="http://schemas.microsoft.com/office/drawing/2014/main" id="{9EC6FFFF-2006-4366-8566-0113AD9F036A}"/>
                </a:ext>
              </a:extLst>
            </p:cNvPr>
            <p:cNvGrpSpPr/>
            <p:nvPr/>
          </p:nvGrpSpPr>
          <p:grpSpPr>
            <a:xfrm>
              <a:off x="5805714" y="5095918"/>
              <a:ext cx="580573" cy="386869"/>
              <a:chOff x="5805714" y="609691"/>
              <a:chExt cx="580573" cy="386869"/>
            </a:xfrm>
          </p:grpSpPr>
          <p:sp>
            <p:nvSpPr>
              <p:cNvPr id="124" name="Rectangle 123">
                <a:extLst>
                  <a:ext uri="{FF2B5EF4-FFF2-40B4-BE49-F238E27FC236}">
                    <a16:creationId xmlns:a16="http://schemas.microsoft.com/office/drawing/2014/main" id="{595E399E-0521-4D5B-914F-29C3ADDF2B72}"/>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Arc 124">
                <a:extLst>
                  <a:ext uri="{FF2B5EF4-FFF2-40B4-BE49-F238E27FC236}">
                    <a16:creationId xmlns:a16="http://schemas.microsoft.com/office/drawing/2014/main" id="{14739334-2472-4756-B880-7780C40DA407}"/>
                  </a:ext>
                </a:extLst>
              </p:cNvPr>
              <p:cNvSpPr/>
              <p:nvPr/>
            </p:nvSpPr>
            <p:spPr>
              <a:xfrm>
                <a:off x="5805714" y="609691"/>
                <a:ext cx="410553" cy="386869"/>
              </a:xfrm>
              <a:prstGeom prst="arc">
                <a:avLst>
                  <a:gd name="adj1" fmla="val 1112251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6" name="Group 125">
              <a:extLst>
                <a:ext uri="{FF2B5EF4-FFF2-40B4-BE49-F238E27FC236}">
                  <a16:creationId xmlns:a16="http://schemas.microsoft.com/office/drawing/2014/main" id="{6D7FEFCF-F5E2-48A4-8DA2-466E3FA530E8}"/>
                </a:ext>
              </a:extLst>
            </p:cNvPr>
            <p:cNvGrpSpPr/>
            <p:nvPr/>
          </p:nvGrpSpPr>
          <p:grpSpPr>
            <a:xfrm>
              <a:off x="5805714" y="5406941"/>
              <a:ext cx="580573" cy="386869"/>
              <a:chOff x="5805714" y="609691"/>
              <a:chExt cx="580573" cy="386869"/>
            </a:xfrm>
          </p:grpSpPr>
          <p:sp>
            <p:nvSpPr>
              <p:cNvPr id="127" name="Rectangle 126">
                <a:extLst>
                  <a:ext uri="{FF2B5EF4-FFF2-40B4-BE49-F238E27FC236}">
                    <a16:creationId xmlns:a16="http://schemas.microsoft.com/office/drawing/2014/main" id="{5B8C7798-2FB8-447C-BA5C-ECB75C74E5AD}"/>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Arc 127">
                <a:extLst>
                  <a:ext uri="{FF2B5EF4-FFF2-40B4-BE49-F238E27FC236}">
                    <a16:creationId xmlns:a16="http://schemas.microsoft.com/office/drawing/2014/main" id="{DDFE7CA2-AC7D-4CF0-A779-1F7EC6161969}"/>
                  </a:ext>
                </a:extLst>
              </p:cNvPr>
              <p:cNvSpPr/>
              <p:nvPr/>
            </p:nvSpPr>
            <p:spPr>
              <a:xfrm>
                <a:off x="5805714" y="609691"/>
                <a:ext cx="410553" cy="386869"/>
              </a:xfrm>
              <a:prstGeom prst="arc">
                <a:avLst>
                  <a:gd name="adj1" fmla="val 1087916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9" name="Group 128">
              <a:extLst>
                <a:ext uri="{FF2B5EF4-FFF2-40B4-BE49-F238E27FC236}">
                  <a16:creationId xmlns:a16="http://schemas.microsoft.com/office/drawing/2014/main" id="{EF6B5FAD-EB1F-43DC-8B99-11CAD21D64C9}"/>
                </a:ext>
              </a:extLst>
            </p:cNvPr>
            <p:cNvGrpSpPr/>
            <p:nvPr/>
          </p:nvGrpSpPr>
          <p:grpSpPr>
            <a:xfrm>
              <a:off x="5805714" y="5717964"/>
              <a:ext cx="580573" cy="386869"/>
              <a:chOff x="5805714" y="609691"/>
              <a:chExt cx="580573" cy="386869"/>
            </a:xfrm>
          </p:grpSpPr>
          <p:sp>
            <p:nvSpPr>
              <p:cNvPr id="130" name="Rectangle 129">
                <a:extLst>
                  <a:ext uri="{FF2B5EF4-FFF2-40B4-BE49-F238E27FC236}">
                    <a16:creationId xmlns:a16="http://schemas.microsoft.com/office/drawing/2014/main" id="{B817890A-729D-4FBB-8EF7-DAFD6F73427B}"/>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Arc 130">
                <a:extLst>
                  <a:ext uri="{FF2B5EF4-FFF2-40B4-BE49-F238E27FC236}">
                    <a16:creationId xmlns:a16="http://schemas.microsoft.com/office/drawing/2014/main" id="{EAD6132E-2435-4771-A3CC-CCE94E7A9600}"/>
                  </a:ext>
                </a:extLst>
              </p:cNvPr>
              <p:cNvSpPr/>
              <p:nvPr/>
            </p:nvSpPr>
            <p:spPr>
              <a:xfrm>
                <a:off x="5805714" y="609691"/>
                <a:ext cx="410553" cy="386869"/>
              </a:xfrm>
              <a:prstGeom prst="arc">
                <a:avLst>
                  <a:gd name="adj1" fmla="val 1099240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Group 131">
              <a:extLst>
                <a:ext uri="{FF2B5EF4-FFF2-40B4-BE49-F238E27FC236}">
                  <a16:creationId xmlns:a16="http://schemas.microsoft.com/office/drawing/2014/main" id="{2B7006E1-B188-46BA-BAA5-15A960905F4C}"/>
                </a:ext>
              </a:extLst>
            </p:cNvPr>
            <p:cNvGrpSpPr/>
            <p:nvPr/>
          </p:nvGrpSpPr>
          <p:grpSpPr>
            <a:xfrm>
              <a:off x="5805714" y="6028987"/>
              <a:ext cx="580573" cy="386869"/>
              <a:chOff x="5805714" y="609691"/>
              <a:chExt cx="580573" cy="386869"/>
            </a:xfrm>
          </p:grpSpPr>
          <p:sp>
            <p:nvSpPr>
              <p:cNvPr id="133" name="Rectangle 132">
                <a:extLst>
                  <a:ext uri="{FF2B5EF4-FFF2-40B4-BE49-F238E27FC236}">
                    <a16:creationId xmlns:a16="http://schemas.microsoft.com/office/drawing/2014/main" id="{D01250CF-AFA1-4A19-B3C7-7F163609380B}"/>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c 133">
                <a:extLst>
                  <a:ext uri="{FF2B5EF4-FFF2-40B4-BE49-F238E27FC236}">
                    <a16:creationId xmlns:a16="http://schemas.microsoft.com/office/drawing/2014/main" id="{1014BA5C-C370-44EB-84DA-2D69E36CE6C3}"/>
                  </a:ext>
                </a:extLst>
              </p:cNvPr>
              <p:cNvSpPr/>
              <p:nvPr/>
            </p:nvSpPr>
            <p:spPr>
              <a:xfrm>
                <a:off x="5805714" y="609691"/>
                <a:ext cx="410553" cy="386869"/>
              </a:xfrm>
              <a:prstGeom prst="arc">
                <a:avLst>
                  <a:gd name="adj1" fmla="val 11197210"/>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Group 134">
              <a:extLst>
                <a:ext uri="{FF2B5EF4-FFF2-40B4-BE49-F238E27FC236}">
                  <a16:creationId xmlns:a16="http://schemas.microsoft.com/office/drawing/2014/main" id="{AD8CB7E5-EBC4-4791-B93B-D0B41B862B83}"/>
                </a:ext>
              </a:extLst>
            </p:cNvPr>
            <p:cNvGrpSpPr/>
            <p:nvPr/>
          </p:nvGrpSpPr>
          <p:grpSpPr>
            <a:xfrm>
              <a:off x="5805714" y="6340004"/>
              <a:ext cx="580573" cy="386869"/>
              <a:chOff x="5805714" y="609691"/>
              <a:chExt cx="580573" cy="386869"/>
            </a:xfrm>
          </p:grpSpPr>
          <p:sp>
            <p:nvSpPr>
              <p:cNvPr id="136" name="Rectangle 135">
                <a:extLst>
                  <a:ext uri="{FF2B5EF4-FFF2-40B4-BE49-F238E27FC236}">
                    <a16:creationId xmlns:a16="http://schemas.microsoft.com/office/drawing/2014/main" id="{CF456FF3-391C-4C8E-A128-A413BDBBB225}"/>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c 136">
                <a:extLst>
                  <a:ext uri="{FF2B5EF4-FFF2-40B4-BE49-F238E27FC236}">
                    <a16:creationId xmlns:a16="http://schemas.microsoft.com/office/drawing/2014/main" id="{8838FE2A-04D7-44E3-97C3-54338832CB9A}"/>
                  </a:ext>
                </a:extLst>
              </p:cNvPr>
              <p:cNvSpPr/>
              <p:nvPr/>
            </p:nvSpPr>
            <p:spPr>
              <a:xfrm>
                <a:off x="5805714" y="609691"/>
                <a:ext cx="410553" cy="386869"/>
              </a:xfrm>
              <a:prstGeom prst="arc">
                <a:avLst>
                  <a:gd name="adj1" fmla="val 1112980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pic>
        <p:nvPicPr>
          <p:cNvPr id="158" name="Picture 157">
            <a:extLst>
              <a:ext uri="{FF2B5EF4-FFF2-40B4-BE49-F238E27FC236}">
                <a16:creationId xmlns:a16="http://schemas.microsoft.com/office/drawing/2014/main" id="{B066BC2D-4235-4678-8148-06675AE54EAC}"/>
              </a:ext>
            </a:extLst>
          </p:cNvPr>
          <p:cNvPicPr>
            <a:picLocks noChangeAspect="1"/>
          </p:cNvPicPr>
          <p:nvPr/>
        </p:nvPicPr>
        <p:blipFill rotWithShape="1">
          <a:blip r:embed="rId3">
            <a:extLst>
              <a:ext uri="{28A0092B-C50C-407E-A947-70E740481C1C}">
                <a14:useLocalDpi xmlns:a14="http://schemas.microsoft.com/office/drawing/2010/main" val="0"/>
              </a:ext>
            </a:extLst>
          </a:blip>
          <a:srcRect t="-1" b="-1"/>
          <a:stretch/>
        </p:blipFill>
        <p:spPr>
          <a:xfrm>
            <a:off x="920452" y="1678905"/>
            <a:ext cx="4682593" cy="3288151"/>
          </a:xfrm>
          <a:prstGeom prst="rect">
            <a:avLst/>
          </a:prstGeom>
          <a:ln>
            <a:noFill/>
          </a:ln>
        </p:spPr>
      </p:pic>
      <p:sp>
        <p:nvSpPr>
          <p:cNvPr id="159" name="TextBox 158">
            <a:extLst>
              <a:ext uri="{FF2B5EF4-FFF2-40B4-BE49-F238E27FC236}">
                <a16:creationId xmlns:a16="http://schemas.microsoft.com/office/drawing/2014/main" id="{BDEDFA61-B13F-4F32-A5C8-D6821D51A5BE}"/>
              </a:ext>
            </a:extLst>
          </p:cNvPr>
          <p:cNvSpPr txBox="1"/>
          <p:nvPr/>
        </p:nvSpPr>
        <p:spPr>
          <a:xfrm>
            <a:off x="1026089" y="493622"/>
            <a:ext cx="4369462" cy="830997"/>
          </a:xfrm>
          <a:prstGeom prst="rect">
            <a:avLst/>
          </a:prstGeom>
          <a:noFill/>
        </p:spPr>
        <p:txBody>
          <a:bodyPr wrap="square" rtlCol="0">
            <a:spAutoFit/>
            <a:scene3d>
              <a:camera prst="orthographicFront"/>
              <a:lightRig rig="soft" dir="t">
                <a:rot lat="0" lon="0" rev="15600000"/>
              </a:lightRig>
            </a:scene3d>
            <a:sp3d extrusionH="57150" prstMaterial="softEdge">
              <a:bevelT w="25400" h="38100"/>
            </a:sp3d>
          </a:bodyPr>
          <a:lstStyle/>
          <a:p>
            <a:r>
              <a:rPr lang="en-US" sz="2400" b="1" dirty="0">
                <a:ln/>
                <a:solidFill>
                  <a:schemeClr val="accent4"/>
                </a:solidFill>
              </a:rPr>
              <a:t>Worlds Largest C &amp; D Recycle Plant.</a:t>
            </a:r>
          </a:p>
        </p:txBody>
      </p:sp>
      <p:sp>
        <p:nvSpPr>
          <p:cNvPr id="160" name="TextBox 159">
            <a:extLst>
              <a:ext uri="{FF2B5EF4-FFF2-40B4-BE49-F238E27FC236}">
                <a16:creationId xmlns:a16="http://schemas.microsoft.com/office/drawing/2014/main" id="{54981535-31E9-4D4A-9764-57C64E935A8E}"/>
              </a:ext>
            </a:extLst>
          </p:cNvPr>
          <p:cNvSpPr txBox="1"/>
          <p:nvPr/>
        </p:nvSpPr>
        <p:spPr>
          <a:xfrm>
            <a:off x="1503099" y="5287719"/>
            <a:ext cx="4082988" cy="646331"/>
          </a:xfrm>
          <a:prstGeom prst="rect">
            <a:avLst/>
          </a:prstGeom>
          <a:noFill/>
        </p:spPr>
        <p:txBody>
          <a:bodyPr wrap="square" rtlCol="0">
            <a:spAutoFit/>
          </a:bodyPr>
          <a:lstStyle/>
          <a:p>
            <a:r>
              <a:rPr lang="de-DE" altLang="de-DE" spc="300" dirty="0">
                <a:solidFill>
                  <a:srgbClr val="FF0000"/>
                </a:solidFill>
              </a:rPr>
              <a:t>Velde Pukk (Norway) </a:t>
            </a:r>
          </a:p>
          <a:p>
            <a:endParaRPr lang="de-DE" altLang="de-DE" spc="300" dirty="0">
              <a:solidFill>
                <a:srgbClr val="FF0000"/>
              </a:solidFill>
            </a:endParaRPr>
          </a:p>
        </p:txBody>
      </p:sp>
      <p:sp>
        <p:nvSpPr>
          <p:cNvPr id="162" name="TextBox 161">
            <a:extLst>
              <a:ext uri="{FF2B5EF4-FFF2-40B4-BE49-F238E27FC236}">
                <a16:creationId xmlns:a16="http://schemas.microsoft.com/office/drawing/2014/main" id="{03353404-7716-41E7-8934-384095BA9183}"/>
              </a:ext>
            </a:extLst>
          </p:cNvPr>
          <p:cNvSpPr txBox="1"/>
          <p:nvPr/>
        </p:nvSpPr>
        <p:spPr>
          <a:xfrm>
            <a:off x="6378966" y="783834"/>
            <a:ext cx="4963748" cy="2636363"/>
          </a:xfrm>
          <a:prstGeom prst="rect">
            <a:avLst/>
          </a:prstGeom>
          <a:noFill/>
        </p:spPr>
        <p:txBody>
          <a:bodyPr wrap="square" rtlCol="0">
            <a:spAutoFit/>
          </a:bodyPr>
          <a:lstStyle/>
          <a:p>
            <a:pPr>
              <a:lnSpc>
                <a:spcPct val="250000"/>
              </a:lnSpc>
            </a:pPr>
            <a:r>
              <a:rPr lang="en-US" sz="1400" b="1" dirty="0">
                <a:solidFill>
                  <a:schemeClr val="bg1"/>
                </a:solidFill>
              </a:rPr>
              <a:t>The Plant Of Velde </a:t>
            </a:r>
            <a:r>
              <a:rPr lang="en-US" sz="1400" b="1" dirty="0" err="1">
                <a:solidFill>
                  <a:schemeClr val="bg1"/>
                </a:solidFill>
              </a:rPr>
              <a:t>Pukk</a:t>
            </a:r>
            <a:r>
              <a:rPr lang="en-US" sz="1400" b="1" dirty="0">
                <a:solidFill>
                  <a:schemeClr val="bg1"/>
                </a:solidFill>
              </a:rPr>
              <a:t> Will Help Ease The Pressure Of The 600,000 Tons C&amp;D Waste That Norway Generates Per Year And 300 Tons Per Hour.</a:t>
            </a:r>
            <a:endParaRPr lang="en-US" sz="1200" dirty="0">
              <a:solidFill>
                <a:schemeClr val="bg1"/>
              </a:solidFill>
              <a:latin typeface="Hand Of Sean" panose="02000500000000000000" pitchFamily="2" charset="-128"/>
              <a:ea typeface="Hand Of Sean" panose="02000500000000000000" pitchFamily="2" charset="-128"/>
            </a:endParaRPr>
          </a:p>
          <a:p>
            <a:pPr>
              <a:lnSpc>
                <a:spcPct val="250000"/>
              </a:lnSpc>
            </a:pPr>
            <a:endParaRPr lang="en-US" sz="1400" b="1" dirty="0">
              <a:solidFill>
                <a:schemeClr val="bg1"/>
              </a:solidFill>
            </a:endParaRPr>
          </a:p>
          <a:p>
            <a:pPr>
              <a:lnSpc>
                <a:spcPct val="250000"/>
              </a:lnSpc>
            </a:pPr>
            <a:endParaRPr lang="en-US" sz="1200" dirty="0">
              <a:solidFill>
                <a:srgbClr val="0070C0"/>
              </a:solidFill>
              <a:latin typeface="Hand Of Sean" panose="02000500000000000000" pitchFamily="2" charset="-128"/>
              <a:ea typeface="Hand Of Sean" panose="02000500000000000000" pitchFamily="2" charset="-128"/>
            </a:endParaRPr>
          </a:p>
        </p:txBody>
      </p:sp>
    </p:spTree>
    <p:extLst>
      <p:ext uri="{BB962C8B-B14F-4D97-AF65-F5344CB8AC3E}">
        <p14:creationId xmlns:p14="http://schemas.microsoft.com/office/powerpoint/2010/main" val="14113844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a:extLst>
              <a:ext uri="{FF2B5EF4-FFF2-40B4-BE49-F238E27FC236}">
                <a16:creationId xmlns:a16="http://schemas.microsoft.com/office/drawing/2014/main" id="{55C089E3-40F2-48EE-94AD-97A50E3AC6F8}"/>
              </a:ext>
            </a:extLst>
          </p:cNvPr>
          <p:cNvSpPr/>
          <p:nvPr/>
        </p:nvSpPr>
        <p:spPr>
          <a:xfrm>
            <a:off x="6096000" y="0"/>
            <a:ext cx="5660571" cy="6858000"/>
          </a:xfrm>
          <a:prstGeom prst="rect">
            <a:avLst/>
          </a:prstGeom>
          <a:blipFill>
            <a:blip r:embed="rId2"/>
            <a:stretch>
              <a:fillRect/>
            </a:stretch>
          </a:blipFill>
          <a:ln>
            <a:noFill/>
          </a:ln>
          <a:effectLst>
            <a:outerShdw blurRad="50800" dist="762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C03955BB-E41C-4E77-BB48-325360470229}"/>
              </a:ext>
            </a:extLst>
          </p:cNvPr>
          <p:cNvSpPr/>
          <p:nvPr/>
        </p:nvSpPr>
        <p:spPr>
          <a:xfrm>
            <a:off x="275044" y="-5786"/>
            <a:ext cx="5681417" cy="6858000"/>
          </a:xfrm>
          <a:prstGeom prst="rect">
            <a:avLst/>
          </a:prstGeom>
          <a:blipFill>
            <a:blip r:embed="rId2"/>
            <a:stretch>
              <a:fillRect/>
            </a:stretch>
          </a:blipFill>
          <a:ln>
            <a:noFill/>
          </a:ln>
          <a:effectLst>
            <a:outerShdw blurRad="50800" dist="889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0" name="Group 189">
            <a:extLst>
              <a:ext uri="{FF2B5EF4-FFF2-40B4-BE49-F238E27FC236}">
                <a16:creationId xmlns:a16="http://schemas.microsoft.com/office/drawing/2014/main" id="{B1C4F1B1-18D1-4F24-A7B4-A913BFFF45E6}"/>
              </a:ext>
            </a:extLst>
          </p:cNvPr>
          <p:cNvGrpSpPr/>
          <p:nvPr/>
        </p:nvGrpSpPr>
        <p:grpSpPr>
          <a:xfrm>
            <a:off x="6096000" y="119550"/>
            <a:ext cx="5574535" cy="6778315"/>
            <a:chOff x="6096000" y="119550"/>
            <a:chExt cx="5574535" cy="6778315"/>
          </a:xfrm>
        </p:grpSpPr>
        <p:sp>
          <p:nvSpPr>
            <p:cNvPr id="191" name="Rectangle 190">
              <a:extLst>
                <a:ext uri="{FF2B5EF4-FFF2-40B4-BE49-F238E27FC236}">
                  <a16:creationId xmlns:a16="http://schemas.microsoft.com/office/drawing/2014/main" id="{479DEB60-7570-45B4-8336-36827F8A3ED2}"/>
                </a:ext>
              </a:extLst>
            </p:cNvPr>
            <p:cNvSpPr/>
            <p:nvPr/>
          </p:nvSpPr>
          <p:spPr>
            <a:xfrm>
              <a:off x="11148331" y="4069452"/>
              <a:ext cx="522204" cy="2657736"/>
            </a:xfrm>
            <a:prstGeom prst="rect">
              <a:avLst/>
            </a:prstGeom>
            <a:solidFill>
              <a:srgbClr val="FFCC00"/>
            </a:solidFill>
            <a:ln>
              <a:no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2" name="Freeform: Shape 191">
              <a:extLst>
                <a:ext uri="{FF2B5EF4-FFF2-40B4-BE49-F238E27FC236}">
                  <a16:creationId xmlns:a16="http://schemas.microsoft.com/office/drawing/2014/main" id="{1F0B4A1C-B94A-47CE-AED1-2D2A4BE4CFF9}"/>
                </a:ext>
              </a:extLst>
            </p:cNvPr>
            <p:cNvSpPr/>
            <p:nvPr/>
          </p:nvSpPr>
          <p:spPr>
            <a:xfrm>
              <a:off x="6128872" y="119550"/>
              <a:ext cx="5395162" cy="6607323"/>
            </a:xfrm>
            <a:custGeom>
              <a:avLst/>
              <a:gdLst>
                <a:gd name="connsiteX0" fmla="*/ 0 w 5395162"/>
                <a:gd name="connsiteY0" fmla="*/ 0 h 6607323"/>
                <a:gd name="connsiteX1" fmla="*/ 5395162 w 5395162"/>
                <a:gd name="connsiteY1" fmla="*/ 0 h 6607323"/>
                <a:gd name="connsiteX2" fmla="*/ 5395162 w 5395162"/>
                <a:gd name="connsiteY2" fmla="*/ 3949902 h 6607323"/>
                <a:gd name="connsiteX3" fmla="*/ 5230980 w 5395162"/>
                <a:gd name="connsiteY3" fmla="*/ 3949902 h 6607323"/>
                <a:gd name="connsiteX4" fmla="*/ 5032614 w 5395162"/>
                <a:gd name="connsiteY4" fmla="*/ 4148268 h 6607323"/>
                <a:gd name="connsiteX5" fmla="*/ 5032614 w 5395162"/>
                <a:gd name="connsiteY5" fmla="*/ 6607209 h 6607323"/>
                <a:gd name="connsiteX6" fmla="*/ 5032625 w 5395162"/>
                <a:gd name="connsiteY6" fmla="*/ 6607323 h 6607323"/>
                <a:gd name="connsiteX7" fmla="*/ 0 w 5395162"/>
                <a:gd name="connsiteY7" fmla="*/ 6607323 h 660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5162" h="6607323">
                  <a:moveTo>
                    <a:pt x="0" y="0"/>
                  </a:moveTo>
                  <a:lnTo>
                    <a:pt x="5395162" y="0"/>
                  </a:lnTo>
                  <a:lnTo>
                    <a:pt x="5395162" y="3949902"/>
                  </a:lnTo>
                  <a:lnTo>
                    <a:pt x="5230980" y="3949902"/>
                  </a:lnTo>
                  <a:cubicBezTo>
                    <a:pt x="5121425" y="3949902"/>
                    <a:pt x="5032614" y="4038713"/>
                    <a:pt x="5032614" y="4148268"/>
                  </a:cubicBezTo>
                  <a:lnTo>
                    <a:pt x="5032614" y="6607209"/>
                  </a:lnTo>
                  <a:lnTo>
                    <a:pt x="5032625" y="6607323"/>
                  </a:lnTo>
                  <a:lnTo>
                    <a:pt x="0" y="6607323"/>
                  </a:lnTo>
                  <a:close/>
                </a:path>
              </a:pathLst>
            </a:custGeom>
            <a:solidFill>
              <a:srgbClr val="FDFDFD"/>
            </a:solidFill>
            <a:ln>
              <a:noFill/>
            </a:ln>
            <a:effectLst>
              <a:outerShdw blurRad="508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3" name="Straight Connector 192">
              <a:extLst>
                <a:ext uri="{FF2B5EF4-FFF2-40B4-BE49-F238E27FC236}">
                  <a16:creationId xmlns:a16="http://schemas.microsoft.com/office/drawing/2014/main" id="{59162A81-0D26-49D5-9C3D-AF1145F70A57}"/>
                </a:ext>
              </a:extLst>
            </p:cNvPr>
            <p:cNvCxnSpPr>
              <a:cxnSpLocks/>
            </p:cNvCxnSpPr>
            <p:nvPr/>
          </p:nvCxnSpPr>
          <p:spPr>
            <a:xfrm>
              <a:off x="6096000" y="909390"/>
              <a:ext cx="5428034"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DC12B9C-03BA-4147-9B14-30D86730F24B}"/>
                </a:ext>
              </a:extLst>
            </p:cNvPr>
            <p:cNvCxnSpPr>
              <a:cxnSpLocks/>
            </p:cNvCxnSpPr>
            <p:nvPr/>
          </p:nvCxnSpPr>
          <p:spPr>
            <a:xfrm>
              <a:off x="6126481" y="137418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DCDD4C6-51F4-4E17-AD53-489FD1F39D5F}"/>
                </a:ext>
              </a:extLst>
            </p:cNvPr>
            <p:cNvCxnSpPr>
              <a:cxnSpLocks/>
            </p:cNvCxnSpPr>
            <p:nvPr/>
          </p:nvCxnSpPr>
          <p:spPr>
            <a:xfrm>
              <a:off x="6126481" y="1864456"/>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22656D87-BB85-4C46-9209-8C9140CFF071}"/>
                </a:ext>
              </a:extLst>
            </p:cNvPr>
            <p:cNvCxnSpPr>
              <a:cxnSpLocks/>
            </p:cNvCxnSpPr>
            <p:nvPr/>
          </p:nvCxnSpPr>
          <p:spPr>
            <a:xfrm>
              <a:off x="6126481" y="2354732"/>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B8516F6C-3E8F-41F1-85A7-8235F4B1C824}"/>
                </a:ext>
              </a:extLst>
            </p:cNvPr>
            <p:cNvCxnSpPr>
              <a:cxnSpLocks/>
            </p:cNvCxnSpPr>
            <p:nvPr/>
          </p:nvCxnSpPr>
          <p:spPr>
            <a:xfrm>
              <a:off x="6126481" y="2845008"/>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989266B4-BC34-4ABF-A425-A7DC3F37E571}"/>
                </a:ext>
              </a:extLst>
            </p:cNvPr>
            <p:cNvCxnSpPr>
              <a:cxnSpLocks/>
            </p:cNvCxnSpPr>
            <p:nvPr/>
          </p:nvCxnSpPr>
          <p:spPr>
            <a:xfrm>
              <a:off x="6126481" y="3335284"/>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6FBF9DB6-3F78-4FB6-A1C7-279765773246}"/>
                </a:ext>
              </a:extLst>
            </p:cNvPr>
            <p:cNvCxnSpPr>
              <a:cxnSpLocks/>
            </p:cNvCxnSpPr>
            <p:nvPr/>
          </p:nvCxnSpPr>
          <p:spPr>
            <a:xfrm>
              <a:off x="6126481" y="382556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7FF3BCF-0219-48EC-8281-6991C30C1636}"/>
                </a:ext>
              </a:extLst>
            </p:cNvPr>
            <p:cNvCxnSpPr>
              <a:cxnSpLocks/>
            </p:cNvCxnSpPr>
            <p:nvPr/>
          </p:nvCxnSpPr>
          <p:spPr>
            <a:xfrm>
              <a:off x="6126481" y="4315836"/>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66E6F99E-140E-42F7-9CD9-520ABBCB79FF}"/>
                </a:ext>
              </a:extLst>
            </p:cNvPr>
            <p:cNvCxnSpPr>
              <a:cxnSpLocks/>
            </p:cNvCxnSpPr>
            <p:nvPr/>
          </p:nvCxnSpPr>
          <p:spPr>
            <a:xfrm>
              <a:off x="6126481" y="4806112"/>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FD4DA134-0BBC-4EEA-B046-D144F8362963}"/>
                </a:ext>
              </a:extLst>
            </p:cNvPr>
            <p:cNvCxnSpPr>
              <a:cxnSpLocks/>
            </p:cNvCxnSpPr>
            <p:nvPr/>
          </p:nvCxnSpPr>
          <p:spPr>
            <a:xfrm>
              <a:off x="6126481" y="5296388"/>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D81023F8-3930-4E86-AADD-C34248F41F99}"/>
                </a:ext>
              </a:extLst>
            </p:cNvPr>
            <p:cNvCxnSpPr>
              <a:cxnSpLocks/>
            </p:cNvCxnSpPr>
            <p:nvPr/>
          </p:nvCxnSpPr>
          <p:spPr>
            <a:xfrm>
              <a:off x="6126481" y="5786664"/>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AB4022E9-383B-473B-A517-D6A80C1B6F12}"/>
                </a:ext>
              </a:extLst>
            </p:cNvPr>
            <p:cNvCxnSpPr>
              <a:cxnSpLocks/>
            </p:cNvCxnSpPr>
            <p:nvPr/>
          </p:nvCxnSpPr>
          <p:spPr>
            <a:xfrm>
              <a:off x="6126481" y="6276940"/>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B1FBF4D5-CE44-480D-BC29-B88EB2D96005}"/>
                </a:ext>
              </a:extLst>
            </p:cNvPr>
            <p:cNvSpPr txBox="1"/>
            <p:nvPr/>
          </p:nvSpPr>
          <p:spPr>
            <a:xfrm>
              <a:off x="11176000" y="5595360"/>
              <a:ext cx="461665" cy="1302505"/>
            </a:xfrm>
            <a:prstGeom prst="rect">
              <a:avLst/>
            </a:prstGeom>
            <a:noFill/>
          </p:spPr>
          <p:txBody>
            <a:bodyPr vert="vert270" wrap="square" rtlCol="0">
              <a:spAutoFit/>
            </a:bodyPr>
            <a:lstStyle/>
            <a:p>
              <a:pPr algn="ctr"/>
              <a:r>
                <a:rPr lang="en-US" b="1" dirty="0"/>
                <a:t>PAGE 05</a:t>
              </a:r>
            </a:p>
          </p:txBody>
        </p:sp>
      </p:grpSp>
      <p:grpSp>
        <p:nvGrpSpPr>
          <p:cNvPr id="174" name="Group 173">
            <a:extLst>
              <a:ext uri="{FF2B5EF4-FFF2-40B4-BE49-F238E27FC236}">
                <a16:creationId xmlns:a16="http://schemas.microsoft.com/office/drawing/2014/main" id="{4D3EC6F6-41B8-42EA-9450-9660D30297B3}"/>
              </a:ext>
            </a:extLst>
          </p:cNvPr>
          <p:cNvGrpSpPr/>
          <p:nvPr/>
        </p:nvGrpSpPr>
        <p:grpSpPr>
          <a:xfrm flipH="1">
            <a:off x="351445" y="89189"/>
            <a:ext cx="5574535" cy="6778315"/>
            <a:chOff x="6096000" y="119550"/>
            <a:chExt cx="5574535" cy="6778315"/>
          </a:xfrm>
        </p:grpSpPr>
        <p:sp>
          <p:nvSpPr>
            <p:cNvPr id="175" name="Rectangle 174">
              <a:extLst>
                <a:ext uri="{FF2B5EF4-FFF2-40B4-BE49-F238E27FC236}">
                  <a16:creationId xmlns:a16="http://schemas.microsoft.com/office/drawing/2014/main" id="{BC45525F-CA64-4D1D-A75E-E6290B229999}"/>
                </a:ext>
              </a:extLst>
            </p:cNvPr>
            <p:cNvSpPr/>
            <p:nvPr/>
          </p:nvSpPr>
          <p:spPr>
            <a:xfrm>
              <a:off x="11148331" y="4069452"/>
              <a:ext cx="522204" cy="2657736"/>
            </a:xfrm>
            <a:prstGeom prst="rect">
              <a:avLst/>
            </a:prstGeom>
            <a:solidFill>
              <a:srgbClr val="FF0066"/>
            </a:solidFill>
            <a:ln>
              <a:noFill/>
            </a:ln>
            <a:effectLst>
              <a:outerShdw blurRad="50800" dist="635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6" name="Freeform: Shape 175">
              <a:extLst>
                <a:ext uri="{FF2B5EF4-FFF2-40B4-BE49-F238E27FC236}">
                  <a16:creationId xmlns:a16="http://schemas.microsoft.com/office/drawing/2014/main" id="{4CCDAA36-0014-487F-9FC8-FB18AD79A536}"/>
                </a:ext>
              </a:extLst>
            </p:cNvPr>
            <p:cNvSpPr/>
            <p:nvPr/>
          </p:nvSpPr>
          <p:spPr>
            <a:xfrm>
              <a:off x="6128872" y="119550"/>
              <a:ext cx="5395162" cy="6607323"/>
            </a:xfrm>
            <a:custGeom>
              <a:avLst/>
              <a:gdLst>
                <a:gd name="connsiteX0" fmla="*/ 0 w 5395162"/>
                <a:gd name="connsiteY0" fmla="*/ 0 h 6607323"/>
                <a:gd name="connsiteX1" fmla="*/ 5395162 w 5395162"/>
                <a:gd name="connsiteY1" fmla="*/ 0 h 6607323"/>
                <a:gd name="connsiteX2" fmla="*/ 5395162 w 5395162"/>
                <a:gd name="connsiteY2" fmla="*/ 3949902 h 6607323"/>
                <a:gd name="connsiteX3" fmla="*/ 5230980 w 5395162"/>
                <a:gd name="connsiteY3" fmla="*/ 3949902 h 6607323"/>
                <a:gd name="connsiteX4" fmla="*/ 5032614 w 5395162"/>
                <a:gd name="connsiteY4" fmla="*/ 4148268 h 6607323"/>
                <a:gd name="connsiteX5" fmla="*/ 5032614 w 5395162"/>
                <a:gd name="connsiteY5" fmla="*/ 6607209 h 6607323"/>
                <a:gd name="connsiteX6" fmla="*/ 5032625 w 5395162"/>
                <a:gd name="connsiteY6" fmla="*/ 6607323 h 6607323"/>
                <a:gd name="connsiteX7" fmla="*/ 0 w 5395162"/>
                <a:gd name="connsiteY7" fmla="*/ 6607323 h 660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5162" h="6607323">
                  <a:moveTo>
                    <a:pt x="0" y="0"/>
                  </a:moveTo>
                  <a:lnTo>
                    <a:pt x="5395162" y="0"/>
                  </a:lnTo>
                  <a:lnTo>
                    <a:pt x="5395162" y="3949902"/>
                  </a:lnTo>
                  <a:lnTo>
                    <a:pt x="5230980" y="3949902"/>
                  </a:lnTo>
                  <a:cubicBezTo>
                    <a:pt x="5121425" y="3949902"/>
                    <a:pt x="5032614" y="4038713"/>
                    <a:pt x="5032614" y="4148268"/>
                  </a:cubicBezTo>
                  <a:lnTo>
                    <a:pt x="5032614" y="6607209"/>
                  </a:lnTo>
                  <a:lnTo>
                    <a:pt x="5032625" y="6607323"/>
                  </a:lnTo>
                  <a:lnTo>
                    <a:pt x="0" y="6607323"/>
                  </a:lnTo>
                  <a:close/>
                </a:path>
              </a:pathLst>
            </a:custGeom>
            <a:solidFill>
              <a:srgbClr val="FDFDFD"/>
            </a:solidFill>
            <a:ln>
              <a:noFill/>
            </a:ln>
            <a:effectLst>
              <a:outerShdw blurRad="50800" dist="762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7" name="Straight Connector 176">
              <a:extLst>
                <a:ext uri="{FF2B5EF4-FFF2-40B4-BE49-F238E27FC236}">
                  <a16:creationId xmlns:a16="http://schemas.microsoft.com/office/drawing/2014/main" id="{0B012414-9764-48F5-B4C3-0A5037F0BBA5}"/>
                </a:ext>
              </a:extLst>
            </p:cNvPr>
            <p:cNvCxnSpPr>
              <a:cxnSpLocks/>
            </p:cNvCxnSpPr>
            <p:nvPr/>
          </p:nvCxnSpPr>
          <p:spPr>
            <a:xfrm>
              <a:off x="6096000" y="909390"/>
              <a:ext cx="5428034"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DF96C4D-F51B-418E-8313-05C072401FE4}"/>
                </a:ext>
              </a:extLst>
            </p:cNvPr>
            <p:cNvCxnSpPr>
              <a:cxnSpLocks/>
            </p:cNvCxnSpPr>
            <p:nvPr/>
          </p:nvCxnSpPr>
          <p:spPr>
            <a:xfrm>
              <a:off x="6126481" y="137418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6F483CB6-CDC5-4A02-B30E-322036DDF0A0}"/>
                </a:ext>
              </a:extLst>
            </p:cNvPr>
            <p:cNvCxnSpPr>
              <a:cxnSpLocks/>
            </p:cNvCxnSpPr>
            <p:nvPr/>
          </p:nvCxnSpPr>
          <p:spPr>
            <a:xfrm>
              <a:off x="6126481" y="1864456"/>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3494356-E55D-4653-AB9F-7E1E2BF06D76}"/>
                </a:ext>
              </a:extLst>
            </p:cNvPr>
            <p:cNvCxnSpPr>
              <a:cxnSpLocks/>
            </p:cNvCxnSpPr>
            <p:nvPr/>
          </p:nvCxnSpPr>
          <p:spPr>
            <a:xfrm>
              <a:off x="6126481" y="2354732"/>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8C8F38DD-49EA-469F-9EDB-E9462B811FC0}"/>
                </a:ext>
              </a:extLst>
            </p:cNvPr>
            <p:cNvCxnSpPr>
              <a:cxnSpLocks/>
            </p:cNvCxnSpPr>
            <p:nvPr/>
          </p:nvCxnSpPr>
          <p:spPr>
            <a:xfrm>
              <a:off x="6126481" y="2845008"/>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BB0A9595-A092-4E25-932A-2B7A43E3DF75}"/>
                </a:ext>
              </a:extLst>
            </p:cNvPr>
            <p:cNvCxnSpPr>
              <a:cxnSpLocks/>
            </p:cNvCxnSpPr>
            <p:nvPr/>
          </p:nvCxnSpPr>
          <p:spPr>
            <a:xfrm>
              <a:off x="6126481" y="3335284"/>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D2DB5BD7-B26C-4609-AADA-D1F73B39D441}"/>
                </a:ext>
              </a:extLst>
            </p:cNvPr>
            <p:cNvCxnSpPr>
              <a:cxnSpLocks/>
            </p:cNvCxnSpPr>
            <p:nvPr/>
          </p:nvCxnSpPr>
          <p:spPr>
            <a:xfrm>
              <a:off x="6126481" y="3825560"/>
              <a:ext cx="5397552"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5992E529-F71B-461A-B57E-330E3C813F2E}"/>
                </a:ext>
              </a:extLst>
            </p:cNvPr>
            <p:cNvCxnSpPr>
              <a:cxnSpLocks/>
            </p:cNvCxnSpPr>
            <p:nvPr/>
          </p:nvCxnSpPr>
          <p:spPr>
            <a:xfrm>
              <a:off x="6126481" y="4315836"/>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4CEBAD4-44F2-4C60-80AE-1704869E5043}"/>
                </a:ext>
              </a:extLst>
            </p:cNvPr>
            <p:cNvCxnSpPr>
              <a:cxnSpLocks/>
            </p:cNvCxnSpPr>
            <p:nvPr/>
          </p:nvCxnSpPr>
          <p:spPr>
            <a:xfrm>
              <a:off x="6126481" y="4806112"/>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6B6DA8F-39DA-425E-B4FF-5A599863202A}"/>
                </a:ext>
              </a:extLst>
            </p:cNvPr>
            <p:cNvCxnSpPr>
              <a:cxnSpLocks/>
            </p:cNvCxnSpPr>
            <p:nvPr/>
          </p:nvCxnSpPr>
          <p:spPr>
            <a:xfrm>
              <a:off x="6126481" y="5296388"/>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7CBD5B22-00BF-4EDD-976C-E876BF6A92CB}"/>
                </a:ext>
              </a:extLst>
            </p:cNvPr>
            <p:cNvCxnSpPr>
              <a:cxnSpLocks/>
            </p:cNvCxnSpPr>
            <p:nvPr/>
          </p:nvCxnSpPr>
          <p:spPr>
            <a:xfrm>
              <a:off x="6126481" y="5786664"/>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D0984BC2-397F-487F-B4C3-639E88CD5B95}"/>
                </a:ext>
              </a:extLst>
            </p:cNvPr>
            <p:cNvCxnSpPr>
              <a:cxnSpLocks/>
            </p:cNvCxnSpPr>
            <p:nvPr/>
          </p:nvCxnSpPr>
          <p:spPr>
            <a:xfrm>
              <a:off x="6126481" y="6276940"/>
              <a:ext cx="5049519" cy="0"/>
            </a:xfrm>
            <a:prstGeom prst="line">
              <a:avLst/>
            </a:prstGeom>
            <a:ln>
              <a:solidFill>
                <a:srgbClr val="FF0000">
                  <a:alpha val="17000"/>
                </a:srgbClr>
              </a:solidFill>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028D77CE-26CC-48A3-92E2-0D112FD9E9FA}"/>
                </a:ext>
              </a:extLst>
            </p:cNvPr>
            <p:cNvSpPr txBox="1"/>
            <p:nvPr/>
          </p:nvSpPr>
          <p:spPr>
            <a:xfrm>
              <a:off x="11176000" y="5595360"/>
              <a:ext cx="461665" cy="1302505"/>
            </a:xfrm>
            <a:prstGeom prst="rect">
              <a:avLst/>
            </a:prstGeom>
            <a:noFill/>
          </p:spPr>
          <p:txBody>
            <a:bodyPr vert="vert270" wrap="square" rtlCol="0">
              <a:spAutoFit/>
            </a:bodyPr>
            <a:lstStyle/>
            <a:p>
              <a:pPr algn="ctr"/>
              <a:r>
                <a:rPr lang="en-US" b="1" dirty="0">
                  <a:solidFill>
                    <a:schemeClr val="bg1"/>
                  </a:solidFill>
                </a:rPr>
                <a:t>PAGE 04</a:t>
              </a:r>
            </a:p>
          </p:txBody>
        </p:sp>
      </p:grpSp>
      <p:pic>
        <p:nvPicPr>
          <p:cNvPr id="150" name="object 6">
            <a:extLst>
              <a:ext uri="{FF2B5EF4-FFF2-40B4-BE49-F238E27FC236}">
                <a16:creationId xmlns:a16="http://schemas.microsoft.com/office/drawing/2014/main" id="{3A49CE01-80AA-4BB8-9D3A-0DF0AC05ADB1}"/>
              </a:ext>
            </a:extLst>
          </p:cNvPr>
          <p:cNvPicPr/>
          <p:nvPr/>
        </p:nvPicPr>
        <p:blipFill>
          <a:blip r:embed="rId3" cstate="print"/>
          <a:stretch>
            <a:fillRect/>
          </a:stretch>
        </p:blipFill>
        <p:spPr>
          <a:xfrm>
            <a:off x="889561" y="1682387"/>
            <a:ext cx="4710074" cy="3284667"/>
          </a:xfrm>
          <a:prstGeom prst="rect">
            <a:avLst/>
          </a:prstGeom>
        </p:spPr>
      </p:pic>
      <p:grpSp>
        <p:nvGrpSpPr>
          <p:cNvPr id="3" name="Group 2">
            <a:extLst>
              <a:ext uri="{FF2B5EF4-FFF2-40B4-BE49-F238E27FC236}">
                <a16:creationId xmlns:a16="http://schemas.microsoft.com/office/drawing/2014/main" id="{0F1A4B53-3DA8-4B08-87F6-99E2B5780CCB}"/>
              </a:ext>
            </a:extLst>
          </p:cNvPr>
          <p:cNvGrpSpPr/>
          <p:nvPr/>
        </p:nvGrpSpPr>
        <p:grpSpPr>
          <a:xfrm>
            <a:off x="5604611" y="119550"/>
            <a:ext cx="781676" cy="6607323"/>
            <a:chOff x="5604611" y="119550"/>
            <a:chExt cx="781676" cy="6607323"/>
          </a:xfrm>
        </p:grpSpPr>
        <p:sp>
          <p:nvSpPr>
            <p:cNvPr id="67" name="Rectangle 66">
              <a:extLst>
                <a:ext uri="{FF2B5EF4-FFF2-40B4-BE49-F238E27FC236}">
                  <a16:creationId xmlns:a16="http://schemas.microsoft.com/office/drawing/2014/main" id="{D119F2DB-0E38-4A31-831F-2BAF295D2A25}"/>
                </a:ext>
              </a:extLst>
            </p:cNvPr>
            <p:cNvSpPr/>
            <p:nvPr/>
          </p:nvSpPr>
          <p:spPr>
            <a:xfrm>
              <a:off x="5635694" y="20253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0" name="Group 9">
              <a:extLst>
                <a:ext uri="{FF2B5EF4-FFF2-40B4-BE49-F238E27FC236}">
                  <a16:creationId xmlns:a16="http://schemas.microsoft.com/office/drawing/2014/main" id="{AEE5042A-E067-4FB7-BCFF-00BB33BFEDEC}"/>
                </a:ext>
              </a:extLst>
            </p:cNvPr>
            <p:cNvGrpSpPr/>
            <p:nvPr/>
          </p:nvGrpSpPr>
          <p:grpSpPr>
            <a:xfrm>
              <a:off x="5805714" y="119550"/>
              <a:ext cx="580573" cy="386869"/>
              <a:chOff x="5805714" y="609691"/>
              <a:chExt cx="580573" cy="386869"/>
            </a:xfrm>
          </p:grpSpPr>
          <p:sp>
            <p:nvSpPr>
              <p:cNvPr id="5" name="Rectangle 4">
                <a:extLst>
                  <a:ext uri="{FF2B5EF4-FFF2-40B4-BE49-F238E27FC236}">
                    <a16:creationId xmlns:a16="http://schemas.microsoft.com/office/drawing/2014/main" id="{9ECC8D50-758B-45D1-9832-058DA749338C}"/>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FC783E55-1922-4926-8D97-EC60526709F7}"/>
                  </a:ext>
                </a:extLst>
              </p:cNvPr>
              <p:cNvSpPr/>
              <p:nvPr/>
            </p:nvSpPr>
            <p:spPr>
              <a:xfrm>
                <a:off x="5805714" y="609691"/>
                <a:ext cx="410553" cy="386869"/>
              </a:xfrm>
              <a:prstGeom prst="arc">
                <a:avLst>
                  <a:gd name="adj1" fmla="val 10333954"/>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8" name="Rectangle 67">
              <a:extLst>
                <a:ext uri="{FF2B5EF4-FFF2-40B4-BE49-F238E27FC236}">
                  <a16:creationId xmlns:a16="http://schemas.microsoft.com/office/drawing/2014/main" id="{FCB92E0C-F05E-4602-8A6C-A561815032EC}"/>
                </a:ext>
              </a:extLst>
            </p:cNvPr>
            <p:cNvSpPr/>
            <p:nvPr/>
          </p:nvSpPr>
          <p:spPr>
            <a:xfrm>
              <a:off x="5632035" y="503041"/>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8" name="Group 77">
              <a:extLst>
                <a:ext uri="{FF2B5EF4-FFF2-40B4-BE49-F238E27FC236}">
                  <a16:creationId xmlns:a16="http://schemas.microsoft.com/office/drawing/2014/main" id="{E48E30C9-A74F-4C52-AD04-FC9A5CBD8258}"/>
                </a:ext>
              </a:extLst>
            </p:cNvPr>
            <p:cNvGrpSpPr/>
            <p:nvPr/>
          </p:nvGrpSpPr>
          <p:grpSpPr>
            <a:xfrm>
              <a:off x="5805714" y="430573"/>
              <a:ext cx="580573" cy="386869"/>
              <a:chOff x="5805714" y="609691"/>
              <a:chExt cx="580573" cy="386869"/>
            </a:xfrm>
          </p:grpSpPr>
          <p:sp>
            <p:nvSpPr>
              <p:cNvPr id="79" name="Rectangle 78">
                <a:extLst>
                  <a:ext uri="{FF2B5EF4-FFF2-40B4-BE49-F238E27FC236}">
                    <a16:creationId xmlns:a16="http://schemas.microsoft.com/office/drawing/2014/main" id="{9D80A7DB-810E-4588-BE25-E9F7C34D3DB1}"/>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Arc 79">
                <a:extLst>
                  <a:ext uri="{FF2B5EF4-FFF2-40B4-BE49-F238E27FC236}">
                    <a16:creationId xmlns:a16="http://schemas.microsoft.com/office/drawing/2014/main" id="{0CEE252C-3F6B-425D-A974-8C322FD62AA8}"/>
                  </a:ext>
                </a:extLst>
              </p:cNvPr>
              <p:cNvSpPr/>
              <p:nvPr/>
            </p:nvSpPr>
            <p:spPr>
              <a:xfrm>
                <a:off x="5805714" y="609691"/>
                <a:ext cx="410553" cy="386869"/>
              </a:xfrm>
              <a:prstGeom prst="arc">
                <a:avLst>
                  <a:gd name="adj1" fmla="val 10604954"/>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69" name="Rectangle 68">
              <a:extLst>
                <a:ext uri="{FF2B5EF4-FFF2-40B4-BE49-F238E27FC236}">
                  <a16:creationId xmlns:a16="http://schemas.microsoft.com/office/drawing/2014/main" id="{A4620A41-830E-412F-B7F4-82B17531460F}"/>
                </a:ext>
              </a:extLst>
            </p:cNvPr>
            <p:cNvSpPr/>
            <p:nvPr/>
          </p:nvSpPr>
          <p:spPr>
            <a:xfrm>
              <a:off x="5635694" y="81748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0" name="Rectangle 69">
              <a:extLst>
                <a:ext uri="{FF2B5EF4-FFF2-40B4-BE49-F238E27FC236}">
                  <a16:creationId xmlns:a16="http://schemas.microsoft.com/office/drawing/2014/main" id="{B8C591D4-C50C-4B67-805A-961945693BE6}"/>
                </a:ext>
              </a:extLst>
            </p:cNvPr>
            <p:cNvSpPr/>
            <p:nvPr/>
          </p:nvSpPr>
          <p:spPr>
            <a:xfrm>
              <a:off x="5636493" y="1123923"/>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Rectangle 70">
              <a:extLst>
                <a:ext uri="{FF2B5EF4-FFF2-40B4-BE49-F238E27FC236}">
                  <a16:creationId xmlns:a16="http://schemas.microsoft.com/office/drawing/2014/main" id="{461F08B5-15BF-4C63-B54C-7D2001EDCAD3}"/>
                </a:ext>
              </a:extLst>
            </p:cNvPr>
            <p:cNvSpPr/>
            <p:nvPr/>
          </p:nvSpPr>
          <p:spPr>
            <a:xfrm>
              <a:off x="5633303" y="144082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2" name="Rectangle 71">
              <a:extLst>
                <a:ext uri="{FF2B5EF4-FFF2-40B4-BE49-F238E27FC236}">
                  <a16:creationId xmlns:a16="http://schemas.microsoft.com/office/drawing/2014/main" id="{D12C5631-8C0A-4256-BD3E-88D081A7321B}"/>
                </a:ext>
              </a:extLst>
            </p:cNvPr>
            <p:cNvSpPr/>
            <p:nvPr/>
          </p:nvSpPr>
          <p:spPr>
            <a:xfrm>
              <a:off x="5641689" y="174238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3" name="Rectangle 72">
              <a:extLst>
                <a:ext uri="{FF2B5EF4-FFF2-40B4-BE49-F238E27FC236}">
                  <a16:creationId xmlns:a16="http://schemas.microsoft.com/office/drawing/2014/main" id="{D3030D9B-44CF-4F4E-A86E-18A79322376D}"/>
                </a:ext>
              </a:extLst>
            </p:cNvPr>
            <p:cNvSpPr/>
            <p:nvPr/>
          </p:nvSpPr>
          <p:spPr>
            <a:xfrm>
              <a:off x="5626130" y="2064953"/>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4" name="Rectangle 73">
              <a:extLst>
                <a:ext uri="{FF2B5EF4-FFF2-40B4-BE49-F238E27FC236}">
                  <a16:creationId xmlns:a16="http://schemas.microsoft.com/office/drawing/2014/main" id="{0E9F8D11-58D9-4493-A410-DACB43B5E48F}"/>
                </a:ext>
              </a:extLst>
            </p:cNvPr>
            <p:cNvSpPr/>
            <p:nvPr/>
          </p:nvSpPr>
          <p:spPr>
            <a:xfrm>
              <a:off x="5626130" y="2372116"/>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5" name="Rectangle 74">
              <a:extLst>
                <a:ext uri="{FF2B5EF4-FFF2-40B4-BE49-F238E27FC236}">
                  <a16:creationId xmlns:a16="http://schemas.microsoft.com/office/drawing/2014/main" id="{880FA994-AF36-4890-A98D-4750B71B3C59}"/>
                </a:ext>
              </a:extLst>
            </p:cNvPr>
            <p:cNvSpPr/>
            <p:nvPr/>
          </p:nvSpPr>
          <p:spPr>
            <a:xfrm>
              <a:off x="5633303" y="268452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Rectangle 75">
              <a:extLst>
                <a:ext uri="{FF2B5EF4-FFF2-40B4-BE49-F238E27FC236}">
                  <a16:creationId xmlns:a16="http://schemas.microsoft.com/office/drawing/2014/main" id="{9E5C2FB6-992A-4537-B467-2FCB0FDBDB9F}"/>
                </a:ext>
              </a:extLst>
            </p:cNvPr>
            <p:cNvSpPr/>
            <p:nvPr/>
          </p:nvSpPr>
          <p:spPr>
            <a:xfrm>
              <a:off x="5633303" y="2985986"/>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 name="Rectangle 76">
              <a:extLst>
                <a:ext uri="{FF2B5EF4-FFF2-40B4-BE49-F238E27FC236}">
                  <a16:creationId xmlns:a16="http://schemas.microsoft.com/office/drawing/2014/main" id="{73193785-12A4-408F-9E7C-27DDBEAFA7BD}"/>
                </a:ext>
              </a:extLst>
            </p:cNvPr>
            <p:cNvSpPr/>
            <p:nvPr/>
          </p:nvSpPr>
          <p:spPr>
            <a:xfrm>
              <a:off x="5626130" y="330818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8" name="Rectangle 137">
              <a:extLst>
                <a:ext uri="{FF2B5EF4-FFF2-40B4-BE49-F238E27FC236}">
                  <a16:creationId xmlns:a16="http://schemas.microsoft.com/office/drawing/2014/main" id="{FF68EA0C-3323-4279-9322-583E0496C340}"/>
                </a:ext>
              </a:extLst>
            </p:cNvPr>
            <p:cNvSpPr/>
            <p:nvPr/>
          </p:nvSpPr>
          <p:spPr>
            <a:xfrm>
              <a:off x="5618957" y="361510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9" name="Rectangle 138">
              <a:extLst>
                <a:ext uri="{FF2B5EF4-FFF2-40B4-BE49-F238E27FC236}">
                  <a16:creationId xmlns:a16="http://schemas.microsoft.com/office/drawing/2014/main" id="{DA8F7F98-A2C1-4622-86E7-4F2038831BBE}"/>
                </a:ext>
              </a:extLst>
            </p:cNvPr>
            <p:cNvSpPr/>
            <p:nvPr/>
          </p:nvSpPr>
          <p:spPr>
            <a:xfrm>
              <a:off x="5604611" y="392724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0" name="Rectangle 139">
              <a:extLst>
                <a:ext uri="{FF2B5EF4-FFF2-40B4-BE49-F238E27FC236}">
                  <a16:creationId xmlns:a16="http://schemas.microsoft.com/office/drawing/2014/main" id="{0A05E640-BFCE-401E-8E58-B95F9FAC8DFA}"/>
                </a:ext>
              </a:extLst>
            </p:cNvPr>
            <p:cNvSpPr/>
            <p:nvPr/>
          </p:nvSpPr>
          <p:spPr>
            <a:xfrm>
              <a:off x="5611784" y="4239143"/>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1" name="Rectangle 140">
              <a:extLst>
                <a:ext uri="{FF2B5EF4-FFF2-40B4-BE49-F238E27FC236}">
                  <a16:creationId xmlns:a16="http://schemas.microsoft.com/office/drawing/2014/main" id="{E054FE0A-3727-4A81-B405-7B2AD3CF46C1}"/>
                </a:ext>
              </a:extLst>
            </p:cNvPr>
            <p:cNvSpPr/>
            <p:nvPr/>
          </p:nvSpPr>
          <p:spPr>
            <a:xfrm>
              <a:off x="5604611" y="4546182"/>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2" name="Rectangle 141">
              <a:extLst>
                <a:ext uri="{FF2B5EF4-FFF2-40B4-BE49-F238E27FC236}">
                  <a16:creationId xmlns:a16="http://schemas.microsoft.com/office/drawing/2014/main" id="{181F776C-2AF8-48ED-A45F-6043E45954BF}"/>
                </a:ext>
              </a:extLst>
            </p:cNvPr>
            <p:cNvSpPr/>
            <p:nvPr/>
          </p:nvSpPr>
          <p:spPr>
            <a:xfrm>
              <a:off x="5609779" y="4857467"/>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3" name="Rectangle 142">
              <a:extLst>
                <a:ext uri="{FF2B5EF4-FFF2-40B4-BE49-F238E27FC236}">
                  <a16:creationId xmlns:a16="http://schemas.microsoft.com/office/drawing/2014/main" id="{F411B93B-64DC-40ED-8351-A38502F83EC2}"/>
                </a:ext>
              </a:extLst>
            </p:cNvPr>
            <p:cNvSpPr/>
            <p:nvPr/>
          </p:nvSpPr>
          <p:spPr>
            <a:xfrm>
              <a:off x="5618957" y="5171895"/>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4" name="Rectangle 143">
              <a:extLst>
                <a:ext uri="{FF2B5EF4-FFF2-40B4-BE49-F238E27FC236}">
                  <a16:creationId xmlns:a16="http://schemas.microsoft.com/office/drawing/2014/main" id="{6D4EF766-AAA1-4FD1-9EB8-BC7CCAF80F4C}"/>
                </a:ext>
              </a:extLst>
            </p:cNvPr>
            <p:cNvSpPr/>
            <p:nvPr/>
          </p:nvSpPr>
          <p:spPr>
            <a:xfrm>
              <a:off x="5611784" y="550314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5" name="Rectangle 144">
              <a:extLst>
                <a:ext uri="{FF2B5EF4-FFF2-40B4-BE49-F238E27FC236}">
                  <a16:creationId xmlns:a16="http://schemas.microsoft.com/office/drawing/2014/main" id="{CA3BC80A-A5C7-4031-AE04-E1DBB065F990}"/>
                </a:ext>
              </a:extLst>
            </p:cNvPr>
            <p:cNvSpPr/>
            <p:nvPr/>
          </p:nvSpPr>
          <p:spPr>
            <a:xfrm>
              <a:off x="5604611" y="5797854"/>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6" name="Rectangle 145">
              <a:extLst>
                <a:ext uri="{FF2B5EF4-FFF2-40B4-BE49-F238E27FC236}">
                  <a16:creationId xmlns:a16="http://schemas.microsoft.com/office/drawing/2014/main" id="{B2C4E260-0390-4C3C-B29D-AB4732D5F312}"/>
                </a:ext>
              </a:extLst>
            </p:cNvPr>
            <p:cNvSpPr/>
            <p:nvPr/>
          </p:nvSpPr>
          <p:spPr>
            <a:xfrm>
              <a:off x="5604611" y="6097210"/>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7" name="Rectangle 146">
              <a:extLst>
                <a:ext uri="{FF2B5EF4-FFF2-40B4-BE49-F238E27FC236}">
                  <a16:creationId xmlns:a16="http://schemas.microsoft.com/office/drawing/2014/main" id="{9CF30D03-0768-4F4A-876B-4064ADC4B962}"/>
                </a:ext>
              </a:extLst>
            </p:cNvPr>
            <p:cNvSpPr/>
            <p:nvPr/>
          </p:nvSpPr>
          <p:spPr>
            <a:xfrm>
              <a:off x="5611784" y="6412576"/>
              <a:ext cx="259806" cy="145054"/>
            </a:xfrm>
            <a:prstGeom prst="rect">
              <a:avLst/>
            </a:prstGeom>
            <a:solidFill>
              <a:srgbClr val="BD6F45"/>
            </a:solidFill>
            <a:ln>
              <a:noFill/>
            </a:ln>
            <a:effectLst>
              <a:innerShdw blurRad="127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81" name="Group 80">
              <a:extLst>
                <a:ext uri="{FF2B5EF4-FFF2-40B4-BE49-F238E27FC236}">
                  <a16:creationId xmlns:a16="http://schemas.microsoft.com/office/drawing/2014/main" id="{BDE4CAF1-67FB-4A00-A957-F84932EF37EA}"/>
                </a:ext>
              </a:extLst>
            </p:cNvPr>
            <p:cNvGrpSpPr/>
            <p:nvPr/>
          </p:nvGrpSpPr>
          <p:grpSpPr>
            <a:xfrm>
              <a:off x="5805714" y="741596"/>
              <a:ext cx="580573" cy="386869"/>
              <a:chOff x="5805714" y="609691"/>
              <a:chExt cx="580573" cy="386869"/>
            </a:xfrm>
          </p:grpSpPr>
          <p:sp>
            <p:nvSpPr>
              <p:cNvPr id="82" name="Rectangle 81">
                <a:extLst>
                  <a:ext uri="{FF2B5EF4-FFF2-40B4-BE49-F238E27FC236}">
                    <a16:creationId xmlns:a16="http://schemas.microsoft.com/office/drawing/2014/main" id="{74C944AF-D50A-425E-A441-BD46E8CB9783}"/>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Arc 82">
                <a:extLst>
                  <a:ext uri="{FF2B5EF4-FFF2-40B4-BE49-F238E27FC236}">
                    <a16:creationId xmlns:a16="http://schemas.microsoft.com/office/drawing/2014/main" id="{AE95EC9D-DB78-417E-AF31-C543DE84C1EE}"/>
                  </a:ext>
                </a:extLst>
              </p:cNvPr>
              <p:cNvSpPr/>
              <p:nvPr/>
            </p:nvSpPr>
            <p:spPr>
              <a:xfrm>
                <a:off x="5805714" y="609691"/>
                <a:ext cx="410553" cy="386869"/>
              </a:xfrm>
              <a:prstGeom prst="arc">
                <a:avLst>
                  <a:gd name="adj1" fmla="val 107575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 name="Group 83">
              <a:extLst>
                <a:ext uri="{FF2B5EF4-FFF2-40B4-BE49-F238E27FC236}">
                  <a16:creationId xmlns:a16="http://schemas.microsoft.com/office/drawing/2014/main" id="{EC3E0684-8AE8-4214-BF7B-4AAB6B86F600}"/>
                </a:ext>
              </a:extLst>
            </p:cNvPr>
            <p:cNvGrpSpPr/>
            <p:nvPr/>
          </p:nvGrpSpPr>
          <p:grpSpPr>
            <a:xfrm>
              <a:off x="5805714" y="1052619"/>
              <a:ext cx="580573" cy="386869"/>
              <a:chOff x="5805714" y="609691"/>
              <a:chExt cx="580573" cy="386869"/>
            </a:xfrm>
          </p:grpSpPr>
          <p:sp>
            <p:nvSpPr>
              <p:cNvPr id="85" name="Rectangle 84">
                <a:extLst>
                  <a:ext uri="{FF2B5EF4-FFF2-40B4-BE49-F238E27FC236}">
                    <a16:creationId xmlns:a16="http://schemas.microsoft.com/office/drawing/2014/main" id="{CF8E04A3-B6B4-4F3C-BB6B-AF9929DDA237}"/>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Arc 85">
                <a:extLst>
                  <a:ext uri="{FF2B5EF4-FFF2-40B4-BE49-F238E27FC236}">
                    <a16:creationId xmlns:a16="http://schemas.microsoft.com/office/drawing/2014/main" id="{18A95974-DAB2-4BF8-9192-96278D1744CD}"/>
                  </a:ext>
                </a:extLst>
              </p:cNvPr>
              <p:cNvSpPr/>
              <p:nvPr/>
            </p:nvSpPr>
            <p:spPr>
              <a:xfrm>
                <a:off x="5805714" y="609691"/>
                <a:ext cx="410553" cy="386869"/>
              </a:xfrm>
              <a:prstGeom prst="arc">
                <a:avLst>
                  <a:gd name="adj1" fmla="val 1083048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7" name="Group 86">
              <a:extLst>
                <a:ext uri="{FF2B5EF4-FFF2-40B4-BE49-F238E27FC236}">
                  <a16:creationId xmlns:a16="http://schemas.microsoft.com/office/drawing/2014/main" id="{C97BDBFC-6DCF-4D05-9235-AF24FD08B7BA}"/>
                </a:ext>
              </a:extLst>
            </p:cNvPr>
            <p:cNvGrpSpPr/>
            <p:nvPr/>
          </p:nvGrpSpPr>
          <p:grpSpPr>
            <a:xfrm>
              <a:off x="5805714" y="1363642"/>
              <a:ext cx="580573" cy="386869"/>
              <a:chOff x="5805714" y="609691"/>
              <a:chExt cx="580573" cy="386869"/>
            </a:xfrm>
          </p:grpSpPr>
          <p:sp>
            <p:nvSpPr>
              <p:cNvPr id="88" name="Rectangle 87">
                <a:extLst>
                  <a:ext uri="{FF2B5EF4-FFF2-40B4-BE49-F238E27FC236}">
                    <a16:creationId xmlns:a16="http://schemas.microsoft.com/office/drawing/2014/main" id="{4AB8CE96-3DF3-4063-9F27-D4DB07BB75EF}"/>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Arc 88">
                <a:extLst>
                  <a:ext uri="{FF2B5EF4-FFF2-40B4-BE49-F238E27FC236}">
                    <a16:creationId xmlns:a16="http://schemas.microsoft.com/office/drawing/2014/main" id="{309BD817-14B6-4AA7-A1F6-6EAEFBC3A86F}"/>
                  </a:ext>
                </a:extLst>
              </p:cNvPr>
              <p:cNvSpPr/>
              <p:nvPr/>
            </p:nvSpPr>
            <p:spPr>
              <a:xfrm>
                <a:off x="5805714" y="609691"/>
                <a:ext cx="410553" cy="386869"/>
              </a:xfrm>
              <a:prstGeom prst="arc">
                <a:avLst>
                  <a:gd name="adj1" fmla="val 10809658"/>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C6951FED-2BD7-4859-B333-5B1CAEF8AB8D}"/>
                </a:ext>
              </a:extLst>
            </p:cNvPr>
            <p:cNvGrpSpPr/>
            <p:nvPr/>
          </p:nvGrpSpPr>
          <p:grpSpPr>
            <a:xfrm>
              <a:off x="5805714" y="1674665"/>
              <a:ext cx="580573" cy="386869"/>
              <a:chOff x="5805714" y="609691"/>
              <a:chExt cx="580573" cy="386869"/>
            </a:xfrm>
          </p:grpSpPr>
          <p:sp>
            <p:nvSpPr>
              <p:cNvPr id="91" name="Rectangle 90">
                <a:extLst>
                  <a:ext uri="{FF2B5EF4-FFF2-40B4-BE49-F238E27FC236}">
                    <a16:creationId xmlns:a16="http://schemas.microsoft.com/office/drawing/2014/main" id="{FE30C63D-F045-40E9-8C54-26DA5BDA0F4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Arc 91">
                <a:extLst>
                  <a:ext uri="{FF2B5EF4-FFF2-40B4-BE49-F238E27FC236}">
                    <a16:creationId xmlns:a16="http://schemas.microsoft.com/office/drawing/2014/main" id="{434A2720-2A66-40B1-AC7E-5C244C6E6EB9}"/>
                  </a:ext>
                </a:extLst>
              </p:cNvPr>
              <p:cNvSpPr/>
              <p:nvPr/>
            </p:nvSpPr>
            <p:spPr>
              <a:xfrm>
                <a:off x="5805714" y="609691"/>
                <a:ext cx="410553" cy="386869"/>
              </a:xfrm>
              <a:prstGeom prst="arc">
                <a:avLst>
                  <a:gd name="adj1" fmla="val 1087571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93" name="Group 92">
              <a:extLst>
                <a:ext uri="{FF2B5EF4-FFF2-40B4-BE49-F238E27FC236}">
                  <a16:creationId xmlns:a16="http://schemas.microsoft.com/office/drawing/2014/main" id="{3253887B-E245-4C89-84BB-C89576187B4D}"/>
                </a:ext>
              </a:extLst>
            </p:cNvPr>
            <p:cNvGrpSpPr/>
            <p:nvPr/>
          </p:nvGrpSpPr>
          <p:grpSpPr>
            <a:xfrm>
              <a:off x="5805714" y="1985688"/>
              <a:ext cx="580573" cy="386869"/>
              <a:chOff x="5805714" y="609691"/>
              <a:chExt cx="580573" cy="386869"/>
            </a:xfrm>
          </p:grpSpPr>
          <p:sp>
            <p:nvSpPr>
              <p:cNvPr id="94" name="Rectangle 93">
                <a:extLst>
                  <a:ext uri="{FF2B5EF4-FFF2-40B4-BE49-F238E27FC236}">
                    <a16:creationId xmlns:a16="http://schemas.microsoft.com/office/drawing/2014/main" id="{C2935527-C9EF-4950-89BB-EB1207B25EAD}"/>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Arc 94">
                <a:extLst>
                  <a:ext uri="{FF2B5EF4-FFF2-40B4-BE49-F238E27FC236}">
                    <a16:creationId xmlns:a16="http://schemas.microsoft.com/office/drawing/2014/main" id="{B885AD0D-2A97-4761-A7E2-81AE7730FF98}"/>
                  </a:ext>
                </a:extLst>
              </p:cNvPr>
              <p:cNvSpPr/>
              <p:nvPr/>
            </p:nvSpPr>
            <p:spPr>
              <a:xfrm>
                <a:off x="5805714" y="609691"/>
                <a:ext cx="410553" cy="386869"/>
              </a:xfrm>
              <a:prstGeom prst="arc">
                <a:avLst>
                  <a:gd name="adj1" fmla="val 1078249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6" name="Group 95">
              <a:extLst>
                <a:ext uri="{FF2B5EF4-FFF2-40B4-BE49-F238E27FC236}">
                  <a16:creationId xmlns:a16="http://schemas.microsoft.com/office/drawing/2014/main" id="{B20895E6-FBAD-4249-90F9-43369FD2080F}"/>
                </a:ext>
              </a:extLst>
            </p:cNvPr>
            <p:cNvGrpSpPr/>
            <p:nvPr/>
          </p:nvGrpSpPr>
          <p:grpSpPr>
            <a:xfrm>
              <a:off x="5805714" y="2296711"/>
              <a:ext cx="580573" cy="386869"/>
              <a:chOff x="5805714" y="609691"/>
              <a:chExt cx="580573" cy="386869"/>
            </a:xfrm>
          </p:grpSpPr>
          <p:sp>
            <p:nvSpPr>
              <p:cNvPr id="97" name="Rectangle 96">
                <a:extLst>
                  <a:ext uri="{FF2B5EF4-FFF2-40B4-BE49-F238E27FC236}">
                    <a16:creationId xmlns:a16="http://schemas.microsoft.com/office/drawing/2014/main" id="{416F99E9-E132-4AB6-9501-719E390B2951}"/>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Arc 97">
                <a:extLst>
                  <a:ext uri="{FF2B5EF4-FFF2-40B4-BE49-F238E27FC236}">
                    <a16:creationId xmlns:a16="http://schemas.microsoft.com/office/drawing/2014/main" id="{7BF41422-E1EF-4A49-906D-7C9E43200378}"/>
                  </a:ext>
                </a:extLst>
              </p:cNvPr>
              <p:cNvSpPr/>
              <p:nvPr/>
            </p:nvSpPr>
            <p:spPr>
              <a:xfrm>
                <a:off x="5805714" y="609691"/>
                <a:ext cx="410553" cy="386869"/>
              </a:xfrm>
              <a:prstGeom prst="arc">
                <a:avLst>
                  <a:gd name="adj1" fmla="val 1083791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9" name="Group 98">
              <a:extLst>
                <a:ext uri="{FF2B5EF4-FFF2-40B4-BE49-F238E27FC236}">
                  <a16:creationId xmlns:a16="http://schemas.microsoft.com/office/drawing/2014/main" id="{3A6C8FCE-3906-4A51-8C51-53A21458A79D}"/>
                </a:ext>
              </a:extLst>
            </p:cNvPr>
            <p:cNvGrpSpPr/>
            <p:nvPr/>
          </p:nvGrpSpPr>
          <p:grpSpPr>
            <a:xfrm>
              <a:off x="5805714" y="2607734"/>
              <a:ext cx="580573" cy="386869"/>
              <a:chOff x="5805714" y="609691"/>
              <a:chExt cx="580573" cy="386869"/>
            </a:xfrm>
          </p:grpSpPr>
          <p:sp>
            <p:nvSpPr>
              <p:cNvPr id="100" name="Rectangle 99">
                <a:extLst>
                  <a:ext uri="{FF2B5EF4-FFF2-40B4-BE49-F238E27FC236}">
                    <a16:creationId xmlns:a16="http://schemas.microsoft.com/office/drawing/2014/main" id="{01B7306C-C82A-4CBC-8810-B196E2B85FD9}"/>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Arc 100">
                <a:extLst>
                  <a:ext uri="{FF2B5EF4-FFF2-40B4-BE49-F238E27FC236}">
                    <a16:creationId xmlns:a16="http://schemas.microsoft.com/office/drawing/2014/main" id="{4309EB4B-A1C1-41B8-9E71-43E4632DE81A}"/>
                  </a:ext>
                </a:extLst>
              </p:cNvPr>
              <p:cNvSpPr/>
              <p:nvPr/>
            </p:nvSpPr>
            <p:spPr>
              <a:xfrm>
                <a:off x="5805714" y="609691"/>
                <a:ext cx="410553" cy="386869"/>
              </a:xfrm>
              <a:prstGeom prst="arc">
                <a:avLst>
                  <a:gd name="adj1" fmla="val 10817170"/>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2" name="Group 101">
              <a:extLst>
                <a:ext uri="{FF2B5EF4-FFF2-40B4-BE49-F238E27FC236}">
                  <a16:creationId xmlns:a16="http://schemas.microsoft.com/office/drawing/2014/main" id="{C74B4894-B5D2-4362-964C-D4DC0546060A}"/>
                </a:ext>
              </a:extLst>
            </p:cNvPr>
            <p:cNvGrpSpPr/>
            <p:nvPr/>
          </p:nvGrpSpPr>
          <p:grpSpPr>
            <a:xfrm>
              <a:off x="5805714" y="2918757"/>
              <a:ext cx="580573" cy="386869"/>
              <a:chOff x="5805714" y="609691"/>
              <a:chExt cx="580573" cy="386869"/>
            </a:xfrm>
          </p:grpSpPr>
          <p:sp>
            <p:nvSpPr>
              <p:cNvPr id="103" name="Rectangle 102">
                <a:extLst>
                  <a:ext uri="{FF2B5EF4-FFF2-40B4-BE49-F238E27FC236}">
                    <a16:creationId xmlns:a16="http://schemas.microsoft.com/office/drawing/2014/main" id="{DA95D981-4D5B-4F4F-8A82-69838938508F}"/>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Arc 103">
                <a:extLst>
                  <a:ext uri="{FF2B5EF4-FFF2-40B4-BE49-F238E27FC236}">
                    <a16:creationId xmlns:a16="http://schemas.microsoft.com/office/drawing/2014/main" id="{E4822634-A39A-4B0D-8399-883328FCA1EE}"/>
                  </a:ext>
                </a:extLst>
              </p:cNvPr>
              <p:cNvSpPr/>
              <p:nvPr/>
            </p:nvSpPr>
            <p:spPr>
              <a:xfrm>
                <a:off x="5805714" y="609691"/>
                <a:ext cx="410553" cy="386869"/>
              </a:xfrm>
              <a:prstGeom prst="arc">
                <a:avLst>
                  <a:gd name="adj1" fmla="val 11220475"/>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5" name="Group 104">
              <a:extLst>
                <a:ext uri="{FF2B5EF4-FFF2-40B4-BE49-F238E27FC236}">
                  <a16:creationId xmlns:a16="http://schemas.microsoft.com/office/drawing/2014/main" id="{AC0C8900-7AAE-4DAD-9853-250BA8E46217}"/>
                </a:ext>
              </a:extLst>
            </p:cNvPr>
            <p:cNvGrpSpPr/>
            <p:nvPr/>
          </p:nvGrpSpPr>
          <p:grpSpPr>
            <a:xfrm>
              <a:off x="5805714" y="3229780"/>
              <a:ext cx="580573" cy="386869"/>
              <a:chOff x="5805714" y="609691"/>
              <a:chExt cx="580573" cy="386869"/>
            </a:xfrm>
          </p:grpSpPr>
          <p:sp>
            <p:nvSpPr>
              <p:cNvPr id="106" name="Rectangle 105">
                <a:extLst>
                  <a:ext uri="{FF2B5EF4-FFF2-40B4-BE49-F238E27FC236}">
                    <a16:creationId xmlns:a16="http://schemas.microsoft.com/office/drawing/2014/main" id="{8F16C3F5-5111-4385-95DB-684995C5DA9E}"/>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Arc 106">
                <a:extLst>
                  <a:ext uri="{FF2B5EF4-FFF2-40B4-BE49-F238E27FC236}">
                    <a16:creationId xmlns:a16="http://schemas.microsoft.com/office/drawing/2014/main" id="{C8E4EC42-A513-472E-AE69-66EF8F71937C}"/>
                  </a:ext>
                </a:extLst>
              </p:cNvPr>
              <p:cNvSpPr/>
              <p:nvPr/>
            </p:nvSpPr>
            <p:spPr>
              <a:xfrm>
                <a:off x="5805714" y="609691"/>
                <a:ext cx="410553" cy="386869"/>
              </a:xfrm>
              <a:prstGeom prst="arc">
                <a:avLst>
                  <a:gd name="adj1" fmla="val 1064800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8" name="Group 107">
              <a:extLst>
                <a:ext uri="{FF2B5EF4-FFF2-40B4-BE49-F238E27FC236}">
                  <a16:creationId xmlns:a16="http://schemas.microsoft.com/office/drawing/2014/main" id="{B9DF2A69-06AC-4DC9-B6C7-9A1B9D012585}"/>
                </a:ext>
              </a:extLst>
            </p:cNvPr>
            <p:cNvGrpSpPr/>
            <p:nvPr/>
          </p:nvGrpSpPr>
          <p:grpSpPr>
            <a:xfrm>
              <a:off x="5805714" y="3540803"/>
              <a:ext cx="580573" cy="386869"/>
              <a:chOff x="5805714" y="609691"/>
              <a:chExt cx="580573" cy="386869"/>
            </a:xfrm>
          </p:grpSpPr>
          <p:sp>
            <p:nvSpPr>
              <p:cNvPr id="109" name="Rectangle 108">
                <a:extLst>
                  <a:ext uri="{FF2B5EF4-FFF2-40B4-BE49-F238E27FC236}">
                    <a16:creationId xmlns:a16="http://schemas.microsoft.com/office/drawing/2014/main" id="{66D59475-186E-4F7A-A501-ABEDCC08DC98}"/>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Arc 109">
                <a:extLst>
                  <a:ext uri="{FF2B5EF4-FFF2-40B4-BE49-F238E27FC236}">
                    <a16:creationId xmlns:a16="http://schemas.microsoft.com/office/drawing/2014/main" id="{55C929AA-C5D4-4A29-94FC-BF99C03F9430}"/>
                  </a:ext>
                </a:extLst>
              </p:cNvPr>
              <p:cNvSpPr/>
              <p:nvPr/>
            </p:nvSpPr>
            <p:spPr>
              <a:xfrm>
                <a:off x="5805714" y="609691"/>
                <a:ext cx="410553" cy="386869"/>
              </a:xfrm>
              <a:prstGeom prst="arc">
                <a:avLst>
                  <a:gd name="adj1" fmla="val 1090146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26F5DDE8-77F1-4A19-9A73-FA16AD387091}"/>
                </a:ext>
              </a:extLst>
            </p:cNvPr>
            <p:cNvGrpSpPr/>
            <p:nvPr/>
          </p:nvGrpSpPr>
          <p:grpSpPr>
            <a:xfrm>
              <a:off x="5805714" y="3851826"/>
              <a:ext cx="580573" cy="386869"/>
              <a:chOff x="5805714" y="609691"/>
              <a:chExt cx="580573" cy="386869"/>
            </a:xfrm>
          </p:grpSpPr>
          <p:sp>
            <p:nvSpPr>
              <p:cNvPr id="112" name="Rectangle 111">
                <a:extLst>
                  <a:ext uri="{FF2B5EF4-FFF2-40B4-BE49-F238E27FC236}">
                    <a16:creationId xmlns:a16="http://schemas.microsoft.com/office/drawing/2014/main" id="{3975D25C-1E30-46E2-BA99-3037ADE3170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Arc 112">
                <a:extLst>
                  <a:ext uri="{FF2B5EF4-FFF2-40B4-BE49-F238E27FC236}">
                    <a16:creationId xmlns:a16="http://schemas.microsoft.com/office/drawing/2014/main" id="{5489E9B8-DC06-4350-B467-61A9DA0B02A7}"/>
                  </a:ext>
                </a:extLst>
              </p:cNvPr>
              <p:cNvSpPr/>
              <p:nvPr/>
            </p:nvSpPr>
            <p:spPr>
              <a:xfrm>
                <a:off x="5805714" y="609691"/>
                <a:ext cx="410553" cy="386869"/>
              </a:xfrm>
              <a:prstGeom prst="arc">
                <a:avLst>
                  <a:gd name="adj1" fmla="val 11023282"/>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0375CE18-5EC1-4881-8142-DC1BC91AD094}"/>
                </a:ext>
              </a:extLst>
            </p:cNvPr>
            <p:cNvGrpSpPr/>
            <p:nvPr/>
          </p:nvGrpSpPr>
          <p:grpSpPr>
            <a:xfrm>
              <a:off x="5805714" y="4162849"/>
              <a:ext cx="580573" cy="386869"/>
              <a:chOff x="5805714" y="609691"/>
              <a:chExt cx="580573" cy="386869"/>
            </a:xfrm>
          </p:grpSpPr>
          <p:sp>
            <p:nvSpPr>
              <p:cNvPr id="115" name="Rectangle 114">
                <a:extLst>
                  <a:ext uri="{FF2B5EF4-FFF2-40B4-BE49-F238E27FC236}">
                    <a16:creationId xmlns:a16="http://schemas.microsoft.com/office/drawing/2014/main" id="{10A76D25-919A-40D9-9554-EFE2D3956BE4}"/>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Arc 115">
                <a:extLst>
                  <a:ext uri="{FF2B5EF4-FFF2-40B4-BE49-F238E27FC236}">
                    <a16:creationId xmlns:a16="http://schemas.microsoft.com/office/drawing/2014/main" id="{F541D253-66CC-4C59-909C-302800ABEEFC}"/>
                  </a:ext>
                </a:extLst>
              </p:cNvPr>
              <p:cNvSpPr/>
              <p:nvPr/>
            </p:nvSpPr>
            <p:spPr>
              <a:xfrm>
                <a:off x="5805714" y="609691"/>
                <a:ext cx="410553" cy="386869"/>
              </a:xfrm>
              <a:prstGeom prst="arc">
                <a:avLst>
                  <a:gd name="adj1" fmla="val 11168103"/>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D86A99F9-8CBA-4BBB-88F7-14582E27C64C}"/>
                </a:ext>
              </a:extLst>
            </p:cNvPr>
            <p:cNvGrpSpPr/>
            <p:nvPr/>
          </p:nvGrpSpPr>
          <p:grpSpPr>
            <a:xfrm>
              <a:off x="5805714" y="4473872"/>
              <a:ext cx="580573" cy="386869"/>
              <a:chOff x="5805714" y="609691"/>
              <a:chExt cx="580573" cy="386869"/>
            </a:xfrm>
          </p:grpSpPr>
          <p:sp>
            <p:nvSpPr>
              <p:cNvPr id="118" name="Rectangle 117">
                <a:extLst>
                  <a:ext uri="{FF2B5EF4-FFF2-40B4-BE49-F238E27FC236}">
                    <a16:creationId xmlns:a16="http://schemas.microsoft.com/office/drawing/2014/main" id="{16259704-CA38-4525-8489-D1FECD12BDBC}"/>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Arc 118">
                <a:extLst>
                  <a:ext uri="{FF2B5EF4-FFF2-40B4-BE49-F238E27FC236}">
                    <a16:creationId xmlns:a16="http://schemas.microsoft.com/office/drawing/2014/main" id="{40F4FCA1-5992-49D0-8CE6-8488CF6BAF04}"/>
                  </a:ext>
                </a:extLst>
              </p:cNvPr>
              <p:cNvSpPr/>
              <p:nvPr/>
            </p:nvSpPr>
            <p:spPr>
              <a:xfrm>
                <a:off x="5805714" y="609691"/>
                <a:ext cx="410553" cy="386869"/>
              </a:xfrm>
              <a:prstGeom prst="arc">
                <a:avLst>
                  <a:gd name="adj1" fmla="val 11188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0" name="Group 119">
              <a:extLst>
                <a:ext uri="{FF2B5EF4-FFF2-40B4-BE49-F238E27FC236}">
                  <a16:creationId xmlns:a16="http://schemas.microsoft.com/office/drawing/2014/main" id="{F5C59377-7214-4209-BA16-86D5D1DAE2B0}"/>
                </a:ext>
              </a:extLst>
            </p:cNvPr>
            <p:cNvGrpSpPr/>
            <p:nvPr/>
          </p:nvGrpSpPr>
          <p:grpSpPr>
            <a:xfrm>
              <a:off x="5805714" y="4784895"/>
              <a:ext cx="580573" cy="386869"/>
              <a:chOff x="5805714" y="609691"/>
              <a:chExt cx="580573" cy="386869"/>
            </a:xfrm>
          </p:grpSpPr>
          <p:sp>
            <p:nvSpPr>
              <p:cNvPr id="121" name="Rectangle 120">
                <a:extLst>
                  <a:ext uri="{FF2B5EF4-FFF2-40B4-BE49-F238E27FC236}">
                    <a16:creationId xmlns:a16="http://schemas.microsoft.com/office/drawing/2014/main" id="{959A5D35-C7AE-458F-BBB5-71CD3A3F97F8}"/>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Arc 121">
                <a:extLst>
                  <a:ext uri="{FF2B5EF4-FFF2-40B4-BE49-F238E27FC236}">
                    <a16:creationId xmlns:a16="http://schemas.microsoft.com/office/drawing/2014/main" id="{F490A229-65A6-4DFF-870F-4B92A114A66A}"/>
                  </a:ext>
                </a:extLst>
              </p:cNvPr>
              <p:cNvSpPr/>
              <p:nvPr/>
            </p:nvSpPr>
            <p:spPr>
              <a:xfrm>
                <a:off x="5805714" y="609691"/>
                <a:ext cx="410553" cy="386869"/>
              </a:xfrm>
              <a:prstGeom prst="arc">
                <a:avLst>
                  <a:gd name="adj1" fmla="val 11146438"/>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3" name="Group 122">
              <a:extLst>
                <a:ext uri="{FF2B5EF4-FFF2-40B4-BE49-F238E27FC236}">
                  <a16:creationId xmlns:a16="http://schemas.microsoft.com/office/drawing/2014/main" id="{9EC6FFFF-2006-4366-8566-0113AD9F036A}"/>
                </a:ext>
              </a:extLst>
            </p:cNvPr>
            <p:cNvGrpSpPr/>
            <p:nvPr/>
          </p:nvGrpSpPr>
          <p:grpSpPr>
            <a:xfrm>
              <a:off x="5805714" y="5095918"/>
              <a:ext cx="580573" cy="386869"/>
              <a:chOff x="5805714" y="609691"/>
              <a:chExt cx="580573" cy="386869"/>
            </a:xfrm>
          </p:grpSpPr>
          <p:sp>
            <p:nvSpPr>
              <p:cNvPr id="124" name="Rectangle 123">
                <a:extLst>
                  <a:ext uri="{FF2B5EF4-FFF2-40B4-BE49-F238E27FC236}">
                    <a16:creationId xmlns:a16="http://schemas.microsoft.com/office/drawing/2014/main" id="{595E399E-0521-4D5B-914F-29C3ADDF2B72}"/>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Arc 124">
                <a:extLst>
                  <a:ext uri="{FF2B5EF4-FFF2-40B4-BE49-F238E27FC236}">
                    <a16:creationId xmlns:a16="http://schemas.microsoft.com/office/drawing/2014/main" id="{14739334-2472-4756-B880-7780C40DA407}"/>
                  </a:ext>
                </a:extLst>
              </p:cNvPr>
              <p:cNvSpPr/>
              <p:nvPr/>
            </p:nvSpPr>
            <p:spPr>
              <a:xfrm>
                <a:off x="5805714" y="609691"/>
                <a:ext cx="410553" cy="386869"/>
              </a:xfrm>
              <a:prstGeom prst="arc">
                <a:avLst>
                  <a:gd name="adj1" fmla="val 1112251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6" name="Group 125">
              <a:extLst>
                <a:ext uri="{FF2B5EF4-FFF2-40B4-BE49-F238E27FC236}">
                  <a16:creationId xmlns:a16="http://schemas.microsoft.com/office/drawing/2014/main" id="{6D7FEFCF-F5E2-48A4-8DA2-466E3FA530E8}"/>
                </a:ext>
              </a:extLst>
            </p:cNvPr>
            <p:cNvGrpSpPr/>
            <p:nvPr/>
          </p:nvGrpSpPr>
          <p:grpSpPr>
            <a:xfrm>
              <a:off x="5805714" y="5406941"/>
              <a:ext cx="580573" cy="386869"/>
              <a:chOff x="5805714" y="609691"/>
              <a:chExt cx="580573" cy="386869"/>
            </a:xfrm>
          </p:grpSpPr>
          <p:sp>
            <p:nvSpPr>
              <p:cNvPr id="127" name="Rectangle 126">
                <a:extLst>
                  <a:ext uri="{FF2B5EF4-FFF2-40B4-BE49-F238E27FC236}">
                    <a16:creationId xmlns:a16="http://schemas.microsoft.com/office/drawing/2014/main" id="{5B8C7798-2FB8-447C-BA5C-ECB75C74E5AD}"/>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Arc 127">
                <a:extLst>
                  <a:ext uri="{FF2B5EF4-FFF2-40B4-BE49-F238E27FC236}">
                    <a16:creationId xmlns:a16="http://schemas.microsoft.com/office/drawing/2014/main" id="{DDFE7CA2-AC7D-4CF0-A779-1F7EC6161969}"/>
                  </a:ext>
                </a:extLst>
              </p:cNvPr>
              <p:cNvSpPr/>
              <p:nvPr/>
            </p:nvSpPr>
            <p:spPr>
              <a:xfrm>
                <a:off x="5805714" y="609691"/>
                <a:ext cx="410553" cy="386869"/>
              </a:xfrm>
              <a:prstGeom prst="arc">
                <a:avLst>
                  <a:gd name="adj1" fmla="val 1087916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9" name="Group 128">
              <a:extLst>
                <a:ext uri="{FF2B5EF4-FFF2-40B4-BE49-F238E27FC236}">
                  <a16:creationId xmlns:a16="http://schemas.microsoft.com/office/drawing/2014/main" id="{EF6B5FAD-EB1F-43DC-8B99-11CAD21D64C9}"/>
                </a:ext>
              </a:extLst>
            </p:cNvPr>
            <p:cNvGrpSpPr/>
            <p:nvPr/>
          </p:nvGrpSpPr>
          <p:grpSpPr>
            <a:xfrm>
              <a:off x="5805714" y="5717964"/>
              <a:ext cx="580573" cy="386869"/>
              <a:chOff x="5805714" y="609691"/>
              <a:chExt cx="580573" cy="386869"/>
            </a:xfrm>
          </p:grpSpPr>
          <p:sp>
            <p:nvSpPr>
              <p:cNvPr id="130" name="Rectangle 129">
                <a:extLst>
                  <a:ext uri="{FF2B5EF4-FFF2-40B4-BE49-F238E27FC236}">
                    <a16:creationId xmlns:a16="http://schemas.microsoft.com/office/drawing/2014/main" id="{B817890A-729D-4FBB-8EF7-DAFD6F73427B}"/>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Arc 130">
                <a:extLst>
                  <a:ext uri="{FF2B5EF4-FFF2-40B4-BE49-F238E27FC236}">
                    <a16:creationId xmlns:a16="http://schemas.microsoft.com/office/drawing/2014/main" id="{EAD6132E-2435-4771-A3CC-CCE94E7A9600}"/>
                  </a:ext>
                </a:extLst>
              </p:cNvPr>
              <p:cNvSpPr/>
              <p:nvPr/>
            </p:nvSpPr>
            <p:spPr>
              <a:xfrm>
                <a:off x="5805714" y="609691"/>
                <a:ext cx="410553" cy="386869"/>
              </a:xfrm>
              <a:prstGeom prst="arc">
                <a:avLst>
                  <a:gd name="adj1" fmla="val 10992407"/>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Group 131">
              <a:extLst>
                <a:ext uri="{FF2B5EF4-FFF2-40B4-BE49-F238E27FC236}">
                  <a16:creationId xmlns:a16="http://schemas.microsoft.com/office/drawing/2014/main" id="{2B7006E1-B188-46BA-BAA5-15A960905F4C}"/>
                </a:ext>
              </a:extLst>
            </p:cNvPr>
            <p:cNvGrpSpPr/>
            <p:nvPr/>
          </p:nvGrpSpPr>
          <p:grpSpPr>
            <a:xfrm>
              <a:off x="5805714" y="6028987"/>
              <a:ext cx="580573" cy="386869"/>
              <a:chOff x="5805714" y="609691"/>
              <a:chExt cx="580573" cy="386869"/>
            </a:xfrm>
          </p:grpSpPr>
          <p:sp>
            <p:nvSpPr>
              <p:cNvPr id="133" name="Rectangle 132">
                <a:extLst>
                  <a:ext uri="{FF2B5EF4-FFF2-40B4-BE49-F238E27FC236}">
                    <a16:creationId xmlns:a16="http://schemas.microsoft.com/office/drawing/2014/main" id="{D01250CF-AFA1-4A19-B3C7-7F163609380B}"/>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c 133">
                <a:extLst>
                  <a:ext uri="{FF2B5EF4-FFF2-40B4-BE49-F238E27FC236}">
                    <a16:creationId xmlns:a16="http://schemas.microsoft.com/office/drawing/2014/main" id="{1014BA5C-C370-44EB-84DA-2D69E36CE6C3}"/>
                  </a:ext>
                </a:extLst>
              </p:cNvPr>
              <p:cNvSpPr/>
              <p:nvPr/>
            </p:nvSpPr>
            <p:spPr>
              <a:xfrm>
                <a:off x="5805714" y="609691"/>
                <a:ext cx="410553" cy="386869"/>
              </a:xfrm>
              <a:prstGeom prst="arc">
                <a:avLst>
                  <a:gd name="adj1" fmla="val 11197210"/>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Group 134">
              <a:extLst>
                <a:ext uri="{FF2B5EF4-FFF2-40B4-BE49-F238E27FC236}">
                  <a16:creationId xmlns:a16="http://schemas.microsoft.com/office/drawing/2014/main" id="{AD8CB7E5-EBC4-4791-B93B-D0B41B862B83}"/>
                </a:ext>
              </a:extLst>
            </p:cNvPr>
            <p:cNvGrpSpPr/>
            <p:nvPr/>
          </p:nvGrpSpPr>
          <p:grpSpPr>
            <a:xfrm>
              <a:off x="5805714" y="6340004"/>
              <a:ext cx="580573" cy="386869"/>
              <a:chOff x="5805714" y="609691"/>
              <a:chExt cx="580573" cy="386869"/>
            </a:xfrm>
          </p:grpSpPr>
          <p:sp>
            <p:nvSpPr>
              <p:cNvPr id="136" name="Rectangle 135">
                <a:extLst>
                  <a:ext uri="{FF2B5EF4-FFF2-40B4-BE49-F238E27FC236}">
                    <a16:creationId xmlns:a16="http://schemas.microsoft.com/office/drawing/2014/main" id="{CF456FF3-391C-4C8E-A128-A413BDBBB225}"/>
                  </a:ext>
                </a:extLst>
              </p:cNvPr>
              <p:cNvSpPr/>
              <p:nvPr/>
            </p:nvSpPr>
            <p:spPr>
              <a:xfrm>
                <a:off x="6126481" y="682263"/>
                <a:ext cx="259806" cy="145054"/>
              </a:xfrm>
              <a:prstGeom prst="rect">
                <a:avLst/>
              </a:prstGeom>
              <a:solidFill>
                <a:srgbClr val="BD6F45"/>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c 136">
                <a:extLst>
                  <a:ext uri="{FF2B5EF4-FFF2-40B4-BE49-F238E27FC236}">
                    <a16:creationId xmlns:a16="http://schemas.microsoft.com/office/drawing/2014/main" id="{8838FE2A-04D7-44E3-97C3-54338832CB9A}"/>
                  </a:ext>
                </a:extLst>
              </p:cNvPr>
              <p:cNvSpPr/>
              <p:nvPr/>
            </p:nvSpPr>
            <p:spPr>
              <a:xfrm>
                <a:off x="5805714" y="609691"/>
                <a:ext cx="410553" cy="386869"/>
              </a:xfrm>
              <a:prstGeom prst="arc">
                <a:avLst>
                  <a:gd name="adj1" fmla="val 11129801"/>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159" name="TextBox 158">
            <a:extLst>
              <a:ext uri="{FF2B5EF4-FFF2-40B4-BE49-F238E27FC236}">
                <a16:creationId xmlns:a16="http://schemas.microsoft.com/office/drawing/2014/main" id="{BDEDFA61-B13F-4F32-A5C8-D6821D51A5BE}"/>
              </a:ext>
            </a:extLst>
          </p:cNvPr>
          <p:cNvSpPr txBox="1"/>
          <p:nvPr/>
        </p:nvSpPr>
        <p:spPr>
          <a:xfrm>
            <a:off x="1026089" y="455847"/>
            <a:ext cx="4369462" cy="830997"/>
          </a:xfrm>
          <a:prstGeom prst="rect">
            <a:avLst/>
          </a:prstGeom>
          <a:noFill/>
        </p:spPr>
        <p:txBody>
          <a:bodyPr wrap="square" rtlCol="0">
            <a:spAutoFit/>
            <a:scene3d>
              <a:camera prst="orthographicFront"/>
              <a:lightRig rig="soft" dir="t">
                <a:rot lat="0" lon="0" rev="15600000"/>
              </a:lightRig>
            </a:scene3d>
            <a:sp3d extrusionH="57150" prstMaterial="softEdge">
              <a:bevelT w="25400" h="38100"/>
            </a:sp3d>
          </a:bodyPr>
          <a:lstStyle/>
          <a:p>
            <a:r>
              <a:rPr lang="en-US" sz="2400" b="1" dirty="0">
                <a:ln/>
                <a:solidFill>
                  <a:schemeClr val="accent4"/>
                </a:solidFill>
              </a:rPr>
              <a:t>Most Fascinating Use Of C &amp; D Recycled Waste. </a:t>
            </a:r>
          </a:p>
        </p:txBody>
      </p:sp>
      <p:sp>
        <p:nvSpPr>
          <p:cNvPr id="160" name="TextBox 159">
            <a:extLst>
              <a:ext uri="{FF2B5EF4-FFF2-40B4-BE49-F238E27FC236}">
                <a16:creationId xmlns:a16="http://schemas.microsoft.com/office/drawing/2014/main" id="{54981535-31E9-4D4A-9764-57C64E935A8E}"/>
              </a:ext>
            </a:extLst>
          </p:cNvPr>
          <p:cNvSpPr txBox="1"/>
          <p:nvPr/>
        </p:nvSpPr>
        <p:spPr>
          <a:xfrm>
            <a:off x="1169326" y="5252501"/>
            <a:ext cx="4082988" cy="646331"/>
          </a:xfrm>
          <a:prstGeom prst="rect">
            <a:avLst/>
          </a:prstGeom>
          <a:noFill/>
        </p:spPr>
        <p:txBody>
          <a:bodyPr wrap="square" rtlCol="0">
            <a:spAutoFit/>
          </a:bodyPr>
          <a:lstStyle/>
          <a:p>
            <a:pPr algn="ctr"/>
            <a:r>
              <a:rPr lang="de-DE" altLang="de-DE" spc="300" dirty="0">
                <a:solidFill>
                  <a:srgbClr val="FF0000"/>
                </a:solidFill>
              </a:rPr>
              <a:t>Brazil</a:t>
            </a:r>
          </a:p>
          <a:p>
            <a:endParaRPr lang="de-DE" altLang="de-DE" spc="300" dirty="0">
              <a:solidFill>
                <a:srgbClr val="FF0000"/>
              </a:solidFill>
            </a:endParaRPr>
          </a:p>
        </p:txBody>
      </p:sp>
      <p:sp>
        <p:nvSpPr>
          <p:cNvPr id="151" name="TextBox 150">
            <a:extLst>
              <a:ext uri="{FF2B5EF4-FFF2-40B4-BE49-F238E27FC236}">
                <a16:creationId xmlns:a16="http://schemas.microsoft.com/office/drawing/2014/main" id="{502DED3C-B91C-4F21-B01C-2CC24B3780B2}"/>
              </a:ext>
            </a:extLst>
          </p:cNvPr>
          <p:cNvSpPr txBox="1"/>
          <p:nvPr/>
        </p:nvSpPr>
        <p:spPr>
          <a:xfrm>
            <a:off x="6380292" y="776091"/>
            <a:ext cx="4963748" cy="2097754"/>
          </a:xfrm>
          <a:prstGeom prst="rect">
            <a:avLst/>
          </a:prstGeom>
          <a:noFill/>
        </p:spPr>
        <p:txBody>
          <a:bodyPr wrap="square" rtlCol="0">
            <a:spAutoFit/>
          </a:bodyPr>
          <a:lstStyle/>
          <a:p>
            <a:pPr>
              <a:lnSpc>
                <a:spcPct val="250000"/>
              </a:lnSpc>
            </a:pPr>
            <a:r>
              <a:rPr lang="en-US" sz="1400" b="1" spc="-5" dirty="0">
                <a:solidFill>
                  <a:schemeClr val="bg1"/>
                </a:solidFill>
                <a:cs typeface="Calibri"/>
              </a:rPr>
              <a:t>Stadium</a:t>
            </a:r>
            <a:r>
              <a:rPr lang="en-US" sz="1400" b="1" spc="5" dirty="0">
                <a:solidFill>
                  <a:schemeClr val="bg1"/>
                </a:solidFill>
                <a:cs typeface="Calibri"/>
              </a:rPr>
              <a:t> </a:t>
            </a:r>
            <a:r>
              <a:rPr lang="en-US" sz="1400" b="1" dirty="0">
                <a:solidFill>
                  <a:schemeClr val="bg1"/>
                </a:solidFill>
                <a:cs typeface="Calibri"/>
              </a:rPr>
              <a:t>in </a:t>
            </a:r>
            <a:r>
              <a:rPr lang="en-US" sz="1400" b="1" spc="-10" dirty="0">
                <a:solidFill>
                  <a:schemeClr val="bg1"/>
                </a:solidFill>
                <a:cs typeface="Calibri"/>
              </a:rPr>
              <a:t>brazil</a:t>
            </a:r>
            <a:r>
              <a:rPr lang="en-US" sz="1400" b="1" spc="5" dirty="0">
                <a:solidFill>
                  <a:schemeClr val="bg1"/>
                </a:solidFill>
                <a:cs typeface="Calibri"/>
              </a:rPr>
              <a:t> </a:t>
            </a:r>
            <a:r>
              <a:rPr lang="en-US" sz="1400" b="1" spc="-10" dirty="0">
                <a:solidFill>
                  <a:schemeClr val="bg1"/>
                </a:solidFill>
                <a:cs typeface="Calibri"/>
              </a:rPr>
              <a:t>where</a:t>
            </a:r>
            <a:r>
              <a:rPr lang="en-US" sz="1400" b="1" spc="5" dirty="0">
                <a:solidFill>
                  <a:schemeClr val="bg1"/>
                </a:solidFill>
                <a:cs typeface="Calibri"/>
              </a:rPr>
              <a:t> </a:t>
            </a:r>
            <a:r>
              <a:rPr lang="en-US" sz="1400" b="1" dirty="0">
                <a:solidFill>
                  <a:schemeClr val="bg1"/>
                </a:solidFill>
                <a:cs typeface="Calibri"/>
              </a:rPr>
              <a:t>the 2016</a:t>
            </a:r>
            <a:r>
              <a:rPr lang="en-US" sz="1400" b="1" spc="-20" dirty="0">
                <a:solidFill>
                  <a:schemeClr val="bg1"/>
                </a:solidFill>
                <a:cs typeface="Calibri"/>
              </a:rPr>
              <a:t> </a:t>
            </a:r>
            <a:r>
              <a:rPr lang="en-US" sz="1400" b="1" spc="-5" dirty="0">
                <a:solidFill>
                  <a:schemeClr val="bg1"/>
                </a:solidFill>
                <a:cs typeface="Calibri"/>
              </a:rPr>
              <a:t>Olympics</a:t>
            </a:r>
            <a:r>
              <a:rPr lang="en-US" sz="1400" b="1" dirty="0">
                <a:solidFill>
                  <a:schemeClr val="bg1"/>
                </a:solidFill>
                <a:cs typeface="Calibri"/>
              </a:rPr>
              <a:t> </a:t>
            </a:r>
            <a:r>
              <a:rPr lang="en-US" sz="1400" b="1" spc="-15" dirty="0">
                <a:solidFill>
                  <a:schemeClr val="bg1"/>
                </a:solidFill>
                <a:cs typeface="Calibri"/>
              </a:rPr>
              <a:t>were</a:t>
            </a:r>
            <a:r>
              <a:rPr lang="en-US" sz="1400" b="1" spc="-5" dirty="0">
                <a:solidFill>
                  <a:schemeClr val="bg1"/>
                </a:solidFill>
                <a:cs typeface="Calibri"/>
              </a:rPr>
              <a:t> held</a:t>
            </a:r>
            <a:r>
              <a:rPr lang="en-US" sz="1400" b="1" spc="5" dirty="0">
                <a:solidFill>
                  <a:schemeClr val="bg1"/>
                </a:solidFill>
                <a:cs typeface="Calibri"/>
              </a:rPr>
              <a:t> </a:t>
            </a:r>
            <a:r>
              <a:rPr lang="en-US" sz="1400" b="1" dirty="0">
                <a:solidFill>
                  <a:schemeClr val="bg1"/>
                </a:solidFill>
                <a:cs typeface="Calibri"/>
              </a:rPr>
              <a:t>is</a:t>
            </a:r>
            <a:r>
              <a:rPr lang="en-US" sz="1400" b="1" spc="5" dirty="0">
                <a:solidFill>
                  <a:schemeClr val="bg1"/>
                </a:solidFill>
                <a:cs typeface="Calibri"/>
              </a:rPr>
              <a:t> </a:t>
            </a:r>
            <a:r>
              <a:rPr lang="en-US" sz="1400" b="1" dirty="0">
                <a:solidFill>
                  <a:schemeClr val="bg1"/>
                </a:solidFill>
                <a:cs typeface="Calibri"/>
              </a:rPr>
              <a:t>made</a:t>
            </a:r>
            <a:r>
              <a:rPr lang="en-US" sz="1400" b="1" spc="5" dirty="0">
                <a:solidFill>
                  <a:schemeClr val="bg1"/>
                </a:solidFill>
                <a:cs typeface="Calibri"/>
              </a:rPr>
              <a:t> up </a:t>
            </a:r>
            <a:r>
              <a:rPr lang="en-US" sz="1400" b="1" dirty="0">
                <a:solidFill>
                  <a:schemeClr val="bg1"/>
                </a:solidFill>
                <a:cs typeface="Calibri"/>
              </a:rPr>
              <a:t>of 70 </a:t>
            </a:r>
            <a:r>
              <a:rPr lang="en-US" sz="1400" b="1" spc="-10" dirty="0">
                <a:solidFill>
                  <a:schemeClr val="bg1"/>
                </a:solidFill>
                <a:cs typeface="Calibri"/>
              </a:rPr>
              <a:t>percent </a:t>
            </a:r>
            <a:r>
              <a:rPr lang="en-US" sz="1400" b="1" spc="-5" dirty="0">
                <a:solidFill>
                  <a:schemeClr val="bg1"/>
                </a:solidFill>
                <a:cs typeface="Calibri"/>
              </a:rPr>
              <a:t>recycled</a:t>
            </a:r>
            <a:r>
              <a:rPr lang="en-US" sz="1400" b="1" spc="-25" dirty="0">
                <a:solidFill>
                  <a:schemeClr val="bg1"/>
                </a:solidFill>
                <a:cs typeface="Calibri"/>
              </a:rPr>
              <a:t> </a:t>
            </a:r>
            <a:r>
              <a:rPr lang="en-US" sz="1400" b="1" dirty="0">
                <a:solidFill>
                  <a:schemeClr val="bg1"/>
                </a:solidFill>
                <a:cs typeface="Calibri"/>
              </a:rPr>
              <a:t>building</a:t>
            </a:r>
            <a:r>
              <a:rPr lang="en-US" sz="1400" b="1" spc="-5" dirty="0">
                <a:solidFill>
                  <a:schemeClr val="bg1"/>
                </a:solidFill>
                <a:cs typeface="Calibri"/>
              </a:rPr>
              <a:t> </a:t>
            </a:r>
            <a:r>
              <a:rPr lang="en-US" sz="1400" b="1" spc="-10" dirty="0">
                <a:solidFill>
                  <a:schemeClr val="bg1"/>
                </a:solidFill>
                <a:cs typeface="Calibri"/>
              </a:rPr>
              <a:t>material.</a:t>
            </a:r>
            <a:endParaRPr lang="en-US" sz="1400" b="1" dirty="0">
              <a:solidFill>
                <a:schemeClr val="bg1"/>
              </a:solidFill>
              <a:cs typeface="Calibri"/>
            </a:endParaRPr>
          </a:p>
          <a:p>
            <a:pPr>
              <a:lnSpc>
                <a:spcPct val="250000"/>
              </a:lnSpc>
            </a:pPr>
            <a:endParaRPr lang="en-US" sz="1400" b="1" dirty="0">
              <a:solidFill>
                <a:schemeClr val="bg1"/>
              </a:solidFill>
            </a:endParaRPr>
          </a:p>
          <a:p>
            <a:pPr>
              <a:lnSpc>
                <a:spcPct val="250000"/>
              </a:lnSpc>
            </a:pPr>
            <a:endParaRPr lang="en-US" sz="1200" dirty="0">
              <a:solidFill>
                <a:srgbClr val="0070C0"/>
              </a:solidFill>
              <a:latin typeface="Hand Of Sean" panose="02000500000000000000" pitchFamily="2" charset="-128"/>
              <a:ea typeface="Hand Of Sean" panose="02000500000000000000" pitchFamily="2" charset="-128"/>
            </a:endParaRPr>
          </a:p>
        </p:txBody>
      </p:sp>
    </p:spTree>
    <p:extLst>
      <p:ext uri="{BB962C8B-B14F-4D97-AF65-F5344CB8AC3E}">
        <p14:creationId xmlns:p14="http://schemas.microsoft.com/office/powerpoint/2010/main" val="18754734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F222A8-AF2A-4292-8A95-0C3AD37A109D}"/>
              </a:ext>
            </a:extLst>
          </p:cNvPr>
          <p:cNvSpPr/>
          <p:nvPr/>
        </p:nvSpPr>
        <p:spPr>
          <a:xfrm>
            <a:off x="20664" y="0"/>
            <a:ext cx="5734929" cy="6858000"/>
          </a:xfrm>
          <a:prstGeom prst="rect">
            <a:avLst/>
          </a:prstGeom>
          <a:blipFill>
            <a:blip r:embed="rId2"/>
            <a:stretch>
              <a:fillRect/>
            </a:stretch>
          </a:blipFill>
          <a:ln>
            <a:noFill/>
          </a:ln>
          <a:effectLst>
            <a:outerShdw blurRad="50800" dist="762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82455CA8-3E7B-475F-BE73-7D424E5A8C0C}"/>
              </a:ext>
            </a:extLst>
          </p:cNvPr>
          <p:cNvGrpSpPr/>
          <p:nvPr/>
        </p:nvGrpSpPr>
        <p:grpSpPr>
          <a:xfrm flipH="1">
            <a:off x="5433759" y="119550"/>
            <a:ext cx="580573" cy="6607323"/>
            <a:chOff x="5805714" y="119550"/>
            <a:chExt cx="580573" cy="6607323"/>
          </a:xfrm>
        </p:grpSpPr>
        <p:grpSp>
          <p:nvGrpSpPr>
            <p:cNvPr id="10" name="Group 9">
              <a:extLst>
                <a:ext uri="{FF2B5EF4-FFF2-40B4-BE49-F238E27FC236}">
                  <a16:creationId xmlns:a16="http://schemas.microsoft.com/office/drawing/2014/main" id="{AEE5042A-E067-4FB7-BCFF-00BB33BFEDEC}"/>
                </a:ext>
              </a:extLst>
            </p:cNvPr>
            <p:cNvGrpSpPr/>
            <p:nvPr/>
          </p:nvGrpSpPr>
          <p:grpSpPr>
            <a:xfrm>
              <a:off x="5805714" y="119550"/>
              <a:ext cx="580573" cy="386869"/>
              <a:chOff x="5805714" y="609691"/>
              <a:chExt cx="580573" cy="386869"/>
            </a:xfrm>
          </p:grpSpPr>
          <p:sp>
            <p:nvSpPr>
              <p:cNvPr id="5" name="Rectangle 4">
                <a:extLst>
                  <a:ext uri="{FF2B5EF4-FFF2-40B4-BE49-F238E27FC236}">
                    <a16:creationId xmlns:a16="http://schemas.microsoft.com/office/drawing/2014/main" id="{9ECC8D50-758B-45D1-9832-058DA749338C}"/>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FC783E55-1922-4926-8D97-EC60526709F7}"/>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8" name="Group 77">
              <a:extLst>
                <a:ext uri="{FF2B5EF4-FFF2-40B4-BE49-F238E27FC236}">
                  <a16:creationId xmlns:a16="http://schemas.microsoft.com/office/drawing/2014/main" id="{E48E30C9-A74F-4C52-AD04-FC9A5CBD8258}"/>
                </a:ext>
              </a:extLst>
            </p:cNvPr>
            <p:cNvGrpSpPr/>
            <p:nvPr/>
          </p:nvGrpSpPr>
          <p:grpSpPr>
            <a:xfrm>
              <a:off x="5805714" y="430573"/>
              <a:ext cx="580573" cy="386869"/>
              <a:chOff x="5805714" y="609691"/>
              <a:chExt cx="580573" cy="386869"/>
            </a:xfrm>
          </p:grpSpPr>
          <p:sp>
            <p:nvSpPr>
              <p:cNvPr id="79" name="Rectangle 78">
                <a:extLst>
                  <a:ext uri="{FF2B5EF4-FFF2-40B4-BE49-F238E27FC236}">
                    <a16:creationId xmlns:a16="http://schemas.microsoft.com/office/drawing/2014/main" id="{9D80A7DB-810E-4588-BE25-E9F7C34D3DB1}"/>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Arc 79">
                <a:extLst>
                  <a:ext uri="{FF2B5EF4-FFF2-40B4-BE49-F238E27FC236}">
                    <a16:creationId xmlns:a16="http://schemas.microsoft.com/office/drawing/2014/main" id="{0CEE252C-3F6B-425D-A974-8C322FD62AA8}"/>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1" name="Group 80">
              <a:extLst>
                <a:ext uri="{FF2B5EF4-FFF2-40B4-BE49-F238E27FC236}">
                  <a16:creationId xmlns:a16="http://schemas.microsoft.com/office/drawing/2014/main" id="{BDE4CAF1-67FB-4A00-A957-F84932EF37EA}"/>
                </a:ext>
              </a:extLst>
            </p:cNvPr>
            <p:cNvGrpSpPr/>
            <p:nvPr/>
          </p:nvGrpSpPr>
          <p:grpSpPr>
            <a:xfrm>
              <a:off x="5805714" y="741596"/>
              <a:ext cx="580573" cy="386869"/>
              <a:chOff x="5805714" y="609691"/>
              <a:chExt cx="580573" cy="386869"/>
            </a:xfrm>
          </p:grpSpPr>
          <p:sp>
            <p:nvSpPr>
              <p:cNvPr id="82" name="Rectangle 81">
                <a:extLst>
                  <a:ext uri="{FF2B5EF4-FFF2-40B4-BE49-F238E27FC236}">
                    <a16:creationId xmlns:a16="http://schemas.microsoft.com/office/drawing/2014/main" id="{74C944AF-D50A-425E-A441-BD46E8CB9783}"/>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Arc 82">
                <a:extLst>
                  <a:ext uri="{FF2B5EF4-FFF2-40B4-BE49-F238E27FC236}">
                    <a16:creationId xmlns:a16="http://schemas.microsoft.com/office/drawing/2014/main" id="{AE95EC9D-DB78-417E-AF31-C543DE84C1EE}"/>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4" name="Group 83">
              <a:extLst>
                <a:ext uri="{FF2B5EF4-FFF2-40B4-BE49-F238E27FC236}">
                  <a16:creationId xmlns:a16="http://schemas.microsoft.com/office/drawing/2014/main" id="{EC3E0684-8AE8-4214-BF7B-4AAB6B86F600}"/>
                </a:ext>
              </a:extLst>
            </p:cNvPr>
            <p:cNvGrpSpPr/>
            <p:nvPr/>
          </p:nvGrpSpPr>
          <p:grpSpPr>
            <a:xfrm>
              <a:off x="5805714" y="1052619"/>
              <a:ext cx="580573" cy="386869"/>
              <a:chOff x="5805714" y="609691"/>
              <a:chExt cx="580573" cy="386869"/>
            </a:xfrm>
          </p:grpSpPr>
          <p:sp>
            <p:nvSpPr>
              <p:cNvPr id="85" name="Rectangle 84">
                <a:extLst>
                  <a:ext uri="{FF2B5EF4-FFF2-40B4-BE49-F238E27FC236}">
                    <a16:creationId xmlns:a16="http://schemas.microsoft.com/office/drawing/2014/main" id="{CF8E04A3-B6B4-4F3C-BB6B-AF9929DDA237}"/>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Arc 85">
                <a:extLst>
                  <a:ext uri="{FF2B5EF4-FFF2-40B4-BE49-F238E27FC236}">
                    <a16:creationId xmlns:a16="http://schemas.microsoft.com/office/drawing/2014/main" id="{18A95974-DAB2-4BF8-9192-96278D1744CD}"/>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7" name="Group 86">
              <a:extLst>
                <a:ext uri="{FF2B5EF4-FFF2-40B4-BE49-F238E27FC236}">
                  <a16:creationId xmlns:a16="http://schemas.microsoft.com/office/drawing/2014/main" id="{C97BDBFC-6DCF-4D05-9235-AF24FD08B7BA}"/>
                </a:ext>
              </a:extLst>
            </p:cNvPr>
            <p:cNvGrpSpPr/>
            <p:nvPr/>
          </p:nvGrpSpPr>
          <p:grpSpPr>
            <a:xfrm>
              <a:off x="5805714" y="1363642"/>
              <a:ext cx="580573" cy="386869"/>
              <a:chOff x="5805714" y="609691"/>
              <a:chExt cx="580573" cy="386869"/>
            </a:xfrm>
          </p:grpSpPr>
          <p:sp>
            <p:nvSpPr>
              <p:cNvPr id="88" name="Rectangle 87">
                <a:extLst>
                  <a:ext uri="{FF2B5EF4-FFF2-40B4-BE49-F238E27FC236}">
                    <a16:creationId xmlns:a16="http://schemas.microsoft.com/office/drawing/2014/main" id="{4AB8CE96-3DF3-4063-9F27-D4DB07BB75EF}"/>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Arc 88">
                <a:extLst>
                  <a:ext uri="{FF2B5EF4-FFF2-40B4-BE49-F238E27FC236}">
                    <a16:creationId xmlns:a16="http://schemas.microsoft.com/office/drawing/2014/main" id="{309BD817-14B6-4AA7-A1F6-6EAEFBC3A86F}"/>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0" name="Group 89">
              <a:extLst>
                <a:ext uri="{FF2B5EF4-FFF2-40B4-BE49-F238E27FC236}">
                  <a16:creationId xmlns:a16="http://schemas.microsoft.com/office/drawing/2014/main" id="{C6951FED-2BD7-4859-B333-5B1CAEF8AB8D}"/>
                </a:ext>
              </a:extLst>
            </p:cNvPr>
            <p:cNvGrpSpPr/>
            <p:nvPr/>
          </p:nvGrpSpPr>
          <p:grpSpPr>
            <a:xfrm>
              <a:off x="5805714" y="1674665"/>
              <a:ext cx="580573" cy="386869"/>
              <a:chOff x="5805714" y="609691"/>
              <a:chExt cx="580573" cy="386869"/>
            </a:xfrm>
          </p:grpSpPr>
          <p:sp>
            <p:nvSpPr>
              <p:cNvPr id="91" name="Rectangle 90">
                <a:extLst>
                  <a:ext uri="{FF2B5EF4-FFF2-40B4-BE49-F238E27FC236}">
                    <a16:creationId xmlns:a16="http://schemas.microsoft.com/office/drawing/2014/main" id="{FE30C63D-F045-40E9-8C54-26DA5BDA0F44}"/>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Arc 91">
                <a:extLst>
                  <a:ext uri="{FF2B5EF4-FFF2-40B4-BE49-F238E27FC236}">
                    <a16:creationId xmlns:a16="http://schemas.microsoft.com/office/drawing/2014/main" id="{434A2720-2A66-40B1-AC7E-5C244C6E6EB9}"/>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3" name="Group 92">
              <a:extLst>
                <a:ext uri="{FF2B5EF4-FFF2-40B4-BE49-F238E27FC236}">
                  <a16:creationId xmlns:a16="http://schemas.microsoft.com/office/drawing/2014/main" id="{3253887B-E245-4C89-84BB-C89576187B4D}"/>
                </a:ext>
              </a:extLst>
            </p:cNvPr>
            <p:cNvGrpSpPr/>
            <p:nvPr/>
          </p:nvGrpSpPr>
          <p:grpSpPr>
            <a:xfrm>
              <a:off x="5805714" y="1985688"/>
              <a:ext cx="580573" cy="386869"/>
              <a:chOff x="5805714" y="609691"/>
              <a:chExt cx="580573" cy="386869"/>
            </a:xfrm>
          </p:grpSpPr>
          <p:sp>
            <p:nvSpPr>
              <p:cNvPr id="94" name="Rectangle 93">
                <a:extLst>
                  <a:ext uri="{FF2B5EF4-FFF2-40B4-BE49-F238E27FC236}">
                    <a16:creationId xmlns:a16="http://schemas.microsoft.com/office/drawing/2014/main" id="{C2935527-C9EF-4950-89BB-EB1207B25EAD}"/>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Arc 94">
                <a:extLst>
                  <a:ext uri="{FF2B5EF4-FFF2-40B4-BE49-F238E27FC236}">
                    <a16:creationId xmlns:a16="http://schemas.microsoft.com/office/drawing/2014/main" id="{B885AD0D-2A97-4761-A7E2-81AE7730FF98}"/>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6" name="Group 95">
              <a:extLst>
                <a:ext uri="{FF2B5EF4-FFF2-40B4-BE49-F238E27FC236}">
                  <a16:creationId xmlns:a16="http://schemas.microsoft.com/office/drawing/2014/main" id="{B20895E6-FBAD-4249-90F9-43369FD2080F}"/>
                </a:ext>
              </a:extLst>
            </p:cNvPr>
            <p:cNvGrpSpPr/>
            <p:nvPr/>
          </p:nvGrpSpPr>
          <p:grpSpPr>
            <a:xfrm>
              <a:off x="5805714" y="2296711"/>
              <a:ext cx="580573" cy="386869"/>
              <a:chOff x="5805714" y="609691"/>
              <a:chExt cx="580573" cy="386869"/>
            </a:xfrm>
          </p:grpSpPr>
          <p:sp>
            <p:nvSpPr>
              <p:cNvPr id="97" name="Rectangle 96">
                <a:extLst>
                  <a:ext uri="{FF2B5EF4-FFF2-40B4-BE49-F238E27FC236}">
                    <a16:creationId xmlns:a16="http://schemas.microsoft.com/office/drawing/2014/main" id="{416F99E9-E132-4AB6-9501-719E390B2951}"/>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Arc 97">
                <a:extLst>
                  <a:ext uri="{FF2B5EF4-FFF2-40B4-BE49-F238E27FC236}">
                    <a16:creationId xmlns:a16="http://schemas.microsoft.com/office/drawing/2014/main" id="{7BF41422-E1EF-4A49-906D-7C9E43200378}"/>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9" name="Group 98">
              <a:extLst>
                <a:ext uri="{FF2B5EF4-FFF2-40B4-BE49-F238E27FC236}">
                  <a16:creationId xmlns:a16="http://schemas.microsoft.com/office/drawing/2014/main" id="{3A6C8FCE-3906-4A51-8C51-53A21458A79D}"/>
                </a:ext>
              </a:extLst>
            </p:cNvPr>
            <p:cNvGrpSpPr/>
            <p:nvPr/>
          </p:nvGrpSpPr>
          <p:grpSpPr>
            <a:xfrm>
              <a:off x="5805714" y="2607734"/>
              <a:ext cx="580573" cy="386869"/>
              <a:chOff x="5805714" y="609691"/>
              <a:chExt cx="580573" cy="386869"/>
            </a:xfrm>
          </p:grpSpPr>
          <p:sp>
            <p:nvSpPr>
              <p:cNvPr id="100" name="Rectangle 99">
                <a:extLst>
                  <a:ext uri="{FF2B5EF4-FFF2-40B4-BE49-F238E27FC236}">
                    <a16:creationId xmlns:a16="http://schemas.microsoft.com/office/drawing/2014/main" id="{01B7306C-C82A-4CBC-8810-B196E2B85FD9}"/>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Arc 100">
                <a:extLst>
                  <a:ext uri="{FF2B5EF4-FFF2-40B4-BE49-F238E27FC236}">
                    <a16:creationId xmlns:a16="http://schemas.microsoft.com/office/drawing/2014/main" id="{4309EB4B-A1C1-41B8-9E71-43E4632DE81A}"/>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2" name="Group 101">
              <a:extLst>
                <a:ext uri="{FF2B5EF4-FFF2-40B4-BE49-F238E27FC236}">
                  <a16:creationId xmlns:a16="http://schemas.microsoft.com/office/drawing/2014/main" id="{C74B4894-B5D2-4362-964C-D4DC0546060A}"/>
                </a:ext>
              </a:extLst>
            </p:cNvPr>
            <p:cNvGrpSpPr/>
            <p:nvPr/>
          </p:nvGrpSpPr>
          <p:grpSpPr>
            <a:xfrm>
              <a:off x="5805714" y="2918757"/>
              <a:ext cx="580573" cy="386869"/>
              <a:chOff x="5805714" y="609691"/>
              <a:chExt cx="580573" cy="386869"/>
            </a:xfrm>
          </p:grpSpPr>
          <p:sp>
            <p:nvSpPr>
              <p:cNvPr id="103" name="Rectangle 102">
                <a:extLst>
                  <a:ext uri="{FF2B5EF4-FFF2-40B4-BE49-F238E27FC236}">
                    <a16:creationId xmlns:a16="http://schemas.microsoft.com/office/drawing/2014/main" id="{DA95D981-4D5B-4F4F-8A82-69838938508F}"/>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Arc 103">
                <a:extLst>
                  <a:ext uri="{FF2B5EF4-FFF2-40B4-BE49-F238E27FC236}">
                    <a16:creationId xmlns:a16="http://schemas.microsoft.com/office/drawing/2014/main" id="{E4822634-A39A-4B0D-8399-883328FCA1EE}"/>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5" name="Group 104">
              <a:extLst>
                <a:ext uri="{FF2B5EF4-FFF2-40B4-BE49-F238E27FC236}">
                  <a16:creationId xmlns:a16="http://schemas.microsoft.com/office/drawing/2014/main" id="{AC0C8900-7AAE-4DAD-9853-250BA8E46217}"/>
                </a:ext>
              </a:extLst>
            </p:cNvPr>
            <p:cNvGrpSpPr/>
            <p:nvPr/>
          </p:nvGrpSpPr>
          <p:grpSpPr>
            <a:xfrm>
              <a:off x="5805714" y="3229780"/>
              <a:ext cx="580573" cy="386869"/>
              <a:chOff x="5805714" y="609691"/>
              <a:chExt cx="580573" cy="386869"/>
            </a:xfrm>
          </p:grpSpPr>
          <p:sp>
            <p:nvSpPr>
              <p:cNvPr id="106" name="Rectangle 105">
                <a:extLst>
                  <a:ext uri="{FF2B5EF4-FFF2-40B4-BE49-F238E27FC236}">
                    <a16:creationId xmlns:a16="http://schemas.microsoft.com/office/drawing/2014/main" id="{8F16C3F5-5111-4385-95DB-684995C5DA9E}"/>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Arc 106">
                <a:extLst>
                  <a:ext uri="{FF2B5EF4-FFF2-40B4-BE49-F238E27FC236}">
                    <a16:creationId xmlns:a16="http://schemas.microsoft.com/office/drawing/2014/main" id="{C8E4EC42-A513-472E-AE69-66EF8F71937C}"/>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8" name="Group 107">
              <a:extLst>
                <a:ext uri="{FF2B5EF4-FFF2-40B4-BE49-F238E27FC236}">
                  <a16:creationId xmlns:a16="http://schemas.microsoft.com/office/drawing/2014/main" id="{B9DF2A69-06AC-4DC9-B6C7-9A1B9D012585}"/>
                </a:ext>
              </a:extLst>
            </p:cNvPr>
            <p:cNvGrpSpPr/>
            <p:nvPr/>
          </p:nvGrpSpPr>
          <p:grpSpPr>
            <a:xfrm>
              <a:off x="5805714" y="3540803"/>
              <a:ext cx="580573" cy="386869"/>
              <a:chOff x="5805714" y="609691"/>
              <a:chExt cx="580573" cy="386869"/>
            </a:xfrm>
          </p:grpSpPr>
          <p:sp>
            <p:nvSpPr>
              <p:cNvPr id="109" name="Rectangle 108">
                <a:extLst>
                  <a:ext uri="{FF2B5EF4-FFF2-40B4-BE49-F238E27FC236}">
                    <a16:creationId xmlns:a16="http://schemas.microsoft.com/office/drawing/2014/main" id="{66D59475-186E-4F7A-A501-ABEDCC08DC98}"/>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Arc 109">
                <a:extLst>
                  <a:ext uri="{FF2B5EF4-FFF2-40B4-BE49-F238E27FC236}">
                    <a16:creationId xmlns:a16="http://schemas.microsoft.com/office/drawing/2014/main" id="{55C929AA-C5D4-4A29-94FC-BF99C03F9430}"/>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1" name="Group 110">
              <a:extLst>
                <a:ext uri="{FF2B5EF4-FFF2-40B4-BE49-F238E27FC236}">
                  <a16:creationId xmlns:a16="http://schemas.microsoft.com/office/drawing/2014/main" id="{26F5DDE8-77F1-4A19-9A73-FA16AD387091}"/>
                </a:ext>
              </a:extLst>
            </p:cNvPr>
            <p:cNvGrpSpPr/>
            <p:nvPr/>
          </p:nvGrpSpPr>
          <p:grpSpPr>
            <a:xfrm>
              <a:off x="5805714" y="3851826"/>
              <a:ext cx="580573" cy="386869"/>
              <a:chOff x="5805714" y="609691"/>
              <a:chExt cx="580573" cy="386869"/>
            </a:xfrm>
          </p:grpSpPr>
          <p:sp>
            <p:nvSpPr>
              <p:cNvPr id="112" name="Rectangle 111">
                <a:extLst>
                  <a:ext uri="{FF2B5EF4-FFF2-40B4-BE49-F238E27FC236}">
                    <a16:creationId xmlns:a16="http://schemas.microsoft.com/office/drawing/2014/main" id="{3975D25C-1E30-46E2-BA99-3037ADE31704}"/>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Arc 112">
                <a:extLst>
                  <a:ext uri="{FF2B5EF4-FFF2-40B4-BE49-F238E27FC236}">
                    <a16:creationId xmlns:a16="http://schemas.microsoft.com/office/drawing/2014/main" id="{5489E9B8-DC06-4350-B467-61A9DA0B02A7}"/>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4" name="Group 113">
              <a:extLst>
                <a:ext uri="{FF2B5EF4-FFF2-40B4-BE49-F238E27FC236}">
                  <a16:creationId xmlns:a16="http://schemas.microsoft.com/office/drawing/2014/main" id="{0375CE18-5EC1-4881-8142-DC1BC91AD094}"/>
                </a:ext>
              </a:extLst>
            </p:cNvPr>
            <p:cNvGrpSpPr/>
            <p:nvPr/>
          </p:nvGrpSpPr>
          <p:grpSpPr>
            <a:xfrm>
              <a:off x="5805714" y="4162849"/>
              <a:ext cx="580573" cy="386869"/>
              <a:chOff x="5805714" y="609691"/>
              <a:chExt cx="580573" cy="386869"/>
            </a:xfrm>
          </p:grpSpPr>
          <p:sp>
            <p:nvSpPr>
              <p:cNvPr id="115" name="Rectangle 114">
                <a:extLst>
                  <a:ext uri="{FF2B5EF4-FFF2-40B4-BE49-F238E27FC236}">
                    <a16:creationId xmlns:a16="http://schemas.microsoft.com/office/drawing/2014/main" id="{10A76D25-919A-40D9-9554-EFE2D3956BE4}"/>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Arc 115">
                <a:extLst>
                  <a:ext uri="{FF2B5EF4-FFF2-40B4-BE49-F238E27FC236}">
                    <a16:creationId xmlns:a16="http://schemas.microsoft.com/office/drawing/2014/main" id="{F541D253-66CC-4C59-909C-302800ABEEFC}"/>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D86A99F9-8CBA-4BBB-88F7-14582E27C64C}"/>
                </a:ext>
              </a:extLst>
            </p:cNvPr>
            <p:cNvGrpSpPr/>
            <p:nvPr/>
          </p:nvGrpSpPr>
          <p:grpSpPr>
            <a:xfrm>
              <a:off x="5805714" y="4473872"/>
              <a:ext cx="580573" cy="386869"/>
              <a:chOff x="5805714" y="609691"/>
              <a:chExt cx="580573" cy="386869"/>
            </a:xfrm>
          </p:grpSpPr>
          <p:sp>
            <p:nvSpPr>
              <p:cNvPr id="118" name="Rectangle 117">
                <a:extLst>
                  <a:ext uri="{FF2B5EF4-FFF2-40B4-BE49-F238E27FC236}">
                    <a16:creationId xmlns:a16="http://schemas.microsoft.com/office/drawing/2014/main" id="{16259704-CA38-4525-8489-D1FECD12BDBC}"/>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Arc 118">
                <a:extLst>
                  <a:ext uri="{FF2B5EF4-FFF2-40B4-BE49-F238E27FC236}">
                    <a16:creationId xmlns:a16="http://schemas.microsoft.com/office/drawing/2014/main" id="{40F4FCA1-5992-49D0-8CE6-8488CF6BAF04}"/>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0" name="Group 119">
              <a:extLst>
                <a:ext uri="{FF2B5EF4-FFF2-40B4-BE49-F238E27FC236}">
                  <a16:creationId xmlns:a16="http://schemas.microsoft.com/office/drawing/2014/main" id="{F5C59377-7214-4209-BA16-86D5D1DAE2B0}"/>
                </a:ext>
              </a:extLst>
            </p:cNvPr>
            <p:cNvGrpSpPr/>
            <p:nvPr/>
          </p:nvGrpSpPr>
          <p:grpSpPr>
            <a:xfrm>
              <a:off x="5805714" y="4784895"/>
              <a:ext cx="580573" cy="386869"/>
              <a:chOff x="5805714" y="609691"/>
              <a:chExt cx="580573" cy="386869"/>
            </a:xfrm>
          </p:grpSpPr>
          <p:sp>
            <p:nvSpPr>
              <p:cNvPr id="121" name="Rectangle 120">
                <a:extLst>
                  <a:ext uri="{FF2B5EF4-FFF2-40B4-BE49-F238E27FC236}">
                    <a16:creationId xmlns:a16="http://schemas.microsoft.com/office/drawing/2014/main" id="{959A5D35-C7AE-458F-BBB5-71CD3A3F97F8}"/>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Arc 121">
                <a:extLst>
                  <a:ext uri="{FF2B5EF4-FFF2-40B4-BE49-F238E27FC236}">
                    <a16:creationId xmlns:a16="http://schemas.microsoft.com/office/drawing/2014/main" id="{F490A229-65A6-4DFF-870F-4B92A114A66A}"/>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3" name="Group 122">
              <a:extLst>
                <a:ext uri="{FF2B5EF4-FFF2-40B4-BE49-F238E27FC236}">
                  <a16:creationId xmlns:a16="http://schemas.microsoft.com/office/drawing/2014/main" id="{9EC6FFFF-2006-4366-8566-0113AD9F036A}"/>
                </a:ext>
              </a:extLst>
            </p:cNvPr>
            <p:cNvGrpSpPr/>
            <p:nvPr/>
          </p:nvGrpSpPr>
          <p:grpSpPr>
            <a:xfrm>
              <a:off x="5805714" y="5095918"/>
              <a:ext cx="580573" cy="386869"/>
              <a:chOff x="5805714" y="609691"/>
              <a:chExt cx="580573" cy="386869"/>
            </a:xfrm>
          </p:grpSpPr>
          <p:sp>
            <p:nvSpPr>
              <p:cNvPr id="124" name="Rectangle 123">
                <a:extLst>
                  <a:ext uri="{FF2B5EF4-FFF2-40B4-BE49-F238E27FC236}">
                    <a16:creationId xmlns:a16="http://schemas.microsoft.com/office/drawing/2014/main" id="{595E399E-0521-4D5B-914F-29C3ADDF2B72}"/>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Arc 124">
                <a:extLst>
                  <a:ext uri="{FF2B5EF4-FFF2-40B4-BE49-F238E27FC236}">
                    <a16:creationId xmlns:a16="http://schemas.microsoft.com/office/drawing/2014/main" id="{14739334-2472-4756-B880-7780C40DA407}"/>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6" name="Group 125">
              <a:extLst>
                <a:ext uri="{FF2B5EF4-FFF2-40B4-BE49-F238E27FC236}">
                  <a16:creationId xmlns:a16="http://schemas.microsoft.com/office/drawing/2014/main" id="{6D7FEFCF-F5E2-48A4-8DA2-466E3FA530E8}"/>
                </a:ext>
              </a:extLst>
            </p:cNvPr>
            <p:cNvGrpSpPr/>
            <p:nvPr/>
          </p:nvGrpSpPr>
          <p:grpSpPr>
            <a:xfrm>
              <a:off x="5805714" y="5406941"/>
              <a:ext cx="580573" cy="386869"/>
              <a:chOff x="5805714" y="609691"/>
              <a:chExt cx="580573" cy="386869"/>
            </a:xfrm>
          </p:grpSpPr>
          <p:sp>
            <p:nvSpPr>
              <p:cNvPr id="127" name="Rectangle 126">
                <a:extLst>
                  <a:ext uri="{FF2B5EF4-FFF2-40B4-BE49-F238E27FC236}">
                    <a16:creationId xmlns:a16="http://schemas.microsoft.com/office/drawing/2014/main" id="{5B8C7798-2FB8-447C-BA5C-ECB75C74E5AD}"/>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Arc 127">
                <a:extLst>
                  <a:ext uri="{FF2B5EF4-FFF2-40B4-BE49-F238E27FC236}">
                    <a16:creationId xmlns:a16="http://schemas.microsoft.com/office/drawing/2014/main" id="{DDFE7CA2-AC7D-4CF0-A779-1F7EC6161969}"/>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9" name="Group 128">
              <a:extLst>
                <a:ext uri="{FF2B5EF4-FFF2-40B4-BE49-F238E27FC236}">
                  <a16:creationId xmlns:a16="http://schemas.microsoft.com/office/drawing/2014/main" id="{EF6B5FAD-EB1F-43DC-8B99-11CAD21D64C9}"/>
                </a:ext>
              </a:extLst>
            </p:cNvPr>
            <p:cNvGrpSpPr/>
            <p:nvPr/>
          </p:nvGrpSpPr>
          <p:grpSpPr>
            <a:xfrm>
              <a:off x="5805714" y="5717964"/>
              <a:ext cx="580573" cy="386869"/>
              <a:chOff x="5805714" y="609691"/>
              <a:chExt cx="580573" cy="386869"/>
            </a:xfrm>
          </p:grpSpPr>
          <p:sp>
            <p:nvSpPr>
              <p:cNvPr id="130" name="Rectangle 129">
                <a:extLst>
                  <a:ext uri="{FF2B5EF4-FFF2-40B4-BE49-F238E27FC236}">
                    <a16:creationId xmlns:a16="http://schemas.microsoft.com/office/drawing/2014/main" id="{B817890A-729D-4FBB-8EF7-DAFD6F73427B}"/>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Arc 130">
                <a:extLst>
                  <a:ext uri="{FF2B5EF4-FFF2-40B4-BE49-F238E27FC236}">
                    <a16:creationId xmlns:a16="http://schemas.microsoft.com/office/drawing/2014/main" id="{EAD6132E-2435-4771-A3CC-CCE94E7A9600}"/>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Group 131">
              <a:extLst>
                <a:ext uri="{FF2B5EF4-FFF2-40B4-BE49-F238E27FC236}">
                  <a16:creationId xmlns:a16="http://schemas.microsoft.com/office/drawing/2014/main" id="{2B7006E1-B188-46BA-BAA5-15A960905F4C}"/>
                </a:ext>
              </a:extLst>
            </p:cNvPr>
            <p:cNvGrpSpPr/>
            <p:nvPr/>
          </p:nvGrpSpPr>
          <p:grpSpPr>
            <a:xfrm>
              <a:off x="5805714" y="6028987"/>
              <a:ext cx="580573" cy="386869"/>
              <a:chOff x="5805714" y="609691"/>
              <a:chExt cx="580573" cy="386869"/>
            </a:xfrm>
          </p:grpSpPr>
          <p:sp>
            <p:nvSpPr>
              <p:cNvPr id="133" name="Rectangle 132">
                <a:extLst>
                  <a:ext uri="{FF2B5EF4-FFF2-40B4-BE49-F238E27FC236}">
                    <a16:creationId xmlns:a16="http://schemas.microsoft.com/office/drawing/2014/main" id="{D01250CF-AFA1-4A19-B3C7-7F163609380B}"/>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c 133">
                <a:extLst>
                  <a:ext uri="{FF2B5EF4-FFF2-40B4-BE49-F238E27FC236}">
                    <a16:creationId xmlns:a16="http://schemas.microsoft.com/office/drawing/2014/main" id="{1014BA5C-C370-44EB-84DA-2D69E36CE6C3}"/>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Group 134">
              <a:extLst>
                <a:ext uri="{FF2B5EF4-FFF2-40B4-BE49-F238E27FC236}">
                  <a16:creationId xmlns:a16="http://schemas.microsoft.com/office/drawing/2014/main" id="{AD8CB7E5-EBC4-4791-B93B-D0B41B862B83}"/>
                </a:ext>
              </a:extLst>
            </p:cNvPr>
            <p:cNvGrpSpPr/>
            <p:nvPr/>
          </p:nvGrpSpPr>
          <p:grpSpPr>
            <a:xfrm>
              <a:off x="5805714" y="6340004"/>
              <a:ext cx="580573" cy="386869"/>
              <a:chOff x="5805714" y="609691"/>
              <a:chExt cx="580573" cy="386869"/>
            </a:xfrm>
          </p:grpSpPr>
          <p:sp>
            <p:nvSpPr>
              <p:cNvPr id="136" name="Rectangle 135">
                <a:extLst>
                  <a:ext uri="{FF2B5EF4-FFF2-40B4-BE49-F238E27FC236}">
                    <a16:creationId xmlns:a16="http://schemas.microsoft.com/office/drawing/2014/main" id="{CF456FF3-391C-4C8E-A128-A413BDBBB225}"/>
                  </a:ext>
                </a:extLst>
              </p:cNvPr>
              <p:cNvSpPr/>
              <p:nvPr/>
            </p:nvSpPr>
            <p:spPr>
              <a:xfrm>
                <a:off x="6126481" y="682263"/>
                <a:ext cx="259806" cy="145054"/>
              </a:xfrm>
              <a:prstGeom prst="rect">
                <a:avLst/>
              </a:prstGeom>
              <a:solidFill>
                <a:schemeClr val="bg1">
                  <a:lumMod val="95000"/>
                </a:schemeClr>
              </a:solidFill>
              <a:ln>
                <a:noFill/>
              </a:ln>
              <a:effectLst>
                <a:innerShdw blurRad="12700" dist="889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c 136">
                <a:extLst>
                  <a:ext uri="{FF2B5EF4-FFF2-40B4-BE49-F238E27FC236}">
                    <a16:creationId xmlns:a16="http://schemas.microsoft.com/office/drawing/2014/main" id="{8838FE2A-04D7-44E3-97C3-54338832CB9A}"/>
                  </a:ext>
                </a:extLst>
              </p:cNvPr>
              <p:cNvSpPr/>
              <p:nvPr/>
            </p:nvSpPr>
            <p:spPr>
              <a:xfrm>
                <a:off x="5805714" y="609691"/>
                <a:ext cx="410553" cy="386869"/>
              </a:xfrm>
              <a:prstGeom prst="arc">
                <a:avLst>
                  <a:gd name="adj1" fmla="val 4206676"/>
                  <a:gd name="adj2" fmla="val 20826104"/>
                </a:avLst>
              </a:prstGeom>
              <a:ln w="50800">
                <a:gradFill>
                  <a:gsLst>
                    <a:gs pos="0">
                      <a:schemeClr val="tx1"/>
                    </a:gs>
                    <a:gs pos="46000">
                      <a:schemeClr val="bg1"/>
                    </a:gs>
                    <a:gs pos="83000">
                      <a:schemeClr val="bg1">
                        <a:lumMod val="85000"/>
                      </a:schemeClr>
                    </a:gs>
                    <a:gs pos="100000">
                      <a:schemeClr val="tx1">
                        <a:lumMod val="85000"/>
                        <a:lumOff val="15000"/>
                      </a:schemeClr>
                    </a:gs>
                  </a:gsLst>
                  <a:lin ang="5400000" scaled="1"/>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67" name="TextBox 66">
            <a:extLst>
              <a:ext uri="{FF2B5EF4-FFF2-40B4-BE49-F238E27FC236}">
                <a16:creationId xmlns:a16="http://schemas.microsoft.com/office/drawing/2014/main" id="{B61BA890-3B17-4CDD-AD01-1D48392C3EE8}"/>
              </a:ext>
            </a:extLst>
          </p:cNvPr>
          <p:cNvSpPr txBox="1"/>
          <p:nvPr/>
        </p:nvSpPr>
        <p:spPr>
          <a:xfrm>
            <a:off x="606435" y="2977115"/>
            <a:ext cx="4411574" cy="707886"/>
          </a:xfrm>
          <a:prstGeom prst="rect">
            <a:avLst/>
          </a:prstGeom>
          <a:noFill/>
        </p:spPr>
        <p:txBody>
          <a:bodyPr wrap="square" rtlCol="0">
            <a:spAutoFit/>
          </a:bodyPr>
          <a:lstStyle/>
          <a:p>
            <a:pPr algn="ctr"/>
            <a:r>
              <a:rPr lang="en-US" sz="4000" dirty="0">
                <a:solidFill>
                  <a:schemeClr val="bg1"/>
                </a:solidFill>
                <a:effectLst>
                  <a:innerShdw blurRad="114300">
                    <a:prstClr val="black"/>
                  </a:innerShdw>
                </a:effectLst>
                <a:latin typeface="Oswald" panose="02000503000000000000" pitchFamily="2" charset="0"/>
              </a:rPr>
              <a:t>THANK YOU</a:t>
            </a:r>
          </a:p>
        </p:txBody>
      </p:sp>
    </p:spTree>
    <p:extLst>
      <p:ext uri="{BB962C8B-B14F-4D97-AF65-F5344CB8AC3E}">
        <p14:creationId xmlns:p14="http://schemas.microsoft.com/office/powerpoint/2010/main" val="29380534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21214" y="977356"/>
            <a:ext cx="1418145" cy="553998"/>
          </a:xfrm>
          <a:prstGeom prst="rect">
            <a:avLst/>
          </a:prstGeom>
          <a:noFill/>
        </p:spPr>
        <p:txBody>
          <a:bodyPr wrap="none" lIns="0" tIns="0" rIns="0" bIns="0" numCol="1" rtlCol="0">
            <a:spAutoFit/>
          </a:bodyPr>
          <a:lstStyle/>
          <a:p>
            <a:r>
              <a:rPr lang="de-DE" altLang="de-DE" sz="3600" spc="300" dirty="0">
                <a:solidFill>
                  <a:schemeClr val="accent5"/>
                </a:solidFill>
              </a:rPr>
              <a:t>Wood</a:t>
            </a:r>
          </a:p>
        </p:txBody>
      </p:sp>
      <p:sp>
        <p:nvSpPr>
          <p:cNvPr id="8" name="TextBox 7">
            <a:extLst>
              <a:ext uri="{FF2B5EF4-FFF2-40B4-BE49-F238E27FC236}">
                <a16:creationId xmlns:a16="http://schemas.microsoft.com/office/drawing/2014/main" id="{C9A73559-491A-4614-A844-496762024E0B}"/>
              </a:ext>
            </a:extLst>
          </p:cNvPr>
          <p:cNvSpPr txBox="1"/>
          <p:nvPr/>
        </p:nvSpPr>
        <p:spPr>
          <a:xfrm>
            <a:off x="5421214" y="1894819"/>
            <a:ext cx="6056086" cy="2585323"/>
          </a:xfrm>
          <a:prstGeom prst="rect">
            <a:avLst/>
          </a:prstGeom>
          <a:noFill/>
        </p:spPr>
        <p:txBody>
          <a:bodyPr wrap="square" lIns="0" tIns="0" rIns="0" bIns="0" numCol="1" rtlCol="0">
            <a:spAutoFit/>
          </a:bodyPr>
          <a:lstStyle/>
          <a:p>
            <a:r>
              <a:rPr lang="en-US" sz="2400" dirty="0"/>
              <a:t>Wood waste is the second-largest component of construction and demolition (C&amp;D) debris after concrete. It contributes 20 percent to 30 percent of the building-related C&amp;D total. Overall, wood accounts for around 10 percent of all material deposited in landfills annually.</a:t>
            </a:r>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778016" y="1831831"/>
            <a:ext cx="4441372" cy="4194880"/>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68257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3" name="Rectangle 22">
            <a:extLst>
              <a:ext uri="{FF2B5EF4-FFF2-40B4-BE49-F238E27FC236}">
                <a16:creationId xmlns:a16="http://schemas.microsoft.com/office/drawing/2014/main" id="{F13748ED-C15D-494D-A662-801A11A428E9}"/>
              </a:ext>
            </a:extLst>
          </p:cNvPr>
          <p:cNvSpPr/>
          <p:nvPr/>
        </p:nvSpPr>
        <p:spPr>
          <a:xfrm>
            <a:off x="1224026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pic>
        <p:nvPicPr>
          <p:cNvPr id="31" name="Picture 30">
            <a:extLst>
              <a:ext uri="{FF2B5EF4-FFF2-40B4-BE49-F238E27FC236}">
                <a16:creationId xmlns:a16="http://schemas.microsoft.com/office/drawing/2014/main" id="{B36A151C-D7F3-439C-A765-061B82BCA73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778016" y="1831831"/>
            <a:ext cx="4480560" cy="4192364"/>
          </a:xfrm>
          <a:prstGeom prst="ellipse">
            <a:avLst/>
          </a:prstGeom>
          <a:ln>
            <a:solidFill>
              <a:schemeClr val="bg2"/>
            </a:solidFill>
          </a:ln>
        </p:spPr>
      </p:pic>
      <p:pic>
        <p:nvPicPr>
          <p:cNvPr id="22" name="Picture 21">
            <a:extLst>
              <a:ext uri="{FF2B5EF4-FFF2-40B4-BE49-F238E27FC236}">
                <a16:creationId xmlns:a16="http://schemas.microsoft.com/office/drawing/2014/main" id="{34C31449-A6DD-47DD-912E-64882D9E16C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8207" y="1831831"/>
            <a:ext cx="4476626" cy="4194880"/>
          </a:xfrm>
          <a:prstGeom prst="ellipse">
            <a:avLst/>
          </a:prstGeom>
          <a:ln>
            <a:solidFill>
              <a:schemeClr val="bg2"/>
            </a:solidFill>
          </a:ln>
        </p:spPr>
      </p:pic>
      <p:sp>
        <p:nvSpPr>
          <p:cNvPr id="32" name="!!Oval 8">
            <a:extLst>
              <a:ext uri="{FF2B5EF4-FFF2-40B4-BE49-F238E27FC236}">
                <a16:creationId xmlns:a16="http://schemas.microsoft.com/office/drawing/2014/main" id="{FCF93451-C3A5-4FB5-91CA-661BA0D90A34}"/>
              </a:ext>
            </a:extLst>
          </p:cNvPr>
          <p:cNvSpPr/>
          <p:nvPr/>
        </p:nvSpPr>
        <p:spPr>
          <a:xfrm>
            <a:off x="717889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33" name="!!Oval 17">
            <a:extLst>
              <a:ext uri="{FF2B5EF4-FFF2-40B4-BE49-F238E27FC236}">
                <a16:creationId xmlns:a16="http://schemas.microsoft.com/office/drawing/2014/main" id="{989DE531-D77C-483C-A9D4-F763225E3CE2}"/>
              </a:ext>
            </a:extLst>
          </p:cNvPr>
          <p:cNvSpPr/>
          <p:nvPr/>
        </p:nvSpPr>
        <p:spPr>
          <a:xfrm>
            <a:off x="753002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2"/>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7612865"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497867" y="914850"/>
            <a:ext cx="1272784" cy="553998"/>
          </a:xfrm>
          <a:prstGeom prst="rect">
            <a:avLst/>
          </a:prstGeom>
          <a:noFill/>
        </p:spPr>
        <p:txBody>
          <a:bodyPr wrap="none" lIns="0" tIns="0" rIns="0" bIns="0" numCol="1" rtlCol="0">
            <a:spAutoFit/>
          </a:bodyPr>
          <a:lstStyle/>
          <a:p>
            <a:r>
              <a:rPr lang="de-DE" altLang="de-DE" sz="3600" spc="300" dirty="0">
                <a:solidFill>
                  <a:srgbClr val="079B84"/>
                </a:solidFill>
              </a:rPr>
              <a:t>Glass</a:t>
            </a:r>
            <a:endParaRPr lang="de-DE" altLang="de-DE" sz="2800" spc="300" dirty="0">
              <a:solidFill>
                <a:srgbClr val="079B84"/>
              </a:solidFill>
            </a:endParaRPr>
          </a:p>
        </p:txBody>
      </p:sp>
      <p:sp>
        <p:nvSpPr>
          <p:cNvPr id="8" name="TextBox 7">
            <a:extLst>
              <a:ext uri="{FF2B5EF4-FFF2-40B4-BE49-F238E27FC236}">
                <a16:creationId xmlns:a16="http://schemas.microsoft.com/office/drawing/2014/main" id="{C9A73559-491A-4614-A844-496762024E0B}"/>
              </a:ext>
            </a:extLst>
          </p:cNvPr>
          <p:cNvSpPr txBox="1"/>
          <p:nvPr/>
        </p:nvSpPr>
        <p:spPr>
          <a:xfrm>
            <a:off x="463134" y="1869168"/>
            <a:ext cx="5811398" cy="2585323"/>
          </a:xfrm>
          <a:prstGeom prst="rect">
            <a:avLst/>
          </a:prstGeom>
          <a:noFill/>
        </p:spPr>
        <p:txBody>
          <a:bodyPr wrap="square" lIns="0" tIns="0" rIns="0" bIns="0" numCol="1" rtlCol="0">
            <a:spAutoFit/>
          </a:bodyPr>
          <a:lstStyle/>
          <a:p>
            <a:r>
              <a:rPr lang="en-US" sz="2800" dirty="0"/>
              <a:t>Waste glass obtained from building demolition and crushed containers has been studied extensively as both a recycled aggregate in concrete and a supplementary cementing material.</a:t>
            </a:r>
          </a:p>
        </p:txBody>
      </p:sp>
      <p:sp>
        <p:nvSpPr>
          <p:cNvPr id="9" name="!!Oval 8">
            <a:extLst>
              <a:ext uri="{FF2B5EF4-FFF2-40B4-BE49-F238E27FC236}">
                <a16:creationId xmlns:a16="http://schemas.microsoft.com/office/drawing/2014/main" id="{67191FB7-1694-4872-81F9-FE7754259935}"/>
              </a:ext>
            </a:extLst>
          </p:cNvPr>
          <p:cNvSpPr/>
          <p:nvPr/>
        </p:nvSpPr>
        <p:spPr>
          <a:xfrm>
            <a:off x="46313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81426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16538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51651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8676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pic>
        <p:nvPicPr>
          <p:cNvPr id="22" name="Picture 21">
            <a:extLst>
              <a:ext uri="{FF2B5EF4-FFF2-40B4-BE49-F238E27FC236}">
                <a16:creationId xmlns:a16="http://schemas.microsoft.com/office/drawing/2014/main" id="{5184087C-95F7-481E-AB38-E0F9F79989F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81577" y="1708443"/>
            <a:ext cx="4480560" cy="4192364"/>
          </a:xfrm>
          <a:prstGeom prst="ellipse">
            <a:avLst/>
          </a:prstGeom>
          <a:ln>
            <a:solidFill>
              <a:schemeClr val="bg2"/>
            </a:solidFill>
          </a:ln>
        </p:spPr>
      </p:pic>
      <p:sp>
        <p:nvSpPr>
          <p:cNvPr id="14" name="Rectangle 13">
            <a:extLst>
              <a:ext uri="{FF2B5EF4-FFF2-40B4-BE49-F238E27FC236}">
                <a16:creationId xmlns:a16="http://schemas.microsoft.com/office/drawing/2014/main" id="{C70A1166-6909-4CE8-8CDF-EB812006FC43}"/>
              </a:ext>
            </a:extLst>
          </p:cNvPr>
          <p:cNvSpPr/>
          <p:nvPr/>
        </p:nvSpPr>
        <p:spPr>
          <a:xfrm>
            <a:off x="-4631615" y="0"/>
            <a:ext cx="4630057" cy="686657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15" name="Picture 14">
            <a:extLst>
              <a:ext uri="{FF2B5EF4-FFF2-40B4-BE49-F238E27FC236}">
                <a16:creationId xmlns:a16="http://schemas.microsoft.com/office/drawing/2014/main" id="{80C01354-5DE6-436C-A745-A28E0BA86BB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52427" y="1542289"/>
            <a:ext cx="4480560" cy="4100687"/>
          </a:xfrm>
          <a:prstGeom prst="ellipse">
            <a:avLst/>
          </a:prstGeom>
          <a:ln>
            <a:solidFill>
              <a:schemeClr val="bg2"/>
            </a:solidFill>
          </a:ln>
        </p:spPr>
      </p:pic>
      <p:sp>
        <p:nvSpPr>
          <p:cNvPr id="16" name="!!Oval 8">
            <a:extLst>
              <a:ext uri="{FF2B5EF4-FFF2-40B4-BE49-F238E27FC236}">
                <a16:creationId xmlns:a16="http://schemas.microsoft.com/office/drawing/2014/main" id="{9F06C411-3A4A-4265-92CA-FFEE56382F93}"/>
              </a:ext>
            </a:extLst>
          </p:cNvPr>
          <p:cNvSpPr/>
          <p:nvPr/>
        </p:nvSpPr>
        <p:spPr>
          <a:xfrm>
            <a:off x="219033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3" name="!!Oval 17">
            <a:extLst>
              <a:ext uri="{FF2B5EF4-FFF2-40B4-BE49-F238E27FC236}">
                <a16:creationId xmlns:a16="http://schemas.microsoft.com/office/drawing/2014/main" id="{76EABF7B-6A37-4A36-86A6-0131BBE9F71B}"/>
              </a:ext>
            </a:extLst>
          </p:cNvPr>
          <p:cNvSpPr/>
          <p:nvPr/>
        </p:nvSpPr>
        <p:spPr>
          <a:xfrm>
            <a:off x="253130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2"/>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2dBjQ1zgpFNjkPop31C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2dBjQ1zgpFNjkPop31C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2dBjQ1zgpFNjkPop31ChQ"/>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2dBjQ1zgpFNjkPop31C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2dBjQ1zgpFNjkPop31Ch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2dBjQ1zgpFNjkPop31C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2dBjQ1zgpFNjkPop31C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9.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2">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Theme2" id="{1FA54FAB-1B19-4202-9C80-168EBDC7C036}" vid="{3513A948-EC86-4AF4-B49D-47D85028F6E5}"/>
    </a:ext>
  </a:extLst>
</a:theme>
</file>

<file path=ppt/theme/theme3.xml><?xml version="1.0" encoding="utf-8"?>
<a:theme xmlns:a="http://schemas.openxmlformats.org/drawingml/2006/main" name="1_Theme2">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Theme2" id="{1FA54FAB-1B19-4202-9C80-168EBDC7C036}" vid="{3513A948-EC86-4AF4-B49D-47D85028F6E5}"/>
    </a:ext>
  </a:extLst>
</a:theme>
</file>

<file path=ppt/theme/theme4.xml><?xml version="1.0" encoding="utf-8"?>
<a:theme xmlns:a="http://schemas.openxmlformats.org/drawingml/2006/main" name="2_Theme2">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Theme2" id="{1FA54FAB-1B19-4202-9C80-168EBDC7C036}" vid="{3513A948-EC86-4AF4-B49D-47D85028F6E5}"/>
    </a:ext>
  </a:extLst>
</a:theme>
</file>

<file path=ppt/theme/theme5.xml><?xml version="1.0" encoding="utf-8"?>
<a:theme xmlns:a="http://schemas.openxmlformats.org/drawingml/2006/main" name="3_Theme2">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Theme2" id="{1FA54FAB-1B19-4202-9C80-168EBDC7C036}" vid="{3513A948-EC86-4AF4-B49D-47D85028F6E5}"/>
    </a:ext>
  </a:extLst>
</a:theme>
</file>

<file path=ppt/theme/theme6.xml><?xml version="1.0" encoding="utf-8"?>
<a:theme xmlns:a="http://schemas.openxmlformats.org/drawingml/2006/main" name="4_Theme2">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Theme2" id="{1FA54FAB-1B19-4202-9C80-168EBDC7C036}" vid="{3513A948-EC86-4AF4-B49D-47D85028F6E5}"/>
    </a:ext>
  </a:extLst>
</a:theme>
</file>

<file path=ppt/theme/theme7.xml><?xml version="1.0" encoding="utf-8"?>
<a:theme xmlns:a="http://schemas.openxmlformats.org/drawingml/2006/main" name="5_Theme2">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Theme2" id="{1FA54FAB-1B19-4202-9C80-168EBDC7C036}" vid="{3513A948-EC86-4AF4-B49D-47D85028F6E5}"/>
    </a:ext>
  </a:extLst>
</a:theme>
</file>

<file path=ppt/theme/theme8.xml><?xml version="1.0" encoding="utf-8"?>
<a:theme xmlns:a="http://schemas.openxmlformats.org/drawingml/2006/main" name="7_Theme2">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Theme2" id="{1FA54FAB-1B19-4202-9C80-168EBDC7C036}" vid="{3513A948-EC86-4AF4-B49D-47D85028F6E5}"/>
    </a:ext>
  </a:extLst>
</a:theme>
</file>

<file path=ppt/theme/theme9.xml><?xml version="1.0" encoding="utf-8"?>
<a:theme xmlns:a="http://schemas.openxmlformats.org/drawingml/2006/main" name="Ion">
  <a:themeElements>
    <a:clrScheme name="Ion">
      <a:dk1>
        <a:sysClr val="windowText" lastClr="000000"/>
      </a:dk1>
      <a:lt1>
        <a:sysClr val="window" lastClr="FFFFFF"/>
      </a:lt1>
      <a:dk2>
        <a:srgbClr val="3B3059"/>
      </a:dk2>
      <a:lt2>
        <a:srgbClr val="EBEBEB"/>
      </a:lt2>
      <a:accent1>
        <a:srgbClr val="B31166"/>
      </a:accent1>
      <a:accent2>
        <a:srgbClr val="E33D6F"/>
      </a:accent2>
      <a:accent3>
        <a:srgbClr val="E45F3C"/>
      </a:accent3>
      <a:accent4>
        <a:srgbClr val="E9943A"/>
      </a:accent4>
      <a:accent5>
        <a:srgbClr val="9B6BF2"/>
      </a:accent5>
      <a:accent6>
        <a:srgbClr val="D53DD0"/>
      </a:accent6>
      <a:hlink>
        <a:srgbClr val="EC76B5"/>
      </a:hlink>
      <a:folHlink>
        <a:srgbClr val="E8ACCD"/>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A207AED3-9ABC-4A18-9978-A59B65688B15}"/>
    </a:ext>
  </a:extLst>
</a:theme>
</file>

<file path=docProps/app.xml><?xml version="1.0" encoding="utf-8"?>
<Properties xmlns="http://schemas.openxmlformats.org/officeDocument/2006/extended-properties" xmlns:vt="http://schemas.openxmlformats.org/officeDocument/2006/docPropsVTypes">
  <Template>Ion</Template>
  <TotalTime>2546</TotalTime>
  <Words>1462</Words>
  <Application>Microsoft Office PowerPoint</Application>
  <PresentationFormat>Widescreen</PresentationFormat>
  <Paragraphs>267</Paragraphs>
  <Slides>72</Slides>
  <Notes>11</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72</vt:i4>
      </vt:variant>
    </vt:vector>
  </HeadingPairs>
  <TitlesOfParts>
    <vt:vector size="97" baseType="lpstr">
      <vt:lpstr>Arial</vt:lpstr>
      <vt:lpstr>Bodoni MT</vt:lpstr>
      <vt:lpstr>Calibri</vt:lpstr>
      <vt:lpstr>Calibri Light</vt:lpstr>
      <vt:lpstr>Century Gothic</vt:lpstr>
      <vt:lpstr>Courier New</vt:lpstr>
      <vt:lpstr>Gloucester MT Extra Condensed</vt:lpstr>
      <vt:lpstr>Hand Of Sean</vt:lpstr>
      <vt:lpstr>Open Sans</vt:lpstr>
      <vt:lpstr>Oswald</vt:lpstr>
      <vt:lpstr>Segoe UI Black</vt:lpstr>
      <vt:lpstr>Segoe UI Semibold</vt:lpstr>
      <vt:lpstr>Stencil Std</vt:lpstr>
      <vt:lpstr>Wingdings</vt:lpstr>
      <vt:lpstr>Wingdings 3</vt:lpstr>
      <vt:lpstr>Office Theme</vt:lpstr>
      <vt:lpstr>Theme2</vt:lpstr>
      <vt:lpstr>1_Theme2</vt:lpstr>
      <vt:lpstr>2_Theme2</vt:lpstr>
      <vt:lpstr>3_Theme2</vt:lpstr>
      <vt:lpstr>4_Theme2</vt:lpstr>
      <vt:lpstr>5_Theme2</vt:lpstr>
      <vt:lpstr>7_Theme2</vt:lpstr>
      <vt:lpstr>Io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 &amp; D Waste Recycling Process</vt:lpstr>
      <vt:lpstr>Recycling Process</vt:lpstr>
      <vt:lpstr>Recycling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st Analysis in Waste Process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st Of Countries Practicing C And D Waste Recycl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PS Presentation</dc:title>
  <dc:creator>Himanshu Devtale</dc:creator>
  <cp:lastModifiedBy>Himanshu Devtale</cp:lastModifiedBy>
  <cp:revision>180</cp:revision>
  <cp:lastPrinted>2021-02-27T17:00:48Z</cp:lastPrinted>
  <dcterms:created xsi:type="dcterms:W3CDTF">2021-02-22T17:29:28Z</dcterms:created>
  <dcterms:modified xsi:type="dcterms:W3CDTF">2021-11-10T18:04:51Z</dcterms:modified>
</cp:coreProperties>
</file>